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09" r:id="rId2"/>
    <p:sldMasterId id="2147483711" r:id="rId3"/>
  </p:sldMasterIdLst>
  <p:notesMasterIdLst>
    <p:notesMasterId r:id="rId10"/>
  </p:notesMasterIdLst>
  <p:handoutMasterIdLst>
    <p:handoutMasterId r:id="rId11"/>
  </p:handoutMasterIdLst>
  <p:sldIdLst>
    <p:sldId id="256" r:id="rId4"/>
    <p:sldId id="261" r:id="rId5"/>
    <p:sldId id="428" r:id="rId6"/>
    <p:sldId id="262" r:id="rId7"/>
    <p:sldId id="267" r:id="rId8"/>
    <p:sldId id="298" r:id="rId9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8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97" autoAdjust="0"/>
  </p:normalViewPr>
  <p:slideViewPr>
    <p:cSldViewPr>
      <p:cViewPr varScale="1">
        <p:scale>
          <a:sx n="68" d="100"/>
          <a:sy n="68" d="100"/>
        </p:scale>
        <p:origin x="592" y="5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73-1E49-B429-283FABB503C5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73-1E49-B429-283FABB503C5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73-1E49-B429-283FABB503C5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173-1E49-B429-283FABB503C5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5</c:v>
                </c:pt>
                <c:pt idx="1">
                  <c:v>0.44</c:v>
                </c:pt>
                <c:pt idx="2">
                  <c:v>0.16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73-1E49-B429-283FABB503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5A-CD4C-9604-EE721D04271B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5A-CD4C-9604-EE721D04271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5A-CD4C-9604-EE721D042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1C1-8442-92C1-2346ECF849E7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C1-8442-92C1-2346ECF849E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4</c:v>
                </c:pt>
                <c:pt idx="1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C1-8442-92C1-2346ECF849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B9-D649-8382-93A984944C4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B9-D649-8382-93A984944C4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B9-D649-8382-93A984944C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CB-0C43-912A-2E1DB7D27678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CB-0C43-912A-2E1DB7D2767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8000000000000003</c:v>
                </c:pt>
                <c:pt idx="1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CB-0C43-912A-2E1DB7D276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9933789-4DC5-4797-B0ED-617884CEF0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9256A1-0C05-475E-A2E3-8DC7EFCBCBC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C02210-491C-4882-B4A7-2BDAD3CC01C3}" type="datetimeFigureOut">
              <a:rPr lang="bg-BG" smtClean="0"/>
              <a:t>28.6.2021 г.</a:t>
            </a:fld>
            <a:endParaRPr lang="bg-B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03BCED-BBF7-44C8-A607-A71CC8F0225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5CD192-E21F-4C7D-88C0-32989A8090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9C62C-DA12-4627-8E54-7A17099E3A6C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68344417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C6A149-984F-4002-8A6B-A2E7D3E739FE}" type="datetimeFigureOut">
              <a:rPr lang="en-US" smtClean="0"/>
              <a:t>6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3241E-B205-441A-B4C2-49FFD148A9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718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0982325" y="314325"/>
            <a:ext cx="866775" cy="285750"/>
          </a:xfrm>
          <a:custGeom>
            <a:avLst/>
            <a:gdLst/>
            <a:ahLst/>
            <a:cxnLst/>
            <a:rect l="l" t="t" r="r" b="b"/>
            <a:pathLst>
              <a:path w="866775" h="285750">
                <a:moveTo>
                  <a:pt x="66167" y="77597"/>
                </a:moveTo>
                <a:lnTo>
                  <a:pt x="46291" y="82688"/>
                </a:lnTo>
                <a:lnTo>
                  <a:pt x="24606" y="95758"/>
                </a:lnTo>
                <a:lnTo>
                  <a:pt x="7159" y="113494"/>
                </a:lnTo>
                <a:lnTo>
                  <a:pt x="0" y="132587"/>
                </a:lnTo>
                <a:lnTo>
                  <a:pt x="0" y="278511"/>
                </a:lnTo>
                <a:lnTo>
                  <a:pt x="3555" y="282066"/>
                </a:lnTo>
                <a:lnTo>
                  <a:pt x="34417" y="282066"/>
                </a:lnTo>
                <a:lnTo>
                  <a:pt x="37973" y="278511"/>
                </a:lnTo>
                <a:lnTo>
                  <a:pt x="37973" y="139064"/>
                </a:lnTo>
                <a:lnTo>
                  <a:pt x="41157" y="130107"/>
                </a:lnTo>
                <a:lnTo>
                  <a:pt x="48879" y="121793"/>
                </a:lnTo>
                <a:lnTo>
                  <a:pt x="58407" y="115663"/>
                </a:lnTo>
                <a:lnTo>
                  <a:pt x="66928" y="113284"/>
                </a:lnTo>
                <a:lnTo>
                  <a:pt x="221995" y="113284"/>
                </a:lnTo>
                <a:lnTo>
                  <a:pt x="214125" y="105283"/>
                </a:lnTo>
                <a:lnTo>
                  <a:pt x="114807" y="105283"/>
                </a:lnTo>
                <a:lnTo>
                  <a:pt x="104600" y="95384"/>
                </a:lnTo>
                <a:lnTo>
                  <a:pt x="92106" y="86487"/>
                </a:lnTo>
                <a:lnTo>
                  <a:pt x="78803" y="80065"/>
                </a:lnTo>
                <a:lnTo>
                  <a:pt x="66167" y="77597"/>
                </a:lnTo>
                <a:close/>
              </a:path>
              <a:path w="866775" h="285750">
                <a:moveTo>
                  <a:pt x="162432" y="113284"/>
                </a:moveTo>
                <a:lnTo>
                  <a:pt x="66928" y="113284"/>
                </a:lnTo>
                <a:lnTo>
                  <a:pt x="75076" y="115722"/>
                </a:lnTo>
                <a:lnTo>
                  <a:pt x="84581" y="121935"/>
                </a:lnTo>
                <a:lnTo>
                  <a:pt x="92467" y="130268"/>
                </a:lnTo>
                <a:lnTo>
                  <a:pt x="95757" y="139064"/>
                </a:lnTo>
                <a:lnTo>
                  <a:pt x="95757" y="278511"/>
                </a:lnTo>
                <a:lnTo>
                  <a:pt x="99059" y="282066"/>
                </a:lnTo>
                <a:lnTo>
                  <a:pt x="129921" y="282066"/>
                </a:lnTo>
                <a:lnTo>
                  <a:pt x="133857" y="278511"/>
                </a:lnTo>
                <a:lnTo>
                  <a:pt x="133857" y="138684"/>
                </a:lnTo>
                <a:lnTo>
                  <a:pt x="137090" y="129946"/>
                </a:lnTo>
                <a:lnTo>
                  <a:pt x="144859" y="121745"/>
                </a:lnTo>
                <a:lnTo>
                  <a:pt x="154271" y="115663"/>
                </a:lnTo>
                <a:lnTo>
                  <a:pt x="162432" y="113284"/>
                </a:lnTo>
                <a:close/>
              </a:path>
              <a:path w="866775" h="285750">
                <a:moveTo>
                  <a:pt x="221995" y="113284"/>
                </a:moveTo>
                <a:lnTo>
                  <a:pt x="162432" y="113284"/>
                </a:lnTo>
                <a:lnTo>
                  <a:pt x="170955" y="115663"/>
                </a:lnTo>
                <a:lnTo>
                  <a:pt x="180419" y="121745"/>
                </a:lnTo>
                <a:lnTo>
                  <a:pt x="188096" y="129946"/>
                </a:lnTo>
                <a:lnTo>
                  <a:pt x="191261" y="138684"/>
                </a:lnTo>
                <a:lnTo>
                  <a:pt x="191261" y="278511"/>
                </a:lnTo>
                <a:lnTo>
                  <a:pt x="194818" y="282066"/>
                </a:lnTo>
                <a:lnTo>
                  <a:pt x="225805" y="282066"/>
                </a:lnTo>
                <a:lnTo>
                  <a:pt x="229361" y="278511"/>
                </a:lnTo>
                <a:lnTo>
                  <a:pt x="229361" y="132587"/>
                </a:lnTo>
                <a:lnTo>
                  <a:pt x="222202" y="113494"/>
                </a:lnTo>
                <a:lnTo>
                  <a:pt x="221995" y="113284"/>
                </a:lnTo>
                <a:close/>
              </a:path>
              <a:path w="866775" h="285750">
                <a:moveTo>
                  <a:pt x="163195" y="77597"/>
                </a:moveTo>
                <a:lnTo>
                  <a:pt x="151044" y="79994"/>
                </a:lnTo>
                <a:lnTo>
                  <a:pt x="137810" y="86296"/>
                </a:lnTo>
                <a:lnTo>
                  <a:pt x="125172" y="95170"/>
                </a:lnTo>
                <a:lnTo>
                  <a:pt x="114807" y="105283"/>
                </a:lnTo>
                <a:lnTo>
                  <a:pt x="214125" y="105283"/>
                </a:lnTo>
                <a:lnTo>
                  <a:pt x="204755" y="95758"/>
                </a:lnTo>
                <a:lnTo>
                  <a:pt x="183070" y="82688"/>
                </a:lnTo>
                <a:lnTo>
                  <a:pt x="163195" y="77597"/>
                </a:lnTo>
                <a:close/>
              </a:path>
              <a:path w="866775" h="285750">
                <a:moveTo>
                  <a:pt x="347852" y="77597"/>
                </a:moveTo>
                <a:lnTo>
                  <a:pt x="327320" y="82833"/>
                </a:lnTo>
                <a:lnTo>
                  <a:pt x="304561" y="96345"/>
                </a:lnTo>
                <a:lnTo>
                  <a:pt x="286113" y="114833"/>
                </a:lnTo>
                <a:lnTo>
                  <a:pt x="278510" y="135000"/>
                </a:lnTo>
                <a:lnTo>
                  <a:pt x="278510" y="228219"/>
                </a:lnTo>
                <a:lnTo>
                  <a:pt x="286113" y="248245"/>
                </a:lnTo>
                <a:lnTo>
                  <a:pt x="304561" y="266795"/>
                </a:lnTo>
                <a:lnTo>
                  <a:pt x="327320" y="280439"/>
                </a:lnTo>
                <a:lnTo>
                  <a:pt x="347852" y="285750"/>
                </a:lnTo>
                <a:lnTo>
                  <a:pt x="368331" y="280439"/>
                </a:lnTo>
                <a:lnTo>
                  <a:pt x="391096" y="266795"/>
                </a:lnTo>
                <a:lnTo>
                  <a:pt x="407890" y="249936"/>
                </a:lnTo>
                <a:lnTo>
                  <a:pt x="347852" y="249936"/>
                </a:lnTo>
                <a:lnTo>
                  <a:pt x="338236" y="247419"/>
                </a:lnTo>
                <a:lnTo>
                  <a:pt x="327977" y="240950"/>
                </a:lnTo>
                <a:lnTo>
                  <a:pt x="319813" y="232148"/>
                </a:lnTo>
                <a:lnTo>
                  <a:pt x="316483" y="222630"/>
                </a:lnTo>
                <a:lnTo>
                  <a:pt x="316483" y="140588"/>
                </a:lnTo>
                <a:lnTo>
                  <a:pt x="319867" y="131071"/>
                </a:lnTo>
                <a:lnTo>
                  <a:pt x="328120" y="122269"/>
                </a:lnTo>
                <a:lnTo>
                  <a:pt x="338397" y="115800"/>
                </a:lnTo>
                <a:lnTo>
                  <a:pt x="347852" y="113284"/>
                </a:lnTo>
                <a:lnTo>
                  <a:pt x="408185" y="113284"/>
                </a:lnTo>
                <a:lnTo>
                  <a:pt x="391096" y="96202"/>
                </a:lnTo>
                <a:lnTo>
                  <a:pt x="368331" y="82780"/>
                </a:lnTo>
                <a:lnTo>
                  <a:pt x="347852" y="77597"/>
                </a:lnTo>
                <a:close/>
              </a:path>
              <a:path w="866775" h="285750">
                <a:moveTo>
                  <a:pt x="408185" y="113284"/>
                </a:moveTo>
                <a:lnTo>
                  <a:pt x="347852" y="113284"/>
                </a:lnTo>
                <a:lnTo>
                  <a:pt x="357020" y="115800"/>
                </a:lnTo>
                <a:lnTo>
                  <a:pt x="367283" y="122269"/>
                </a:lnTo>
                <a:lnTo>
                  <a:pt x="375642" y="131071"/>
                </a:lnTo>
                <a:lnTo>
                  <a:pt x="379095" y="140588"/>
                </a:lnTo>
                <a:lnTo>
                  <a:pt x="379095" y="222630"/>
                </a:lnTo>
                <a:lnTo>
                  <a:pt x="375713" y="232148"/>
                </a:lnTo>
                <a:lnTo>
                  <a:pt x="367474" y="240950"/>
                </a:lnTo>
                <a:lnTo>
                  <a:pt x="357235" y="247419"/>
                </a:lnTo>
                <a:lnTo>
                  <a:pt x="347852" y="249936"/>
                </a:lnTo>
                <a:lnTo>
                  <a:pt x="407890" y="249936"/>
                </a:lnTo>
                <a:lnTo>
                  <a:pt x="409575" y="248245"/>
                </a:lnTo>
                <a:lnTo>
                  <a:pt x="417195" y="228219"/>
                </a:lnTo>
                <a:lnTo>
                  <a:pt x="417195" y="135000"/>
                </a:lnTo>
                <a:lnTo>
                  <a:pt x="409575" y="114673"/>
                </a:lnTo>
                <a:lnTo>
                  <a:pt x="408185" y="113284"/>
                </a:lnTo>
                <a:close/>
              </a:path>
              <a:path w="866775" h="285750">
                <a:moveTo>
                  <a:pt x="528827" y="77597"/>
                </a:moveTo>
                <a:lnTo>
                  <a:pt x="510067" y="82720"/>
                </a:lnTo>
                <a:lnTo>
                  <a:pt x="488854" y="96012"/>
                </a:lnTo>
                <a:lnTo>
                  <a:pt x="471499" y="114351"/>
                </a:lnTo>
                <a:lnTo>
                  <a:pt x="464311" y="134620"/>
                </a:lnTo>
                <a:lnTo>
                  <a:pt x="464311" y="228219"/>
                </a:lnTo>
                <a:lnTo>
                  <a:pt x="471860" y="248245"/>
                </a:lnTo>
                <a:lnTo>
                  <a:pt x="490220" y="266795"/>
                </a:lnTo>
                <a:lnTo>
                  <a:pt x="512984" y="280445"/>
                </a:lnTo>
                <a:lnTo>
                  <a:pt x="533653" y="285750"/>
                </a:lnTo>
                <a:lnTo>
                  <a:pt x="554438" y="280439"/>
                </a:lnTo>
                <a:lnTo>
                  <a:pt x="576976" y="266842"/>
                </a:lnTo>
                <a:lnTo>
                  <a:pt x="593570" y="249936"/>
                </a:lnTo>
                <a:lnTo>
                  <a:pt x="533653" y="249936"/>
                </a:lnTo>
                <a:lnTo>
                  <a:pt x="524111" y="247378"/>
                </a:lnTo>
                <a:lnTo>
                  <a:pt x="513889" y="240903"/>
                </a:lnTo>
                <a:lnTo>
                  <a:pt x="505739" y="232308"/>
                </a:lnTo>
                <a:lnTo>
                  <a:pt x="502411" y="223392"/>
                </a:lnTo>
                <a:lnTo>
                  <a:pt x="502411" y="139826"/>
                </a:lnTo>
                <a:lnTo>
                  <a:pt x="505787" y="130750"/>
                </a:lnTo>
                <a:lnTo>
                  <a:pt x="513984" y="122174"/>
                </a:lnTo>
                <a:lnTo>
                  <a:pt x="524111" y="115788"/>
                </a:lnTo>
                <a:lnTo>
                  <a:pt x="533273" y="113284"/>
                </a:lnTo>
                <a:lnTo>
                  <a:pt x="602488" y="113284"/>
                </a:lnTo>
                <a:lnTo>
                  <a:pt x="602488" y="95250"/>
                </a:lnTo>
                <a:lnTo>
                  <a:pt x="564515" y="95250"/>
                </a:lnTo>
                <a:lnTo>
                  <a:pt x="557027" y="88741"/>
                </a:lnTo>
                <a:lnTo>
                  <a:pt x="547862" y="83089"/>
                </a:lnTo>
                <a:lnTo>
                  <a:pt x="538100" y="79105"/>
                </a:lnTo>
                <a:lnTo>
                  <a:pt x="528827" y="77597"/>
                </a:lnTo>
                <a:close/>
              </a:path>
              <a:path w="866775" h="285750">
                <a:moveTo>
                  <a:pt x="602488" y="113284"/>
                </a:moveTo>
                <a:lnTo>
                  <a:pt x="533273" y="113284"/>
                </a:lnTo>
                <a:lnTo>
                  <a:pt x="542494" y="115788"/>
                </a:lnTo>
                <a:lnTo>
                  <a:pt x="552751" y="122174"/>
                </a:lnTo>
                <a:lnTo>
                  <a:pt x="561080" y="130750"/>
                </a:lnTo>
                <a:lnTo>
                  <a:pt x="564515" y="139826"/>
                </a:lnTo>
                <a:lnTo>
                  <a:pt x="564515" y="223392"/>
                </a:lnTo>
                <a:lnTo>
                  <a:pt x="561300" y="232148"/>
                </a:lnTo>
                <a:lnTo>
                  <a:pt x="553370" y="240760"/>
                </a:lnTo>
                <a:lnTo>
                  <a:pt x="543298" y="247324"/>
                </a:lnTo>
                <a:lnTo>
                  <a:pt x="533653" y="249936"/>
                </a:lnTo>
                <a:lnTo>
                  <a:pt x="593570" y="249936"/>
                </a:lnTo>
                <a:lnTo>
                  <a:pt x="595072" y="248406"/>
                </a:lnTo>
                <a:lnTo>
                  <a:pt x="602488" y="228600"/>
                </a:lnTo>
                <a:lnTo>
                  <a:pt x="602488" y="113284"/>
                </a:lnTo>
                <a:close/>
              </a:path>
              <a:path w="866775" h="285750">
                <a:moveTo>
                  <a:pt x="598931" y="0"/>
                </a:moveTo>
                <a:lnTo>
                  <a:pt x="568451" y="0"/>
                </a:lnTo>
                <a:lnTo>
                  <a:pt x="564515" y="3682"/>
                </a:lnTo>
                <a:lnTo>
                  <a:pt x="564515" y="95250"/>
                </a:lnTo>
                <a:lnTo>
                  <a:pt x="602488" y="95250"/>
                </a:lnTo>
                <a:lnTo>
                  <a:pt x="602488" y="3682"/>
                </a:lnTo>
                <a:lnTo>
                  <a:pt x="598931" y="0"/>
                </a:lnTo>
                <a:close/>
              </a:path>
              <a:path w="866775" h="285750">
                <a:moveTo>
                  <a:pt x="690499" y="81152"/>
                </a:moveTo>
                <a:lnTo>
                  <a:pt x="659638" y="81152"/>
                </a:lnTo>
                <a:lnTo>
                  <a:pt x="656081" y="84836"/>
                </a:lnTo>
                <a:lnTo>
                  <a:pt x="656081" y="278511"/>
                </a:lnTo>
                <a:lnTo>
                  <a:pt x="659638" y="282066"/>
                </a:lnTo>
                <a:lnTo>
                  <a:pt x="690499" y="282066"/>
                </a:lnTo>
                <a:lnTo>
                  <a:pt x="694054" y="278511"/>
                </a:lnTo>
                <a:lnTo>
                  <a:pt x="694054" y="84836"/>
                </a:lnTo>
                <a:lnTo>
                  <a:pt x="690499" y="81152"/>
                </a:lnTo>
                <a:close/>
              </a:path>
              <a:path w="866775" h="285750">
                <a:moveTo>
                  <a:pt x="755903" y="232283"/>
                </a:moveTo>
                <a:lnTo>
                  <a:pt x="749553" y="233934"/>
                </a:lnTo>
                <a:lnTo>
                  <a:pt x="747141" y="239902"/>
                </a:lnTo>
                <a:lnTo>
                  <a:pt x="741552" y="252729"/>
                </a:lnTo>
                <a:lnTo>
                  <a:pt x="739267" y="258825"/>
                </a:lnTo>
                <a:lnTo>
                  <a:pt x="741552" y="264413"/>
                </a:lnTo>
                <a:lnTo>
                  <a:pt x="747522" y="267588"/>
                </a:lnTo>
                <a:lnTo>
                  <a:pt x="759936" y="273534"/>
                </a:lnTo>
                <a:lnTo>
                  <a:pt x="774064" y="279431"/>
                </a:lnTo>
                <a:lnTo>
                  <a:pt x="788384" y="283948"/>
                </a:lnTo>
                <a:lnTo>
                  <a:pt x="801370" y="285750"/>
                </a:lnTo>
                <a:lnTo>
                  <a:pt x="822144" y="280582"/>
                </a:lnTo>
                <a:lnTo>
                  <a:pt x="843454" y="267652"/>
                </a:lnTo>
                <a:lnTo>
                  <a:pt x="860073" y="250817"/>
                </a:lnTo>
                <a:lnTo>
                  <a:pt x="860423" y="249936"/>
                </a:lnTo>
                <a:lnTo>
                  <a:pt x="801370" y="249936"/>
                </a:lnTo>
                <a:lnTo>
                  <a:pt x="792999" y="248417"/>
                </a:lnTo>
                <a:lnTo>
                  <a:pt x="782510" y="244649"/>
                </a:lnTo>
                <a:lnTo>
                  <a:pt x="771544" y="239809"/>
                </a:lnTo>
                <a:lnTo>
                  <a:pt x="755903" y="232283"/>
                </a:lnTo>
                <a:close/>
              </a:path>
              <a:path w="866775" h="285750">
                <a:moveTo>
                  <a:pt x="805052" y="77597"/>
                </a:moveTo>
                <a:lnTo>
                  <a:pt x="786314" y="82657"/>
                </a:lnTo>
                <a:lnTo>
                  <a:pt x="764778" y="95503"/>
                </a:lnTo>
                <a:lnTo>
                  <a:pt x="747027" y="112637"/>
                </a:lnTo>
                <a:lnTo>
                  <a:pt x="739648" y="130555"/>
                </a:lnTo>
                <a:lnTo>
                  <a:pt x="739648" y="148716"/>
                </a:lnTo>
                <a:lnTo>
                  <a:pt x="770127" y="185292"/>
                </a:lnTo>
                <a:lnTo>
                  <a:pt x="820927" y="205359"/>
                </a:lnTo>
                <a:lnTo>
                  <a:pt x="829945" y="209803"/>
                </a:lnTo>
                <a:lnTo>
                  <a:pt x="829945" y="228219"/>
                </a:lnTo>
                <a:lnTo>
                  <a:pt x="826766" y="235362"/>
                </a:lnTo>
                <a:lnTo>
                  <a:pt x="819086" y="242411"/>
                </a:lnTo>
                <a:lnTo>
                  <a:pt x="809692" y="247792"/>
                </a:lnTo>
                <a:lnTo>
                  <a:pt x="801370" y="249936"/>
                </a:lnTo>
                <a:lnTo>
                  <a:pt x="860423" y="249936"/>
                </a:lnTo>
                <a:lnTo>
                  <a:pt x="866775" y="233934"/>
                </a:lnTo>
                <a:lnTo>
                  <a:pt x="866775" y="213360"/>
                </a:lnTo>
                <a:lnTo>
                  <a:pt x="836676" y="175133"/>
                </a:lnTo>
                <a:lnTo>
                  <a:pt x="792733" y="158369"/>
                </a:lnTo>
                <a:lnTo>
                  <a:pt x="784351" y="155066"/>
                </a:lnTo>
                <a:lnTo>
                  <a:pt x="776858" y="151129"/>
                </a:lnTo>
                <a:lnTo>
                  <a:pt x="776858" y="136271"/>
                </a:lnTo>
                <a:lnTo>
                  <a:pt x="780139" y="128607"/>
                </a:lnTo>
                <a:lnTo>
                  <a:pt x="787955" y="121158"/>
                </a:lnTo>
                <a:lnTo>
                  <a:pt x="797272" y="115518"/>
                </a:lnTo>
                <a:lnTo>
                  <a:pt x="805052" y="113284"/>
                </a:lnTo>
                <a:lnTo>
                  <a:pt x="860622" y="113284"/>
                </a:lnTo>
                <a:lnTo>
                  <a:pt x="862456" y="108076"/>
                </a:lnTo>
                <a:lnTo>
                  <a:pt x="864361" y="102870"/>
                </a:lnTo>
                <a:lnTo>
                  <a:pt x="862456" y="97282"/>
                </a:lnTo>
                <a:lnTo>
                  <a:pt x="858139" y="94869"/>
                </a:lnTo>
                <a:lnTo>
                  <a:pt x="845200" y="88741"/>
                </a:lnTo>
                <a:lnTo>
                  <a:pt x="831119" y="83185"/>
                </a:lnTo>
                <a:lnTo>
                  <a:pt x="817276" y="79152"/>
                </a:lnTo>
                <a:lnTo>
                  <a:pt x="805052" y="77597"/>
                </a:lnTo>
                <a:close/>
              </a:path>
              <a:path w="866775" h="285750">
                <a:moveTo>
                  <a:pt x="860622" y="113284"/>
                </a:moveTo>
                <a:lnTo>
                  <a:pt x="805052" y="113284"/>
                </a:lnTo>
                <a:lnTo>
                  <a:pt x="813290" y="114627"/>
                </a:lnTo>
                <a:lnTo>
                  <a:pt x="823420" y="117935"/>
                </a:lnTo>
                <a:lnTo>
                  <a:pt x="833860" y="122124"/>
                </a:lnTo>
                <a:lnTo>
                  <a:pt x="843026" y="126111"/>
                </a:lnTo>
                <a:lnTo>
                  <a:pt x="848486" y="128142"/>
                </a:lnTo>
                <a:lnTo>
                  <a:pt x="855726" y="126619"/>
                </a:lnTo>
                <a:lnTo>
                  <a:pt x="857847" y="121158"/>
                </a:lnTo>
                <a:lnTo>
                  <a:pt x="860622" y="113284"/>
                </a:lnTo>
                <a:close/>
              </a:path>
            </a:pathLst>
          </a:custGeom>
          <a:solidFill>
            <a:srgbClr val="37393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1630025" y="314325"/>
            <a:ext cx="47625" cy="47625"/>
          </a:xfrm>
          <a:custGeom>
            <a:avLst/>
            <a:gdLst/>
            <a:ahLst/>
            <a:cxnLst/>
            <a:rect l="l" t="t" r="r" b="b"/>
            <a:pathLst>
              <a:path w="47625" h="47625">
                <a:moveTo>
                  <a:pt x="23875" y="0"/>
                </a:moveTo>
                <a:lnTo>
                  <a:pt x="14573" y="1871"/>
                </a:lnTo>
                <a:lnTo>
                  <a:pt x="6985" y="6969"/>
                </a:lnTo>
                <a:lnTo>
                  <a:pt x="1873" y="14519"/>
                </a:lnTo>
                <a:lnTo>
                  <a:pt x="0" y="23749"/>
                </a:lnTo>
                <a:lnTo>
                  <a:pt x="1873" y="33051"/>
                </a:lnTo>
                <a:lnTo>
                  <a:pt x="6985" y="40640"/>
                </a:lnTo>
                <a:lnTo>
                  <a:pt x="14573" y="45751"/>
                </a:lnTo>
                <a:lnTo>
                  <a:pt x="23875" y="47625"/>
                </a:lnTo>
                <a:lnTo>
                  <a:pt x="33105" y="45751"/>
                </a:lnTo>
                <a:lnTo>
                  <a:pt x="40655" y="40639"/>
                </a:lnTo>
                <a:lnTo>
                  <a:pt x="45753" y="33051"/>
                </a:lnTo>
                <a:lnTo>
                  <a:pt x="47625" y="23749"/>
                </a:lnTo>
                <a:lnTo>
                  <a:pt x="45753" y="14519"/>
                </a:lnTo>
                <a:lnTo>
                  <a:pt x="40655" y="6969"/>
                </a:lnTo>
                <a:lnTo>
                  <a:pt x="33105" y="1871"/>
                </a:lnTo>
                <a:lnTo>
                  <a:pt x="23875" y="0"/>
                </a:lnTo>
                <a:close/>
              </a:path>
            </a:pathLst>
          </a:custGeom>
          <a:solidFill>
            <a:srgbClr val="FFB81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44194" y="3130232"/>
            <a:ext cx="11103610" cy="728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49F57A64-A615-9542-B694-E2ADE0DDEDC7}"/>
              </a:ext>
            </a:extLst>
          </p:cNvPr>
          <p:cNvSpPr/>
          <p:nvPr userDrawn="1"/>
        </p:nvSpPr>
        <p:spPr>
          <a:xfrm>
            <a:off x="3274612" y="1851630"/>
            <a:ext cx="5642776" cy="3498583"/>
          </a:xfrm>
          <a:prstGeom prst="roundRect">
            <a:avLst>
              <a:gd name="adj" fmla="val 0"/>
            </a:avLst>
          </a:prstGeom>
          <a:solidFill>
            <a:schemeClr val="bg1">
              <a:alpha val="20000"/>
            </a:schemeClr>
          </a:solidFill>
          <a:ln w="25400">
            <a:noFill/>
            <a:round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algn="ctr">
              <a:lnSpc>
                <a:spcPct val="130000"/>
              </a:lnSpc>
            </a:pPr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07330151-67BF-C94D-9D92-8B957A7DBD3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D9A59E51-DA55-3C4C-8802-E01C574FBC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74612" y="3138561"/>
            <a:ext cx="5642776" cy="6140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. Überschrift</a:t>
            </a:r>
          </a:p>
        </p:txBody>
      </p: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53891D80-FE82-3B4D-BE34-9A971045CA46}"/>
              </a:ext>
            </a:extLst>
          </p:cNvPr>
          <p:cNvCxnSpPr>
            <a:cxnSpLocks/>
          </p:cNvCxnSpPr>
          <p:nvPr userDrawn="1"/>
        </p:nvCxnSpPr>
        <p:spPr>
          <a:xfrm>
            <a:off x="5414838" y="2998689"/>
            <a:ext cx="139147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565709FA-9E6C-7441-A59E-F34CDE1D65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260" y="2387633"/>
            <a:ext cx="1391479" cy="603106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3B68DAC5-A2AD-6F45-85D0-827D530E7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74611" y="3871069"/>
            <a:ext cx="5642776" cy="3906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. Überschrift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FA3DB04-EE03-9143-9F7F-1EFE2A9BAF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74610" y="4430161"/>
            <a:ext cx="5642776" cy="3906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onat 2021</a:t>
            </a:r>
          </a:p>
        </p:txBody>
      </p:sp>
    </p:spTree>
    <p:extLst>
      <p:ext uri="{BB962C8B-B14F-4D97-AF65-F5344CB8AC3E}">
        <p14:creationId xmlns:p14="http://schemas.microsoft.com/office/powerpoint/2010/main" val="531111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Pfeil mit einer Linie: Kurve im Uhrzeigersinn">
            <a:extLst>
              <a:ext uri="{FF2B5EF4-FFF2-40B4-BE49-F238E27FC236}">
                <a16:creationId xmlns:a16="http://schemas.microsoft.com/office/drawing/2014/main" id="{088C46DC-34AB-5847-BC18-D942162CD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804489" y="1894556"/>
            <a:ext cx="914400" cy="914400"/>
          </a:xfrm>
          <a:prstGeom prst="rect">
            <a:avLst/>
          </a:prstGeom>
        </p:spPr>
      </p:pic>
      <p:pic>
        <p:nvPicPr>
          <p:cNvPr id="9" name="Grafik 8" descr="Pfeil mit einer Linie: Kurve im Uhrzeigersinn">
            <a:extLst>
              <a:ext uri="{FF2B5EF4-FFF2-40B4-BE49-F238E27FC236}">
                <a16:creationId xmlns:a16="http://schemas.microsoft.com/office/drawing/2014/main" id="{31C49C92-D8B7-244F-B187-E5963F438C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 flipH="1">
            <a:off x="9028317" y="1894556"/>
            <a:ext cx="914400" cy="91440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6B20FBCF-167C-EA43-90F2-609929F8850C}"/>
              </a:ext>
            </a:extLst>
          </p:cNvPr>
          <p:cNvSpPr/>
          <p:nvPr/>
        </p:nvSpPr>
        <p:spPr>
          <a:xfrm>
            <a:off x="5283885" y="1707123"/>
            <a:ext cx="3139878" cy="3139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+mj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26B5E83-F332-794C-BD14-4434DC0F19E9}"/>
              </a:ext>
            </a:extLst>
          </p:cNvPr>
          <p:cNvSpPr/>
          <p:nvPr/>
        </p:nvSpPr>
        <p:spPr>
          <a:xfrm>
            <a:off x="3382053" y="1708859"/>
            <a:ext cx="3139878" cy="3139879"/>
          </a:xfrm>
          <a:prstGeom prst="ellipse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+mj-lt"/>
            </a:endParaRPr>
          </a:p>
        </p:txBody>
      </p:sp>
      <p:sp>
        <p:nvSpPr>
          <p:cNvPr id="18" name="Freeform 37">
            <a:extLst>
              <a:ext uri="{FF2B5EF4-FFF2-40B4-BE49-F238E27FC236}">
                <a16:creationId xmlns:a16="http://schemas.microsoft.com/office/drawing/2014/main" id="{F969786D-D67E-1346-AB46-EBDE734B6AAF}"/>
              </a:ext>
            </a:extLst>
          </p:cNvPr>
          <p:cNvSpPr/>
          <p:nvPr/>
        </p:nvSpPr>
        <p:spPr bwMode="auto">
          <a:xfrm>
            <a:off x="5286973" y="2025115"/>
            <a:ext cx="1234957" cy="2504598"/>
          </a:xfrm>
          <a:custGeom>
            <a:avLst/>
            <a:gdLst>
              <a:gd name="connsiteX0" fmla="*/ 445223 w 889230"/>
              <a:gd name="connsiteY0" fmla="*/ 0 h 1938289"/>
              <a:gd name="connsiteX1" fmla="*/ 513502 w 889230"/>
              <a:gd name="connsiteY1" fmla="*/ 62057 h 1938289"/>
              <a:gd name="connsiteX2" fmla="*/ 889230 w 889230"/>
              <a:gd name="connsiteY2" fmla="*/ 969144 h 1938289"/>
              <a:gd name="connsiteX3" fmla="*/ 513502 w 889230"/>
              <a:gd name="connsiteY3" fmla="*/ 1876231 h 1938289"/>
              <a:gd name="connsiteX4" fmla="*/ 445222 w 889230"/>
              <a:gd name="connsiteY4" fmla="*/ 1938289 h 1938289"/>
              <a:gd name="connsiteX5" fmla="*/ 375728 w 889230"/>
              <a:gd name="connsiteY5" fmla="*/ 1875200 h 1938289"/>
              <a:gd name="connsiteX6" fmla="*/ 0 w 889230"/>
              <a:gd name="connsiteY6" fmla="*/ 969145 h 1938289"/>
              <a:gd name="connsiteX7" fmla="*/ 375728 w 889230"/>
              <a:gd name="connsiteY7" fmla="*/ 63090 h 1938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230" h="1938289">
                <a:moveTo>
                  <a:pt x="445223" y="0"/>
                </a:moveTo>
                <a:lnTo>
                  <a:pt x="513502" y="62057"/>
                </a:lnTo>
                <a:cubicBezTo>
                  <a:pt x="745646" y="294201"/>
                  <a:pt x="889230" y="614905"/>
                  <a:pt x="889230" y="969144"/>
                </a:cubicBezTo>
                <a:cubicBezTo>
                  <a:pt x="889230" y="1323384"/>
                  <a:pt x="745646" y="1644087"/>
                  <a:pt x="513502" y="1876231"/>
                </a:cubicBezTo>
                <a:lnTo>
                  <a:pt x="445222" y="1938289"/>
                </a:lnTo>
                <a:lnTo>
                  <a:pt x="375728" y="1875200"/>
                </a:lnTo>
                <a:cubicBezTo>
                  <a:pt x="143584" y="1643321"/>
                  <a:pt x="0" y="1322982"/>
                  <a:pt x="0" y="969145"/>
                </a:cubicBezTo>
                <a:cubicBezTo>
                  <a:pt x="0" y="615309"/>
                  <a:pt x="143584" y="294970"/>
                  <a:pt x="375728" y="63090"/>
                </a:cubicBezTo>
                <a:close/>
              </a:path>
            </a:pathLst>
          </a:custGeom>
          <a:solidFill>
            <a:schemeClr val="bg2">
              <a:alpha val="9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+mj-lt"/>
              <a:ea typeface="ＭＳ Ｐゴシック" pitchFamily="-112" charset="-128"/>
            </a:endParaRPr>
          </a:p>
        </p:txBody>
      </p:sp>
      <p:cxnSp>
        <p:nvCxnSpPr>
          <p:cNvPr id="20" name="Straight Connector 18">
            <a:extLst>
              <a:ext uri="{FF2B5EF4-FFF2-40B4-BE49-F238E27FC236}">
                <a16:creationId xmlns:a16="http://schemas.microsoft.com/office/drawing/2014/main" id="{6F761912-B92A-7440-8E67-9EDBA524FA4E}"/>
              </a:ext>
            </a:extLst>
          </p:cNvPr>
          <p:cNvCxnSpPr>
            <a:cxnSpLocks/>
          </p:cNvCxnSpPr>
          <p:nvPr/>
        </p:nvCxnSpPr>
        <p:spPr>
          <a:xfrm flipV="1">
            <a:off x="5904183" y="4525275"/>
            <a:ext cx="0" cy="659945"/>
          </a:xfrm>
          <a:prstGeom prst="line">
            <a:avLst/>
          </a:prstGeom>
          <a:ln w="28575" cap="rnd">
            <a:gradFill>
              <a:gsLst>
                <a:gs pos="26000">
                  <a:schemeClr val="tx1"/>
                </a:gs>
                <a:gs pos="99000">
                  <a:schemeClr val="tx2"/>
                </a:gs>
              </a:gsLst>
              <a:lin ang="5400000" scaled="1"/>
            </a:gra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0E36B94-2783-6E4A-AB8C-3736032B19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78802" y="5250767"/>
            <a:ext cx="5838981" cy="41035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25F6351-FEA1-6B4A-9E0A-BA0D2821C1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6724" y="3103452"/>
            <a:ext cx="1992078" cy="2635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8B265DC3-9659-E84F-ADED-25DDADC577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38634" y="3108107"/>
            <a:ext cx="2284960" cy="25894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4C797852-24B3-5B45-AAEE-159910925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64506" y="3026346"/>
            <a:ext cx="1363305" cy="34070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 b="1" i="0">
                <a:solidFill>
                  <a:schemeClr val="tx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C24B9771-AB0E-5744-A035-DFC24CACA8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582" y="3016678"/>
            <a:ext cx="1422235" cy="34070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 i="0">
                <a:solidFill>
                  <a:schemeClr val="tx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A96CF4FD-35A8-4D41-9A7A-E5C9E8699C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3878" y="3026345"/>
            <a:ext cx="1234956" cy="33103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600" b="1" i="0">
                <a:solidFill>
                  <a:schemeClr val="tx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A7A72E5-D4EF-674E-846B-C2E2C1FF872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DA60EB4-A3D4-9F45-AE91-DB5A9017A38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935EE84-F816-B14D-9C3B-B130FE56A3B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846E936-B50C-C546-AA3C-59AF997B5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53139" y="3490953"/>
            <a:ext cx="1770455" cy="153987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buNone/>
              <a:defRPr sz="14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6881FBD7-9C86-3F44-9420-F24D8851F9D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6724" y="3490953"/>
            <a:ext cx="1770455" cy="153987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14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9408944A-92B2-4045-A18E-833F24C01ED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8639122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17CC37F7-79BE-924E-96F4-75907EE0F2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8225" y="1370652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C399306-AE9E-DD40-A5A5-FDDC684DFC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7331" y="1370651"/>
            <a:ext cx="683170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75BA1AC6-659A-A14A-808E-161EA02352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09495" y="1369325"/>
            <a:ext cx="63137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7EF096C-E762-A648-AA70-449EED45FA17}"/>
              </a:ext>
            </a:extLst>
          </p:cNvPr>
          <p:cNvSpPr/>
          <p:nvPr userDrawn="1"/>
        </p:nvSpPr>
        <p:spPr>
          <a:xfrm>
            <a:off x="4210823" y="1446146"/>
            <a:ext cx="683170" cy="404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4500" dirty="0">
                <a:solidFill>
                  <a:schemeClr val="tx1"/>
                </a:solidFill>
                <a:latin typeface="Reso" panose="02000000000000000000" pitchFamily="50" charset="0"/>
              </a:rPr>
              <a:t>3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D0FD0A1-DE1C-E741-B53A-B269C7F4510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6610" y="1440889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DF46FE4C-A828-D14D-BDFE-4868A9C652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6610" y="1759029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15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10972B6E-DAF8-5A47-A06E-8479CF77F8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2534" y="1440889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1B6DDC2A-C1F0-6040-9642-5747DDCF92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2534" y="1759029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15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</a:p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D6DA0643-1845-F14A-A990-0422D8C44B4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92838" y="1440889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77B9EACB-F2A7-ED4E-8FC3-46AF93D029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92838" y="1759029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  <a:p>
            <a:pPr lvl="0"/>
            <a:r>
              <a:rPr lang="de-DE" dirty="0"/>
              <a:t>XXXX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3766E8ED-55B7-524D-AE26-A515FA72AB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2262" y="3700009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4ED347E1-2E4D-D84B-B708-C1135FBABFF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30647" y="3770246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FD6D6AE2-3FB6-DC44-8526-7541C2AC26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30647" y="4088386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09FDD966-EDA3-F943-ADD7-B1F115319E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64149" y="3700009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D6C53003-C440-4845-9A30-866CBF04819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52534" y="3770246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B300985D-8F59-DF41-B8CE-7A9BC3A7445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52534" y="4088386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A3FAAB29-2CB7-D54A-AA3F-44109B2EC2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645289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A63C5E43-F458-314C-87E5-5A095FE184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83214" y="3164355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B98E31CA-F562-3346-93CF-F8D0584A32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83214" y="4956340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09F7105F-F5EF-DA4E-8E46-90FF3A5D2F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083214" y="1207980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01CA6667-CD96-DF4A-A0A3-091129DD18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89296" y="3164355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AAC30336-FAF2-DD45-B707-100F0C3D3D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-89296" y="4956340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229C56D-6D57-2343-A427-59A87B13FDBB}"/>
              </a:ext>
            </a:extLst>
          </p:cNvPr>
          <p:cNvSpPr/>
          <p:nvPr userDrawn="1"/>
        </p:nvSpPr>
        <p:spPr>
          <a:xfrm>
            <a:off x="86000" y="1287681"/>
            <a:ext cx="683170" cy="404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4500" dirty="0">
                <a:solidFill>
                  <a:schemeClr val="tx1"/>
                </a:solidFill>
                <a:latin typeface="Reso" panose="02000000000000000000" pitchFamily="50" charset="0"/>
              </a:rPr>
              <a:t>1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6733E8D1-2954-6641-805C-EF2E8EE74B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89296" y="1207980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80C281D8-E2D8-0148-9DE5-EDC7C02A80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3829" y="1262977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31FD69D6-382A-A948-9BC0-4AED53BB4B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3829" y="1581117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125B79F8-6C54-B84E-A5B7-CC4E4645D7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3829" y="3219352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09F1518B-0FDB-2449-AE29-57B98155DF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829" y="3537492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311D14C1-0523-8740-A78B-071D2EA2B1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3829" y="5011337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C2361295-8A29-3D4A-9F75-5315E13C5D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29" y="5329477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F0DF338E-4366-BA4F-A052-70AFC2A759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96339" y="1262977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85C0080B-EA85-5347-8C19-03FEFABC494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096339" y="1581117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B480DA87-B1BF-1A4A-9DDD-54E4B56179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096339" y="3219352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ED0C0104-9581-2640-B30C-A404279876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96339" y="3537492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D8D6EB23-2D1D-C64A-B122-82AFF221CC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6339" y="5011337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919A20BD-00B0-784A-9C6D-59472D2D8FB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096339" y="5329477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FFFFDF84-E853-2F40-897D-FF89AAD980C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5724" y="3199276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CC2988EF-9EDD-9D4F-B543-63EEC82D3B3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5724" y="4991261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31EEC900-2632-CE46-996E-777329F810F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55724" y="1242901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6027EFF1-B50B-C546-8129-61588B119C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68849" y="1297898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478D507C-0BC9-B94E-8B65-75FD250CFA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8849" y="1616038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F27396B7-6D5A-5047-AF93-C5D0EE69E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8849" y="3254273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8F361291-7783-EF45-A956-C989C8DC862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8849" y="3572413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CC6497A3-BD53-E747-BE12-2D29D7A987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68849" y="5046258"/>
            <a:ext cx="1894987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8A30C33B-080B-3B4E-8F43-6948651C84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68849" y="5364398"/>
            <a:ext cx="1894987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9F68AAB7-D9E0-0E40-AD24-FF5D20765CD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428234" y="1262977"/>
            <a:ext cx="860112" cy="50769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45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E560CA05-BDE7-E94D-A0B9-CC8947F0894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0441359" y="1317974"/>
            <a:ext cx="1461081" cy="2832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19630204-85A0-7D4F-B67A-39CAC37C73A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441359" y="1636114"/>
            <a:ext cx="1461081" cy="12293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2">
                    <a:lumMod val="50000"/>
                    <a:lumOff val="50000"/>
                  </a:schemeClr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  <a:br>
              <a:rPr lang="de-DE" dirty="0"/>
            </a:br>
            <a:r>
              <a:rPr lang="de-DE" dirty="0"/>
              <a:t>XXXX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397F808D-0BFF-9C4B-B705-681959C90D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47396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0B0B2BA7-6B6C-FB43-A686-96678F060A4C}"/>
              </a:ext>
            </a:extLst>
          </p:cNvPr>
          <p:cNvSpPr/>
          <p:nvPr userDrawn="1"/>
        </p:nvSpPr>
        <p:spPr>
          <a:xfrm>
            <a:off x="2819762" y="3747158"/>
            <a:ext cx="6552475" cy="274438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Reso Light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5EA67417-9840-9442-AF6C-5D329C2E353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8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cxnSp>
        <p:nvCxnSpPr>
          <p:cNvPr id="6" name="Straight Connector 18">
            <a:extLst>
              <a:ext uri="{FF2B5EF4-FFF2-40B4-BE49-F238E27FC236}">
                <a16:creationId xmlns:a16="http://schemas.microsoft.com/office/drawing/2014/main" id="{AFB501F2-B06E-CC40-A361-4A46EF9C9AA4}"/>
              </a:ext>
            </a:extLst>
          </p:cNvPr>
          <p:cNvCxnSpPr>
            <a:cxnSpLocks/>
          </p:cNvCxnSpPr>
          <p:nvPr userDrawn="1"/>
        </p:nvCxnSpPr>
        <p:spPr>
          <a:xfrm>
            <a:off x="2819762" y="6507405"/>
            <a:ext cx="6552475" cy="0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AD9745-1E28-2D4C-818D-5E3DBA0E97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55425" y="4019940"/>
            <a:ext cx="5881147" cy="22528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0" i="0">
                <a:latin typeface="Reso Light" panose="02000000000000000000" pitchFamily="2" charset="0"/>
              </a:defRPr>
            </a:lvl1pPr>
          </a:lstStyle>
          <a:p>
            <a:pPr lvl="0"/>
            <a:r>
              <a:rPr lang="de-DE" b="0" i="0" dirty="0" err="1">
                <a:latin typeface="Reso Light" panose="02000000000000000000" pitchFamily="2" charset="0"/>
              </a:rPr>
              <a:t>Lorem</a:t>
            </a:r>
            <a:r>
              <a:rPr lang="de-DE" b="0" i="0" dirty="0">
                <a:latin typeface="Reso Light" panose="02000000000000000000" pitchFamily="2" charset="0"/>
              </a:rPr>
              <a:t> </a:t>
            </a:r>
            <a:r>
              <a:rPr lang="de-DE" b="0" i="0" dirty="0" err="1">
                <a:latin typeface="Reso Light" panose="02000000000000000000" pitchFamily="2" charset="0"/>
              </a:rPr>
              <a:t>ipsum</a:t>
            </a:r>
            <a:r>
              <a:rPr lang="de-DE" b="0" i="0" dirty="0">
                <a:latin typeface="Reso Light" panose="02000000000000000000" pitchFamily="2" charset="0"/>
              </a:rPr>
              <a:t> </a:t>
            </a:r>
            <a:r>
              <a:rPr lang="de-DE" b="0" i="0" dirty="0" err="1">
                <a:latin typeface="Reso Light" panose="02000000000000000000" pitchFamily="2" charset="0"/>
              </a:rPr>
              <a:t>dolor</a:t>
            </a:r>
            <a:r>
              <a:rPr lang="de-DE" b="0" i="0" dirty="0">
                <a:latin typeface="Reso Light" panose="02000000000000000000" pitchFamily="2" charset="0"/>
              </a:rPr>
              <a:t> </a:t>
            </a:r>
            <a:r>
              <a:rPr lang="de-DE" b="0" i="0" dirty="0" err="1">
                <a:latin typeface="Reso Light" panose="02000000000000000000" pitchFamily="2" charset="0"/>
              </a:rPr>
              <a:t>sit</a:t>
            </a:r>
            <a:r>
              <a:rPr lang="de-DE" b="0" i="0" dirty="0">
                <a:latin typeface="Reso Light" panose="02000000000000000000" pitchFamily="2" charset="0"/>
              </a:rPr>
              <a:t> </a:t>
            </a:r>
            <a:endParaRPr lang="de-DE" dirty="0"/>
          </a:p>
        </p:txBody>
      </p:sp>
      <p:grpSp>
        <p:nvGrpSpPr>
          <p:cNvPr id="7" name="Logo-Pos">
            <a:extLst>
              <a:ext uri="{FF2B5EF4-FFF2-40B4-BE49-F238E27FC236}">
                <a16:creationId xmlns:a16="http://schemas.microsoft.com/office/drawing/2014/main" id="{F9153AFC-3F3B-5548-8941-1436D891218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8" name="Freeform 29">
              <a:extLst>
                <a:ext uri="{FF2B5EF4-FFF2-40B4-BE49-F238E27FC236}">
                  <a16:creationId xmlns:a16="http://schemas.microsoft.com/office/drawing/2014/main" id="{185F8162-B786-B94D-9A8B-49CC52972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ECFA105-9C9B-464E-BB80-D3D50329C4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DE4BAD9-8973-1040-BACA-492AE9EE71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733339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605DDC6-812C-684F-A0CD-76513F89D35B}"/>
              </a:ext>
            </a:extLst>
          </p:cNvPr>
          <p:cNvSpPr/>
          <p:nvPr userDrawn="1"/>
        </p:nvSpPr>
        <p:spPr>
          <a:xfrm>
            <a:off x="8108078" y="4191572"/>
            <a:ext cx="2846383" cy="2037606"/>
          </a:xfrm>
          <a:prstGeom prst="rect">
            <a:avLst/>
          </a:prstGeom>
          <a:noFill/>
          <a:ln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B6AF4D79-4E1F-CD43-A79E-BBEE067611C2}"/>
              </a:ext>
            </a:extLst>
          </p:cNvPr>
          <p:cNvSpPr/>
          <p:nvPr userDrawn="1"/>
        </p:nvSpPr>
        <p:spPr>
          <a:xfrm>
            <a:off x="1121502" y="2052941"/>
            <a:ext cx="2846383" cy="20470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algn="ctr"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D762484F-4717-4A42-9F4C-E2B5CACA977C}"/>
              </a:ext>
            </a:extLst>
          </p:cNvPr>
          <p:cNvSpPr/>
          <p:nvPr userDrawn="1"/>
        </p:nvSpPr>
        <p:spPr>
          <a:xfrm>
            <a:off x="4612438" y="2052941"/>
            <a:ext cx="2846383" cy="20470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algn="ctr"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715BCA9C-45C3-1D4A-87DD-C1C3AA4BAF9A}"/>
              </a:ext>
            </a:extLst>
          </p:cNvPr>
          <p:cNvSpPr/>
          <p:nvPr userDrawn="1"/>
        </p:nvSpPr>
        <p:spPr>
          <a:xfrm>
            <a:off x="8103373" y="2052941"/>
            <a:ext cx="2846383" cy="20470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algn="ctr"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E17E7AF-FDF5-C648-AD07-0E934D22F257}"/>
              </a:ext>
            </a:extLst>
          </p:cNvPr>
          <p:cNvSpPr/>
          <p:nvPr userDrawn="1"/>
        </p:nvSpPr>
        <p:spPr>
          <a:xfrm>
            <a:off x="5711017" y="1704301"/>
            <a:ext cx="649224" cy="649224"/>
          </a:xfrm>
          <a:prstGeom prst="ellipse">
            <a:avLst/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A2B9AE7-1E7A-164E-A0D1-C11AD1C88732}"/>
              </a:ext>
            </a:extLst>
          </p:cNvPr>
          <p:cNvSpPr/>
          <p:nvPr userDrawn="1"/>
        </p:nvSpPr>
        <p:spPr>
          <a:xfrm>
            <a:off x="2220082" y="1704301"/>
            <a:ext cx="649224" cy="649224"/>
          </a:xfrm>
          <a:prstGeom prst="ellipse">
            <a:avLst/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BA94851-0F68-D743-8576-195A564B26AC}"/>
              </a:ext>
            </a:extLst>
          </p:cNvPr>
          <p:cNvSpPr/>
          <p:nvPr userDrawn="1"/>
        </p:nvSpPr>
        <p:spPr>
          <a:xfrm>
            <a:off x="9201951" y="1704301"/>
            <a:ext cx="649224" cy="649224"/>
          </a:xfrm>
          <a:prstGeom prst="ellipse">
            <a:avLst/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8B078C2-3C13-DB46-BF0E-8B4D8D46A381}"/>
              </a:ext>
            </a:extLst>
          </p:cNvPr>
          <p:cNvSpPr/>
          <p:nvPr userDrawn="1"/>
        </p:nvSpPr>
        <p:spPr>
          <a:xfrm>
            <a:off x="1121502" y="4193101"/>
            <a:ext cx="2846383" cy="2037606"/>
          </a:xfrm>
          <a:prstGeom prst="rect">
            <a:avLst/>
          </a:prstGeom>
          <a:noFill/>
          <a:ln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1E264B8-B85C-9442-B4ED-98A28BAFF9B5}"/>
              </a:ext>
            </a:extLst>
          </p:cNvPr>
          <p:cNvSpPr/>
          <p:nvPr userDrawn="1"/>
        </p:nvSpPr>
        <p:spPr>
          <a:xfrm>
            <a:off x="4612438" y="4191572"/>
            <a:ext cx="2846383" cy="2037606"/>
          </a:xfrm>
          <a:prstGeom prst="rect">
            <a:avLst/>
          </a:prstGeom>
          <a:noFill/>
          <a:ln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60977EB8-0405-644A-83E6-35CDFCAB2C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21502" y="2638535"/>
            <a:ext cx="2846383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EBD5CFBA-30C3-FB45-B035-EC38F1AC14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06828" y="3030894"/>
            <a:ext cx="2475727" cy="45073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100" b="0" i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69B79D01-3EC4-F444-97A9-7BC6829B73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082" y="1868699"/>
            <a:ext cx="649224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105F70D2-107C-634D-9804-C98F9C5285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1017" y="1868699"/>
            <a:ext cx="649224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DF135F91-7AFB-944E-AFB4-B5FB77FDD0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01951" y="1868699"/>
            <a:ext cx="649224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B7188D1F-C5E5-2A49-A18D-2AF2A9E13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12439" y="2638535"/>
            <a:ext cx="2846383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CE84E6FC-AF22-6947-A0BC-63A9168810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7765" y="3030894"/>
            <a:ext cx="2475727" cy="45073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100" b="0" i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7CF2504E-BEFA-FF43-B2AF-1C02D01808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03373" y="2638535"/>
            <a:ext cx="2846383" cy="31802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EAF6863B-6C45-7848-9679-9B59C3077E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88699" y="3030894"/>
            <a:ext cx="2475727" cy="45073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100" b="0" i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9" name="Bildplatzhalter 4">
            <a:extLst>
              <a:ext uri="{FF2B5EF4-FFF2-40B4-BE49-F238E27FC236}">
                <a16:creationId xmlns:a16="http://schemas.microsoft.com/office/drawing/2014/main" id="{8A90EBDC-DE56-0B46-8D1A-DCB576094CD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26855" y="4367057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0" name="Bildplatzhalter 4">
            <a:extLst>
              <a:ext uri="{FF2B5EF4-FFF2-40B4-BE49-F238E27FC236}">
                <a16:creationId xmlns:a16="http://schemas.microsoft.com/office/drawing/2014/main" id="{9DAFE767-EB36-A349-831C-A3BC55D15C7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26855" y="5278710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1" name="Bildplatzhalter 4">
            <a:extLst>
              <a:ext uri="{FF2B5EF4-FFF2-40B4-BE49-F238E27FC236}">
                <a16:creationId xmlns:a16="http://schemas.microsoft.com/office/drawing/2014/main" id="{E57F1919-7DC3-1542-B412-3C5E0791440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912155" y="4367057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2" name="Bildplatzhalter 4">
            <a:extLst>
              <a:ext uri="{FF2B5EF4-FFF2-40B4-BE49-F238E27FC236}">
                <a16:creationId xmlns:a16="http://schemas.microsoft.com/office/drawing/2014/main" id="{B7643284-4A1E-3E42-95F9-6E7059284FE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912155" y="5278710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3" name="Bildplatzhalter 4">
            <a:extLst>
              <a:ext uri="{FF2B5EF4-FFF2-40B4-BE49-F238E27FC236}">
                <a16:creationId xmlns:a16="http://schemas.microsoft.com/office/drawing/2014/main" id="{BA360112-7EEE-3449-9876-9A4DA75C29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402115" y="4367057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4" name="Bildplatzhalter 4">
            <a:extLst>
              <a:ext uri="{FF2B5EF4-FFF2-40B4-BE49-F238E27FC236}">
                <a16:creationId xmlns:a16="http://schemas.microsoft.com/office/drawing/2014/main" id="{979DF961-0FE4-3947-B03A-B96943AE192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02115" y="5278710"/>
            <a:ext cx="2251653" cy="7693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91FA40A-EC0F-C847-ACFA-E0AE1D16EEEE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AC1C3C-6DED-494B-A882-A4B21AEA103F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F282F36-7B33-264B-ABAF-6EF879F0E07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EE1C6FFD-8AC9-0446-900E-DE3B40937B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606353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FF4A155B-61CB-854E-9566-EAB98F783F2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878843" y="1855627"/>
            <a:ext cx="1906029" cy="2218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2966B389-D55D-0B4A-BC08-3F31EF85A20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066539" y="1855627"/>
            <a:ext cx="1906029" cy="2218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66D8612B-43EF-5D4D-B05B-19D99CAB68B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51977" y="1855627"/>
            <a:ext cx="1906029" cy="2218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CCC27284-6658-EA49-9EC8-3A719C41558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684586" y="1855627"/>
            <a:ext cx="1906029" cy="2218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F258983E-3FF4-2B43-BD0C-29F82DC435B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96890" y="1855627"/>
            <a:ext cx="1906029" cy="2218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462D308A-DEF5-4F46-B2BA-2F70D01B8AA0}"/>
              </a:ext>
            </a:extLst>
          </p:cNvPr>
          <p:cNvCxnSpPr>
            <a:cxnSpLocks/>
          </p:cNvCxnSpPr>
          <p:nvPr userDrawn="1"/>
        </p:nvCxnSpPr>
        <p:spPr>
          <a:xfrm>
            <a:off x="520606" y="4257715"/>
            <a:ext cx="1212842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8">
            <a:extLst>
              <a:ext uri="{FF2B5EF4-FFF2-40B4-BE49-F238E27FC236}">
                <a16:creationId xmlns:a16="http://schemas.microsoft.com/office/drawing/2014/main" id="{3D45662E-1A90-0F4A-A5B3-0CAEE4710BD5}"/>
              </a:ext>
            </a:extLst>
          </p:cNvPr>
          <p:cNvCxnSpPr>
            <a:cxnSpLocks/>
          </p:cNvCxnSpPr>
          <p:nvPr userDrawn="1"/>
        </p:nvCxnSpPr>
        <p:spPr>
          <a:xfrm>
            <a:off x="2693842" y="4257715"/>
            <a:ext cx="1212842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8">
            <a:extLst>
              <a:ext uri="{FF2B5EF4-FFF2-40B4-BE49-F238E27FC236}">
                <a16:creationId xmlns:a16="http://schemas.microsoft.com/office/drawing/2014/main" id="{44ABD05F-48AC-AC45-8FB7-CC75A5B01B57}"/>
              </a:ext>
            </a:extLst>
          </p:cNvPr>
          <p:cNvCxnSpPr>
            <a:cxnSpLocks/>
          </p:cNvCxnSpPr>
          <p:nvPr userDrawn="1"/>
        </p:nvCxnSpPr>
        <p:spPr>
          <a:xfrm>
            <a:off x="4905177" y="4257715"/>
            <a:ext cx="1212842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8">
            <a:extLst>
              <a:ext uri="{FF2B5EF4-FFF2-40B4-BE49-F238E27FC236}">
                <a16:creationId xmlns:a16="http://schemas.microsoft.com/office/drawing/2014/main" id="{EAE6205B-439E-5E41-9C23-00E795D4F872}"/>
              </a:ext>
            </a:extLst>
          </p:cNvPr>
          <p:cNvCxnSpPr>
            <a:cxnSpLocks/>
          </p:cNvCxnSpPr>
          <p:nvPr userDrawn="1"/>
        </p:nvCxnSpPr>
        <p:spPr>
          <a:xfrm>
            <a:off x="7106986" y="4257715"/>
            <a:ext cx="1212842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8">
            <a:extLst>
              <a:ext uri="{FF2B5EF4-FFF2-40B4-BE49-F238E27FC236}">
                <a16:creationId xmlns:a16="http://schemas.microsoft.com/office/drawing/2014/main" id="{A84AEC68-F7C5-524C-9CCF-3318FFF687AC}"/>
              </a:ext>
            </a:extLst>
          </p:cNvPr>
          <p:cNvCxnSpPr>
            <a:cxnSpLocks/>
          </p:cNvCxnSpPr>
          <p:nvPr userDrawn="1"/>
        </p:nvCxnSpPr>
        <p:spPr>
          <a:xfrm>
            <a:off x="9280219" y="4257715"/>
            <a:ext cx="1212842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841F5D1A-CCE7-0140-87B1-6A42614C7D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2986" y="4372485"/>
            <a:ext cx="1598653" cy="5821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993AFE86-3046-7248-AFA6-045034FE21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2986" y="4983719"/>
            <a:ext cx="1906029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utobus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CCEBEA1D-09AF-2048-88E9-C53321F57DD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93842" y="4377972"/>
            <a:ext cx="1598653" cy="5821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8E19276D-C739-A44C-BD1C-755337E18A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93842" y="4989206"/>
            <a:ext cx="1906029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utobus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16D74BF0-3C6B-3B43-BA20-752B5B3AAF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905177" y="4372485"/>
            <a:ext cx="1598653" cy="5821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075235F9-CE1C-A84E-92AB-3F0D63159BB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05177" y="4983719"/>
            <a:ext cx="1906029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utobus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078BA130-FA22-9F45-9D3D-0544D521D46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16512" y="4372485"/>
            <a:ext cx="1598653" cy="5821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7ACF7465-ED90-FB40-95D5-43727A1F67C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16512" y="4983719"/>
            <a:ext cx="1906029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utobus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54CCF347-3001-ED4A-9401-1D50C9D313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80219" y="4372485"/>
            <a:ext cx="1598653" cy="5821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A2859B2E-0E12-2B49-9885-8A960F277F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80219" y="4983719"/>
            <a:ext cx="1906029" cy="122933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utobus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7FDEE0-6C72-F142-940F-9D2E86D568E9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AA2EE6-6DCB-3F41-B647-2F5CCED04263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47845A-FA7F-5142-B89C-819995CAE5B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B8F7513F-5698-844F-8BD8-2F22687391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1546081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5AFEB20-0918-B64C-BDB7-50451042291E}"/>
              </a:ext>
            </a:extLst>
          </p:cNvPr>
          <p:cNvSpPr/>
          <p:nvPr userDrawn="1"/>
        </p:nvSpPr>
        <p:spPr>
          <a:xfrm>
            <a:off x="4173258" y="2760219"/>
            <a:ext cx="2938425" cy="2938426"/>
          </a:xfrm>
          <a:prstGeom prst="ellipse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+mj-lt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65398F3-31F6-C644-B32F-B1455787792C}"/>
              </a:ext>
            </a:extLst>
          </p:cNvPr>
          <p:cNvSpPr/>
          <p:nvPr userDrawn="1"/>
        </p:nvSpPr>
        <p:spPr>
          <a:xfrm>
            <a:off x="5139664" y="2338055"/>
            <a:ext cx="1005611" cy="10056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+mj-lt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F33B670-EC33-5444-8531-03A58353559A}"/>
              </a:ext>
            </a:extLst>
          </p:cNvPr>
          <p:cNvGrpSpPr/>
          <p:nvPr userDrawn="1"/>
        </p:nvGrpSpPr>
        <p:grpSpPr>
          <a:xfrm>
            <a:off x="3794526" y="4269281"/>
            <a:ext cx="1005611" cy="1005611"/>
            <a:chOff x="3214828" y="3147262"/>
            <a:chExt cx="1005611" cy="100561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5E37415-92A8-A547-B526-F22BEB2A05FA}"/>
                </a:ext>
              </a:extLst>
            </p:cNvPr>
            <p:cNvSpPr/>
            <p:nvPr/>
          </p:nvSpPr>
          <p:spPr>
            <a:xfrm>
              <a:off x="3214828" y="3147262"/>
              <a:ext cx="1005611" cy="100561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+mj-lt"/>
              </a:endParaRPr>
            </a:p>
          </p:txBody>
        </p:sp>
        <p:grpSp>
          <p:nvGrpSpPr>
            <p:cNvPr id="8" name="Group 591">
              <a:extLst>
                <a:ext uri="{FF2B5EF4-FFF2-40B4-BE49-F238E27FC236}">
                  <a16:creationId xmlns:a16="http://schemas.microsoft.com/office/drawing/2014/main" id="{0565A97E-038E-1048-B62F-EA7AF867D9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87059" y="3358131"/>
              <a:ext cx="637539" cy="607486"/>
              <a:chOff x="368300" y="5484813"/>
              <a:chExt cx="471488" cy="449262"/>
            </a:xfrm>
            <a:solidFill>
              <a:schemeClr val="tx2"/>
            </a:solidFill>
          </p:grpSpPr>
          <p:sp>
            <p:nvSpPr>
              <p:cNvPr id="9" name="Freeform 302">
                <a:extLst>
                  <a:ext uri="{FF2B5EF4-FFF2-40B4-BE49-F238E27FC236}">
                    <a16:creationId xmlns:a16="http://schemas.microsoft.com/office/drawing/2014/main" id="{F3940020-9240-4646-BEF9-23FA42E2B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300" y="5484813"/>
                <a:ext cx="317500" cy="449262"/>
              </a:xfrm>
              <a:custGeom>
                <a:avLst/>
                <a:gdLst>
                  <a:gd name="T0" fmla="*/ 512 w 555"/>
                  <a:gd name="T1" fmla="*/ 784 h 784"/>
                  <a:gd name="T2" fmla="*/ 43 w 555"/>
                  <a:gd name="T3" fmla="*/ 784 h 784"/>
                  <a:gd name="T4" fmla="*/ 0 w 555"/>
                  <a:gd name="T5" fmla="*/ 741 h 784"/>
                  <a:gd name="T6" fmla="*/ 0 w 555"/>
                  <a:gd name="T7" fmla="*/ 43 h 784"/>
                  <a:gd name="T8" fmla="*/ 43 w 555"/>
                  <a:gd name="T9" fmla="*/ 0 h 784"/>
                  <a:gd name="T10" fmla="*/ 355 w 555"/>
                  <a:gd name="T11" fmla="*/ 0 h 784"/>
                  <a:gd name="T12" fmla="*/ 355 w 555"/>
                  <a:gd name="T13" fmla="*/ 29 h 784"/>
                  <a:gd name="T14" fmla="*/ 43 w 555"/>
                  <a:gd name="T15" fmla="*/ 29 h 784"/>
                  <a:gd name="T16" fmla="*/ 29 w 555"/>
                  <a:gd name="T17" fmla="*/ 43 h 784"/>
                  <a:gd name="T18" fmla="*/ 29 w 555"/>
                  <a:gd name="T19" fmla="*/ 741 h 784"/>
                  <a:gd name="T20" fmla="*/ 43 w 555"/>
                  <a:gd name="T21" fmla="*/ 755 h 784"/>
                  <a:gd name="T22" fmla="*/ 512 w 555"/>
                  <a:gd name="T23" fmla="*/ 755 h 784"/>
                  <a:gd name="T24" fmla="*/ 525 w 555"/>
                  <a:gd name="T25" fmla="*/ 741 h 784"/>
                  <a:gd name="T26" fmla="*/ 525 w 555"/>
                  <a:gd name="T27" fmla="*/ 199 h 784"/>
                  <a:gd name="T28" fmla="*/ 555 w 555"/>
                  <a:gd name="T29" fmla="*/ 199 h 784"/>
                  <a:gd name="T30" fmla="*/ 555 w 555"/>
                  <a:gd name="T31" fmla="*/ 741 h 784"/>
                  <a:gd name="T32" fmla="*/ 512 w 555"/>
                  <a:gd name="T33" fmla="*/ 784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5" h="784">
                    <a:moveTo>
                      <a:pt x="512" y="784"/>
                    </a:moveTo>
                    <a:cubicBezTo>
                      <a:pt x="43" y="784"/>
                      <a:pt x="43" y="784"/>
                      <a:pt x="43" y="784"/>
                    </a:cubicBezTo>
                    <a:cubicBezTo>
                      <a:pt x="19" y="784"/>
                      <a:pt x="0" y="765"/>
                      <a:pt x="0" y="741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355" y="0"/>
                      <a:pt x="355" y="0"/>
                      <a:pt x="355" y="0"/>
                    </a:cubicBezTo>
                    <a:cubicBezTo>
                      <a:pt x="355" y="29"/>
                      <a:pt x="355" y="29"/>
                      <a:pt x="355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35" y="29"/>
                      <a:pt x="29" y="35"/>
                      <a:pt x="29" y="43"/>
                    </a:cubicBezTo>
                    <a:cubicBezTo>
                      <a:pt x="29" y="741"/>
                      <a:pt x="29" y="741"/>
                      <a:pt x="29" y="741"/>
                    </a:cubicBezTo>
                    <a:cubicBezTo>
                      <a:pt x="29" y="749"/>
                      <a:pt x="35" y="755"/>
                      <a:pt x="43" y="755"/>
                    </a:cubicBezTo>
                    <a:cubicBezTo>
                      <a:pt x="512" y="755"/>
                      <a:pt x="512" y="755"/>
                      <a:pt x="512" y="755"/>
                    </a:cubicBezTo>
                    <a:cubicBezTo>
                      <a:pt x="519" y="755"/>
                      <a:pt x="525" y="749"/>
                      <a:pt x="525" y="741"/>
                    </a:cubicBezTo>
                    <a:cubicBezTo>
                      <a:pt x="525" y="199"/>
                      <a:pt x="525" y="199"/>
                      <a:pt x="525" y="199"/>
                    </a:cubicBezTo>
                    <a:cubicBezTo>
                      <a:pt x="555" y="199"/>
                      <a:pt x="555" y="199"/>
                      <a:pt x="555" y="199"/>
                    </a:cubicBezTo>
                    <a:cubicBezTo>
                      <a:pt x="555" y="741"/>
                      <a:pt x="555" y="741"/>
                      <a:pt x="555" y="741"/>
                    </a:cubicBezTo>
                    <a:cubicBezTo>
                      <a:pt x="555" y="765"/>
                      <a:pt x="535" y="784"/>
                      <a:pt x="512" y="784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303">
                <a:extLst>
                  <a:ext uri="{FF2B5EF4-FFF2-40B4-BE49-F238E27FC236}">
                    <a16:creationId xmlns:a16="http://schemas.microsoft.com/office/drawing/2014/main" id="{F99E17AB-3C3B-B54F-A7A3-ADCB85E138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563" y="5484813"/>
                <a:ext cx="123825" cy="122237"/>
              </a:xfrm>
              <a:custGeom>
                <a:avLst/>
                <a:gdLst>
                  <a:gd name="T0" fmla="*/ 199 w 215"/>
                  <a:gd name="T1" fmla="*/ 215 h 215"/>
                  <a:gd name="T2" fmla="*/ 43 w 215"/>
                  <a:gd name="T3" fmla="*/ 215 h 215"/>
                  <a:gd name="T4" fmla="*/ 0 w 215"/>
                  <a:gd name="T5" fmla="*/ 172 h 215"/>
                  <a:gd name="T6" fmla="*/ 0 w 215"/>
                  <a:gd name="T7" fmla="*/ 15 h 215"/>
                  <a:gd name="T8" fmla="*/ 9 w 215"/>
                  <a:gd name="T9" fmla="*/ 2 h 215"/>
                  <a:gd name="T10" fmla="*/ 25 w 215"/>
                  <a:gd name="T11" fmla="*/ 5 h 215"/>
                  <a:gd name="T12" fmla="*/ 209 w 215"/>
                  <a:gd name="T13" fmla="*/ 190 h 215"/>
                  <a:gd name="T14" fmla="*/ 213 w 215"/>
                  <a:gd name="T15" fmla="*/ 206 h 215"/>
                  <a:gd name="T16" fmla="*/ 199 w 215"/>
                  <a:gd name="T17" fmla="*/ 215 h 215"/>
                  <a:gd name="T18" fmla="*/ 29 w 215"/>
                  <a:gd name="T19" fmla="*/ 51 h 215"/>
                  <a:gd name="T20" fmla="*/ 29 w 215"/>
                  <a:gd name="T21" fmla="*/ 172 h 215"/>
                  <a:gd name="T22" fmla="*/ 43 w 215"/>
                  <a:gd name="T23" fmla="*/ 186 h 215"/>
                  <a:gd name="T24" fmla="*/ 164 w 215"/>
                  <a:gd name="T25" fmla="*/ 186 h 215"/>
                  <a:gd name="T26" fmla="*/ 29 w 215"/>
                  <a:gd name="T27" fmla="*/ 5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5" h="215">
                    <a:moveTo>
                      <a:pt x="199" y="215"/>
                    </a:moveTo>
                    <a:cubicBezTo>
                      <a:pt x="43" y="215"/>
                      <a:pt x="43" y="215"/>
                      <a:pt x="43" y="215"/>
                    </a:cubicBezTo>
                    <a:cubicBezTo>
                      <a:pt x="19" y="215"/>
                      <a:pt x="0" y="196"/>
                      <a:pt x="0" y="17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9"/>
                      <a:pt x="3" y="4"/>
                      <a:pt x="9" y="2"/>
                    </a:cubicBezTo>
                    <a:cubicBezTo>
                      <a:pt x="14" y="0"/>
                      <a:pt x="20" y="1"/>
                      <a:pt x="25" y="5"/>
                    </a:cubicBezTo>
                    <a:cubicBezTo>
                      <a:pt x="209" y="190"/>
                      <a:pt x="209" y="190"/>
                      <a:pt x="209" y="190"/>
                    </a:cubicBezTo>
                    <a:cubicBezTo>
                      <a:pt x="214" y="194"/>
                      <a:pt x="215" y="200"/>
                      <a:pt x="213" y="206"/>
                    </a:cubicBezTo>
                    <a:cubicBezTo>
                      <a:pt x="210" y="211"/>
                      <a:pt x="205" y="215"/>
                      <a:pt x="199" y="215"/>
                    </a:cubicBezTo>
                    <a:close/>
                    <a:moveTo>
                      <a:pt x="29" y="51"/>
                    </a:moveTo>
                    <a:cubicBezTo>
                      <a:pt x="29" y="172"/>
                      <a:pt x="29" y="172"/>
                      <a:pt x="29" y="172"/>
                    </a:cubicBezTo>
                    <a:cubicBezTo>
                      <a:pt x="29" y="179"/>
                      <a:pt x="35" y="186"/>
                      <a:pt x="43" y="186"/>
                    </a:cubicBezTo>
                    <a:cubicBezTo>
                      <a:pt x="164" y="186"/>
                      <a:pt x="164" y="186"/>
                      <a:pt x="164" y="186"/>
                    </a:cubicBezTo>
                    <a:cubicBezTo>
                      <a:pt x="29" y="51"/>
                      <a:pt x="29" y="51"/>
                      <a:pt x="29" y="5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Freeform 304">
                <a:extLst>
                  <a:ext uri="{FF2B5EF4-FFF2-40B4-BE49-F238E27FC236}">
                    <a16:creationId xmlns:a16="http://schemas.microsoft.com/office/drawing/2014/main" id="{C02AF11B-B3A8-6C44-8E28-7A64236D33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075" y="5538788"/>
                <a:ext cx="74612" cy="363537"/>
              </a:xfrm>
              <a:custGeom>
                <a:avLst/>
                <a:gdLst>
                  <a:gd name="T0" fmla="*/ 65 w 130"/>
                  <a:gd name="T1" fmla="*/ 633 h 633"/>
                  <a:gd name="T2" fmla="*/ 0 w 130"/>
                  <a:gd name="T3" fmla="*/ 540 h 633"/>
                  <a:gd name="T4" fmla="*/ 0 w 130"/>
                  <a:gd name="T5" fmla="*/ 0 h 633"/>
                  <a:gd name="T6" fmla="*/ 130 w 130"/>
                  <a:gd name="T7" fmla="*/ 0 h 633"/>
                  <a:gd name="T8" fmla="*/ 130 w 130"/>
                  <a:gd name="T9" fmla="*/ 540 h 633"/>
                  <a:gd name="T10" fmla="*/ 65 w 130"/>
                  <a:gd name="T11" fmla="*/ 633 h 633"/>
                  <a:gd name="T12" fmla="*/ 29 w 130"/>
                  <a:gd name="T13" fmla="*/ 29 h 633"/>
                  <a:gd name="T14" fmla="*/ 29 w 130"/>
                  <a:gd name="T15" fmla="*/ 540 h 633"/>
                  <a:gd name="T16" fmla="*/ 101 w 130"/>
                  <a:gd name="T17" fmla="*/ 540 h 633"/>
                  <a:gd name="T18" fmla="*/ 101 w 130"/>
                  <a:gd name="T19" fmla="*/ 29 h 633"/>
                  <a:gd name="T20" fmla="*/ 29 w 130"/>
                  <a:gd name="T21" fmla="*/ 2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0" h="633">
                    <a:moveTo>
                      <a:pt x="65" y="633"/>
                    </a:moveTo>
                    <a:cubicBezTo>
                      <a:pt x="34" y="633"/>
                      <a:pt x="0" y="604"/>
                      <a:pt x="0" y="5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0" y="540"/>
                      <a:pt x="130" y="540"/>
                      <a:pt x="130" y="540"/>
                    </a:cubicBezTo>
                    <a:cubicBezTo>
                      <a:pt x="130" y="604"/>
                      <a:pt x="97" y="633"/>
                      <a:pt x="65" y="633"/>
                    </a:cubicBezTo>
                    <a:close/>
                    <a:moveTo>
                      <a:pt x="29" y="29"/>
                    </a:moveTo>
                    <a:cubicBezTo>
                      <a:pt x="29" y="540"/>
                      <a:pt x="29" y="540"/>
                      <a:pt x="29" y="540"/>
                    </a:cubicBezTo>
                    <a:cubicBezTo>
                      <a:pt x="29" y="624"/>
                      <a:pt x="101" y="624"/>
                      <a:pt x="101" y="540"/>
                    </a:cubicBezTo>
                    <a:cubicBezTo>
                      <a:pt x="101" y="29"/>
                      <a:pt x="101" y="29"/>
                      <a:pt x="101" y="29"/>
                    </a:cubicBezTo>
                    <a:cubicBezTo>
                      <a:pt x="29" y="29"/>
                      <a:pt x="29" y="29"/>
                      <a:pt x="29" y="2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305">
                <a:extLst>
                  <a:ext uri="{FF2B5EF4-FFF2-40B4-BE49-F238E27FC236}">
                    <a16:creationId xmlns:a16="http://schemas.microsoft.com/office/drawing/2014/main" id="{81E81FD5-F7EF-A24F-918F-0F21E887F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13" y="5586413"/>
                <a:ext cx="104775" cy="120650"/>
              </a:xfrm>
              <a:custGeom>
                <a:avLst/>
                <a:gdLst>
                  <a:gd name="T0" fmla="*/ 66 w 66"/>
                  <a:gd name="T1" fmla="*/ 76 h 76"/>
                  <a:gd name="T2" fmla="*/ 55 w 66"/>
                  <a:gd name="T3" fmla="*/ 76 h 76"/>
                  <a:gd name="T4" fmla="*/ 55 w 66"/>
                  <a:gd name="T5" fmla="*/ 11 h 76"/>
                  <a:gd name="T6" fmla="*/ 0 w 66"/>
                  <a:gd name="T7" fmla="*/ 11 h 76"/>
                  <a:gd name="T8" fmla="*/ 0 w 66"/>
                  <a:gd name="T9" fmla="*/ 0 h 76"/>
                  <a:gd name="T10" fmla="*/ 66 w 66"/>
                  <a:gd name="T11" fmla="*/ 0 h 76"/>
                  <a:gd name="T12" fmla="*/ 66 w 66"/>
                  <a:gd name="T13" fmla="*/ 76 h 76"/>
                  <a:gd name="T14" fmla="*/ 66 w 66"/>
                  <a:gd name="T1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76">
                    <a:moveTo>
                      <a:pt x="66" y="76"/>
                    </a:moveTo>
                    <a:lnTo>
                      <a:pt x="55" y="76"/>
                    </a:lnTo>
                    <a:lnTo>
                      <a:pt x="55" y="11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66" y="0"/>
                    </a:lnTo>
                    <a:lnTo>
                      <a:pt x="66" y="76"/>
                    </a:lnTo>
                    <a:lnTo>
                      <a:pt x="66" y="7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306">
                <a:extLst>
                  <a:ext uri="{FF2B5EF4-FFF2-40B4-BE49-F238E27FC236}">
                    <a16:creationId xmlns:a16="http://schemas.microsoft.com/office/drawing/2014/main" id="{62607009-8A9C-184B-A552-DCCE93079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650" y="5892800"/>
                <a:ext cx="15875" cy="33337"/>
              </a:xfrm>
              <a:custGeom>
                <a:avLst/>
                <a:gdLst>
                  <a:gd name="T0" fmla="*/ 10 w 10"/>
                  <a:gd name="T1" fmla="*/ 21 h 21"/>
                  <a:gd name="T2" fmla="*/ 0 w 10"/>
                  <a:gd name="T3" fmla="*/ 21 h 21"/>
                  <a:gd name="T4" fmla="*/ 0 w 10"/>
                  <a:gd name="T5" fmla="*/ 0 h 21"/>
                  <a:gd name="T6" fmla="*/ 10 w 10"/>
                  <a:gd name="T7" fmla="*/ 0 h 21"/>
                  <a:gd name="T8" fmla="*/ 10 w 10"/>
                  <a:gd name="T9" fmla="*/ 21 h 21"/>
                  <a:gd name="T10" fmla="*/ 10 w 10"/>
                  <a:gd name="T1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1">
                    <a:moveTo>
                      <a:pt x="10" y="21"/>
                    </a:moveTo>
                    <a:lnTo>
                      <a:pt x="0" y="21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21"/>
                    </a:lnTo>
                    <a:lnTo>
                      <a:pt x="10" y="2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307">
                <a:extLst>
                  <a:ext uri="{FF2B5EF4-FFF2-40B4-BE49-F238E27FC236}">
                    <a16:creationId xmlns:a16="http://schemas.microsoft.com/office/drawing/2014/main" id="{2704B067-583A-204E-AC07-BDD8B0FE46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5572125"/>
                <a:ext cx="85725" cy="15875"/>
              </a:xfrm>
              <a:custGeom>
                <a:avLst/>
                <a:gdLst>
                  <a:gd name="T0" fmla="*/ 54 w 54"/>
                  <a:gd name="T1" fmla="*/ 10 h 10"/>
                  <a:gd name="T2" fmla="*/ 0 w 54"/>
                  <a:gd name="T3" fmla="*/ 10 h 10"/>
                  <a:gd name="T4" fmla="*/ 0 w 54"/>
                  <a:gd name="T5" fmla="*/ 0 h 10"/>
                  <a:gd name="T6" fmla="*/ 54 w 54"/>
                  <a:gd name="T7" fmla="*/ 0 h 10"/>
                  <a:gd name="T8" fmla="*/ 54 w 54"/>
                  <a:gd name="T9" fmla="*/ 10 h 10"/>
                  <a:gd name="T10" fmla="*/ 54 w 54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10">
                    <a:moveTo>
                      <a:pt x="54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0"/>
                    </a:lnTo>
                    <a:lnTo>
                      <a:pt x="54" y="1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308">
                <a:extLst>
                  <a:ext uri="{FF2B5EF4-FFF2-40B4-BE49-F238E27FC236}">
                    <a16:creationId xmlns:a16="http://schemas.microsoft.com/office/drawing/2014/main" id="{8CA510AD-2D8D-174D-A211-B703EA818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5653088"/>
                <a:ext cx="171450" cy="15875"/>
              </a:xfrm>
              <a:custGeom>
                <a:avLst/>
                <a:gdLst>
                  <a:gd name="T0" fmla="*/ 108 w 108"/>
                  <a:gd name="T1" fmla="*/ 10 h 10"/>
                  <a:gd name="T2" fmla="*/ 0 w 108"/>
                  <a:gd name="T3" fmla="*/ 10 h 10"/>
                  <a:gd name="T4" fmla="*/ 0 w 108"/>
                  <a:gd name="T5" fmla="*/ 0 h 10"/>
                  <a:gd name="T6" fmla="*/ 108 w 108"/>
                  <a:gd name="T7" fmla="*/ 0 h 10"/>
                  <a:gd name="T8" fmla="*/ 108 w 108"/>
                  <a:gd name="T9" fmla="*/ 10 h 10"/>
                  <a:gd name="T10" fmla="*/ 108 w 108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10">
                    <a:moveTo>
                      <a:pt x="108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108" y="0"/>
                    </a:lnTo>
                    <a:lnTo>
                      <a:pt x="108" y="10"/>
                    </a:lnTo>
                    <a:lnTo>
                      <a:pt x="108" y="1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309">
                <a:extLst>
                  <a:ext uri="{FF2B5EF4-FFF2-40B4-BE49-F238E27FC236}">
                    <a16:creationId xmlns:a16="http://schemas.microsoft.com/office/drawing/2014/main" id="{8F112CF3-4572-954A-9083-28387DF63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5700713"/>
                <a:ext cx="171450" cy="15875"/>
              </a:xfrm>
              <a:custGeom>
                <a:avLst/>
                <a:gdLst>
                  <a:gd name="T0" fmla="*/ 108 w 108"/>
                  <a:gd name="T1" fmla="*/ 10 h 10"/>
                  <a:gd name="T2" fmla="*/ 0 w 108"/>
                  <a:gd name="T3" fmla="*/ 10 h 10"/>
                  <a:gd name="T4" fmla="*/ 0 w 108"/>
                  <a:gd name="T5" fmla="*/ 0 h 10"/>
                  <a:gd name="T6" fmla="*/ 108 w 108"/>
                  <a:gd name="T7" fmla="*/ 0 h 10"/>
                  <a:gd name="T8" fmla="*/ 108 w 108"/>
                  <a:gd name="T9" fmla="*/ 10 h 10"/>
                  <a:gd name="T10" fmla="*/ 108 w 108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10">
                    <a:moveTo>
                      <a:pt x="108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108" y="0"/>
                    </a:lnTo>
                    <a:lnTo>
                      <a:pt x="108" y="10"/>
                    </a:lnTo>
                    <a:lnTo>
                      <a:pt x="108" y="1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310">
                <a:extLst>
                  <a:ext uri="{FF2B5EF4-FFF2-40B4-BE49-F238E27FC236}">
                    <a16:creationId xmlns:a16="http://schemas.microsoft.com/office/drawing/2014/main" id="{4E89A89C-DDCA-D54C-A467-DEE0DF336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5746750"/>
                <a:ext cx="171450" cy="17462"/>
              </a:xfrm>
              <a:custGeom>
                <a:avLst/>
                <a:gdLst>
                  <a:gd name="T0" fmla="*/ 108 w 108"/>
                  <a:gd name="T1" fmla="*/ 11 h 11"/>
                  <a:gd name="T2" fmla="*/ 0 w 108"/>
                  <a:gd name="T3" fmla="*/ 11 h 11"/>
                  <a:gd name="T4" fmla="*/ 0 w 108"/>
                  <a:gd name="T5" fmla="*/ 0 h 11"/>
                  <a:gd name="T6" fmla="*/ 108 w 108"/>
                  <a:gd name="T7" fmla="*/ 0 h 11"/>
                  <a:gd name="T8" fmla="*/ 108 w 108"/>
                  <a:gd name="T9" fmla="*/ 11 h 11"/>
                  <a:gd name="T10" fmla="*/ 108 w 108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11">
                    <a:moveTo>
                      <a:pt x="108" y="11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108" y="0"/>
                    </a:lnTo>
                    <a:lnTo>
                      <a:pt x="108" y="11"/>
                    </a:lnTo>
                    <a:lnTo>
                      <a:pt x="108" y="1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311">
                <a:extLst>
                  <a:ext uri="{FF2B5EF4-FFF2-40B4-BE49-F238E27FC236}">
                    <a16:creationId xmlns:a16="http://schemas.microsoft.com/office/drawing/2014/main" id="{8D199B4C-6424-7249-ACA9-E0F9B77FA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5794375"/>
                <a:ext cx="85725" cy="17462"/>
              </a:xfrm>
              <a:custGeom>
                <a:avLst/>
                <a:gdLst>
                  <a:gd name="T0" fmla="*/ 54 w 54"/>
                  <a:gd name="T1" fmla="*/ 11 h 11"/>
                  <a:gd name="T2" fmla="*/ 0 w 54"/>
                  <a:gd name="T3" fmla="*/ 11 h 11"/>
                  <a:gd name="T4" fmla="*/ 0 w 54"/>
                  <a:gd name="T5" fmla="*/ 0 h 11"/>
                  <a:gd name="T6" fmla="*/ 54 w 54"/>
                  <a:gd name="T7" fmla="*/ 0 h 11"/>
                  <a:gd name="T8" fmla="*/ 54 w 54"/>
                  <a:gd name="T9" fmla="*/ 11 h 11"/>
                  <a:gd name="T10" fmla="*/ 54 w 54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11">
                    <a:moveTo>
                      <a:pt x="54" y="11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11"/>
                    </a:lnTo>
                    <a:lnTo>
                      <a:pt x="54" y="1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9" name="Group 584">
            <a:extLst>
              <a:ext uri="{FF2B5EF4-FFF2-40B4-BE49-F238E27FC236}">
                <a16:creationId xmlns:a16="http://schemas.microsoft.com/office/drawing/2014/main" id="{C7888D95-A9F7-CE46-9F93-92269B516AB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328986" y="2486165"/>
            <a:ext cx="626966" cy="691112"/>
            <a:chOff x="7294563" y="3482975"/>
            <a:chExt cx="481012" cy="530225"/>
          </a:xfrm>
          <a:solidFill>
            <a:schemeClr val="bg2"/>
          </a:solidFill>
        </p:grpSpPr>
        <p:sp>
          <p:nvSpPr>
            <p:cNvPr id="20" name="Freeform 261">
              <a:extLst>
                <a:ext uri="{FF2B5EF4-FFF2-40B4-BE49-F238E27FC236}">
                  <a16:creationId xmlns:a16="http://schemas.microsoft.com/office/drawing/2014/main" id="{96C44A06-BCAE-5740-8831-1950E1F39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3559175"/>
              <a:ext cx="334962" cy="377825"/>
            </a:xfrm>
            <a:custGeom>
              <a:avLst/>
              <a:gdLst>
                <a:gd name="T0" fmla="*/ 405 w 584"/>
                <a:gd name="T1" fmla="*/ 661 h 661"/>
                <a:gd name="T2" fmla="*/ 376 w 584"/>
                <a:gd name="T3" fmla="*/ 661 h 661"/>
                <a:gd name="T4" fmla="*/ 376 w 584"/>
                <a:gd name="T5" fmla="*/ 621 h 661"/>
                <a:gd name="T6" fmla="*/ 443 w 584"/>
                <a:gd name="T7" fmla="*/ 499 h 661"/>
                <a:gd name="T8" fmla="*/ 472 w 584"/>
                <a:gd name="T9" fmla="*/ 472 h 661"/>
                <a:gd name="T10" fmla="*/ 554 w 584"/>
                <a:gd name="T11" fmla="*/ 275 h 661"/>
                <a:gd name="T12" fmla="*/ 292 w 584"/>
                <a:gd name="T13" fmla="*/ 30 h 661"/>
                <a:gd name="T14" fmla="*/ 30 w 584"/>
                <a:gd name="T15" fmla="*/ 275 h 661"/>
                <a:gd name="T16" fmla="*/ 112 w 584"/>
                <a:gd name="T17" fmla="*/ 472 h 661"/>
                <a:gd name="T18" fmla="*/ 141 w 584"/>
                <a:gd name="T19" fmla="*/ 499 h 661"/>
                <a:gd name="T20" fmla="*/ 208 w 584"/>
                <a:gd name="T21" fmla="*/ 621 h 661"/>
                <a:gd name="T22" fmla="*/ 208 w 584"/>
                <a:gd name="T23" fmla="*/ 661 h 661"/>
                <a:gd name="T24" fmla="*/ 179 w 584"/>
                <a:gd name="T25" fmla="*/ 661 h 661"/>
                <a:gd name="T26" fmla="*/ 179 w 584"/>
                <a:gd name="T27" fmla="*/ 621 h 661"/>
                <a:gd name="T28" fmla="*/ 121 w 584"/>
                <a:gd name="T29" fmla="*/ 521 h 661"/>
                <a:gd name="T30" fmla="*/ 91 w 584"/>
                <a:gd name="T31" fmla="*/ 493 h 661"/>
                <a:gd name="T32" fmla="*/ 0 w 584"/>
                <a:gd name="T33" fmla="*/ 275 h 661"/>
                <a:gd name="T34" fmla="*/ 292 w 584"/>
                <a:gd name="T35" fmla="*/ 0 h 661"/>
                <a:gd name="T36" fmla="*/ 584 w 584"/>
                <a:gd name="T37" fmla="*/ 275 h 661"/>
                <a:gd name="T38" fmla="*/ 493 w 584"/>
                <a:gd name="T39" fmla="*/ 493 h 661"/>
                <a:gd name="T40" fmla="*/ 463 w 584"/>
                <a:gd name="T41" fmla="*/ 521 h 661"/>
                <a:gd name="T42" fmla="*/ 405 w 584"/>
                <a:gd name="T43" fmla="*/ 621 h 661"/>
                <a:gd name="T44" fmla="*/ 405 w 584"/>
                <a:gd name="T45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4" h="661">
                  <a:moveTo>
                    <a:pt x="405" y="661"/>
                  </a:moveTo>
                  <a:cubicBezTo>
                    <a:pt x="376" y="661"/>
                    <a:pt x="376" y="661"/>
                    <a:pt x="376" y="661"/>
                  </a:cubicBezTo>
                  <a:cubicBezTo>
                    <a:pt x="376" y="621"/>
                    <a:pt x="376" y="621"/>
                    <a:pt x="376" y="621"/>
                  </a:cubicBezTo>
                  <a:cubicBezTo>
                    <a:pt x="376" y="559"/>
                    <a:pt x="406" y="533"/>
                    <a:pt x="443" y="499"/>
                  </a:cubicBezTo>
                  <a:cubicBezTo>
                    <a:pt x="452" y="491"/>
                    <a:pt x="462" y="482"/>
                    <a:pt x="472" y="472"/>
                  </a:cubicBezTo>
                  <a:cubicBezTo>
                    <a:pt x="503" y="442"/>
                    <a:pt x="554" y="377"/>
                    <a:pt x="554" y="275"/>
                  </a:cubicBezTo>
                  <a:cubicBezTo>
                    <a:pt x="554" y="142"/>
                    <a:pt x="434" y="30"/>
                    <a:pt x="292" y="30"/>
                  </a:cubicBezTo>
                  <a:cubicBezTo>
                    <a:pt x="150" y="30"/>
                    <a:pt x="30" y="142"/>
                    <a:pt x="30" y="275"/>
                  </a:cubicBezTo>
                  <a:cubicBezTo>
                    <a:pt x="30" y="377"/>
                    <a:pt x="81" y="442"/>
                    <a:pt x="112" y="472"/>
                  </a:cubicBezTo>
                  <a:cubicBezTo>
                    <a:pt x="122" y="482"/>
                    <a:pt x="132" y="491"/>
                    <a:pt x="141" y="499"/>
                  </a:cubicBezTo>
                  <a:cubicBezTo>
                    <a:pt x="179" y="533"/>
                    <a:pt x="208" y="559"/>
                    <a:pt x="208" y="621"/>
                  </a:cubicBezTo>
                  <a:cubicBezTo>
                    <a:pt x="208" y="661"/>
                    <a:pt x="208" y="661"/>
                    <a:pt x="208" y="661"/>
                  </a:cubicBezTo>
                  <a:cubicBezTo>
                    <a:pt x="179" y="661"/>
                    <a:pt x="179" y="661"/>
                    <a:pt x="179" y="661"/>
                  </a:cubicBezTo>
                  <a:cubicBezTo>
                    <a:pt x="179" y="621"/>
                    <a:pt x="179" y="621"/>
                    <a:pt x="179" y="621"/>
                  </a:cubicBezTo>
                  <a:cubicBezTo>
                    <a:pt x="179" y="572"/>
                    <a:pt x="157" y="553"/>
                    <a:pt x="121" y="521"/>
                  </a:cubicBezTo>
                  <a:cubicBezTo>
                    <a:pt x="112" y="512"/>
                    <a:pt x="102" y="503"/>
                    <a:pt x="91" y="493"/>
                  </a:cubicBezTo>
                  <a:cubicBezTo>
                    <a:pt x="57" y="460"/>
                    <a:pt x="0" y="388"/>
                    <a:pt x="0" y="275"/>
                  </a:cubicBezTo>
                  <a:cubicBezTo>
                    <a:pt x="0" y="126"/>
                    <a:pt x="134" y="0"/>
                    <a:pt x="292" y="0"/>
                  </a:cubicBezTo>
                  <a:cubicBezTo>
                    <a:pt x="450" y="0"/>
                    <a:pt x="584" y="126"/>
                    <a:pt x="584" y="275"/>
                  </a:cubicBezTo>
                  <a:cubicBezTo>
                    <a:pt x="584" y="388"/>
                    <a:pt x="527" y="460"/>
                    <a:pt x="493" y="493"/>
                  </a:cubicBezTo>
                  <a:cubicBezTo>
                    <a:pt x="482" y="503"/>
                    <a:pt x="472" y="512"/>
                    <a:pt x="463" y="521"/>
                  </a:cubicBezTo>
                  <a:cubicBezTo>
                    <a:pt x="427" y="553"/>
                    <a:pt x="405" y="572"/>
                    <a:pt x="405" y="621"/>
                  </a:cubicBezTo>
                  <a:cubicBezTo>
                    <a:pt x="405" y="661"/>
                    <a:pt x="405" y="661"/>
                    <a:pt x="405" y="6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262">
              <a:extLst>
                <a:ext uri="{FF2B5EF4-FFF2-40B4-BE49-F238E27FC236}">
                  <a16:creationId xmlns:a16="http://schemas.microsoft.com/office/drawing/2014/main" id="{18377310-E947-F945-963E-00BF3CADD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7600" y="3951288"/>
              <a:ext cx="134937" cy="15875"/>
            </a:xfrm>
            <a:custGeom>
              <a:avLst/>
              <a:gdLst>
                <a:gd name="T0" fmla="*/ 85 w 85"/>
                <a:gd name="T1" fmla="*/ 10 h 10"/>
                <a:gd name="T2" fmla="*/ 0 w 85"/>
                <a:gd name="T3" fmla="*/ 10 h 10"/>
                <a:gd name="T4" fmla="*/ 0 w 85"/>
                <a:gd name="T5" fmla="*/ 0 h 10"/>
                <a:gd name="T6" fmla="*/ 85 w 85"/>
                <a:gd name="T7" fmla="*/ 0 h 10"/>
                <a:gd name="T8" fmla="*/ 85 w 85"/>
                <a:gd name="T9" fmla="*/ 10 h 10"/>
                <a:gd name="T10" fmla="*/ 85 w 85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0">
                  <a:moveTo>
                    <a:pt x="85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85" y="0"/>
                  </a:lnTo>
                  <a:lnTo>
                    <a:pt x="85" y="10"/>
                  </a:lnTo>
                  <a:lnTo>
                    <a:pt x="8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63">
              <a:extLst>
                <a:ext uri="{FF2B5EF4-FFF2-40B4-BE49-F238E27FC236}">
                  <a16:creationId xmlns:a16="http://schemas.microsoft.com/office/drawing/2014/main" id="{FB45E0F9-86A2-4D48-8F6A-65AE877B8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713" y="3984625"/>
              <a:ext cx="112712" cy="28575"/>
            </a:xfrm>
            <a:custGeom>
              <a:avLst/>
              <a:gdLst>
                <a:gd name="T0" fmla="*/ 52 w 71"/>
                <a:gd name="T1" fmla="*/ 18 h 18"/>
                <a:gd name="T2" fmla="*/ 19 w 71"/>
                <a:gd name="T3" fmla="*/ 18 h 18"/>
                <a:gd name="T4" fmla="*/ 12 w 71"/>
                <a:gd name="T5" fmla="*/ 11 h 18"/>
                <a:gd name="T6" fmla="*/ 0 w 71"/>
                <a:gd name="T7" fmla="*/ 11 h 18"/>
                <a:gd name="T8" fmla="*/ 0 w 71"/>
                <a:gd name="T9" fmla="*/ 0 h 18"/>
                <a:gd name="T10" fmla="*/ 16 w 71"/>
                <a:gd name="T11" fmla="*/ 0 h 18"/>
                <a:gd name="T12" fmla="*/ 23 w 71"/>
                <a:gd name="T13" fmla="*/ 7 h 18"/>
                <a:gd name="T14" fmla="*/ 47 w 71"/>
                <a:gd name="T15" fmla="*/ 7 h 18"/>
                <a:gd name="T16" fmla="*/ 54 w 71"/>
                <a:gd name="T17" fmla="*/ 0 h 18"/>
                <a:gd name="T18" fmla="*/ 71 w 71"/>
                <a:gd name="T19" fmla="*/ 0 h 18"/>
                <a:gd name="T20" fmla="*/ 71 w 71"/>
                <a:gd name="T21" fmla="*/ 11 h 18"/>
                <a:gd name="T22" fmla="*/ 59 w 71"/>
                <a:gd name="T23" fmla="*/ 11 h 18"/>
                <a:gd name="T24" fmla="*/ 52 w 71"/>
                <a:gd name="T25" fmla="*/ 18 h 18"/>
                <a:gd name="T26" fmla="*/ 52 w 71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18">
                  <a:moveTo>
                    <a:pt x="52" y="18"/>
                  </a:moveTo>
                  <a:lnTo>
                    <a:pt x="19" y="18"/>
                  </a:ln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47" y="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71" y="11"/>
                  </a:lnTo>
                  <a:lnTo>
                    <a:pt x="59" y="11"/>
                  </a:lnTo>
                  <a:lnTo>
                    <a:pt x="52" y="18"/>
                  </a:lnTo>
                  <a:lnTo>
                    <a:pt x="5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64">
              <a:extLst>
                <a:ext uri="{FF2B5EF4-FFF2-40B4-BE49-F238E27FC236}">
                  <a16:creationId xmlns:a16="http://schemas.microsoft.com/office/drawing/2014/main" id="{1F792373-C67F-2C4E-9F65-96D499C22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3917950"/>
              <a:ext cx="68262" cy="15875"/>
            </a:xfrm>
            <a:custGeom>
              <a:avLst/>
              <a:gdLst>
                <a:gd name="T0" fmla="*/ 43 w 43"/>
                <a:gd name="T1" fmla="*/ 10 h 10"/>
                <a:gd name="T2" fmla="*/ 0 w 43"/>
                <a:gd name="T3" fmla="*/ 10 h 10"/>
                <a:gd name="T4" fmla="*/ 0 w 43"/>
                <a:gd name="T5" fmla="*/ 0 h 10"/>
                <a:gd name="T6" fmla="*/ 43 w 43"/>
                <a:gd name="T7" fmla="*/ 0 h 10"/>
                <a:gd name="T8" fmla="*/ 43 w 43"/>
                <a:gd name="T9" fmla="*/ 10 h 10"/>
                <a:gd name="T10" fmla="*/ 43 w 43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0">
                  <a:moveTo>
                    <a:pt x="43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0"/>
                  </a:lnTo>
                  <a:lnTo>
                    <a:pt x="4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65">
              <a:extLst>
                <a:ext uri="{FF2B5EF4-FFF2-40B4-BE49-F238E27FC236}">
                  <a16:creationId xmlns:a16="http://schemas.microsoft.com/office/drawing/2014/main" id="{E6B4B6F2-634E-6548-A1FA-6F9631D75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3482975"/>
              <a:ext cx="28575" cy="46037"/>
            </a:xfrm>
            <a:custGeom>
              <a:avLst/>
              <a:gdLst>
                <a:gd name="T0" fmla="*/ 7 w 18"/>
                <a:gd name="T1" fmla="*/ 29 h 29"/>
                <a:gd name="T2" fmla="*/ 0 w 18"/>
                <a:gd name="T3" fmla="*/ 2 h 29"/>
                <a:gd name="T4" fmla="*/ 10 w 18"/>
                <a:gd name="T5" fmla="*/ 0 h 29"/>
                <a:gd name="T6" fmla="*/ 18 w 18"/>
                <a:gd name="T7" fmla="*/ 27 h 29"/>
                <a:gd name="T8" fmla="*/ 7 w 18"/>
                <a:gd name="T9" fmla="*/ 29 h 29"/>
                <a:gd name="T10" fmla="*/ 7 w 1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7" y="29"/>
                  </a:moveTo>
                  <a:lnTo>
                    <a:pt x="0" y="2"/>
                  </a:lnTo>
                  <a:lnTo>
                    <a:pt x="10" y="0"/>
                  </a:lnTo>
                  <a:lnTo>
                    <a:pt x="18" y="27"/>
                  </a:lnTo>
                  <a:lnTo>
                    <a:pt x="7" y="29"/>
                  </a:lnTo>
                  <a:lnTo>
                    <a:pt x="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66">
              <a:extLst>
                <a:ext uri="{FF2B5EF4-FFF2-40B4-BE49-F238E27FC236}">
                  <a16:creationId xmlns:a16="http://schemas.microsoft.com/office/drawing/2014/main" id="{9FE85864-0CE6-544A-9DAC-A89118852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3300" y="3541713"/>
              <a:ext cx="44450" cy="44450"/>
            </a:xfrm>
            <a:custGeom>
              <a:avLst/>
              <a:gdLst>
                <a:gd name="T0" fmla="*/ 21 w 28"/>
                <a:gd name="T1" fmla="*/ 28 h 28"/>
                <a:gd name="T2" fmla="*/ 0 w 28"/>
                <a:gd name="T3" fmla="*/ 8 h 28"/>
                <a:gd name="T4" fmla="*/ 8 w 28"/>
                <a:gd name="T5" fmla="*/ 0 h 28"/>
                <a:gd name="T6" fmla="*/ 28 w 28"/>
                <a:gd name="T7" fmla="*/ 21 h 28"/>
                <a:gd name="T8" fmla="*/ 21 w 28"/>
                <a:gd name="T9" fmla="*/ 28 h 28"/>
                <a:gd name="T10" fmla="*/ 21 w 28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21" y="28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28" y="21"/>
                  </a:lnTo>
                  <a:lnTo>
                    <a:pt x="21" y="28"/>
                  </a:lnTo>
                  <a:lnTo>
                    <a:pt x="2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67">
              <a:extLst>
                <a:ext uri="{FF2B5EF4-FFF2-40B4-BE49-F238E27FC236}">
                  <a16:creationId xmlns:a16="http://schemas.microsoft.com/office/drawing/2014/main" id="{600161AD-945B-F647-BC10-B0584BC9F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651250"/>
              <a:ext cx="46037" cy="28575"/>
            </a:xfrm>
            <a:custGeom>
              <a:avLst/>
              <a:gdLst>
                <a:gd name="T0" fmla="*/ 27 w 29"/>
                <a:gd name="T1" fmla="*/ 18 h 18"/>
                <a:gd name="T2" fmla="*/ 0 w 29"/>
                <a:gd name="T3" fmla="*/ 10 h 18"/>
                <a:gd name="T4" fmla="*/ 2 w 29"/>
                <a:gd name="T5" fmla="*/ 0 h 18"/>
                <a:gd name="T6" fmla="*/ 29 w 29"/>
                <a:gd name="T7" fmla="*/ 7 h 18"/>
                <a:gd name="T8" fmla="*/ 27 w 29"/>
                <a:gd name="T9" fmla="*/ 18 h 18"/>
                <a:gd name="T10" fmla="*/ 27 w 2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8">
                  <a:moveTo>
                    <a:pt x="27" y="18"/>
                  </a:moveTo>
                  <a:lnTo>
                    <a:pt x="0" y="10"/>
                  </a:lnTo>
                  <a:lnTo>
                    <a:pt x="2" y="0"/>
                  </a:lnTo>
                  <a:lnTo>
                    <a:pt x="29" y="7"/>
                  </a:lnTo>
                  <a:lnTo>
                    <a:pt x="27" y="18"/>
                  </a:lnTo>
                  <a:lnTo>
                    <a:pt x="2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8">
              <a:extLst>
                <a:ext uri="{FF2B5EF4-FFF2-40B4-BE49-F238E27FC236}">
                  <a16:creationId xmlns:a16="http://schemas.microsoft.com/office/drawing/2014/main" id="{80B8F83A-89E3-FC4C-8A64-D378840AE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767138"/>
              <a:ext cx="46037" cy="28575"/>
            </a:xfrm>
            <a:custGeom>
              <a:avLst/>
              <a:gdLst>
                <a:gd name="T0" fmla="*/ 2 w 29"/>
                <a:gd name="T1" fmla="*/ 18 h 18"/>
                <a:gd name="T2" fmla="*/ 0 w 29"/>
                <a:gd name="T3" fmla="*/ 8 h 18"/>
                <a:gd name="T4" fmla="*/ 27 w 29"/>
                <a:gd name="T5" fmla="*/ 0 h 18"/>
                <a:gd name="T6" fmla="*/ 29 w 29"/>
                <a:gd name="T7" fmla="*/ 11 h 18"/>
                <a:gd name="T8" fmla="*/ 2 w 29"/>
                <a:gd name="T9" fmla="*/ 18 h 18"/>
                <a:gd name="T10" fmla="*/ 2 w 2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8">
                  <a:moveTo>
                    <a:pt x="2" y="18"/>
                  </a:moveTo>
                  <a:lnTo>
                    <a:pt x="0" y="8"/>
                  </a:lnTo>
                  <a:lnTo>
                    <a:pt x="27" y="0"/>
                  </a:lnTo>
                  <a:lnTo>
                    <a:pt x="29" y="11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69">
              <a:extLst>
                <a:ext uri="{FF2B5EF4-FFF2-40B4-BE49-F238E27FC236}">
                  <a16:creationId xmlns:a16="http://schemas.microsoft.com/office/drawing/2014/main" id="{07380A67-866B-1C4B-BE69-F87BCCAA6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3300" y="3860800"/>
              <a:ext cx="44450" cy="42862"/>
            </a:xfrm>
            <a:custGeom>
              <a:avLst/>
              <a:gdLst>
                <a:gd name="T0" fmla="*/ 8 w 28"/>
                <a:gd name="T1" fmla="*/ 27 h 27"/>
                <a:gd name="T2" fmla="*/ 0 w 28"/>
                <a:gd name="T3" fmla="*/ 20 h 27"/>
                <a:gd name="T4" fmla="*/ 21 w 28"/>
                <a:gd name="T5" fmla="*/ 0 h 27"/>
                <a:gd name="T6" fmla="*/ 28 w 28"/>
                <a:gd name="T7" fmla="*/ 7 h 27"/>
                <a:gd name="T8" fmla="*/ 8 w 28"/>
                <a:gd name="T9" fmla="*/ 27 h 27"/>
                <a:gd name="T10" fmla="*/ 8 w 28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7">
                  <a:moveTo>
                    <a:pt x="8" y="27"/>
                  </a:moveTo>
                  <a:lnTo>
                    <a:pt x="0" y="20"/>
                  </a:lnTo>
                  <a:lnTo>
                    <a:pt x="21" y="0"/>
                  </a:lnTo>
                  <a:lnTo>
                    <a:pt x="28" y="7"/>
                  </a:lnTo>
                  <a:lnTo>
                    <a:pt x="8" y="27"/>
                  </a:ln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70">
              <a:extLst>
                <a:ext uri="{FF2B5EF4-FFF2-40B4-BE49-F238E27FC236}">
                  <a16:creationId xmlns:a16="http://schemas.microsoft.com/office/drawing/2014/main" id="{AD10CA64-1DB8-9F4F-805E-E13965389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388" y="3860800"/>
              <a:ext cx="42862" cy="42862"/>
            </a:xfrm>
            <a:custGeom>
              <a:avLst/>
              <a:gdLst>
                <a:gd name="T0" fmla="*/ 20 w 27"/>
                <a:gd name="T1" fmla="*/ 27 h 27"/>
                <a:gd name="T2" fmla="*/ 0 w 27"/>
                <a:gd name="T3" fmla="*/ 7 h 27"/>
                <a:gd name="T4" fmla="*/ 7 w 27"/>
                <a:gd name="T5" fmla="*/ 0 h 27"/>
                <a:gd name="T6" fmla="*/ 27 w 27"/>
                <a:gd name="T7" fmla="*/ 20 h 27"/>
                <a:gd name="T8" fmla="*/ 20 w 27"/>
                <a:gd name="T9" fmla="*/ 27 h 27"/>
                <a:gd name="T10" fmla="*/ 20 w 27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7">
                  <a:moveTo>
                    <a:pt x="20" y="27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27" y="20"/>
                  </a:lnTo>
                  <a:lnTo>
                    <a:pt x="20" y="27"/>
                  </a:lnTo>
                  <a:lnTo>
                    <a:pt x="2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71">
              <a:extLst>
                <a:ext uri="{FF2B5EF4-FFF2-40B4-BE49-F238E27FC236}">
                  <a16:creationId xmlns:a16="http://schemas.microsoft.com/office/drawing/2014/main" id="{AFA90EC7-4F7A-C446-B903-8138A33E7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7950" y="3767138"/>
              <a:ext cx="47625" cy="28575"/>
            </a:xfrm>
            <a:custGeom>
              <a:avLst/>
              <a:gdLst>
                <a:gd name="T0" fmla="*/ 27 w 30"/>
                <a:gd name="T1" fmla="*/ 18 h 18"/>
                <a:gd name="T2" fmla="*/ 0 w 30"/>
                <a:gd name="T3" fmla="*/ 11 h 18"/>
                <a:gd name="T4" fmla="*/ 3 w 30"/>
                <a:gd name="T5" fmla="*/ 0 h 18"/>
                <a:gd name="T6" fmla="*/ 30 w 30"/>
                <a:gd name="T7" fmla="*/ 8 h 18"/>
                <a:gd name="T8" fmla="*/ 27 w 30"/>
                <a:gd name="T9" fmla="*/ 18 h 18"/>
                <a:gd name="T10" fmla="*/ 27 w 30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8">
                  <a:moveTo>
                    <a:pt x="27" y="18"/>
                  </a:moveTo>
                  <a:lnTo>
                    <a:pt x="0" y="11"/>
                  </a:lnTo>
                  <a:lnTo>
                    <a:pt x="3" y="0"/>
                  </a:lnTo>
                  <a:lnTo>
                    <a:pt x="30" y="8"/>
                  </a:lnTo>
                  <a:lnTo>
                    <a:pt x="27" y="18"/>
                  </a:lnTo>
                  <a:lnTo>
                    <a:pt x="2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74">
              <a:extLst>
                <a:ext uri="{FF2B5EF4-FFF2-40B4-BE49-F238E27FC236}">
                  <a16:creationId xmlns:a16="http://schemas.microsoft.com/office/drawing/2014/main" id="{D781DF2C-32F5-CB44-B489-1C51DA226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5" y="3482975"/>
              <a:ext cx="28575" cy="46037"/>
            </a:xfrm>
            <a:custGeom>
              <a:avLst/>
              <a:gdLst>
                <a:gd name="T0" fmla="*/ 11 w 18"/>
                <a:gd name="T1" fmla="*/ 29 h 29"/>
                <a:gd name="T2" fmla="*/ 0 w 18"/>
                <a:gd name="T3" fmla="*/ 27 h 29"/>
                <a:gd name="T4" fmla="*/ 8 w 18"/>
                <a:gd name="T5" fmla="*/ 0 h 29"/>
                <a:gd name="T6" fmla="*/ 18 w 18"/>
                <a:gd name="T7" fmla="*/ 2 h 29"/>
                <a:gd name="T8" fmla="*/ 11 w 18"/>
                <a:gd name="T9" fmla="*/ 29 h 29"/>
                <a:gd name="T10" fmla="*/ 11 w 1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11" y="29"/>
                  </a:moveTo>
                  <a:lnTo>
                    <a:pt x="0" y="27"/>
                  </a:lnTo>
                  <a:lnTo>
                    <a:pt x="8" y="0"/>
                  </a:lnTo>
                  <a:lnTo>
                    <a:pt x="18" y="2"/>
                  </a:lnTo>
                  <a:lnTo>
                    <a:pt x="11" y="29"/>
                  </a:ln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73">
              <a:extLst>
                <a:ext uri="{FF2B5EF4-FFF2-40B4-BE49-F238E27FC236}">
                  <a16:creationId xmlns:a16="http://schemas.microsoft.com/office/drawing/2014/main" id="{19E59FEA-D024-7143-830C-B5E90AF43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388" y="3541713"/>
              <a:ext cx="42862" cy="44450"/>
            </a:xfrm>
            <a:custGeom>
              <a:avLst/>
              <a:gdLst>
                <a:gd name="T0" fmla="*/ 7 w 27"/>
                <a:gd name="T1" fmla="*/ 28 h 28"/>
                <a:gd name="T2" fmla="*/ 0 w 27"/>
                <a:gd name="T3" fmla="*/ 21 h 28"/>
                <a:gd name="T4" fmla="*/ 20 w 27"/>
                <a:gd name="T5" fmla="*/ 0 h 28"/>
                <a:gd name="T6" fmla="*/ 27 w 27"/>
                <a:gd name="T7" fmla="*/ 8 h 28"/>
                <a:gd name="T8" fmla="*/ 7 w 27"/>
                <a:gd name="T9" fmla="*/ 28 h 28"/>
                <a:gd name="T10" fmla="*/ 7 w 27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8">
                  <a:moveTo>
                    <a:pt x="7" y="28"/>
                  </a:moveTo>
                  <a:lnTo>
                    <a:pt x="0" y="21"/>
                  </a:lnTo>
                  <a:lnTo>
                    <a:pt x="20" y="0"/>
                  </a:lnTo>
                  <a:lnTo>
                    <a:pt x="27" y="8"/>
                  </a:lnTo>
                  <a:lnTo>
                    <a:pt x="7" y="28"/>
                  </a:lnTo>
                  <a:lnTo>
                    <a:pt x="7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72">
              <a:extLst>
                <a:ext uri="{FF2B5EF4-FFF2-40B4-BE49-F238E27FC236}">
                  <a16:creationId xmlns:a16="http://schemas.microsoft.com/office/drawing/2014/main" id="{F90B6C60-F492-1C43-8F3C-9034F481C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7950" y="3651250"/>
              <a:ext cx="47625" cy="28575"/>
            </a:xfrm>
            <a:custGeom>
              <a:avLst/>
              <a:gdLst>
                <a:gd name="T0" fmla="*/ 3 w 30"/>
                <a:gd name="T1" fmla="*/ 18 h 18"/>
                <a:gd name="T2" fmla="*/ 0 w 30"/>
                <a:gd name="T3" fmla="*/ 7 h 18"/>
                <a:gd name="T4" fmla="*/ 27 w 30"/>
                <a:gd name="T5" fmla="*/ 0 h 18"/>
                <a:gd name="T6" fmla="*/ 30 w 30"/>
                <a:gd name="T7" fmla="*/ 10 h 18"/>
                <a:gd name="T8" fmla="*/ 3 w 30"/>
                <a:gd name="T9" fmla="*/ 18 h 18"/>
                <a:gd name="T10" fmla="*/ 3 w 30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8">
                  <a:moveTo>
                    <a:pt x="3" y="18"/>
                  </a:moveTo>
                  <a:lnTo>
                    <a:pt x="0" y="7"/>
                  </a:lnTo>
                  <a:lnTo>
                    <a:pt x="27" y="0"/>
                  </a:lnTo>
                  <a:lnTo>
                    <a:pt x="30" y="10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15D26BD-9CA7-4B47-9CB1-F4B77E93625D}"/>
              </a:ext>
            </a:extLst>
          </p:cNvPr>
          <p:cNvGrpSpPr/>
          <p:nvPr userDrawn="1"/>
        </p:nvGrpSpPr>
        <p:grpSpPr>
          <a:xfrm>
            <a:off x="6484804" y="4265994"/>
            <a:ext cx="1005611" cy="1005611"/>
            <a:chOff x="8038097" y="4514980"/>
            <a:chExt cx="1005611" cy="1005611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0A96801-6B25-BB4F-A7EB-6A67A9665325}"/>
                </a:ext>
              </a:extLst>
            </p:cNvPr>
            <p:cNvSpPr/>
            <p:nvPr/>
          </p:nvSpPr>
          <p:spPr>
            <a:xfrm>
              <a:off x="8038097" y="4514980"/>
              <a:ext cx="1005611" cy="1005611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+mj-lt"/>
              </a:endParaRPr>
            </a:p>
          </p:txBody>
        </p:sp>
        <p:grpSp>
          <p:nvGrpSpPr>
            <p:cNvPr id="36" name="Group 587">
              <a:extLst>
                <a:ext uri="{FF2B5EF4-FFF2-40B4-BE49-F238E27FC236}">
                  <a16:creationId xmlns:a16="http://schemas.microsoft.com/office/drawing/2014/main" id="{289C2CA8-370E-9B4E-A6CD-3167FE5F8C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40441" y="4749992"/>
              <a:ext cx="638718" cy="582027"/>
              <a:chOff x="3817938" y="3500438"/>
              <a:chExt cx="536574" cy="488949"/>
            </a:xfrm>
            <a:solidFill>
              <a:schemeClr val="tx2"/>
            </a:solidFill>
          </p:grpSpPr>
          <p:sp>
            <p:nvSpPr>
              <p:cNvPr id="37" name="Freeform 206">
                <a:extLst>
                  <a:ext uri="{FF2B5EF4-FFF2-40B4-BE49-F238E27FC236}">
                    <a16:creationId xmlns:a16="http://schemas.microsoft.com/office/drawing/2014/main" id="{E837A92F-0597-084C-9DC8-CB9E247BD8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500438"/>
                <a:ext cx="347662" cy="347662"/>
              </a:xfrm>
              <a:custGeom>
                <a:avLst/>
                <a:gdLst>
                  <a:gd name="T0" fmla="*/ 334 w 608"/>
                  <a:gd name="T1" fmla="*/ 553 h 608"/>
                  <a:gd name="T2" fmla="*/ 246 w 608"/>
                  <a:gd name="T3" fmla="*/ 608 h 608"/>
                  <a:gd name="T4" fmla="*/ 149 w 608"/>
                  <a:gd name="T5" fmla="*/ 501 h 608"/>
                  <a:gd name="T6" fmla="*/ 48 w 608"/>
                  <a:gd name="T7" fmla="*/ 478 h 608"/>
                  <a:gd name="T8" fmla="*/ 55 w 608"/>
                  <a:gd name="T9" fmla="*/ 334 h 608"/>
                  <a:gd name="T10" fmla="*/ 0 w 608"/>
                  <a:gd name="T11" fmla="*/ 246 h 608"/>
                  <a:gd name="T12" fmla="*/ 106 w 608"/>
                  <a:gd name="T13" fmla="*/ 149 h 608"/>
                  <a:gd name="T14" fmla="*/ 130 w 608"/>
                  <a:gd name="T15" fmla="*/ 48 h 608"/>
                  <a:gd name="T16" fmla="*/ 274 w 608"/>
                  <a:gd name="T17" fmla="*/ 55 h 608"/>
                  <a:gd name="T18" fmla="*/ 362 w 608"/>
                  <a:gd name="T19" fmla="*/ 0 h 608"/>
                  <a:gd name="T20" fmla="*/ 459 w 608"/>
                  <a:gd name="T21" fmla="*/ 106 h 608"/>
                  <a:gd name="T22" fmla="*/ 560 w 608"/>
                  <a:gd name="T23" fmla="*/ 130 h 608"/>
                  <a:gd name="T24" fmla="*/ 553 w 608"/>
                  <a:gd name="T25" fmla="*/ 273 h 608"/>
                  <a:gd name="T26" fmla="*/ 608 w 608"/>
                  <a:gd name="T27" fmla="*/ 362 h 608"/>
                  <a:gd name="T28" fmla="*/ 502 w 608"/>
                  <a:gd name="T29" fmla="*/ 458 h 608"/>
                  <a:gd name="T30" fmla="*/ 478 w 608"/>
                  <a:gd name="T31" fmla="*/ 560 h 608"/>
                  <a:gd name="T32" fmla="*/ 166 w 608"/>
                  <a:gd name="T33" fmla="*/ 543 h 608"/>
                  <a:gd name="T34" fmla="*/ 257 w 608"/>
                  <a:gd name="T35" fmla="*/ 521 h 608"/>
                  <a:gd name="T36" fmla="*/ 340 w 608"/>
                  <a:gd name="T37" fmla="*/ 522 h 608"/>
                  <a:gd name="T38" fmla="*/ 376 w 608"/>
                  <a:gd name="T39" fmla="*/ 570 h 608"/>
                  <a:gd name="T40" fmla="*/ 424 w 608"/>
                  <a:gd name="T41" fmla="*/ 490 h 608"/>
                  <a:gd name="T42" fmla="*/ 484 w 608"/>
                  <a:gd name="T43" fmla="*/ 433 h 608"/>
                  <a:gd name="T44" fmla="*/ 543 w 608"/>
                  <a:gd name="T45" fmla="*/ 441 h 608"/>
                  <a:gd name="T46" fmla="*/ 521 w 608"/>
                  <a:gd name="T47" fmla="*/ 351 h 608"/>
                  <a:gd name="T48" fmla="*/ 523 w 608"/>
                  <a:gd name="T49" fmla="*/ 267 h 608"/>
                  <a:gd name="T50" fmla="*/ 571 w 608"/>
                  <a:gd name="T51" fmla="*/ 232 h 608"/>
                  <a:gd name="T52" fmla="*/ 491 w 608"/>
                  <a:gd name="T53" fmla="*/ 184 h 608"/>
                  <a:gd name="T54" fmla="*/ 433 w 608"/>
                  <a:gd name="T55" fmla="*/ 123 h 608"/>
                  <a:gd name="T56" fmla="*/ 442 w 608"/>
                  <a:gd name="T57" fmla="*/ 64 h 608"/>
                  <a:gd name="T58" fmla="*/ 351 w 608"/>
                  <a:gd name="T59" fmla="*/ 87 h 608"/>
                  <a:gd name="T60" fmla="*/ 268 w 608"/>
                  <a:gd name="T61" fmla="*/ 85 h 608"/>
                  <a:gd name="T62" fmla="*/ 232 w 608"/>
                  <a:gd name="T63" fmla="*/ 37 h 608"/>
                  <a:gd name="T64" fmla="*/ 184 w 608"/>
                  <a:gd name="T65" fmla="*/ 117 h 608"/>
                  <a:gd name="T66" fmla="*/ 124 w 608"/>
                  <a:gd name="T67" fmla="*/ 175 h 608"/>
                  <a:gd name="T68" fmla="*/ 65 w 608"/>
                  <a:gd name="T69" fmla="*/ 166 h 608"/>
                  <a:gd name="T70" fmla="*/ 87 w 608"/>
                  <a:gd name="T71" fmla="*/ 257 h 608"/>
                  <a:gd name="T72" fmla="*/ 85 w 608"/>
                  <a:gd name="T73" fmla="*/ 340 h 608"/>
                  <a:gd name="T74" fmla="*/ 37 w 608"/>
                  <a:gd name="T75" fmla="*/ 376 h 608"/>
                  <a:gd name="T76" fmla="*/ 117 w 608"/>
                  <a:gd name="T77" fmla="*/ 424 h 608"/>
                  <a:gd name="T78" fmla="*/ 175 w 608"/>
                  <a:gd name="T79" fmla="*/ 484 h 608"/>
                  <a:gd name="T80" fmla="*/ 166 w 608"/>
                  <a:gd name="T81" fmla="*/ 543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8" h="608">
                    <a:moveTo>
                      <a:pt x="362" y="608"/>
                    </a:moveTo>
                    <a:cubicBezTo>
                      <a:pt x="334" y="553"/>
                      <a:pt x="334" y="553"/>
                      <a:pt x="334" y="553"/>
                    </a:cubicBezTo>
                    <a:cubicBezTo>
                      <a:pt x="314" y="555"/>
                      <a:pt x="294" y="555"/>
                      <a:pt x="274" y="553"/>
                    </a:cubicBezTo>
                    <a:cubicBezTo>
                      <a:pt x="246" y="608"/>
                      <a:pt x="246" y="608"/>
                      <a:pt x="246" y="608"/>
                    </a:cubicBezTo>
                    <a:cubicBezTo>
                      <a:pt x="130" y="560"/>
                      <a:pt x="130" y="560"/>
                      <a:pt x="130" y="560"/>
                    </a:cubicBezTo>
                    <a:cubicBezTo>
                      <a:pt x="149" y="501"/>
                      <a:pt x="149" y="501"/>
                      <a:pt x="149" y="501"/>
                    </a:cubicBezTo>
                    <a:cubicBezTo>
                      <a:pt x="133" y="489"/>
                      <a:pt x="119" y="474"/>
                      <a:pt x="106" y="458"/>
                    </a:cubicBezTo>
                    <a:cubicBezTo>
                      <a:pt x="48" y="478"/>
                      <a:pt x="48" y="478"/>
                      <a:pt x="48" y="478"/>
                    </a:cubicBezTo>
                    <a:cubicBezTo>
                      <a:pt x="0" y="362"/>
                      <a:pt x="0" y="362"/>
                      <a:pt x="0" y="362"/>
                    </a:cubicBezTo>
                    <a:cubicBezTo>
                      <a:pt x="55" y="334"/>
                      <a:pt x="55" y="334"/>
                      <a:pt x="55" y="334"/>
                    </a:cubicBezTo>
                    <a:cubicBezTo>
                      <a:pt x="52" y="314"/>
                      <a:pt x="52" y="293"/>
                      <a:pt x="55" y="273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48" y="130"/>
                      <a:pt x="48" y="130"/>
                      <a:pt x="48" y="13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19" y="133"/>
                      <a:pt x="133" y="119"/>
                      <a:pt x="149" y="106"/>
                    </a:cubicBezTo>
                    <a:cubicBezTo>
                      <a:pt x="130" y="48"/>
                      <a:pt x="130" y="48"/>
                      <a:pt x="130" y="48"/>
                    </a:cubicBezTo>
                    <a:cubicBezTo>
                      <a:pt x="246" y="0"/>
                      <a:pt x="246" y="0"/>
                      <a:pt x="246" y="0"/>
                    </a:cubicBezTo>
                    <a:cubicBezTo>
                      <a:pt x="274" y="55"/>
                      <a:pt x="274" y="55"/>
                      <a:pt x="274" y="55"/>
                    </a:cubicBezTo>
                    <a:cubicBezTo>
                      <a:pt x="294" y="52"/>
                      <a:pt x="314" y="52"/>
                      <a:pt x="334" y="55"/>
                    </a:cubicBezTo>
                    <a:cubicBezTo>
                      <a:pt x="362" y="0"/>
                      <a:pt x="362" y="0"/>
                      <a:pt x="362" y="0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59" y="106"/>
                      <a:pt x="459" y="106"/>
                      <a:pt x="459" y="106"/>
                    </a:cubicBezTo>
                    <a:cubicBezTo>
                      <a:pt x="475" y="118"/>
                      <a:pt x="489" y="133"/>
                      <a:pt x="502" y="149"/>
                    </a:cubicBezTo>
                    <a:cubicBezTo>
                      <a:pt x="560" y="130"/>
                      <a:pt x="560" y="130"/>
                      <a:pt x="560" y="130"/>
                    </a:cubicBezTo>
                    <a:cubicBezTo>
                      <a:pt x="608" y="246"/>
                      <a:pt x="608" y="246"/>
                      <a:pt x="608" y="246"/>
                    </a:cubicBezTo>
                    <a:cubicBezTo>
                      <a:pt x="553" y="273"/>
                      <a:pt x="553" y="273"/>
                      <a:pt x="553" y="273"/>
                    </a:cubicBezTo>
                    <a:cubicBezTo>
                      <a:pt x="556" y="293"/>
                      <a:pt x="556" y="314"/>
                      <a:pt x="553" y="334"/>
                    </a:cubicBezTo>
                    <a:cubicBezTo>
                      <a:pt x="608" y="362"/>
                      <a:pt x="608" y="362"/>
                      <a:pt x="608" y="362"/>
                    </a:cubicBezTo>
                    <a:cubicBezTo>
                      <a:pt x="560" y="478"/>
                      <a:pt x="560" y="478"/>
                      <a:pt x="560" y="478"/>
                    </a:cubicBezTo>
                    <a:cubicBezTo>
                      <a:pt x="502" y="458"/>
                      <a:pt x="502" y="458"/>
                      <a:pt x="502" y="458"/>
                    </a:cubicBezTo>
                    <a:cubicBezTo>
                      <a:pt x="489" y="474"/>
                      <a:pt x="475" y="489"/>
                      <a:pt x="459" y="501"/>
                    </a:cubicBezTo>
                    <a:cubicBezTo>
                      <a:pt x="478" y="560"/>
                      <a:pt x="478" y="560"/>
                      <a:pt x="478" y="560"/>
                    </a:cubicBezTo>
                    <a:cubicBezTo>
                      <a:pt x="362" y="608"/>
                      <a:pt x="362" y="608"/>
                      <a:pt x="362" y="608"/>
                    </a:cubicBezTo>
                    <a:close/>
                    <a:moveTo>
                      <a:pt x="166" y="543"/>
                    </a:moveTo>
                    <a:cubicBezTo>
                      <a:pt x="232" y="570"/>
                      <a:pt x="232" y="570"/>
                      <a:pt x="232" y="570"/>
                    </a:cubicBezTo>
                    <a:cubicBezTo>
                      <a:pt x="257" y="521"/>
                      <a:pt x="257" y="521"/>
                      <a:pt x="257" y="521"/>
                    </a:cubicBezTo>
                    <a:cubicBezTo>
                      <a:pt x="268" y="522"/>
                      <a:pt x="268" y="522"/>
                      <a:pt x="268" y="522"/>
                    </a:cubicBezTo>
                    <a:cubicBezTo>
                      <a:pt x="292" y="526"/>
                      <a:pt x="316" y="526"/>
                      <a:pt x="340" y="522"/>
                    </a:cubicBezTo>
                    <a:cubicBezTo>
                      <a:pt x="351" y="520"/>
                      <a:pt x="351" y="520"/>
                      <a:pt x="351" y="520"/>
                    </a:cubicBezTo>
                    <a:cubicBezTo>
                      <a:pt x="376" y="570"/>
                      <a:pt x="376" y="570"/>
                      <a:pt x="376" y="570"/>
                    </a:cubicBezTo>
                    <a:cubicBezTo>
                      <a:pt x="442" y="543"/>
                      <a:pt x="442" y="543"/>
                      <a:pt x="442" y="543"/>
                    </a:cubicBezTo>
                    <a:cubicBezTo>
                      <a:pt x="424" y="490"/>
                      <a:pt x="424" y="490"/>
                      <a:pt x="424" y="490"/>
                    </a:cubicBezTo>
                    <a:cubicBezTo>
                      <a:pt x="433" y="484"/>
                      <a:pt x="433" y="484"/>
                      <a:pt x="433" y="484"/>
                    </a:cubicBezTo>
                    <a:cubicBezTo>
                      <a:pt x="453" y="470"/>
                      <a:pt x="470" y="452"/>
                      <a:pt x="484" y="433"/>
                    </a:cubicBezTo>
                    <a:cubicBezTo>
                      <a:pt x="491" y="424"/>
                      <a:pt x="491" y="424"/>
                      <a:pt x="491" y="424"/>
                    </a:cubicBezTo>
                    <a:cubicBezTo>
                      <a:pt x="543" y="441"/>
                      <a:pt x="543" y="441"/>
                      <a:pt x="543" y="441"/>
                    </a:cubicBezTo>
                    <a:cubicBezTo>
                      <a:pt x="571" y="376"/>
                      <a:pt x="571" y="376"/>
                      <a:pt x="571" y="376"/>
                    </a:cubicBezTo>
                    <a:cubicBezTo>
                      <a:pt x="521" y="351"/>
                      <a:pt x="521" y="351"/>
                      <a:pt x="521" y="351"/>
                    </a:cubicBezTo>
                    <a:cubicBezTo>
                      <a:pt x="523" y="340"/>
                      <a:pt x="523" y="340"/>
                      <a:pt x="523" y="340"/>
                    </a:cubicBezTo>
                    <a:cubicBezTo>
                      <a:pt x="527" y="316"/>
                      <a:pt x="527" y="291"/>
                      <a:pt x="523" y="267"/>
                    </a:cubicBezTo>
                    <a:cubicBezTo>
                      <a:pt x="521" y="257"/>
                      <a:pt x="521" y="257"/>
                      <a:pt x="521" y="257"/>
                    </a:cubicBezTo>
                    <a:cubicBezTo>
                      <a:pt x="571" y="232"/>
                      <a:pt x="571" y="232"/>
                      <a:pt x="571" y="232"/>
                    </a:cubicBezTo>
                    <a:cubicBezTo>
                      <a:pt x="543" y="166"/>
                      <a:pt x="543" y="166"/>
                      <a:pt x="543" y="166"/>
                    </a:cubicBezTo>
                    <a:cubicBezTo>
                      <a:pt x="491" y="184"/>
                      <a:pt x="491" y="184"/>
                      <a:pt x="491" y="184"/>
                    </a:cubicBezTo>
                    <a:cubicBezTo>
                      <a:pt x="484" y="175"/>
                      <a:pt x="484" y="175"/>
                      <a:pt x="484" y="175"/>
                    </a:cubicBezTo>
                    <a:cubicBezTo>
                      <a:pt x="470" y="155"/>
                      <a:pt x="453" y="137"/>
                      <a:pt x="433" y="123"/>
                    </a:cubicBezTo>
                    <a:cubicBezTo>
                      <a:pt x="424" y="117"/>
                      <a:pt x="424" y="117"/>
                      <a:pt x="424" y="117"/>
                    </a:cubicBezTo>
                    <a:cubicBezTo>
                      <a:pt x="442" y="64"/>
                      <a:pt x="442" y="64"/>
                      <a:pt x="442" y="64"/>
                    </a:cubicBezTo>
                    <a:cubicBezTo>
                      <a:pt x="376" y="37"/>
                      <a:pt x="376" y="37"/>
                      <a:pt x="376" y="37"/>
                    </a:cubicBezTo>
                    <a:cubicBezTo>
                      <a:pt x="351" y="87"/>
                      <a:pt x="351" y="87"/>
                      <a:pt x="351" y="87"/>
                    </a:cubicBezTo>
                    <a:cubicBezTo>
                      <a:pt x="340" y="85"/>
                      <a:pt x="340" y="85"/>
                      <a:pt x="340" y="85"/>
                    </a:cubicBezTo>
                    <a:cubicBezTo>
                      <a:pt x="316" y="81"/>
                      <a:pt x="292" y="81"/>
                      <a:pt x="268" y="85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32" y="37"/>
                      <a:pt x="232" y="37"/>
                      <a:pt x="232" y="37"/>
                    </a:cubicBezTo>
                    <a:cubicBezTo>
                      <a:pt x="166" y="64"/>
                      <a:pt x="166" y="64"/>
                      <a:pt x="166" y="64"/>
                    </a:cubicBezTo>
                    <a:cubicBezTo>
                      <a:pt x="184" y="117"/>
                      <a:pt x="184" y="117"/>
                      <a:pt x="184" y="117"/>
                    </a:cubicBezTo>
                    <a:cubicBezTo>
                      <a:pt x="175" y="123"/>
                      <a:pt x="175" y="123"/>
                      <a:pt x="175" y="123"/>
                    </a:cubicBezTo>
                    <a:cubicBezTo>
                      <a:pt x="155" y="138"/>
                      <a:pt x="138" y="155"/>
                      <a:pt x="124" y="175"/>
                    </a:cubicBezTo>
                    <a:cubicBezTo>
                      <a:pt x="117" y="184"/>
                      <a:pt x="117" y="184"/>
                      <a:pt x="117" y="184"/>
                    </a:cubicBezTo>
                    <a:cubicBezTo>
                      <a:pt x="65" y="166"/>
                      <a:pt x="65" y="166"/>
                      <a:pt x="65" y="166"/>
                    </a:cubicBezTo>
                    <a:cubicBezTo>
                      <a:pt x="37" y="232"/>
                      <a:pt x="37" y="232"/>
                      <a:pt x="37" y="232"/>
                    </a:cubicBezTo>
                    <a:cubicBezTo>
                      <a:pt x="87" y="257"/>
                      <a:pt x="87" y="257"/>
                      <a:pt x="87" y="257"/>
                    </a:cubicBezTo>
                    <a:cubicBezTo>
                      <a:pt x="85" y="267"/>
                      <a:pt x="85" y="267"/>
                      <a:pt x="85" y="267"/>
                    </a:cubicBezTo>
                    <a:cubicBezTo>
                      <a:pt x="81" y="291"/>
                      <a:pt x="81" y="316"/>
                      <a:pt x="85" y="340"/>
                    </a:cubicBezTo>
                    <a:cubicBezTo>
                      <a:pt x="87" y="351"/>
                      <a:pt x="87" y="351"/>
                      <a:pt x="87" y="351"/>
                    </a:cubicBezTo>
                    <a:cubicBezTo>
                      <a:pt x="37" y="376"/>
                      <a:pt x="37" y="376"/>
                      <a:pt x="37" y="376"/>
                    </a:cubicBezTo>
                    <a:cubicBezTo>
                      <a:pt x="65" y="441"/>
                      <a:pt x="65" y="441"/>
                      <a:pt x="65" y="441"/>
                    </a:cubicBezTo>
                    <a:cubicBezTo>
                      <a:pt x="117" y="424"/>
                      <a:pt x="117" y="424"/>
                      <a:pt x="117" y="424"/>
                    </a:cubicBezTo>
                    <a:cubicBezTo>
                      <a:pt x="124" y="433"/>
                      <a:pt x="124" y="433"/>
                      <a:pt x="124" y="433"/>
                    </a:cubicBezTo>
                    <a:cubicBezTo>
                      <a:pt x="138" y="453"/>
                      <a:pt x="155" y="470"/>
                      <a:pt x="175" y="484"/>
                    </a:cubicBezTo>
                    <a:cubicBezTo>
                      <a:pt x="184" y="490"/>
                      <a:pt x="184" y="490"/>
                      <a:pt x="184" y="490"/>
                    </a:cubicBezTo>
                    <a:cubicBezTo>
                      <a:pt x="166" y="543"/>
                      <a:pt x="166" y="543"/>
                      <a:pt x="166" y="54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8" name="Freeform 207">
                <a:extLst>
                  <a:ext uri="{FF2B5EF4-FFF2-40B4-BE49-F238E27FC236}">
                    <a16:creationId xmlns:a16="http://schemas.microsoft.com/office/drawing/2014/main" id="{280B3CB4-920F-9B43-9713-3530AA46B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0038" y="3611563"/>
                <a:ext cx="141287" cy="125412"/>
              </a:xfrm>
              <a:custGeom>
                <a:avLst/>
                <a:gdLst>
                  <a:gd name="T0" fmla="*/ 124 w 248"/>
                  <a:gd name="T1" fmla="*/ 219 h 219"/>
                  <a:gd name="T2" fmla="*/ 124 w 248"/>
                  <a:gd name="T3" fmla="*/ 219 h 219"/>
                  <a:gd name="T4" fmla="*/ 23 w 248"/>
                  <a:gd name="T5" fmla="*/ 151 h 219"/>
                  <a:gd name="T6" fmla="*/ 82 w 248"/>
                  <a:gd name="T7" fmla="*/ 9 h 219"/>
                  <a:gd name="T8" fmla="*/ 124 w 248"/>
                  <a:gd name="T9" fmla="*/ 0 h 219"/>
                  <a:gd name="T10" fmla="*/ 225 w 248"/>
                  <a:gd name="T11" fmla="*/ 68 h 219"/>
                  <a:gd name="T12" fmla="*/ 166 w 248"/>
                  <a:gd name="T13" fmla="*/ 210 h 219"/>
                  <a:gd name="T14" fmla="*/ 124 w 248"/>
                  <a:gd name="T15" fmla="*/ 219 h 219"/>
                  <a:gd name="T16" fmla="*/ 124 w 248"/>
                  <a:gd name="T17" fmla="*/ 30 h 219"/>
                  <a:gd name="T18" fmla="*/ 93 w 248"/>
                  <a:gd name="T19" fmla="*/ 36 h 219"/>
                  <a:gd name="T20" fmla="*/ 50 w 248"/>
                  <a:gd name="T21" fmla="*/ 140 h 219"/>
                  <a:gd name="T22" fmla="*/ 124 w 248"/>
                  <a:gd name="T23" fmla="*/ 190 h 219"/>
                  <a:gd name="T24" fmla="*/ 124 w 248"/>
                  <a:gd name="T25" fmla="*/ 190 h 219"/>
                  <a:gd name="T26" fmla="*/ 155 w 248"/>
                  <a:gd name="T27" fmla="*/ 183 h 219"/>
                  <a:gd name="T28" fmla="*/ 198 w 248"/>
                  <a:gd name="T29" fmla="*/ 79 h 219"/>
                  <a:gd name="T30" fmla="*/ 124 w 248"/>
                  <a:gd name="T31" fmla="*/ 3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8" h="219">
                    <a:moveTo>
                      <a:pt x="124" y="219"/>
                    </a:moveTo>
                    <a:cubicBezTo>
                      <a:pt x="124" y="219"/>
                      <a:pt x="124" y="219"/>
                      <a:pt x="124" y="219"/>
                    </a:cubicBezTo>
                    <a:cubicBezTo>
                      <a:pt x="80" y="219"/>
                      <a:pt x="40" y="192"/>
                      <a:pt x="23" y="151"/>
                    </a:cubicBezTo>
                    <a:cubicBezTo>
                      <a:pt x="0" y="96"/>
                      <a:pt x="27" y="32"/>
                      <a:pt x="82" y="9"/>
                    </a:cubicBezTo>
                    <a:cubicBezTo>
                      <a:pt x="96" y="3"/>
                      <a:pt x="110" y="0"/>
                      <a:pt x="124" y="0"/>
                    </a:cubicBezTo>
                    <a:cubicBezTo>
                      <a:pt x="168" y="0"/>
                      <a:pt x="208" y="27"/>
                      <a:pt x="225" y="68"/>
                    </a:cubicBezTo>
                    <a:cubicBezTo>
                      <a:pt x="248" y="123"/>
                      <a:pt x="221" y="187"/>
                      <a:pt x="166" y="210"/>
                    </a:cubicBezTo>
                    <a:cubicBezTo>
                      <a:pt x="152" y="216"/>
                      <a:pt x="138" y="219"/>
                      <a:pt x="124" y="219"/>
                    </a:cubicBezTo>
                    <a:close/>
                    <a:moveTo>
                      <a:pt x="124" y="30"/>
                    </a:moveTo>
                    <a:cubicBezTo>
                      <a:pt x="114" y="30"/>
                      <a:pt x="103" y="32"/>
                      <a:pt x="93" y="36"/>
                    </a:cubicBezTo>
                    <a:cubicBezTo>
                      <a:pt x="53" y="53"/>
                      <a:pt x="33" y="100"/>
                      <a:pt x="50" y="140"/>
                    </a:cubicBezTo>
                    <a:cubicBezTo>
                      <a:pt x="63" y="170"/>
                      <a:pt x="92" y="190"/>
                      <a:pt x="124" y="190"/>
                    </a:cubicBezTo>
                    <a:cubicBezTo>
                      <a:pt x="124" y="190"/>
                      <a:pt x="124" y="190"/>
                      <a:pt x="124" y="190"/>
                    </a:cubicBezTo>
                    <a:cubicBezTo>
                      <a:pt x="135" y="190"/>
                      <a:pt x="145" y="187"/>
                      <a:pt x="155" y="183"/>
                    </a:cubicBezTo>
                    <a:cubicBezTo>
                      <a:pt x="195" y="167"/>
                      <a:pt x="215" y="120"/>
                      <a:pt x="198" y="79"/>
                    </a:cubicBezTo>
                    <a:cubicBezTo>
                      <a:pt x="185" y="49"/>
                      <a:pt x="156" y="30"/>
                      <a:pt x="124" y="3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208">
                <a:extLst>
                  <a:ext uri="{FF2B5EF4-FFF2-40B4-BE49-F238E27FC236}">
                    <a16:creationId xmlns:a16="http://schemas.microsoft.com/office/drawing/2014/main" id="{DD432A67-645E-D14D-8C63-95E40F260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788" y="3624263"/>
                <a:ext cx="95250" cy="90487"/>
              </a:xfrm>
              <a:custGeom>
                <a:avLst/>
                <a:gdLst>
                  <a:gd name="T0" fmla="*/ 51 w 164"/>
                  <a:gd name="T1" fmla="*/ 159 h 159"/>
                  <a:gd name="T2" fmla="*/ 17 w 164"/>
                  <a:gd name="T3" fmla="*/ 121 h 159"/>
                  <a:gd name="T4" fmla="*/ 60 w 164"/>
                  <a:gd name="T5" fmla="*/ 17 h 159"/>
                  <a:gd name="T6" fmla="*/ 164 w 164"/>
                  <a:gd name="T7" fmla="*/ 60 h 159"/>
                  <a:gd name="T8" fmla="*/ 137 w 164"/>
                  <a:gd name="T9" fmla="*/ 71 h 159"/>
                  <a:gd name="T10" fmla="*/ 71 w 164"/>
                  <a:gd name="T11" fmla="*/ 44 h 159"/>
                  <a:gd name="T12" fmla="*/ 44 w 164"/>
                  <a:gd name="T13" fmla="*/ 110 h 159"/>
                  <a:gd name="T14" fmla="*/ 65 w 164"/>
                  <a:gd name="T15" fmla="*/ 134 h 159"/>
                  <a:gd name="T16" fmla="*/ 51 w 164"/>
                  <a:gd name="T1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59">
                    <a:moveTo>
                      <a:pt x="51" y="159"/>
                    </a:moveTo>
                    <a:cubicBezTo>
                      <a:pt x="35" y="150"/>
                      <a:pt x="24" y="137"/>
                      <a:pt x="17" y="121"/>
                    </a:cubicBezTo>
                    <a:cubicBezTo>
                      <a:pt x="0" y="80"/>
                      <a:pt x="19" y="34"/>
                      <a:pt x="60" y="17"/>
                    </a:cubicBezTo>
                    <a:cubicBezTo>
                      <a:pt x="101" y="0"/>
                      <a:pt x="147" y="19"/>
                      <a:pt x="164" y="60"/>
                    </a:cubicBezTo>
                    <a:cubicBezTo>
                      <a:pt x="137" y="71"/>
                      <a:pt x="137" y="71"/>
                      <a:pt x="137" y="71"/>
                    </a:cubicBezTo>
                    <a:cubicBezTo>
                      <a:pt x="127" y="45"/>
                      <a:pt x="97" y="33"/>
                      <a:pt x="71" y="44"/>
                    </a:cubicBezTo>
                    <a:cubicBezTo>
                      <a:pt x="46" y="54"/>
                      <a:pt x="33" y="84"/>
                      <a:pt x="44" y="110"/>
                    </a:cubicBezTo>
                    <a:cubicBezTo>
                      <a:pt x="48" y="120"/>
                      <a:pt x="56" y="128"/>
                      <a:pt x="65" y="134"/>
                    </a:cubicBezTo>
                    <a:cubicBezTo>
                      <a:pt x="51" y="159"/>
                      <a:pt x="51" y="159"/>
                      <a:pt x="51" y="15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209">
                <a:extLst>
                  <a:ext uri="{FF2B5EF4-FFF2-40B4-BE49-F238E27FC236}">
                    <a16:creationId xmlns:a16="http://schemas.microsoft.com/office/drawing/2014/main" id="{BBF8FDC5-DF2A-DA43-AF80-2F7098A6CB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4288" y="3743325"/>
                <a:ext cx="246062" cy="246062"/>
              </a:xfrm>
              <a:custGeom>
                <a:avLst/>
                <a:gdLst>
                  <a:gd name="T0" fmla="*/ 230 w 429"/>
                  <a:gd name="T1" fmla="*/ 377 h 428"/>
                  <a:gd name="T2" fmla="*/ 178 w 429"/>
                  <a:gd name="T3" fmla="*/ 428 h 428"/>
                  <a:gd name="T4" fmla="*/ 110 w 429"/>
                  <a:gd name="T5" fmla="*/ 340 h 428"/>
                  <a:gd name="T6" fmla="*/ 37 w 429"/>
                  <a:gd name="T7" fmla="*/ 340 h 428"/>
                  <a:gd name="T8" fmla="*/ 52 w 429"/>
                  <a:gd name="T9" fmla="*/ 229 h 428"/>
                  <a:gd name="T10" fmla="*/ 0 w 429"/>
                  <a:gd name="T11" fmla="*/ 178 h 428"/>
                  <a:gd name="T12" fmla="*/ 89 w 429"/>
                  <a:gd name="T13" fmla="*/ 110 h 428"/>
                  <a:gd name="T14" fmla="*/ 89 w 429"/>
                  <a:gd name="T15" fmla="*/ 37 h 428"/>
                  <a:gd name="T16" fmla="*/ 200 w 429"/>
                  <a:gd name="T17" fmla="*/ 51 h 428"/>
                  <a:gd name="T18" fmla="*/ 251 w 429"/>
                  <a:gd name="T19" fmla="*/ 0 h 428"/>
                  <a:gd name="T20" fmla="*/ 319 w 429"/>
                  <a:gd name="T21" fmla="*/ 88 h 428"/>
                  <a:gd name="T22" fmla="*/ 392 w 429"/>
                  <a:gd name="T23" fmla="*/ 88 h 428"/>
                  <a:gd name="T24" fmla="*/ 378 w 429"/>
                  <a:gd name="T25" fmla="*/ 199 h 428"/>
                  <a:gd name="T26" fmla="*/ 429 w 429"/>
                  <a:gd name="T27" fmla="*/ 251 h 428"/>
                  <a:gd name="T28" fmla="*/ 341 w 429"/>
                  <a:gd name="T29" fmla="*/ 319 h 428"/>
                  <a:gd name="T30" fmla="*/ 341 w 429"/>
                  <a:gd name="T31" fmla="*/ 391 h 428"/>
                  <a:gd name="T32" fmla="*/ 127 w 429"/>
                  <a:gd name="T33" fmla="*/ 376 h 428"/>
                  <a:gd name="T34" fmla="*/ 181 w 429"/>
                  <a:gd name="T35" fmla="*/ 345 h 428"/>
                  <a:gd name="T36" fmla="*/ 237 w 429"/>
                  <a:gd name="T37" fmla="*/ 347 h 428"/>
                  <a:gd name="T38" fmla="*/ 267 w 429"/>
                  <a:gd name="T39" fmla="*/ 390 h 428"/>
                  <a:gd name="T40" fmla="*/ 283 w 429"/>
                  <a:gd name="T41" fmla="*/ 330 h 428"/>
                  <a:gd name="T42" fmla="*/ 324 w 429"/>
                  <a:gd name="T43" fmla="*/ 292 h 428"/>
                  <a:gd name="T44" fmla="*/ 376 w 429"/>
                  <a:gd name="T45" fmla="*/ 302 h 428"/>
                  <a:gd name="T46" fmla="*/ 345 w 429"/>
                  <a:gd name="T47" fmla="*/ 248 h 428"/>
                  <a:gd name="T48" fmla="*/ 347 w 429"/>
                  <a:gd name="T49" fmla="*/ 192 h 428"/>
                  <a:gd name="T50" fmla="*/ 391 w 429"/>
                  <a:gd name="T51" fmla="*/ 162 h 428"/>
                  <a:gd name="T52" fmla="*/ 331 w 429"/>
                  <a:gd name="T53" fmla="*/ 145 h 428"/>
                  <a:gd name="T54" fmla="*/ 293 w 429"/>
                  <a:gd name="T55" fmla="*/ 105 h 428"/>
                  <a:gd name="T56" fmla="*/ 302 w 429"/>
                  <a:gd name="T57" fmla="*/ 53 h 428"/>
                  <a:gd name="T58" fmla="*/ 248 w 429"/>
                  <a:gd name="T59" fmla="*/ 83 h 428"/>
                  <a:gd name="T60" fmla="*/ 193 w 429"/>
                  <a:gd name="T61" fmla="*/ 82 h 428"/>
                  <a:gd name="T62" fmla="*/ 162 w 429"/>
                  <a:gd name="T63" fmla="*/ 38 h 428"/>
                  <a:gd name="T64" fmla="*/ 146 w 429"/>
                  <a:gd name="T65" fmla="*/ 98 h 428"/>
                  <a:gd name="T66" fmla="*/ 105 w 429"/>
                  <a:gd name="T67" fmla="*/ 136 h 428"/>
                  <a:gd name="T68" fmla="*/ 53 w 429"/>
                  <a:gd name="T69" fmla="*/ 127 h 428"/>
                  <a:gd name="T70" fmla="*/ 84 w 429"/>
                  <a:gd name="T71" fmla="*/ 181 h 428"/>
                  <a:gd name="T72" fmla="*/ 82 w 429"/>
                  <a:gd name="T73" fmla="*/ 236 h 428"/>
                  <a:gd name="T74" fmla="*/ 39 w 429"/>
                  <a:gd name="T75" fmla="*/ 266 h 428"/>
                  <a:gd name="T76" fmla="*/ 99 w 429"/>
                  <a:gd name="T77" fmla="*/ 283 h 428"/>
                  <a:gd name="T78" fmla="*/ 137 w 429"/>
                  <a:gd name="T79" fmla="*/ 324 h 428"/>
                  <a:gd name="T80" fmla="*/ 127 w 429"/>
                  <a:gd name="T81" fmla="*/ 376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9" h="428">
                    <a:moveTo>
                      <a:pt x="251" y="428"/>
                    </a:moveTo>
                    <a:cubicBezTo>
                      <a:pt x="230" y="377"/>
                      <a:pt x="230" y="377"/>
                      <a:pt x="230" y="377"/>
                    </a:cubicBezTo>
                    <a:cubicBezTo>
                      <a:pt x="220" y="378"/>
                      <a:pt x="210" y="378"/>
                      <a:pt x="200" y="377"/>
                    </a:cubicBezTo>
                    <a:cubicBezTo>
                      <a:pt x="178" y="428"/>
                      <a:pt x="178" y="428"/>
                      <a:pt x="178" y="428"/>
                    </a:cubicBezTo>
                    <a:cubicBezTo>
                      <a:pt x="89" y="391"/>
                      <a:pt x="89" y="391"/>
                      <a:pt x="89" y="391"/>
                    </a:cubicBezTo>
                    <a:cubicBezTo>
                      <a:pt x="110" y="340"/>
                      <a:pt x="110" y="340"/>
                      <a:pt x="110" y="340"/>
                    </a:cubicBezTo>
                    <a:cubicBezTo>
                      <a:pt x="102" y="334"/>
                      <a:pt x="95" y="326"/>
                      <a:pt x="89" y="319"/>
                    </a:cubicBezTo>
                    <a:cubicBezTo>
                      <a:pt x="37" y="340"/>
                      <a:pt x="37" y="340"/>
                      <a:pt x="37" y="340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52" y="229"/>
                      <a:pt x="52" y="229"/>
                      <a:pt x="52" y="229"/>
                    </a:cubicBezTo>
                    <a:cubicBezTo>
                      <a:pt x="51" y="219"/>
                      <a:pt x="51" y="209"/>
                      <a:pt x="52" y="199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89" y="110"/>
                      <a:pt x="89" y="110"/>
                      <a:pt x="89" y="110"/>
                    </a:cubicBezTo>
                    <a:cubicBezTo>
                      <a:pt x="95" y="102"/>
                      <a:pt x="102" y="95"/>
                      <a:pt x="110" y="88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210" y="50"/>
                      <a:pt x="220" y="50"/>
                      <a:pt x="230" y="51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341" y="37"/>
                      <a:pt x="341" y="37"/>
                      <a:pt x="341" y="37"/>
                    </a:cubicBezTo>
                    <a:cubicBezTo>
                      <a:pt x="319" y="88"/>
                      <a:pt x="319" y="88"/>
                      <a:pt x="319" y="88"/>
                    </a:cubicBezTo>
                    <a:cubicBezTo>
                      <a:pt x="327" y="95"/>
                      <a:pt x="334" y="102"/>
                      <a:pt x="341" y="110"/>
                    </a:cubicBezTo>
                    <a:cubicBezTo>
                      <a:pt x="392" y="88"/>
                      <a:pt x="392" y="88"/>
                      <a:pt x="392" y="88"/>
                    </a:cubicBezTo>
                    <a:cubicBezTo>
                      <a:pt x="429" y="178"/>
                      <a:pt x="429" y="178"/>
                      <a:pt x="429" y="178"/>
                    </a:cubicBezTo>
                    <a:cubicBezTo>
                      <a:pt x="378" y="199"/>
                      <a:pt x="378" y="199"/>
                      <a:pt x="378" y="199"/>
                    </a:cubicBezTo>
                    <a:cubicBezTo>
                      <a:pt x="379" y="209"/>
                      <a:pt x="379" y="219"/>
                      <a:pt x="378" y="229"/>
                    </a:cubicBezTo>
                    <a:cubicBezTo>
                      <a:pt x="429" y="251"/>
                      <a:pt x="429" y="251"/>
                      <a:pt x="429" y="251"/>
                    </a:cubicBezTo>
                    <a:cubicBezTo>
                      <a:pt x="392" y="340"/>
                      <a:pt x="392" y="340"/>
                      <a:pt x="392" y="340"/>
                    </a:cubicBezTo>
                    <a:cubicBezTo>
                      <a:pt x="341" y="319"/>
                      <a:pt x="341" y="319"/>
                      <a:pt x="341" y="319"/>
                    </a:cubicBezTo>
                    <a:cubicBezTo>
                      <a:pt x="334" y="326"/>
                      <a:pt x="327" y="334"/>
                      <a:pt x="319" y="340"/>
                    </a:cubicBezTo>
                    <a:cubicBezTo>
                      <a:pt x="341" y="391"/>
                      <a:pt x="341" y="391"/>
                      <a:pt x="341" y="391"/>
                    </a:cubicBezTo>
                    <a:cubicBezTo>
                      <a:pt x="251" y="428"/>
                      <a:pt x="251" y="428"/>
                      <a:pt x="251" y="428"/>
                    </a:cubicBezTo>
                    <a:close/>
                    <a:moveTo>
                      <a:pt x="127" y="376"/>
                    </a:moveTo>
                    <a:cubicBezTo>
                      <a:pt x="162" y="390"/>
                      <a:pt x="162" y="390"/>
                      <a:pt x="162" y="390"/>
                    </a:cubicBezTo>
                    <a:cubicBezTo>
                      <a:pt x="181" y="345"/>
                      <a:pt x="181" y="345"/>
                      <a:pt x="181" y="345"/>
                    </a:cubicBezTo>
                    <a:cubicBezTo>
                      <a:pt x="193" y="347"/>
                      <a:pt x="193" y="347"/>
                      <a:pt x="193" y="347"/>
                    </a:cubicBezTo>
                    <a:cubicBezTo>
                      <a:pt x="207" y="349"/>
                      <a:pt x="222" y="349"/>
                      <a:pt x="237" y="347"/>
                    </a:cubicBezTo>
                    <a:cubicBezTo>
                      <a:pt x="248" y="345"/>
                      <a:pt x="248" y="345"/>
                      <a:pt x="248" y="345"/>
                    </a:cubicBezTo>
                    <a:cubicBezTo>
                      <a:pt x="267" y="390"/>
                      <a:pt x="267" y="390"/>
                      <a:pt x="267" y="390"/>
                    </a:cubicBezTo>
                    <a:cubicBezTo>
                      <a:pt x="302" y="376"/>
                      <a:pt x="302" y="376"/>
                      <a:pt x="302" y="376"/>
                    </a:cubicBezTo>
                    <a:cubicBezTo>
                      <a:pt x="283" y="330"/>
                      <a:pt x="283" y="330"/>
                      <a:pt x="283" y="330"/>
                    </a:cubicBezTo>
                    <a:cubicBezTo>
                      <a:pt x="293" y="323"/>
                      <a:pt x="293" y="323"/>
                      <a:pt x="293" y="323"/>
                    </a:cubicBezTo>
                    <a:cubicBezTo>
                      <a:pt x="305" y="315"/>
                      <a:pt x="316" y="304"/>
                      <a:pt x="324" y="292"/>
                    </a:cubicBezTo>
                    <a:cubicBezTo>
                      <a:pt x="331" y="283"/>
                      <a:pt x="331" y="283"/>
                      <a:pt x="331" y="283"/>
                    </a:cubicBezTo>
                    <a:cubicBezTo>
                      <a:pt x="376" y="302"/>
                      <a:pt x="376" y="302"/>
                      <a:pt x="376" y="302"/>
                    </a:cubicBezTo>
                    <a:cubicBezTo>
                      <a:pt x="391" y="266"/>
                      <a:pt x="391" y="266"/>
                      <a:pt x="391" y="266"/>
                    </a:cubicBezTo>
                    <a:cubicBezTo>
                      <a:pt x="345" y="248"/>
                      <a:pt x="345" y="248"/>
                      <a:pt x="345" y="248"/>
                    </a:cubicBezTo>
                    <a:cubicBezTo>
                      <a:pt x="347" y="236"/>
                      <a:pt x="347" y="236"/>
                      <a:pt x="347" y="236"/>
                    </a:cubicBezTo>
                    <a:cubicBezTo>
                      <a:pt x="350" y="222"/>
                      <a:pt x="350" y="207"/>
                      <a:pt x="347" y="192"/>
                    </a:cubicBezTo>
                    <a:cubicBezTo>
                      <a:pt x="345" y="181"/>
                      <a:pt x="345" y="181"/>
                      <a:pt x="345" y="181"/>
                    </a:cubicBezTo>
                    <a:cubicBezTo>
                      <a:pt x="391" y="162"/>
                      <a:pt x="391" y="162"/>
                      <a:pt x="391" y="162"/>
                    </a:cubicBezTo>
                    <a:cubicBezTo>
                      <a:pt x="376" y="127"/>
                      <a:pt x="376" y="127"/>
                      <a:pt x="376" y="127"/>
                    </a:cubicBezTo>
                    <a:cubicBezTo>
                      <a:pt x="331" y="145"/>
                      <a:pt x="331" y="145"/>
                      <a:pt x="331" y="145"/>
                    </a:cubicBezTo>
                    <a:cubicBezTo>
                      <a:pt x="324" y="136"/>
                      <a:pt x="324" y="136"/>
                      <a:pt x="324" y="136"/>
                    </a:cubicBezTo>
                    <a:cubicBezTo>
                      <a:pt x="315" y="124"/>
                      <a:pt x="305" y="113"/>
                      <a:pt x="293" y="105"/>
                    </a:cubicBezTo>
                    <a:cubicBezTo>
                      <a:pt x="283" y="98"/>
                      <a:pt x="283" y="98"/>
                      <a:pt x="283" y="98"/>
                    </a:cubicBezTo>
                    <a:cubicBezTo>
                      <a:pt x="302" y="53"/>
                      <a:pt x="302" y="53"/>
                      <a:pt x="302" y="53"/>
                    </a:cubicBezTo>
                    <a:cubicBezTo>
                      <a:pt x="267" y="38"/>
                      <a:pt x="267" y="38"/>
                      <a:pt x="267" y="38"/>
                    </a:cubicBezTo>
                    <a:cubicBezTo>
                      <a:pt x="248" y="83"/>
                      <a:pt x="248" y="83"/>
                      <a:pt x="248" y="83"/>
                    </a:cubicBezTo>
                    <a:cubicBezTo>
                      <a:pt x="237" y="81"/>
                      <a:pt x="237" y="81"/>
                      <a:pt x="237" y="81"/>
                    </a:cubicBezTo>
                    <a:cubicBezTo>
                      <a:pt x="222" y="79"/>
                      <a:pt x="207" y="79"/>
                      <a:pt x="193" y="82"/>
                    </a:cubicBezTo>
                    <a:cubicBezTo>
                      <a:pt x="181" y="83"/>
                      <a:pt x="181" y="83"/>
                      <a:pt x="181" y="83"/>
                    </a:cubicBezTo>
                    <a:cubicBezTo>
                      <a:pt x="162" y="38"/>
                      <a:pt x="162" y="38"/>
                      <a:pt x="162" y="38"/>
                    </a:cubicBezTo>
                    <a:cubicBezTo>
                      <a:pt x="127" y="53"/>
                      <a:pt x="127" y="53"/>
                      <a:pt x="127" y="53"/>
                    </a:cubicBezTo>
                    <a:cubicBezTo>
                      <a:pt x="146" y="98"/>
                      <a:pt x="146" y="98"/>
                      <a:pt x="146" y="98"/>
                    </a:cubicBezTo>
                    <a:cubicBezTo>
                      <a:pt x="137" y="105"/>
                      <a:pt x="137" y="105"/>
                      <a:pt x="137" y="105"/>
                    </a:cubicBezTo>
                    <a:cubicBezTo>
                      <a:pt x="124" y="114"/>
                      <a:pt x="114" y="124"/>
                      <a:pt x="105" y="136"/>
                    </a:cubicBezTo>
                    <a:cubicBezTo>
                      <a:pt x="99" y="145"/>
                      <a:pt x="99" y="145"/>
                      <a:pt x="99" y="145"/>
                    </a:cubicBezTo>
                    <a:cubicBezTo>
                      <a:pt x="53" y="127"/>
                      <a:pt x="53" y="127"/>
                      <a:pt x="53" y="127"/>
                    </a:cubicBezTo>
                    <a:cubicBezTo>
                      <a:pt x="39" y="162"/>
                      <a:pt x="39" y="162"/>
                      <a:pt x="39" y="162"/>
                    </a:cubicBezTo>
                    <a:cubicBezTo>
                      <a:pt x="84" y="181"/>
                      <a:pt x="84" y="181"/>
                      <a:pt x="84" y="181"/>
                    </a:cubicBezTo>
                    <a:cubicBezTo>
                      <a:pt x="82" y="192"/>
                      <a:pt x="82" y="192"/>
                      <a:pt x="82" y="192"/>
                    </a:cubicBezTo>
                    <a:cubicBezTo>
                      <a:pt x="80" y="207"/>
                      <a:pt x="80" y="221"/>
                      <a:pt x="82" y="236"/>
                    </a:cubicBezTo>
                    <a:cubicBezTo>
                      <a:pt x="84" y="248"/>
                      <a:pt x="84" y="248"/>
                      <a:pt x="84" y="248"/>
                    </a:cubicBezTo>
                    <a:cubicBezTo>
                      <a:pt x="39" y="266"/>
                      <a:pt x="39" y="266"/>
                      <a:pt x="39" y="266"/>
                    </a:cubicBezTo>
                    <a:cubicBezTo>
                      <a:pt x="53" y="302"/>
                      <a:pt x="53" y="302"/>
                      <a:pt x="53" y="302"/>
                    </a:cubicBezTo>
                    <a:cubicBezTo>
                      <a:pt x="99" y="283"/>
                      <a:pt x="99" y="283"/>
                      <a:pt x="99" y="283"/>
                    </a:cubicBezTo>
                    <a:cubicBezTo>
                      <a:pt x="105" y="292"/>
                      <a:pt x="105" y="292"/>
                      <a:pt x="105" y="292"/>
                    </a:cubicBezTo>
                    <a:cubicBezTo>
                      <a:pt x="114" y="304"/>
                      <a:pt x="125" y="315"/>
                      <a:pt x="137" y="324"/>
                    </a:cubicBezTo>
                    <a:cubicBezTo>
                      <a:pt x="146" y="330"/>
                      <a:pt x="146" y="330"/>
                      <a:pt x="146" y="330"/>
                    </a:cubicBezTo>
                    <a:cubicBezTo>
                      <a:pt x="127" y="376"/>
                      <a:pt x="127" y="376"/>
                      <a:pt x="127" y="37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210">
                <a:extLst>
                  <a:ext uri="{FF2B5EF4-FFF2-40B4-BE49-F238E27FC236}">
                    <a16:creationId xmlns:a16="http://schemas.microsoft.com/office/drawing/2014/main" id="{2D20A810-4024-E64A-882E-BCDFF0756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938" y="3552825"/>
                <a:ext cx="187325" cy="198437"/>
              </a:xfrm>
              <a:custGeom>
                <a:avLst/>
                <a:gdLst>
                  <a:gd name="T0" fmla="*/ 46 w 326"/>
                  <a:gd name="T1" fmla="*/ 347 h 347"/>
                  <a:gd name="T2" fmla="*/ 4 w 326"/>
                  <a:gd name="T3" fmla="*/ 261 h 347"/>
                  <a:gd name="T4" fmla="*/ 53 w 326"/>
                  <a:gd name="T5" fmla="*/ 237 h 347"/>
                  <a:gd name="T6" fmla="*/ 51 w 326"/>
                  <a:gd name="T7" fmla="*/ 208 h 347"/>
                  <a:gd name="T8" fmla="*/ 0 w 326"/>
                  <a:gd name="T9" fmla="*/ 190 h 347"/>
                  <a:gd name="T10" fmla="*/ 31 w 326"/>
                  <a:gd name="T11" fmla="*/ 100 h 347"/>
                  <a:gd name="T12" fmla="*/ 83 w 326"/>
                  <a:gd name="T13" fmla="*/ 117 h 347"/>
                  <a:gd name="T14" fmla="*/ 102 w 326"/>
                  <a:gd name="T15" fmla="*/ 95 h 347"/>
                  <a:gd name="T16" fmla="*/ 78 w 326"/>
                  <a:gd name="T17" fmla="*/ 46 h 347"/>
                  <a:gd name="T18" fmla="*/ 164 w 326"/>
                  <a:gd name="T19" fmla="*/ 4 h 347"/>
                  <a:gd name="T20" fmla="*/ 188 w 326"/>
                  <a:gd name="T21" fmla="*/ 53 h 347"/>
                  <a:gd name="T22" fmla="*/ 218 w 326"/>
                  <a:gd name="T23" fmla="*/ 52 h 347"/>
                  <a:gd name="T24" fmla="*/ 236 w 326"/>
                  <a:gd name="T25" fmla="*/ 0 h 347"/>
                  <a:gd name="T26" fmla="*/ 326 w 326"/>
                  <a:gd name="T27" fmla="*/ 31 h 347"/>
                  <a:gd name="T28" fmla="*/ 304 w 326"/>
                  <a:gd name="T29" fmla="*/ 93 h 347"/>
                  <a:gd name="T30" fmla="*/ 277 w 326"/>
                  <a:gd name="T31" fmla="*/ 84 h 347"/>
                  <a:gd name="T32" fmla="*/ 289 w 326"/>
                  <a:gd name="T33" fmla="*/ 49 h 347"/>
                  <a:gd name="T34" fmla="*/ 254 w 326"/>
                  <a:gd name="T35" fmla="*/ 37 h 347"/>
                  <a:gd name="T36" fmla="*/ 238 w 326"/>
                  <a:gd name="T37" fmla="*/ 83 h 347"/>
                  <a:gd name="T38" fmla="*/ 226 w 326"/>
                  <a:gd name="T39" fmla="*/ 82 h 347"/>
                  <a:gd name="T40" fmla="*/ 183 w 326"/>
                  <a:gd name="T41" fmla="*/ 84 h 347"/>
                  <a:gd name="T42" fmla="*/ 172 w 326"/>
                  <a:gd name="T43" fmla="*/ 87 h 347"/>
                  <a:gd name="T44" fmla="*/ 151 w 326"/>
                  <a:gd name="T45" fmla="*/ 43 h 347"/>
                  <a:gd name="T46" fmla="*/ 118 w 326"/>
                  <a:gd name="T47" fmla="*/ 60 h 347"/>
                  <a:gd name="T48" fmla="*/ 139 w 326"/>
                  <a:gd name="T49" fmla="*/ 103 h 347"/>
                  <a:gd name="T50" fmla="*/ 130 w 326"/>
                  <a:gd name="T51" fmla="*/ 110 h 347"/>
                  <a:gd name="T52" fmla="*/ 101 w 326"/>
                  <a:gd name="T53" fmla="*/ 143 h 347"/>
                  <a:gd name="T54" fmla="*/ 95 w 326"/>
                  <a:gd name="T55" fmla="*/ 152 h 347"/>
                  <a:gd name="T56" fmla="*/ 49 w 326"/>
                  <a:gd name="T57" fmla="*/ 137 h 347"/>
                  <a:gd name="T58" fmla="*/ 37 w 326"/>
                  <a:gd name="T59" fmla="*/ 172 h 347"/>
                  <a:gd name="T60" fmla="*/ 83 w 326"/>
                  <a:gd name="T61" fmla="*/ 187 h 347"/>
                  <a:gd name="T62" fmla="*/ 81 w 326"/>
                  <a:gd name="T63" fmla="*/ 199 h 347"/>
                  <a:gd name="T64" fmla="*/ 84 w 326"/>
                  <a:gd name="T65" fmla="*/ 242 h 347"/>
                  <a:gd name="T66" fmla="*/ 87 w 326"/>
                  <a:gd name="T67" fmla="*/ 254 h 347"/>
                  <a:gd name="T68" fmla="*/ 43 w 326"/>
                  <a:gd name="T69" fmla="*/ 275 h 347"/>
                  <a:gd name="T70" fmla="*/ 59 w 326"/>
                  <a:gd name="T71" fmla="*/ 308 h 347"/>
                  <a:gd name="T72" fmla="*/ 92 w 326"/>
                  <a:gd name="T73" fmla="*/ 292 h 347"/>
                  <a:gd name="T74" fmla="*/ 105 w 326"/>
                  <a:gd name="T75" fmla="*/ 318 h 347"/>
                  <a:gd name="T76" fmla="*/ 46 w 326"/>
                  <a:gd name="T77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6" h="347">
                    <a:moveTo>
                      <a:pt x="46" y="347"/>
                    </a:moveTo>
                    <a:cubicBezTo>
                      <a:pt x="4" y="261"/>
                      <a:pt x="4" y="261"/>
                      <a:pt x="4" y="261"/>
                    </a:cubicBezTo>
                    <a:cubicBezTo>
                      <a:pt x="53" y="237"/>
                      <a:pt x="53" y="237"/>
                      <a:pt x="53" y="237"/>
                    </a:cubicBezTo>
                    <a:cubicBezTo>
                      <a:pt x="52" y="227"/>
                      <a:pt x="51" y="218"/>
                      <a:pt x="51" y="208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83" y="117"/>
                      <a:pt x="83" y="117"/>
                      <a:pt x="83" y="117"/>
                    </a:cubicBezTo>
                    <a:cubicBezTo>
                      <a:pt x="88" y="109"/>
                      <a:pt x="95" y="102"/>
                      <a:pt x="102" y="95"/>
                    </a:cubicBezTo>
                    <a:cubicBezTo>
                      <a:pt x="78" y="46"/>
                      <a:pt x="78" y="46"/>
                      <a:pt x="78" y="46"/>
                    </a:cubicBezTo>
                    <a:cubicBezTo>
                      <a:pt x="164" y="4"/>
                      <a:pt x="164" y="4"/>
                      <a:pt x="164" y="4"/>
                    </a:cubicBezTo>
                    <a:cubicBezTo>
                      <a:pt x="188" y="53"/>
                      <a:pt x="188" y="53"/>
                      <a:pt x="188" y="53"/>
                    </a:cubicBezTo>
                    <a:cubicBezTo>
                      <a:pt x="198" y="52"/>
                      <a:pt x="208" y="51"/>
                      <a:pt x="218" y="52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326" y="31"/>
                      <a:pt x="326" y="31"/>
                      <a:pt x="326" y="31"/>
                    </a:cubicBezTo>
                    <a:cubicBezTo>
                      <a:pt x="304" y="93"/>
                      <a:pt x="304" y="93"/>
                      <a:pt x="304" y="93"/>
                    </a:cubicBezTo>
                    <a:cubicBezTo>
                      <a:pt x="277" y="84"/>
                      <a:pt x="277" y="84"/>
                      <a:pt x="277" y="84"/>
                    </a:cubicBezTo>
                    <a:cubicBezTo>
                      <a:pt x="289" y="49"/>
                      <a:pt x="289" y="49"/>
                      <a:pt x="289" y="49"/>
                    </a:cubicBezTo>
                    <a:cubicBezTo>
                      <a:pt x="254" y="37"/>
                      <a:pt x="254" y="37"/>
                      <a:pt x="254" y="37"/>
                    </a:cubicBezTo>
                    <a:cubicBezTo>
                      <a:pt x="238" y="83"/>
                      <a:pt x="238" y="83"/>
                      <a:pt x="238" y="83"/>
                    </a:cubicBezTo>
                    <a:cubicBezTo>
                      <a:pt x="226" y="82"/>
                      <a:pt x="226" y="82"/>
                      <a:pt x="226" y="82"/>
                    </a:cubicBezTo>
                    <a:cubicBezTo>
                      <a:pt x="212" y="80"/>
                      <a:pt x="197" y="81"/>
                      <a:pt x="183" y="84"/>
                    </a:cubicBezTo>
                    <a:cubicBezTo>
                      <a:pt x="172" y="87"/>
                      <a:pt x="172" y="87"/>
                      <a:pt x="172" y="87"/>
                    </a:cubicBezTo>
                    <a:cubicBezTo>
                      <a:pt x="151" y="43"/>
                      <a:pt x="151" y="43"/>
                      <a:pt x="151" y="43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39" y="103"/>
                      <a:pt x="139" y="103"/>
                      <a:pt x="139" y="103"/>
                    </a:cubicBezTo>
                    <a:cubicBezTo>
                      <a:pt x="130" y="110"/>
                      <a:pt x="130" y="110"/>
                      <a:pt x="130" y="110"/>
                    </a:cubicBezTo>
                    <a:cubicBezTo>
                      <a:pt x="118" y="120"/>
                      <a:pt x="109" y="130"/>
                      <a:pt x="101" y="143"/>
                    </a:cubicBezTo>
                    <a:cubicBezTo>
                      <a:pt x="95" y="152"/>
                      <a:pt x="95" y="152"/>
                      <a:pt x="95" y="15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37" y="172"/>
                      <a:pt x="37" y="172"/>
                      <a:pt x="37" y="172"/>
                    </a:cubicBezTo>
                    <a:cubicBezTo>
                      <a:pt x="83" y="187"/>
                      <a:pt x="83" y="187"/>
                      <a:pt x="83" y="187"/>
                    </a:cubicBezTo>
                    <a:cubicBezTo>
                      <a:pt x="81" y="199"/>
                      <a:pt x="81" y="199"/>
                      <a:pt x="81" y="199"/>
                    </a:cubicBezTo>
                    <a:cubicBezTo>
                      <a:pt x="80" y="213"/>
                      <a:pt x="81" y="228"/>
                      <a:pt x="84" y="242"/>
                    </a:cubicBezTo>
                    <a:cubicBezTo>
                      <a:pt x="87" y="254"/>
                      <a:pt x="87" y="254"/>
                      <a:pt x="87" y="254"/>
                    </a:cubicBezTo>
                    <a:cubicBezTo>
                      <a:pt x="43" y="275"/>
                      <a:pt x="43" y="275"/>
                      <a:pt x="43" y="275"/>
                    </a:cubicBezTo>
                    <a:cubicBezTo>
                      <a:pt x="59" y="308"/>
                      <a:pt x="59" y="308"/>
                      <a:pt x="59" y="308"/>
                    </a:cubicBezTo>
                    <a:cubicBezTo>
                      <a:pt x="92" y="292"/>
                      <a:pt x="92" y="292"/>
                      <a:pt x="92" y="292"/>
                    </a:cubicBezTo>
                    <a:cubicBezTo>
                      <a:pt x="105" y="318"/>
                      <a:pt x="105" y="318"/>
                      <a:pt x="105" y="318"/>
                    </a:cubicBezTo>
                    <a:cubicBezTo>
                      <a:pt x="46" y="347"/>
                      <a:pt x="46" y="347"/>
                      <a:pt x="46" y="34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Freeform 211">
                <a:extLst>
                  <a:ext uri="{FF2B5EF4-FFF2-40B4-BE49-F238E27FC236}">
                    <a16:creationId xmlns:a16="http://schemas.microsoft.com/office/drawing/2014/main" id="{3B0753D0-3494-204B-85C5-088ADB9C97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5725" y="3821113"/>
                <a:ext cx="98425" cy="90487"/>
              </a:xfrm>
              <a:custGeom>
                <a:avLst/>
                <a:gdLst>
                  <a:gd name="T0" fmla="*/ 91 w 173"/>
                  <a:gd name="T1" fmla="*/ 160 h 160"/>
                  <a:gd name="T2" fmla="*/ 91 w 173"/>
                  <a:gd name="T3" fmla="*/ 160 h 160"/>
                  <a:gd name="T4" fmla="*/ 60 w 173"/>
                  <a:gd name="T5" fmla="*/ 154 h 160"/>
                  <a:gd name="T6" fmla="*/ 17 w 173"/>
                  <a:gd name="T7" fmla="*/ 49 h 160"/>
                  <a:gd name="T8" fmla="*/ 91 w 173"/>
                  <a:gd name="T9" fmla="*/ 0 h 160"/>
                  <a:gd name="T10" fmla="*/ 121 w 173"/>
                  <a:gd name="T11" fmla="*/ 6 h 160"/>
                  <a:gd name="T12" fmla="*/ 165 w 173"/>
                  <a:gd name="T13" fmla="*/ 50 h 160"/>
                  <a:gd name="T14" fmla="*/ 165 w 173"/>
                  <a:gd name="T15" fmla="*/ 111 h 160"/>
                  <a:gd name="T16" fmla="*/ 91 w 173"/>
                  <a:gd name="T17" fmla="*/ 160 h 160"/>
                  <a:gd name="T18" fmla="*/ 91 w 173"/>
                  <a:gd name="T19" fmla="*/ 29 h 160"/>
                  <a:gd name="T20" fmla="*/ 44 w 173"/>
                  <a:gd name="T21" fmla="*/ 61 h 160"/>
                  <a:gd name="T22" fmla="*/ 71 w 173"/>
                  <a:gd name="T23" fmla="*/ 127 h 160"/>
                  <a:gd name="T24" fmla="*/ 138 w 173"/>
                  <a:gd name="T25" fmla="*/ 100 h 160"/>
                  <a:gd name="T26" fmla="*/ 138 w 173"/>
                  <a:gd name="T27" fmla="*/ 61 h 160"/>
                  <a:gd name="T28" fmla="*/ 110 w 173"/>
                  <a:gd name="T29" fmla="*/ 33 h 160"/>
                  <a:gd name="T30" fmla="*/ 91 w 173"/>
                  <a:gd name="T31" fmla="*/ 2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3" h="160">
                    <a:moveTo>
                      <a:pt x="91" y="160"/>
                    </a:moveTo>
                    <a:cubicBezTo>
                      <a:pt x="91" y="160"/>
                      <a:pt x="91" y="160"/>
                      <a:pt x="91" y="160"/>
                    </a:cubicBezTo>
                    <a:cubicBezTo>
                      <a:pt x="80" y="160"/>
                      <a:pt x="70" y="158"/>
                      <a:pt x="60" y="154"/>
                    </a:cubicBezTo>
                    <a:cubicBezTo>
                      <a:pt x="19" y="137"/>
                      <a:pt x="0" y="90"/>
                      <a:pt x="17" y="49"/>
                    </a:cubicBezTo>
                    <a:cubicBezTo>
                      <a:pt x="29" y="19"/>
                      <a:pt x="58" y="0"/>
                      <a:pt x="91" y="0"/>
                    </a:cubicBezTo>
                    <a:cubicBezTo>
                      <a:pt x="101" y="0"/>
                      <a:pt x="112" y="2"/>
                      <a:pt x="121" y="6"/>
                    </a:cubicBezTo>
                    <a:cubicBezTo>
                      <a:pt x="141" y="14"/>
                      <a:pt x="157" y="30"/>
                      <a:pt x="165" y="50"/>
                    </a:cubicBezTo>
                    <a:cubicBezTo>
                      <a:pt x="173" y="69"/>
                      <a:pt x="173" y="91"/>
                      <a:pt x="165" y="111"/>
                    </a:cubicBezTo>
                    <a:cubicBezTo>
                      <a:pt x="152" y="141"/>
                      <a:pt x="123" y="160"/>
                      <a:pt x="91" y="160"/>
                    </a:cubicBezTo>
                    <a:close/>
                    <a:moveTo>
                      <a:pt x="91" y="29"/>
                    </a:moveTo>
                    <a:cubicBezTo>
                      <a:pt x="70" y="29"/>
                      <a:pt x="52" y="42"/>
                      <a:pt x="44" y="61"/>
                    </a:cubicBezTo>
                    <a:cubicBezTo>
                      <a:pt x="33" y="87"/>
                      <a:pt x="45" y="116"/>
                      <a:pt x="71" y="127"/>
                    </a:cubicBezTo>
                    <a:cubicBezTo>
                      <a:pt x="97" y="138"/>
                      <a:pt x="127" y="125"/>
                      <a:pt x="138" y="100"/>
                    </a:cubicBezTo>
                    <a:cubicBezTo>
                      <a:pt x="143" y="87"/>
                      <a:pt x="143" y="73"/>
                      <a:pt x="138" y="61"/>
                    </a:cubicBezTo>
                    <a:cubicBezTo>
                      <a:pt x="132" y="48"/>
                      <a:pt x="123" y="38"/>
                      <a:pt x="110" y="33"/>
                    </a:cubicBezTo>
                    <a:cubicBezTo>
                      <a:pt x="104" y="31"/>
                      <a:pt x="97" y="29"/>
                      <a:pt x="91" y="2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pic>
        <p:nvPicPr>
          <p:cNvPr id="53" name="Grafik 52" descr="Pfeil mit einer Linie: Kurve im Uhrzeigersinn">
            <a:extLst>
              <a:ext uri="{FF2B5EF4-FFF2-40B4-BE49-F238E27FC236}">
                <a16:creationId xmlns:a16="http://schemas.microsoft.com/office/drawing/2014/main" id="{BBF356E9-88E9-354B-8908-06E44A96B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299750">
            <a:off x="6636088" y="2751218"/>
            <a:ext cx="914400" cy="914400"/>
          </a:xfrm>
          <a:prstGeom prst="rect">
            <a:avLst/>
          </a:prstGeom>
        </p:spPr>
      </p:pic>
      <p:pic>
        <p:nvPicPr>
          <p:cNvPr id="54" name="Grafik 53" descr="Pfeil mit einer Linie: Kurve im Uhrzeigersinn">
            <a:extLst>
              <a:ext uri="{FF2B5EF4-FFF2-40B4-BE49-F238E27FC236}">
                <a16:creationId xmlns:a16="http://schemas.microsoft.com/office/drawing/2014/main" id="{8C9049C0-E525-CB45-A2A2-7A907EF64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238170">
            <a:off x="5185267" y="5572077"/>
            <a:ext cx="914400" cy="914400"/>
          </a:xfrm>
          <a:prstGeom prst="rect">
            <a:avLst/>
          </a:prstGeom>
        </p:spPr>
      </p:pic>
      <p:pic>
        <p:nvPicPr>
          <p:cNvPr id="55" name="Grafik 54" descr="Pfeil mit einer Linie: Kurve im Uhrzeigersinn">
            <a:extLst>
              <a:ext uri="{FF2B5EF4-FFF2-40B4-BE49-F238E27FC236}">
                <a16:creationId xmlns:a16="http://schemas.microsoft.com/office/drawing/2014/main" id="{8C05727C-E1AC-9242-8B7C-E313153AA0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3751743">
            <a:off x="3575138" y="2901290"/>
            <a:ext cx="914400" cy="9144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AB70B14-5B72-3C46-B9E1-6BD298CA29B2}"/>
              </a:ext>
            </a:extLst>
          </p:cNvPr>
          <p:cNvGrpSpPr/>
          <p:nvPr userDrawn="1"/>
        </p:nvGrpSpPr>
        <p:grpSpPr>
          <a:xfrm>
            <a:off x="6687885" y="4501006"/>
            <a:ext cx="638718" cy="582027"/>
            <a:chOff x="6839548" y="4653406"/>
            <a:chExt cx="638718" cy="582027"/>
          </a:xfrm>
        </p:grpSpPr>
        <p:sp>
          <p:nvSpPr>
            <p:cNvPr id="63" name="Freeform 206">
              <a:extLst>
                <a:ext uri="{FF2B5EF4-FFF2-40B4-BE49-F238E27FC236}">
                  <a16:creationId xmlns:a16="http://schemas.microsoft.com/office/drawing/2014/main" id="{21A12323-B92F-9647-A842-DBC36B7920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64422" y="4653406"/>
              <a:ext cx="413844" cy="413844"/>
            </a:xfrm>
            <a:custGeom>
              <a:avLst/>
              <a:gdLst>
                <a:gd name="T0" fmla="*/ 334 w 608"/>
                <a:gd name="T1" fmla="*/ 553 h 608"/>
                <a:gd name="T2" fmla="*/ 246 w 608"/>
                <a:gd name="T3" fmla="*/ 608 h 608"/>
                <a:gd name="T4" fmla="*/ 149 w 608"/>
                <a:gd name="T5" fmla="*/ 501 h 608"/>
                <a:gd name="T6" fmla="*/ 48 w 608"/>
                <a:gd name="T7" fmla="*/ 478 h 608"/>
                <a:gd name="T8" fmla="*/ 55 w 608"/>
                <a:gd name="T9" fmla="*/ 334 h 608"/>
                <a:gd name="T10" fmla="*/ 0 w 608"/>
                <a:gd name="T11" fmla="*/ 246 h 608"/>
                <a:gd name="T12" fmla="*/ 106 w 608"/>
                <a:gd name="T13" fmla="*/ 149 h 608"/>
                <a:gd name="T14" fmla="*/ 130 w 608"/>
                <a:gd name="T15" fmla="*/ 48 h 608"/>
                <a:gd name="T16" fmla="*/ 274 w 608"/>
                <a:gd name="T17" fmla="*/ 55 h 608"/>
                <a:gd name="T18" fmla="*/ 362 w 608"/>
                <a:gd name="T19" fmla="*/ 0 h 608"/>
                <a:gd name="T20" fmla="*/ 459 w 608"/>
                <a:gd name="T21" fmla="*/ 106 h 608"/>
                <a:gd name="T22" fmla="*/ 560 w 608"/>
                <a:gd name="T23" fmla="*/ 130 h 608"/>
                <a:gd name="T24" fmla="*/ 553 w 608"/>
                <a:gd name="T25" fmla="*/ 273 h 608"/>
                <a:gd name="T26" fmla="*/ 608 w 608"/>
                <a:gd name="T27" fmla="*/ 362 h 608"/>
                <a:gd name="T28" fmla="*/ 502 w 608"/>
                <a:gd name="T29" fmla="*/ 458 h 608"/>
                <a:gd name="T30" fmla="*/ 478 w 608"/>
                <a:gd name="T31" fmla="*/ 560 h 608"/>
                <a:gd name="T32" fmla="*/ 166 w 608"/>
                <a:gd name="T33" fmla="*/ 543 h 608"/>
                <a:gd name="T34" fmla="*/ 257 w 608"/>
                <a:gd name="T35" fmla="*/ 521 h 608"/>
                <a:gd name="T36" fmla="*/ 340 w 608"/>
                <a:gd name="T37" fmla="*/ 522 h 608"/>
                <a:gd name="T38" fmla="*/ 376 w 608"/>
                <a:gd name="T39" fmla="*/ 570 h 608"/>
                <a:gd name="T40" fmla="*/ 424 w 608"/>
                <a:gd name="T41" fmla="*/ 490 h 608"/>
                <a:gd name="T42" fmla="*/ 484 w 608"/>
                <a:gd name="T43" fmla="*/ 433 h 608"/>
                <a:gd name="T44" fmla="*/ 543 w 608"/>
                <a:gd name="T45" fmla="*/ 441 h 608"/>
                <a:gd name="T46" fmla="*/ 521 w 608"/>
                <a:gd name="T47" fmla="*/ 351 h 608"/>
                <a:gd name="T48" fmla="*/ 523 w 608"/>
                <a:gd name="T49" fmla="*/ 267 h 608"/>
                <a:gd name="T50" fmla="*/ 571 w 608"/>
                <a:gd name="T51" fmla="*/ 232 h 608"/>
                <a:gd name="T52" fmla="*/ 491 w 608"/>
                <a:gd name="T53" fmla="*/ 184 h 608"/>
                <a:gd name="T54" fmla="*/ 433 w 608"/>
                <a:gd name="T55" fmla="*/ 123 h 608"/>
                <a:gd name="T56" fmla="*/ 442 w 608"/>
                <a:gd name="T57" fmla="*/ 64 h 608"/>
                <a:gd name="T58" fmla="*/ 351 w 608"/>
                <a:gd name="T59" fmla="*/ 87 h 608"/>
                <a:gd name="T60" fmla="*/ 268 w 608"/>
                <a:gd name="T61" fmla="*/ 85 h 608"/>
                <a:gd name="T62" fmla="*/ 232 w 608"/>
                <a:gd name="T63" fmla="*/ 37 h 608"/>
                <a:gd name="T64" fmla="*/ 184 w 608"/>
                <a:gd name="T65" fmla="*/ 117 h 608"/>
                <a:gd name="T66" fmla="*/ 124 w 608"/>
                <a:gd name="T67" fmla="*/ 175 h 608"/>
                <a:gd name="T68" fmla="*/ 65 w 608"/>
                <a:gd name="T69" fmla="*/ 166 h 608"/>
                <a:gd name="T70" fmla="*/ 87 w 608"/>
                <a:gd name="T71" fmla="*/ 257 h 608"/>
                <a:gd name="T72" fmla="*/ 85 w 608"/>
                <a:gd name="T73" fmla="*/ 340 h 608"/>
                <a:gd name="T74" fmla="*/ 37 w 608"/>
                <a:gd name="T75" fmla="*/ 376 h 608"/>
                <a:gd name="T76" fmla="*/ 117 w 608"/>
                <a:gd name="T77" fmla="*/ 424 h 608"/>
                <a:gd name="T78" fmla="*/ 175 w 608"/>
                <a:gd name="T79" fmla="*/ 484 h 608"/>
                <a:gd name="T80" fmla="*/ 166 w 608"/>
                <a:gd name="T81" fmla="*/ 54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8" h="608">
                  <a:moveTo>
                    <a:pt x="362" y="608"/>
                  </a:moveTo>
                  <a:cubicBezTo>
                    <a:pt x="334" y="553"/>
                    <a:pt x="334" y="553"/>
                    <a:pt x="334" y="553"/>
                  </a:cubicBezTo>
                  <a:cubicBezTo>
                    <a:pt x="314" y="555"/>
                    <a:pt x="294" y="555"/>
                    <a:pt x="274" y="553"/>
                  </a:cubicBezTo>
                  <a:cubicBezTo>
                    <a:pt x="246" y="608"/>
                    <a:pt x="246" y="608"/>
                    <a:pt x="246" y="608"/>
                  </a:cubicBezTo>
                  <a:cubicBezTo>
                    <a:pt x="130" y="560"/>
                    <a:pt x="130" y="560"/>
                    <a:pt x="130" y="560"/>
                  </a:cubicBezTo>
                  <a:cubicBezTo>
                    <a:pt x="149" y="501"/>
                    <a:pt x="149" y="501"/>
                    <a:pt x="149" y="501"/>
                  </a:cubicBezTo>
                  <a:cubicBezTo>
                    <a:pt x="133" y="489"/>
                    <a:pt x="119" y="474"/>
                    <a:pt x="106" y="458"/>
                  </a:cubicBezTo>
                  <a:cubicBezTo>
                    <a:pt x="48" y="478"/>
                    <a:pt x="48" y="478"/>
                    <a:pt x="48" y="478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55" y="334"/>
                    <a:pt x="55" y="334"/>
                    <a:pt x="55" y="334"/>
                  </a:cubicBezTo>
                  <a:cubicBezTo>
                    <a:pt x="52" y="314"/>
                    <a:pt x="52" y="293"/>
                    <a:pt x="55" y="273"/>
                  </a:cubicBezTo>
                  <a:cubicBezTo>
                    <a:pt x="0" y="246"/>
                    <a:pt x="0" y="246"/>
                    <a:pt x="0" y="246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19" y="133"/>
                    <a:pt x="133" y="119"/>
                    <a:pt x="149" y="106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74" y="55"/>
                    <a:pt x="274" y="55"/>
                    <a:pt x="274" y="55"/>
                  </a:cubicBezTo>
                  <a:cubicBezTo>
                    <a:pt x="294" y="52"/>
                    <a:pt x="314" y="52"/>
                    <a:pt x="334" y="5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59" y="106"/>
                    <a:pt x="459" y="106"/>
                    <a:pt x="459" y="106"/>
                  </a:cubicBezTo>
                  <a:cubicBezTo>
                    <a:pt x="475" y="118"/>
                    <a:pt x="489" y="133"/>
                    <a:pt x="502" y="149"/>
                  </a:cubicBezTo>
                  <a:cubicBezTo>
                    <a:pt x="560" y="130"/>
                    <a:pt x="560" y="130"/>
                    <a:pt x="560" y="130"/>
                  </a:cubicBezTo>
                  <a:cubicBezTo>
                    <a:pt x="608" y="246"/>
                    <a:pt x="608" y="246"/>
                    <a:pt x="608" y="246"/>
                  </a:cubicBezTo>
                  <a:cubicBezTo>
                    <a:pt x="553" y="273"/>
                    <a:pt x="553" y="273"/>
                    <a:pt x="553" y="273"/>
                  </a:cubicBezTo>
                  <a:cubicBezTo>
                    <a:pt x="556" y="293"/>
                    <a:pt x="556" y="314"/>
                    <a:pt x="553" y="334"/>
                  </a:cubicBezTo>
                  <a:cubicBezTo>
                    <a:pt x="608" y="362"/>
                    <a:pt x="608" y="362"/>
                    <a:pt x="608" y="362"/>
                  </a:cubicBezTo>
                  <a:cubicBezTo>
                    <a:pt x="560" y="478"/>
                    <a:pt x="560" y="478"/>
                    <a:pt x="560" y="478"/>
                  </a:cubicBezTo>
                  <a:cubicBezTo>
                    <a:pt x="502" y="458"/>
                    <a:pt x="502" y="458"/>
                    <a:pt x="502" y="458"/>
                  </a:cubicBezTo>
                  <a:cubicBezTo>
                    <a:pt x="489" y="474"/>
                    <a:pt x="475" y="489"/>
                    <a:pt x="459" y="501"/>
                  </a:cubicBezTo>
                  <a:cubicBezTo>
                    <a:pt x="478" y="560"/>
                    <a:pt x="478" y="560"/>
                    <a:pt x="478" y="560"/>
                  </a:cubicBezTo>
                  <a:cubicBezTo>
                    <a:pt x="362" y="608"/>
                    <a:pt x="362" y="608"/>
                    <a:pt x="362" y="608"/>
                  </a:cubicBezTo>
                  <a:close/>
                  <a:moveTo>
                    <a:pt x="166" y="543"/>
                  </a:moveTo>
                  <a:cubicBezTo>
                    <a:pt x="232" y="570"/>
                    <a:pt x="232" y="570"/>
                    <a:pt x="232" y="570"/>
                  </a:cubicBezTo>
                  <a:cubicBezTo>
                    <a:pt x="257" y="521"/>
                    <a:pt x="257" y="521"/>
                    <a:pt x="257" y="521"/>
                  </a:cubicBezTo>
                  <a:cubicBezTo>
                    <a:pt x="268" y="522"/>
                    <a:pt x="268" y="522"/>
                    <a:pt x="268" y="522"/>
                  </a:cubicBezTo>
                  <a:cubicBezTo>
                    <a:pt x="292" y="526"/>
                    <a:pt x="316" y="526"/>
                    <a:pt x="340" y="522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76" y="570"/>
                    <a:pt x="376" y="570"/>
                    <a:pt x="376" y="570"/>
                  </a:cubicBezTo>
                  <a:cubicBezTo>
                    <a:pt x="442" y="543"/>
                    <a:pt x="442" y="543"/>
                    <a:pt x="442" y="543"/>
                  </a:cubicBezTo>
                  <a:cubicBezTo>
                    <a:pt x="424" y="490"/>
                    <a:pt x="424" y="490"/>
                    <a:pt x="424" y="490"/>
                  </a:cubicBezTo>
                  <a:cubicBezTo>
                    <a:pt x="433" y="484"/>
                    <a:pt x="433" y="484"/>
                    <a:pt x="433" y="484"/>
                  </a:cubicBezTo>
                  <a:cubicBezTo>
                    <a:pt x="453" y="470"/>
                    <a:pt x="470" y="452"/>
                    <a:pt x="484" y="433"/>
                  </a:cubicBezTo>
                  <a:cubicBezTo>
                    <a:pt x="491" y="424"/>
                    <a:pt x="491" y="424"/>
                    <a:pt x="491" y="424"/>
                  </a:cubicBezTo>
                  <a:cubicBezTo>
                    <a:pt x="543" y="441"/>
                    <a:pt x="543" y="441"/>
                    <a:pt x="543" y="441"/>
                  </a:cubicBezTo>
                  <a:cubicBezTo>
                    <a:pt x="571" y="376"/>
                    <a:pt x="571" y="376"/>
                    <a:pt x="571" y="376"/>
                  </a:cubicBezTo>
                  <a:cubicBezTo>
                    <a:pt x="521" y="351"/>
                    <a:pt x="521" y="351"/>
                    <a:pt x="521" y="351"/>
                  </a:cubicBezTo>
                  <a:cubicBezTo>
                    <a:pt x="523" y="340"/>
                    <a:pt x="523" y="340"/>
                    <a:pt x="523" y="340"/>
                  </a:cubicBezTo>
                  <a:cubicBezTo>
                    <a:pt x="527" y="316"/>
                    <a:pt x="527" y="291"/>
                    <a:pt x="523" y="267"/>
                  </a:cubicBezTo>
                  <a:cubicBezTo>
                    <a:pt x="521" y="257"/>
                    <a:pt x="521" y="257"/>
                    <a:pt x="521" y="257"/>
                  </a:cubicBezTo>
                  <a:cubicBezTo>
                    <a:pt x="571" y="232"/>
                    <a:pt x="571" y="232"/>
                    <a:pt x="571" y="232"/>
                  </a:cubicBezTo>
                  <a:cubicBezTo>
                    <a:pt x="543" y="166"/>
                    <a:pt x="543" y="166"/>
                    <a:pt x="543" y="166"/>
                  </a:cubicBezTo>
                  <a:cubicBezTo>
                    <a:pt x="491" y="184"/>
                    <a:pt x="491" y="184"/>
                    <a:pt x="491" y="184"/>
                  </a:cubicBezTo>
                  <a:cubicBezTo>
                    <a:pt x="484" y="175"/>
                    <a:pt x="484" y="175"/>
                    <a:pt x="484" y="175"/>
                  </a:cubicBezTo>
                  <a:cubicBezTo>
                    <a:pt x="470" y="155"/>
                    <a:pt x="453" y="137"/>
                    <a:pt x="433" y="123"/>
                  </a:cubicBezTo>
                  <a:cubicBezTo>
                    <a:pt x="424" y="117"/>
                    <a:pt x="424" y="117"/>
                    <a:pt x="424" y="11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376" y="37"/>
                    <a:pt x="376" y="37"/>
                    <a:pt x="376" y="37"/>
                  </a:cubicBezTo>
                  <a:cubicBezTo>
                    <a:pt x="351" y="87"/>
                    <a:pt x="351" y="87"/>
                    <a:pt x="351" y="87"/>
                  </a:cubicBezTo>
                  <a:cubicBezTo>
                    <a:pt x="340" y="85"/>
                    <a:pt x="340" y="85"/>
                    <a:pt x="340" y="85"/>
                  </a:cubicBezTo>
                  <a:cubicBezTo>
                    <a:pt x="316" y="81"/>
                    <a:pt x="292" y="81"/>
                    <a:pt x="268" y="85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32" y="37"/>
                    <a:pt x="232" y="37"/>
                    <a:pt x="232" y="37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84" y="117"/>
                    <a:pt x="184" y="117"/>
                    <a:pt x="184" y="117"/>
                  </a:cubicBezTo>
                  <a:cubicBezTo>
                    <a:pt x="175" y="123"/>
                    <a:pt x="175" y="123"/>
                    <a:pt x="175" y="123"/>
                  </a:cubicBezTo>
                  <a:cubicBezTo>
                    <a:pt x="155" y="138"/>
                    <a:pt x="138" y="155"/>
                    <a:pt x="124" y="175"/>
                  </a:cubicBezTo>
                  <a:cubicBezTo>
                    <a:pt x="117" y="184"/>
                    <a:pt x="117" y="184"/>
                    <a:pt x="117" y="184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37" y="232"/>
                    <a:pt x="37" y="232"/>
                    <a:pt x="37" y="232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67"/>
                    <a:pt x="85" y="267"/>
                    <a:pt x="85" y="267"/>
                  </a:cubicBezTo>
                  <a:cubicBezTo>
                    <a:pt x="81" y="291"/>
                    <a:pt x="81" y="316"/>
                    <a:pt x="85" y="340"/>
                  </a:cubicBezTo>
                  <a:cubicBezTo>
                    <a:pt x="87" y="351"/>
                    <a:pt x="87" y="351"/>
                    <a:pt x="87" y="351"/>
                  </a:cubicBezTo>
                  <a:cubicBezTo>
                    <a:pt x="37" y="376"/>
                    <a:pt x="37" y="376"/>
                    <a:pt x="37" y="376"/>
                  </a:cubicBezTo>
                  <a:cubicBezTo>
                    <a:pt x="65" y="441"/>
                    <a:pt x="65" y="441"/>
                    <a:pt x="65" y="441"/>
                  </a:cubicBezTo>
                  <a:cubicBezTo>
                    <a:pt x="117" y="424"/>
                    <a:pt x="117" y="424"/>
                    <a:pt x="117" y="424"/>
                  </a:cubicBezTo>
                  <a:cubicBezTo>
                    <a:pt x="124" y="433"/>
                    <a:pt x="124" y="433"/>
                    <a:pt x="124" y="433"/>
                  </a:cubicBezTo>
                  <a:cubicBezTo>
                    <a:pt x="138" y="453"/>
                    <a:pt x="155" y="470"/>
                    <a:pt x="175" y="484"/>
                  </a:cubicBezTo>
                  <a:cubicBezTo>
                    <a:pt x="184" y="490"/>
                    <a:pt x="184" y="490"/>
                    <a:pt x="184" y="490"/>
                  </a:cubicBezTo>
                  <a:cubicBezTo>
                    <a:pt x="166" y="543"/>
                    <a:pt x="166" y="543"/>
                    <a:pt x="166" y="54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  <p:sp>
          <p:nvSpPr>
            <p:cNvPr id="64" name="Freeform 207">
              <a:extLst>
                <a:ext uri="{FF2B5EF4-FFF2-40B4-BE49-F238E27FC236}">
                  <a16:creationId xmlns:a16="http://schemas.microsoft.com/office/drawing/2014/main" id="{632D92E6-E55E-2B46-82E5-B6D41F4AA6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87253" y="4785685"/>
              <a:ext cx="168183" cy="149286"/>
            </a:xfrm>
            <a:custGeom>
              <a:avLst/>
              <a:gdLst>
                <a:gd name="T0" fmla="*/ 124 w 248"/>
                <a:gd name="T1" fmla="*/ 219 h 219"/>
                <a:gd name="T2" fmla="*/ 124 w 248"/>
                <a:gd name="T3" fmla="*/ 219 h 219"/>
                <a:gd name="T4" fmla="*/ 23 w 248"/>
                <a:gd name="T5" fmla="*/ 151 h 219"/>
                <a:gd name="T6" fmla="*/ 82 w 248"/>
                <a:gd name="T7" fmla="*/ 9 h 219"/>
                <a:gd name="T8" fmla="*/ 124 w 248"/>
                <a:gd name="T9" fmla="*/ 0 h 219"/>
                <a:gd name="T10" fmla="*/ 225 w 248"/>
                <a:gd name="T11" fmla="*/ 68 h 219"/>
                <a:gd name="T12" fmla="*/ 166 w 248"/>
                <a:gd name="T13" fmla="*/ 210 h 219"/>
                <a:gd name="T14" fmla="*/ 124 w 248"/>
                <a:gd name="T15" fmla="*/ 219 h 219"/>
                <a:gd name="T16" fmla="*/ 124 w 248"/>
                <a:gd name="T17" fmla="*/ 30 h 219"/>
                <a:gd name="T18" fmla="*/ 93 w 248"/>
                <a:gd name="T19" fmla="*/ 36 h 219"/>
                <a:gd name="T20" fmla="*/ 50 w 248"/>
                <a:gd name="T21" fmla="*/ 140 h 219"/>
                <a:gd name="T22" fmla="*/ 124 w 248"/>
                <a:gd name="T23" fmla="*/ 190 h 219"/>
                <a:gd name="T24" fmla="*/ 124 w 248"/>
                <a:gd name="T25" fmla="*/ 190 h 219"/>
                <a:gd name="T26" fmla="*/ 155 w 248"/>
                <a:gd name="T27" fmla="*/ 183 h 219"/>
                <a:gd name="T28" fmla="*/ 198 w 248"/>
                <a:gd name="T29" fmla="*/ 79 h 219"/>
                <a:gd name="T30" fmla="*/ 124 w 248"/>
                <a:gd name="T31" fmla="*/ 3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219">
                  <a:moveTo>
                    <a:pt x="124" y="219"/>
                  </a:moveTo>
                  <a:cubicBezTo>
                    <a:pt x="124" y="219"/>
                    <a:pt x="124" y="219"/>
                    <a:pt x="124" y="219"/>
                  </a:cubicBezTo>
                  <a:cubicBezTo>
                    <a:pt x="80" y="219"/>
                    <a:pt x="40" y="192"/>
                    <a:pt x="23" y="151"/>
                  </a:cubicBezTo>
                  <a:cubicBezTo>
                    <a:pt x="0" y="96"/>
                    <a:pt x="27" y="32"/>
                    <a:pt x="82" y="9"/>
                  </a:cubicBezTo>
                  <a:cubicBezTo>
                    <a:pt x="96" y="3"/>
                    <a:pt x="110" y="0"/>
                    <a:pt x="124" y="0"/>
                  </a:cubicBezTo>
                  <a:cubicBezTo>
                    <a:pt x="168" y="0"/>
                    <a:pt x="208" y="27"/>
                    <a:pt x="225" y="68"/>
                  </a:cubicBezTo>
                  <a:cubicBezTo>
                    <a:pt x="248" y="123"/>
                    <a:pt x="221" y="187"/>
                    <a:pt x="166" y="210"/>
                  </a:cubicBezTo>
                  <a:cubicBezTo>
                    <a:pt x="152" y="216"/>
                    <a:pt x="138" y="219"/>
                    <a:pt x="124" y="219"/>
                  </a:cubicBezTo>
                  <a:close/>
                  <a:moveTo>
                    <a:pt x="124" y="30"/>
                  </a:moveTo>
                  <a:cubicBezTo>
                    <a:pt x="114" y="30"/>
                    <a:pt x="103" y="32"/>
                    <a:pt x="93" y="36"/>
                  </a:cubicBezTo>
                  <a:cubicBezTo>
                    <a:pt x="53" y="53"/>
                    <a:pt x="33" y="100"/>
                    <a:pt x="50" y="140"/>
                  </a:cubicBezTo>
                  <a:cubicBezTo>
                    <a:pt x="63" y="170"/>
                    <a:pt x="92" y="190"/>
                    <a:pt x="124" y="190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35" y="190"/>
                    <a:pt x="145" y="187"/>
                    <a:pt x="155" y="183"/>
                  </a:cubicBezTo>
                  <a:cubicBezTo>
                    <a:pt x="195" y="167"/>
                    <a:pt x="215" y="120"/>
                    <a:pt x="198" y="79"/>
                  </a:cubicBezTo>
                  <a:cubicBezTo>
                    <a:pt x="185" y="49"/>
                    <a:pt x="156" y="30"/>
                    <a:pt x="124" y="3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  <p:sp>
          <p:nvSpPr>
            <p:cNvPr id="65" name="Freeform 208">
              <a:extLst>
                <a:ext uri="{FF2B5EF4-FFF2-40B4-BE49-F238E27FC236}">
                  <a16:creationId xmlns:a16="http://schemas.microsoft.com/office/drawing/2014/main" id="{E023A5B5-B4B2-1D43-B1AB-B45538D0D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2695" y="4800803"/>
              <a:ext cx="113382" cy="107712"/>
            </a:xfrm>
            <a:custGeom>
              <a:avLst/>
              <a:gdLst>
                <a:gd name="T0" fmla="*/ 51 w 164"/>
                <a:gd name="T1" fmla="*/ 159 h 159"/>
                <a:gd name="T2" fmla="*/ 17 w 164"/>
                <a:gd name="T3" fmla="*/ 121 h 159"/>
                <a:gd name="T4" fmla="*/ 60 w 164"/>
                <a:gd name="T5" fmla="*/ 17 h 159"/>
                <a:gd name="T6" fmla="*/ 164 w 164"/>
                <a:gd name="T7" fmla="*/ 60 h 159"/>
                <a:gd name="T8" fmla="*/ 137 w 164"/>
                <a:gd name="T9" fmla="*/ 71 h 159"/>
                <a:gd name="T10" fmla="*/ 71 w 164"/>
                <a:gd name="T11" fmla="*/ 44 h 159"/>
                <a:gd name="T12" fmla="*/ 44 w 164"/>
                <a:gd name="T13" fmla="*/ 110 h 159"/>
                <a:gd name="T14" fmla="*/ 65 w 164"/>
                <a:gd name="T15" fmla="*/ 134 h 159"/>
                <a:gd name="T16" fmla="*/ 51 w 164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9">
                  <a:moveTo>
                    <a:pt x="51" y="159"/>
                  </a:moveTo>
                  <a:cubicBezTo>
                    <a:pt x="35" y="150"/>
                    <a:pt x="24" y="137"/>
                    <a:pt x="17" y="121"/>
                  </a:cubicBezTo>
                  <a:cubicBezTo>
                    <a:pt x="0" y="80"/>
                    <a:pt x="19" y="34"/>
                    <a:pt x="60" y="17"/>
                  </a:cubicBezTo>
                  <a:cubicBezTo>
                    <a:pt x="101" y="0"/>
                    <a:pt x="147" y="19"/>
                    <a:pt x="164" y="60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27" y="45"/>
                    <a:pt x="97" y="33"/>
                    <a:pt x="71" y="44"/>
                  </a:cubicBezTo>
                  <a:cubicBezTo>
                    <a:pt x="46" y="54"/>
                    <a:pt x="33" y="84"/>
                    <a:pt x="44" y="110"/>
                  </a:cubicBezTo>
                  <a:cubicBezTo>
                    <a:pt x="48" y="120"/>
                    <a:pt x="56" y="128"/>
                    <a:pt x="65" y="134"/>
                  </a:cubicBezTo>
                  <a:cubicBezTo>
                    <a:pt x="51" y="159"/>
                    <a:pt x="51" y="159"/>
                    <a:pt x="51" y="15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  <p:sp>
          <p:nvSpPr>
            <p:cNvPr id="66" name="Freeform 209">
              <a:extLst>
                <a:ext uri="{FF2B5EF4-FFF2-40B4-BE49-F238E27FC236}">
                  <a16:creationId xmlns:a16="http://schemas.microsoft.com/office/drawing/2014/main" id="{E8CB4668-D774-E54D-867C-2F6FFE8F9F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7107" y="4942530"/>
              <a:ext cx="292903" cy="292903"/>
            </a:xfrm>
            <a:custGeom>
              <a:avLst/>
              <a:gdLst>
                <a:gd name="T0" fmla="*/ 230 w 429"/>
                <a:gd name="T1" fmla="*/ 377 h 428"/>
                <a:gd name="T2" fmla="*/ 178 w 429"/>
                <a:gd name="T3" fmla="*/ 428 h 428"/>
                <a:gd name="T4" fmla="*/ 110 w 429"/>
                <a:gd name="T5" fmla="*/ 340 h 428"/>
                <a:gd name="T6" fmla="*/ 37 w 429"/>
                <a:gd name="T7" fmla="*/ 340 h 428"/>
                <a:gd name="T8" fmla="*/ 52 w 429"/>
                <a:gd name="T9" fmla="*/ 229 h 428"/>
                <a:gd name="T10" fmla="*/ 0 w 429"/>
                <a:gd name="T11" fmla="*/ 178 h 428"/>
                <a:gd name="T12" fmla="*/ 89 w 429"/>
                <a:gd name="T13" fmla="*/ 110 h 428"/>
                <a:gd name="T14" fmla="*/ 89 w 429"/>
                <a:gd name="T15" fmla="*/ 37 h 428"/>
                <a:gd name="T16" fmla="*/ 200 w 429"/>
                <a:gd name="T17" fmla="*/ 51 h 428"/>
                <a:gd name="T18" fmla="*/ 251 w 429"/>
                <a:gd name="T19" fmla="*/ 0 h 428"/>
                <a:gd name="T20" fmla="*/ 319 w 429"/>
                <a:gd name="T21" fmla="*/ 88 h 428"/>
                <a:gd name="T22" fmla="*/ 392 w 429"/>
                <a:gd name="T23" fmla="*/ 88 h 428"/>
                <a:gd name="T24" fmla="*/ 378 w 429"/>
                <a:gd name="T25" fmla="*/ 199 h 428"/>
                <a:gd name="T26" fmla="*/ 429 w 429"/>
                <a:gd name="T27" fmla="*/ 251 h 428"/>
                <a:gd name="T28" fmla="*/ 341 w 429"/>
                <a:gd name="T29" fmla="*/ 319 h 428"/>
                <a:gd name="T30" fmla="*/ 341 w 429"/>
                <a:gd name="T31" fmla="*/ 391 h 428"/>
                <a:gd name="T32" fmla="*/ 127 w 429"/>
                <a:gd name="T33" fmla="*/ 376 h 428"/>
                <a:gd name="T34" fmla="*/ 181 w 429"/>
                <a:gd name="T35" fmla="*/ 345 h 428"/>
                <a:gd name="T36" fmla="*/ 237 w 429"/>
                <a:gd name="T37" fmla="*/ 347 h 428"/>
                <a:gd name="T38" fmla="*/ 267 w 429"/>
                <a:gd name="T39" fmla="*/ 390 h 428"/>
                <a:gd name="T40" fmla="*/ 283 w 429"/>
                <a:gd name="T41" fmla="*/ 330 h 428"/>
                <a:gd name="T42" fmla="*/ 324 w 429"/>
                <a:gd name="T43" fmla="*/ 292 h 428"/>
                <a:gd name="T44" fmla="*/ 376 w 429"/>
                <a:gd name="T45" fmla="*/ 302 h 428"/>
                <a:gd name="T46" fmla="*/ 345 w 429"/>
                <a:gd name="T47" fmla="*/ 248 h 428"/>
                <a:gd name="T48" fmla="*/ 347 w 429"/>
                <a:gd name="T49" fmla="*/ 192 h 428"/>
                <a:gd name="T50" fmla="*/ 391 w 429"/>
                <a:gd name="T51" fmla="*/ 162 h 428"/>
                <a:gd name="T52" fmla="*/ 331 w 429"/>
                <a:gd name="T53" fmla="*/ 145 h 428"/>
                <a:gd name="T54" fmla="*/ 293 w 429"/>
                <a:gd name="T55" fmla="*/ 105 h 428"/>
                <a:gd name="T56" fmla="*/ 302 w 429"/>
                <a:gd name="T57" fmla="*/ 53 h 428"/>
                <a:gd name="T58" fmla="*/ 248 w 429"/>
                <a:gd name="T59" fmla="*/ 83 h 428"/>
                <a:gd name="T60" fmla="*/ 193 w 429"/>
                <a:gd name="T61" fmla="*/ 82 h 428"/>
                <a:gd name="T62" fmla="*/ 162 w 429"/>
                <a:gd name="T63" fmla="*/ 38 h 428"/>
                <a:gd name="T64" fmla="*/ 146 w 429"/>
                <a:gd name="T65" fmla="*/ 98 h 428"/>
                <a:gd name="T66" fmla="*/ 105 w 429"/>
                <a:gd name="T67" fmla="*/ 136 h 428"/>
                <a:gd name="T68" fmla="*/ 53 w 429"/>
                <a:gd name="T69" fmla="*/ 127 h 428"/>
                <a:gd name="T70" fmla="*/ 84 w 429"/>
                <a:gd name="T71" fmla="*/ 181 h 428"/>
                <a:gd name="T72" fmla="*/ 82 w 429"/>
                <a:gd name="T73" fmla="*/ 236 h 428"/>
                <a:gd name="T74" fmla="*/ 39 w 429"/>
                <a:gd name="T75" fmla="*/ 266 h 428"/>
                <a:gd name="T76" fmla="*/ 99 w 429"/>
                <a:gd name="T77" fmla="*/ 283 h 428"/>
                <a:gd name="T78" fmla="*/ 137 w 429"/>
                <a:gd name="T79" fmla="*/ 324 h 428"/>
                <a:gd name="T80" fmla="*/ 127 w 429"/>
                <a:gd name="T81" fmla="*/ 37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428">
                  <a:moveTo>
                    <a:pt x="251" y="428"/>
                  </a:moveTo>
                  <a:cubicBezTo>
                    <a:pt x="230" y="377"/>
                    <a:pt x="230" y="377"/>
                    <a:pt x="230" y="377"/>
                  </a:cubicBezTo>
                  <a:cubicBezTo>
                    <a:pt x="220" y="378"/>
                    <a:pt x="210" y="378"/>
                    <a:pt x="200" y="377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89" y="391"/>
                    <a:pt x="89" y="391"/>
                    <a:pt x="89" y="391"/>
                  </a:cubicBezTo>
                  <a:cubicBezTo>
                    <a:pt x="110" y="340"/>
                    <a:pt x="110" y="340"/>
                    <a:pt x="110" y="340"/>
                  </a:cubicBezTo>
                  <a:cubicBezTo>
                    <a:pt x="102" y="334"/>
                    <a:pt x="95" y="326"/>
                    <a:pt x="89" y="319"/>
                  </a:cubicBezTo>
                  <a:cubicBezTo>
                    <a:pt x="37" y="340"/>
                    <a:pt x="37" y="340"/>
                    <a:pt x="37" y="340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52" y="229"/>
                    <a:pt x="52" y="229"/>
                    <a:pt x="52" y="229"/>
                  </a:cubicBezTo>
                  <a:cubicBezTo>
                    <a:pt x="51" y="219"/>
                    <a:pt x="51" y="209"/>
                    <a:pt x="52" y="199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5" y="102"/>
                    <a:pt x="102" y="95"/>
                    <a:pt x="110" y="8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10" y="50"/>
                    <a:pt x="220" y="50"/>
                    <a:pt x="230" y="51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341" y="37"/>
                    <a:pt x="341" y="37"/>
                    <a:pt x="341" y="37"/>
                  </a:cubicBezTo>
                  <a:cubicBezTo>
                    <a:pt x="319" y="88"/>
                    <a:pt x="319" y="88"/>
                    <a:pt x="319" y="88"/>
                  </a:cubicBezTo>
                  <a:cubicBezTo>
                    <a:pt x="327" y="95"/>
                    <a:pt x="334" y="102"/>
                    <a:pt x="341" y="110"/>
                  </a:cubicBezTo>
                  <a:cubicBezTo>
                    <a:pt x="392" y="88"/>
                    <a:pt x="392" y="88"/>
                    <a:pt x="392" y="8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79" y="209"/>
                    <a:pt x="379" y="219"/>
                    <a:pt x="378" y="229"/>
                  </a:cubicBezTo>
                  <a:cubicBezTo>
                    <a:pt x="429" y="251"/>
                    <a:pt x="429" y="251"/>
                    <a:pt x="429" y="251"/>
                  </a:cubicBezTo>
                  <a:cubicBezTo>
                    <a:pt x="392" y="340"/>
                    <a:pt x="392" y="340"/>
                    <a:pt x="392" y="340"/>
                  </a:cubicBezTo>
                  <a:cubicBezTo>
                    <a:pt x="341" y="319"/>
                    <a:pt x="341" y="319"/>
                    <a:pt x="341" y="319"/>
                  </a:cubicBezTo>
                  <a:cubicBezTo>
                    <a:pt x="334" y="326"/>
                    <a:pt x="327" y="334"/>
                    <a:pt x="319" y="34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251" y="428"/>
                    <a:pt x="251" y="428"/>
                    <a:pt x="251" y="428"/>
                  </a:cubicBezTo>
                  <a:close/>
                  <a:moveTo>
                    <a:pt x="127" y="376"/>
                  </a:moveTo>
                  <a:cubicBezTo>
                    <a:pt x="162" y="390"/>
                    <a:pt x="162" y="390"/>
                    <a:pt x="162" y="390"/>
                  </a:cubicBezTo>
                  <a:cubicBezTo>
                    <a:pt x="181" y="345"/>
                    <a:pt x="181" y="345"/>
                    <a:pt x="181" y="345"/>
                  </a:cubicBezTo>
                  <a:cubicBezTo>
                    <a:pt x="193" y="347"/>
                    <a:pt x="193" y="347"/>
                    <a:pt x="193" y="347"/>
                  </a:cubicBezTo>
                  <a:cubicBezTo>
                    <a:pt x="207" y="349"/>
                    <a:pt x="222" y="349"/>
                    <a:pt x="237" y="347"/>
                  </a:cubicBezTo>
                  <a:cubicBezTo>
                    <a:pt x="248" y="345"/>
                    <a:pt x="248" y="345"/>
                    <a:pt x="248" y="345"/>
                  </a:cubicBezTo>
                  <a:cubicBezTo>
                    <a:pt x="267" y="390"/>
                    <a:pt x="267" y="390"/>
                    <a:pt x="267" y="390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283" y="330"/>
                    <a:pt x="283" y="330"/>
                    <a:pt x="283" y="330"/>
                  </a:cubicBezTo>
                  <a:cubicBezTo>
                    <a:pt x="293" y="323"/>
                    <a:pt x="293" y="323"/>
                    <a:pt x="293" y="323"/>
                  </a:cubicBezTo>
                  <a:cubicBezTo>
                    <a:pt x="305" y="315"/>
                    <a:pt x="316" y="304"/>
                    <a:pt x="324" y="292"/>
                  </a:cubicBezTo>
                  <a:cubicBezTo>
                    <a:pt x="331" y="283"/>
                    <a:pt x="331" y="283"/>
                    <a:pt x="331" y="283"/>
                  </a:cubicBezTo>
                  <a:cubicBezTo>
                    <a:pt x="376" y="302"/>
                    <a:pt x="376" y="302"/>
                    <a:pt x="376" y="302"/>
                  </a:cubicBezTo>
                  <a:cubicBezTo>
                    <a:pt x="391" y="266"/>
                    <a:pt x="391" y="266"/>
                    <a:pt x="391" y="266"/>
                  </a:cubicBezTo>
                  <a:cubicBezTo>
                    <a:pt x="345" y="248"/>
                    <a:pt x="345" y="248"/>
                    <a:pt x="345" y="248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50" y="222"/>
                    <a:pt x="350" y="207"/>
                    <a:pt x="347" y="192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76" y="127"/>
                    <a:pt x="376" y="127"/>
                    <a:pt x="376" y="127"/>
                  </a:cubicBezTo>
                  <a:cubicBezTo>
                    <a:pt x="331" y="145"/>
                    <a:pt x="331" y="145"/>
                    <a:pt x="331" y="145"/>
                  </a:cubicBezTo>
                  <a:cubicBezTo>
                    <a:pt x="324" y="136"/>
                    <a:pt x="324" y="136"/>
                    <a:pt x="324" y="136"/>
                  </a:cubicBezTo>
                  <a:cubicBezTo>
                    <a:pt x="315" y="124"/>
                    <a:pt x="305" y="113"/>
                    <a:pt x="293" y="105"/>
                  </a:cubicBezTo>
                  <a:cubicBezTo>
                    <a:pt x="283" y="98"/>
                    <a:pt x="283" y="98"/>
                    <a:pt x="283" y="98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48" y="83"/>
                    <a:pt x="248" y="83"/>
                    <a:pt x="248" y="83"/>
                  </a:cubicBezTo>
                  <a:cubicBezTo>
                    <a:pt x="237" y="81"/>
                    <a:pt x="237" y="81"/>
                    <a:pt x="237" y="81"/>
                  </a:cubicBezTo>
                  <a:cubicBezTo>
                    <a:pt x="222" y="79"/>
                    <a:pt x="207" y="79"/>
                    <a:pt x="193" y="82"/>
                  </a:cubicBezTo>
                  <a:cubicBezTo>
                    <a:pt x="181" y="83"/>
                    <a:pt x="181" y="83"/>
                    <a:pt x="181" y="83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37" y="105"/>
                    <a:pt x="137" y="105"/>
                    <a:pt x="137" y="105"/>
                  </a:cubicBezTo>
                  <a:cubicBezTo>
                    <a:pt x="124" y="114"/>
                    <a:pt x="114" y="124"/>
                    <a:pt x="105" y="136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39" y="162"/>
                    <a:pt x="39" y="162"/>
                    <a:pt x="39" y="162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0" y="207"/>
                    <a:pt x="80" y="221"/>
                    <a:pt x="82" y="236"/>
                  </a:cubicBezTo>
                  <a:cubicBezTo>
                    <a:pt x="84" y="248"/>
                    <a:pt x="84" y="248"/>
                    <a:pt x="84" y="248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53" y="302"/>
                    <a:pt x="53" y="302"/>
                    <a:pt x="53" y="302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105" y="292"/>
                    <a:pt x="105" y="292"/>
                    <a:pt x="105" y="292"/>
                  </a:cubicBezTo>
                  <a:cubicBezTo>
                    <a:pt x="114" y="304"/>
                    <a:pt x="125" y="315"/>
                    <a:pt x="137" y="324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27" y="376"/>
                    <a:pt x="127" y="376"/>
                    <a:pt x="127" y="37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  <p:sp>
          <p:nvSpPr>
            <p:cNvPr id="67" name="Freeform 210">
              <a:extLst>
                <a:ext uri="{FF2B5EF4-FFF2-40B4-BE49-F238E27FC236}">
                  <a16:creationId xmlns:a16="http://schemas.microsoft.com/office/drawing/2014/main" id="{2D132D9C-313D-4641-AE64-31CBE87806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9548" y="4715766"/>
              <a:ext cx="222985" cy="236212"/>
            </a:xfrm>
            <a:custGeom>
              <a:avLst/>
              <a:gdLst>
                <a:gd name="T0" fmla="*/ 46 w 326"/>
                <a:gd name="T1" fmla="*/ 347 h 347"/>
                <a:gd name="T2" fmla="*/ 4 w 326"/>
                <a:gd name="T3" fmla="*/ 261 h 347"/>
                <a:gd name="T4" fmla="*/ 53 w 326"/>
                <a:gd name="T5" fmla="*/ 237 h 347"/>
                <a:gd name="T6" fmla="*/ 51 w 326"/>
                <a:gd name="T7" fmla="*/ 208 h 347"/>
                <a:gd name="T8" fmla="*/ 0 w 326"/>
                <a:gd name="T9" fmla="*/ 190 h 347"/>
                <a:gd name="T10" fmla="*/ 31 w 326"/>
                <a:gd name="T11" fmla="*/ 100 h 347"/>
                <a:gd name="T12" fmla="*/ 83 w 326"/>
                <a:gd name="T13" fmla="*/ 117 h 347"/>
                <a:gd name="T14" fmla="*/ 102 w 326"/>
                <a:gd name="T15" fmla="*/ 95 h 347"/>
                <a:gd name="T16" fmla="*/ 78 w 326"/>
                <a:gd name="T17" fmla="*/ 46 h 347"/>
                <a:gd name="T18" fmla="*/ 164 w 326"/>
                <a:gd name="T19" fmla="*/ 4 h 347"/>
                <a:gd name="T20" fmla="*/ 188 w 326"/>
                <a:gd name="T21" fmla="*/ 53 h 347"/>
                <a:gd name="T22" fmla="*/ 218 w 326"/>
                <a:gd name="T23" fmla="*/ 52 h 347"/>
                <a:gd name="T24" fmla="*/ 236 w 326"/>
                <a:gd name="T25" fmla="*/ 0 h 347"/>
                <a:gd name="T26" fmla="*/ 326 w 326"/>
                <a:gd name="T27" fmla="*/ 31 h 347"/>
                <a:gd name="T28" fmla="*/ 304 w 326"/>
                <a:gd name="T29" fmla="*/ 93 h 347"/>
                <a:gd name="T30" fmla="*/ 277 w 326"/>
                <a:gd name="T31" fmla="*/ 84 h 347"/>
                <a:gd name="T32" fmla="*/ 289 w 326"/>
                <a:gd name="T33" fmla="*/ 49 h 347"/>
                <a:gd name="T34" fmla="*/ 254 w 326"/>
                <a:gd name="T35" fmla="*/ 37 h 347"/>
                <a:gd name="T36" fmla="*/ 238 w 326"/>
                <a:gd name="T37" fmla="*/ 83 h 347"/>
                <a:gd name="T38" fmla="*/ 226 w 326"/>
                <a:gd name="T39" fmla="*/ 82 h 347"/>
                <a:gd name="T40" fmla="*/ 183 w 326"/>
                <a:gd name="T41" fmla="*/ 84 h 347"/>
                <a:gd name="T42" fmla="*/ 172 w 326"/>
                <a:gd name="T43" fmla="*/ 87 h 347"/>
                <a:gd name="T44" fmla="*/ 151 w 326"/>
                <a:gd name="T45" fmla="*/ 43 h 347"/>
                <a:gd name="T46" fmla="*/ 118 w 326"/>
                <a:gd name="T47" fmla="*/ 60 h 347"/>
                <a:gd name="T48" fmla="*/ 139 w 326"/>
                <a:gd name="T49" fmla="*/ 103 h 347"/>
                <a:gd name="T50" fmla="*/ 130 w 326"/>
                <a:gd name="T51" fmla="*/ 110 h 347"/>
                <a:gd name="T52" fmla="*/ 101 w 326"/>
                <a:gd name="T53" fmla="*/ 143 h 347"/>
                <a:gd name="T54" fmla="*/ 95 w 326"/>
                <a:gd name="T55" fmla="*/ 152 h 347"/>
                <a:gd name="T56" fmla="*/ 49 w 326"/>
                <a:gd name="T57" fmla="*/ 137 h 347"/>
                <a:gd name="T58" fmla="*/ 37 w 326"/>
                <a:gd name="T59" fmla="*/ 172 h 347"/>
                <a:gd name="T60" fmla="*/ 83 w 326"/>
                <a:gd name="T61" fmla="*/ 187 h 347"/>
                <a:gd name="T62" fmla="*/ 81 w 326"/>
                <a:gd name="T63" fmla="*/ 199 h 347"/>
                <a:gd name="T64" fmla="*/ 84 w 326"/>
                <a:gd name="T65" fmla="*/ 242 h 347"/>
                <a:gd name="T66" fmla="*/ 87 w 326"/>
                <a:gd name="T67" fmla="*/ 254 h 347"/>
                <a:gd name="T68" fmla="*/ 43 w 326"/>
                <a:gd name="T69" fmla="*/ 275 h 347"/>
                <a:gd name="T70" fmla="*/ 59 w 326"/>
                <a:gd name="T71" fmla="*/ 308 h 347"/>
                <a:gd name="T72" fmla="*/ 92 w 326"/>
                <a:gd name="T73" fmla="*/ 292 h 347"/>
                <a:gd name="T74" fmla="*/ 105 w 326"/>
                <a:gd name="T75" fmla="*/ 318 h 347"/>
                <a:gd name="T76" fmla="*/ 46 w 326"/>
                <a:gd name="T77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6" h="347">
                  <a:moveTo>
                    <a:pt x="46" y="347"/>
                  </a:moveTo>
                  <a:cubicBezTo>
                    <a:pt x="4" y="261"/>
                    <a:pt x="4" y="261"/>
                    <a:pt x="4" y="261"/>
                  </a:cubicBezTo>
                  <a:cubicBezTo>
                    <a:pt x="53" y="237"/>
                    <a:pt x="53" y="237"/>
                    <a:pt x="53" y="237"/>
                  </a:cubicBezTo>
                  <a:cubicBezTo>
                    <a:pt x="52" y="227"/>
                    <a:pt x="51" y="218"/>
                    <a:pt x="51" y="20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8" y="109"/>
                    <a:pt x="95" y="102"/>
                    <a:pt x="102" y="95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198" y="52"/>
                    <a:pt x="208" y="51"/>
                    <a:pt x="218" y="52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04" y="93"/>
                    <a:pt x="304" y="93"/>
                    <a:pt x="304" y="93"/>
                  </a:cubicBezTo>
                  <a:cubicBezTo>
                    <a:pt x="277" y="84"/>
                    <a:pt x="277" y="84"/>
                    <a:pt x="277" y="84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54" y="37"/>
                    <a:pt x="254" y="37"/>
                    <a:pt x="254" y="37"/>
                  </a:cubicBezTo>
                  <a:cubicBezTo>
                    <a:pt x="238" y="83"/>
                    <a:pt x="238" y="83"/>
                    <a:pt x="238" y="83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12" y="80"/>
                    <a:pt x="197" y="81"/>
                    <a:pt x="183" y="84"/>
                  </a:cubicBezTo>
                  <a:cubicBezTo>
                    <a:pt x="172" y="87"/>
                    <a:pt x="172" y="87"/>
                    <a:pt x="172" y="87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0" y="110"/>
                    <a:pt x="130" y="110"/>
                    <a:pt x="130" y="110"/>
                  </a:cubicBezTo>
                  <a:cubicBezTo>
                    <a:pt x="118" y="120"/>
                    <a:pt x="109" y="130"/>
                    <a:pt x="101" y="143"/>
                  </a:cubicBezTo>
                  <a:cubicBezTo>
                    <a:pt x="95" y="152"/>
                    <a:pt x="95" y="152"/>
                    <a:pt x="95" y="152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83" y="187"/>
                    <a:pt x="83" y="187"/>
                    <a:pt x="83" y="187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80" y="213"/>
                    <a:pt x="81" y="228"/>
                    <a:pt x="84" y="242"/>
                  </a:cubicBezTo>
                  <a:cubicBezTo>
                    <a:pt x="87" y="254"/>
                    <a:pt x="87" y="254"/>
                    <a:pt x="87" y="254"/>
                  </a:cubicBezTo>
                  <a:cubicBezTo>
                    <a:pt x="43" y="275"/>
                    <a:pt x="43" y="275"/>
                    <a:pt x="43" y="275"/>
                  </a:cubicBezTo>
                  <a:cubicBezTo>
                    <a:pt x="59" y="308"/>
                    <a:pt x="59" y="308"/>
                    <a:pt x="59" y="308"/>
                  </a:cubicBezTo>
                  <a:cubicBezTo>
                    <a:pt x="92" y="292"/>
                    <a:pt x="92" y="292"/>
                    <a:pt x="92" y="292"/>
                  </a:cubicBezTo>
                  <a:cubicBezTo>
                    <a:pt x="105" y="318"/>
                    <a:pt x="105" y="318"/>
                    <a:pt x="105" y="318"/>
                  </a:cubicBezTo>
                  <a:cubicBezTo>
                    <a:pt x="46" y="347"/>
                    <a:pt x="46" y="347"/>
                    <a:pt x="46" y="34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  <p:sp>
          <p:nvSpPr>
            <p:cNvPr id="68" name="Freeform 211">
              <a:extLst>
                <a:ext uri="{FF2B5EF4-FFF2-40B4-BE49-F238E27FC236}">
                  <a16:creationId xmlns:a16="http://schemas.microsoft.com/office/drawing/2014/main" id="{5EEDD719-EB5F-424F-B82A-3DC0A30BE2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32143" y="5035126"/>
              <a:ext cx="117162" cy="107712"/>
            </a:xfrm>
            <a:custGeom>
              <a:avLst/>
              <a:gdLst>
                <a:gd name="T0" fmla="*/ 91 w 173"/>
                <a:gd name="T1" fmla="*/ 160 h 160"/>
                <a:gd name="T2" fmla="*/ 91 w 173"/>
                <a:gd name="T3" fmla="*/ 160 h 160"/>
                <a:gd name="T4" fmla="*/ 60 w 173"/>
                <a:gd name="T5" fmla="*/ 154 h 160"/>
                <a:gd name="T6" fmla="*/ 17 w 173"/>
                <a:gd name="T7" fmla="*/ 49 h 160"/>
                <a:gd name="T8" fmla="*/ 91 w 173"/>
                <a:gd name="T9" fmla="*/ 0 h 160"/>
                <a:gd name="T10" fmla="*/ 121 w 173"/>
                <a:gd name="T11" fmla="*/ 6 h 160"/>
                <a:gd name="T12" fmla="*/ 165 w 173"/>
                <a:gd name="T13" fmla="*/ 50 h 160"/>
                <a:gd name="T14" fmla="*/ 165 w 173"/>
                <a:gd name="T15" fmla="*/ 111 h 160"/>
                <a:gd name="T16" fmla="*/ 91 w 173"/>
                <a:gd name="T17" fmla="*/ 160 h 160"/>
                <a:gd name="T18" fmla="*/ 91 w 173"/>
                <a:gd name="T19" fmla="*/ 29 h 160"/>
                <a:gd name="T20" fmla="*/ 44 w 173"/>
                <a:gd name="T21" fmla="*/ 61 h 160"/>
                <a:gd name="T22" fmla="*/ 71 w 173"/>
                <a:gd name="T23" fmla="*/ 127 h 160"/>
                <a:gd name="T24" fmla="*/ 138 w 173"/>
                <a:gd name="T25" fmla="*/ 100 h 160"/>
                <a:gd name="T26" fmla="*/ 138 w 173"/>
                <a:gd name="T27" fmla="*/ 61 h 160"/>
                <a:gd name="T28" fmla="*/ 110 w 173"/>
                <a:gd name="T29" fmla="*/ 33 h 160"/>
                <a:gd name="T30" fmla="*/ 91 w 173"/>
                <a:gd name="T31" fmla="*/ 2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3" h="160">
                  <a:moveTo>
                    <a:pt x="91" y="160"/>
                  </a:moveTo>
                  <a:cubicBezTo>
                    <a:pt x="91" y="160"/>
                    <a:pt x="91" y="160"/>
                    <a:pt x="91" y="160"/>
                  </a:cubicBezTo>
                  <a:cubicBezTo>
                    <a:pt x="80" y="160"/>
                    <a:pt x="70" y="158"/>
                    <a:pt x="60" y="154"/>
                  </a:cubicBezTo>
                  <a:cubicBezTo>
                    <a:pt x="19" y="137"/>
                    <a:pt x="0" y="90"/>
                    <a:pt x="17" y="49"/>
                  </a:cubicBezTo>
                  <a:cubicBezTo>
                    <a:pt x="29" y="19"/>
                    <a:pt x="58" y="0"/>
                    <a:pt x="91" y="0"/>
                  </a:cubicBezTo>
                  <a:cubicBezTo>
                    <a:pt x="101" y="0"/>
                    <a:pt x="112" y="2"/>
                    <a:pt x="121" y="6"/>
                  </a:cubicBezTo>
                  <a:cubicBezTo>
                    <a:pt x="141" y="14"/>
                    <a:pt x="157" y="30"/>
                    <a:pt x="165" y="50"/>
                  </a:cubicBezTo>
                  <a:cubicBezTo>
                    <a:pt x="173" y="69"/>
                    <a:pt x="173" y="91"/>
                    <a:pt x="165" y="111"/>
                  </a:cubicBezTo>
                  <a:cubicBezTo>
                    <a:pt x="152" y="141"/>
                    <a:pt x="123" y="160"/>
                    <a:pt x="91" y="160"/>
                  </a:cubicBezTo>
                  <a:close/>
                  <a:moveTo>
                    <a:pt x="91" y="29"/>
                  </a:moveTo>
                  <a:cubicBezTo>
                    <a:pt x="70" y="29"/>
                    <a:pt x="52" y="42"/>
                    <a:pt x="44" y="61"/>
                  </a:cubicBezTo>
                  <a:cubicBezTo>
                    <a:pt x="33" y="87"/>
                    <a:pt x="45" y="116"/>
                    <a:pt x="71" y="127"/>
                  </a:cubicBezTo>
                  <a:cubicBezTo>
                    <a:pt x="97" y="138"/>
                    <a:pt x="127" y="125"/>
                    <a:pt x="138" y="100"/>
                  </a:cubicBezTo>
                  <a:cubicBezTo>
                    <a:pt x="143" y="87"/>
                    <a:pt x="143" y="73"/>
                    <a:pt x="138" y="61"/>
                  </a:cubicBezTo>
                  <a:cubicBezTo>
                    <a:pt x="132" y="48"/>
                    <a:pt x="123" y="38"/>
                    <a:pt x="110" y="33"/>
                  </a:cubicBezTo>
                  <a:cubicBezTo>
                    <a:pt x="104" y="31"/>
                    <a:pt x="97" y="29"/>
                    <a:pt x="91" y="2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2"/>
                </a:solidFill>
              </a:endParaRPr>
            </a:p>
          </p:txBody>
        </p:sp>
      </p:grp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078BC591-7ECE-C34D-BCD8-84750A8F2C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5014" y="4499936"/>
            <a:ext cx="2475728" cy="22921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79EACF19-197D-964E-A928-7A4902BF96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9947" y="4811924"/>
            <a:ext cx="2475727" cy="126926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26DEC3B2-16A9-B346-BF14-B51771D980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14862" y="2215494"/>
            <a:ext cx="2470659" cy="22921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37BDD16A-E399-294C-9019-83F08A352B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09795" y="2527482"/>
            <a:ext cx="2475727" cy="126926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6458ADFB-0B2C-B446-8504-9655D0FB3A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8445" y="4729155"/>
            <a:ext cx="2470659" cy="22921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4A5F588F-E662-904B-9EC8-3110913AD5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73378" y="5041143"/>
            <a:ext cx="2475727" cy="126926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AB310E8A-03F6-F749-BE57-36B25E3F227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955" y="3996129"/>
            <a:ext cx="1542893" cy="57697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  <a:br>
              <a:rPr lang="de-DE" dirty="0"/>
            </a:br>
            <a:r>
              <a:rPr lang="de-DE" dirty="0"/>
              <a:t>TEXT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4EBA8584-CE57-8244-B16D-18A0990B3F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9664" y="3437682"/>
            <a:ext cx="1005611" cy="23421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200" b="0" i="0">
                <a:solidFill>
                  <a:schemeClr val="accent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E625797E-2893-CA4B-9960-19BA877D19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81321" y="5100315"/>
            <a:ext cx="905636" cy="2342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>
                <a:solidFill>
                  <a:schemeClr val="accent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316F7979-9AEB-3E44-BB1F-A29E73C93B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6774" y="4036154"/>
            <a:ext cx="713359" cy="24375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2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3" name="Datumsplatzhalter 42">
            <a:extLst>
              <a:ext uri="{FF2B5EF4-FFF2-40B4-BE49-F238E27FC236}">
                <a16:creationId xmlns:a16="http://schemas.microsoft.com/office/drawing/2014/main" id="{B8D6A756-5EA9-6C49-9817-A4D422E0107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44" name="Fußzeilenplatzhalter 43">
            <a:extLst>
              <a:ext uri="{FF2B5EF4-FFF2-40B4-BE49-F238E27FC236}">
                <a16:creationId xmlns:a16="http://schemas.microsoft.com/office/drawing/2014/main" id="{EB8B9898-3964-614A-9E23-56942B9D464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C357EB63-51A8-C645-A00B-0822B951AD3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B31EBE2C-7397-E143-AF9D-037BF2597A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4308292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ounded Rectangle 111">
            <a:extLst>
              <a:ext uri="{FF2B5EF4-FFF2-40B4-BE49-F238E27FC236}">
                <a16:creationId xmlns:a16="http://schemas.microsoft.com/office/drawing/2014/main" id="{DC1CF0FE-D502-A842-8ABC-615F9D946F5E}"/>
              </a:ext>
            </a:extLst>
          </p:cNvPr>
          <p:cNvSpPr/>
          <p:nvPr userDrawn="1"/>
        </p:nvSpPr>
        <p:spPr>
          <a:xfrm>
            <a:off x="1909162" y="2178467"/>
            <a:ext cx="1321323" cy="3912074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 cap="flat" cmpd="sng" algn="ctr">
            <a:noFill/>
            <a:prstDash val="solid"/>
            <a:round/>
          </a:ln>
          <a:effectLst>
            <a:softEdge rad="0"/>
          </a:effectLst>
        </p:spPr>
        <p:txBody>
          <a:bodyPr lIns="180000" rIns="180000" rtlCol="0" anchor="t"/>
          <a:lstStyle/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57" name="Rounded Rectangle 111">
            <a:extLst>
              <a:ext uri="{FF2B5EF4-FFF2-40B4-BE49-F238E27FC236}">
                <a16:creationId xmlns:a16="http://schemas.microsoft.com/office/drawing/2014/main" id="{A408B7E7-C98F-4A4A-AE1E-6D73FB4F806C}"/>
              </a:ext>
            </a:extLst>
          </p:cNvPr>
          <p:cNvSpPr/>
          <p:nvPr userDrawn="1"/>
        </p:nvSpPr>
        <p:spPr>
          <a:xfrm>
            <a:off x="3457814" y="2036174"/>
            <a:ext cx="1321323" cy="4062875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 cap="flat" cmpd="sng" algn="ctr">
            <a:noFill/>
            <a:prstDash val="solid"/>
            <a:round/>
          </a:ln>
          <a:effectLst>
            <a:softEdge rad="0"/>
          </a:effectLst>
        </p:spPr>
        <p:txBody>
          <a:bodyPr lIns="180000" rIns="180000" rtlCol="0" anchor="t"/>
          <a:lstStyle/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58" name="Rounded Rectangle 111">
            <a:extLst>
              <a:ext uri="{FF2B5EF4-FFF2-40B4-BE49-F238E27FC236}">
                <a16:creationId xmlns:a16="http://schemas.microsoft.com/office/drawing/2014/main" id="{C1F6385E-92C1-C54D-B7B0-2CDD003460B3}"/>
              </a:ext>
            </a:extLst>
          </p:cNvPr>
          <p:cNvSpPr/>
          <p:nvPr userDrawn="1"/>
        </p:nvSpPr>
        <p:spPr>
          <a:xfrm>
            <a:off x="5011540" y="2036174"/>
            <a:ext cx="1321323" cy="4062875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 cap="flat" cmpd="sng" algn="ctr">
            <a:noFill/>
            <a:prstDash val="solid"/>
            <a:round/>
          </a:ln>
          <a:effectLst>
            <a:softEdge rad="0"/>
          </a:effectLst>
        </p:spPr>
        <p:txBody>
          <a:bodyPr lIns="180000" rIns="180000" rtlCol="0" anchor="t"/>
          <a:lstStyle/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59" name="Rounded Rectangle 111">
            <a:extLst>
              <a:ext uri="{FF2B5EF4-FFF2-40B4-BE49-F238E27FC236}">
                <a16:creationId xmlns:a16="http://schemas.microsoft.com/office/drawing/2014/main" id="{B5D00805-58F3-224A-BF00-251A53EE1A1E}"/>
              </a:ext>
            </a:extLst>
          </p:cNvPr>
          <p:cNvSpPr/>
          <p:nvPr userDrawn="1"/>
        </p:nvSpPr>
        <p:spPr>
          <a:xfrm>
            <a:off x="6566044" y="2036173"/>
            <a:ext cx="1321323" cy="4062875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 cap="flat" cmpd="sng" algn="ctr">
            <a:noFill/>
            <a:prstDash val="solid"/>
            <a:round/>
          </a:ln>
          <a:effectLst>
            <a:softEdge rad="0"/>
          </a:effectLst>
        </p:spPr>
        <p:txBody>
          <a:bodyPr lIns="180000" rIns="180000" rtlCol="0" anchor="t"/>
          <a:lstStyle/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60" name="Rounded Rectangle 111">
            <a:extLst>
              <a:ext uri="{FF2B5EF4-FFF2-40B4-BE49-F238E27FC236}">
                <a16:creationId xmlns:a16="http://schemas.microsoft.com/office/drawing/2014/main" id="{1AAAFF2C-2238-A045-83A8-3E78975DF12F}"/>
              </a:ext>
            </a:extLst>
          </p:cNvPr>
          <p:cNvSpPr/>
          <p:nvPr userDrawn="1"/>
        </p:nvSpPr>
        <p:spPr>
          <a:xfrm>
            <a:off x="8111772" y="2036172"/>
            <a:ext cx="1321323" cy="4062875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 cap="flat" cmpd="sng" algn="ctr">
            <a:noFill/>
            <a:prstDash val="solid"/>
            <a:round/>
          </a:ln>
          <a:effectLst>
            <a:softEdge rad="0"/>
          </a:effectLst>
        </p:spPr>
        <p:txBody>
          <a:bodyPr lIns="180000" rIns="180000" rtlCol="0" anchor="t"/>
          <a:lstStyle/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B81C"/>
              </a:solidFill>
              <a:effectLst/>
              <a:uLnTx/>
              <a:uFillTx/>
              <a:latin typeface="Res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117" name="Bildplatzhalter 115">
            <a:extLst>
              <a:ext uri="{FF2B5EF4-FFF2-40B4-BE49-F238E27FC236}">
                <a16:creationId xmlns:a16="http://schemas.microsoft.com/office/drawing/2014/main" id="{FB6BB217-11F8-254D-93D5-C4B7F348CA0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492412" y="1699404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 b="0" i="0">
                <a:latin typeface="Reso" panose="020000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118" name="Bildplatzhalter 115">
            <a:extLst>
              <a:ext uri="{FF2B5EF4-FFF2-40B4-BE49-F238E27FC236}">
                <a16:creationId xmlns:a16="http://schemas.microsoft.com/office/drawing/2014/main" id="{38867488-D83C-3740-987E-BA450361B7B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942777" y="1706067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119" name="Bildplatzhalter 115">
            <a:extLst>
              <a:ext uri="{FF2B5EF4-FFF2-40B4-BE49-F238E27FC236}">
                <a16:creationId xmlns:a16="http://schemas.microsoft.com/office/drawing/2014/main" id="{10518217-773C-3A48-8916-27A652AD6F0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384284" y="1682765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 b="0" i="0">
                <a:latin typeface="Reso" panose="020000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116" name="Bildplatzhalter 115">
            <a:extLst>
              <a:ext uri="{FF2B5EF4-FFF2-40B4-BE49-F238E27FC236}">
                <a16:creationId xmlns:a16="http://schemas.microsoft.com/office/drawing/2014/main" id="{D696F9F8-F474-E746-9064-F6335F9A74C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045868" y="1734144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 b="0" i="0">
                <a:latin typeface="Reso" panose="020000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120" name="Bildplatzhalter 115">
            <a:extLst>
              <a:ext uri="{FF2B5EF4-FFF2-40B4-BE49-F238E27FC236}">
                <a16:creationId xmlns:a16="http://schemas.microsoft.com/office/drawing/2014/main" id="{3EF7BFA9-972C-D742-A9DD-2CB49010080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2273" y="1679071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 b="0" i="0">
                <a:latin typeface="Reso" panose="02000000000000000000" pitchFamily="2" charset="0"/>
                <a:ea typeface="Roboto Light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61" name="Pfeil: nach rechts 59">
            <a:extLst>
              <a:ext uri="{FF2B5EF4-FFF2-40B4-BE49-F238E27FC236}">
                <a16:creationId xmlns:a16="http://schemas.microsoft.com/office/drawing/2014/main" id="{1EF9311E-5E91-304B-B8DE-1BA129D91493}"/>
              </a:ext>
            </a:extLst>
          </p:cNvPr>
          <p:cNvSpPr/>
          <p:nvPr userDrawn="1"/>
        </p:nvSpPr>
        <p:spPr>
          <a:xfrm>
            <a:off x="330675" y="3308930"/>
            <a:ext cx="1428282" cy="1351633"/>
          </a:xfrm>
          <a:prstGeom prst="roundRect">
            <a:avLst/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Pfeil: nach rechts 59">
            <a:extLst>
              <a:ext uri="{FF2B5EF4-FFF2-40B4-BE49-F238E27FC236}">
                <a16:creationId xmlns:a16="http://schemas.microsoft.com/office/drawing/2014/main" id="{17ACF0AB-59E5-8446-8108-3E11F799B4CC}"/>
              </a:ext>
            </a:extLst>
          </p:cNvPr>
          <p:cNvSpPr/>
          <p:nvPr userDrawn="1"/>
        </p:nvSpPr>
        <p:spPr>
          <a:xfrm>
            <a:off x="1621797" y="3308930"/>
            <a:ext cx="8472949" cy="1351633"/>
          </a:xfrm>
          <a:prstGeom prst="rightArrow">
            <a:avLst>
              <a:gd name="adj1" fmla="val 50000"/>
              <a:gd name="adj2" fmla="val 33959"/>
            </a:avLst>
          </a:pr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solidFill>
              <a:sysClr val="windowText" lastClr="000000">
                <a:lumMod val="75000"/>
                <a:lumOff val="2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5" name="Straight Connector 18">
            <a:extLst>
              <a:ext uri="{FF2B5EF4-FFF2-40B4-BE49-F238E27FC236}">
                <a16:creationId xmlns:a16="http://schemas.microsoft.com/office/drawing/2014/main" id="{498CB626-B089-3840-BD86-6A8B67DABB08}"/>
              </a:ext>
            </a:extLst>
          </p:cNvPr>
          <p:cNvCxnSpPr>
            <a:cxnSpLocks/>
          </p:cNvCxnSpPr>
          <p:nvPr userDrawn="1"/>
        </p:nvCxnSpPr>
        <p:spPr>
          <a:xfrm>
            <a:off x="10259367" y="4182650"/>
            <a:ext cx="1683573" cy="0"/>
          </a:xfrm>
          <a:prstGeom prst="line">
            <a:avLst/>
          </a:prstGeom>
          <a:noFill/>
          <a:ln w="28575" cap="rnd" cmpd="sng" algn="ctr">
            <a:gradFill>
              <a:gsLst>
                <a:gs pos="10000">
                  <a:srgbClr val="E7E6E6">
                    <a:lumMod val="60000"/>
                    <a:lumOff val="40000"/>
                  </a:srgbClr>
                </a:gs>
                <a:gs pos="100000">
                  <a:srgbClr val="FFB81C"/>
                </a:gs>
              </a:gsLst>
              <a:lin ang="5400000" scaled="1"/>
            </a:gradFill>
            <a:prstDash val="sysDot"/>
            <a:miter lim="800000"/>
            <a:tailEnd type="triangle"/>
          </a:ln>
          <a:effectLst/>
        </p:spPr>
      </p:cxnSp>
      <p:pic>
        <p:nvPicPr>
          <p:cNvPr id="97" name="Grafik 96" descr="Ein Bild, das Text, Armleuchter, Vektorgrafiken, ClipArt enthält.&#10;&#10;Automatisch generierte Beschreibung">
            <a:extLst>
              <a:ext uri="{FF2B5EF4-FFF2-40B4-BE49-F238E27FC236}">
                <a16:creationId xmlns:a16="http://schemas.microsoft.com/office/drawing/2014/main" id="{714BFA96-9013-644F-B37F-0F8AA1FE9A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7626" y="2651647"/>
            <a:ext cx="1128309" cy="1128309"/>
          </a:xfrm>
          <a:prstGeom prst="rect">
            <a:avLst/>
          </a:prstGeom>
        </p:spPr>
      </p:pic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91E8CC0B-8CFA-F04F-8693-7BC5C5F94E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19497" y="3692338"/>
            <a:ext cx="1172594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 err="1"/>
              <a:t>überschrift</a:t>
            </a:r>
            <a:endParaRPr lang="de-DE" dirty="0"/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30B8D18B-3C5F-654A-A77E-4638DF8A01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06056" y="4420803"/>
            <a:ext cx="1296378" cy="1000517"/>
          </a:xfrm>
          <a:prstGeom prst="rect">
            <a:avLst/>
          </a:prstGeom>
        </p:spPr>
        <p:txBody>
          <a:bodyPr lIns="144000" tIns="72000" rIns="144000" bIns="0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DBF34D39-D63E-0941-9671-8D13F24FB7E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54708" y="3698344"/>
            <a:ext cx="1172594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 err="1"/>
              <a:t>überschrift</a:t>
            </a:r>
            <a:endParaRPr lang="de-DE" dirty="0"/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E766F1DA-C568-ED4E-A74A-1ADB5E9087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19121" y="3698343"/>
            <a:ext cx="1172594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 err="1"/>
              <a:t>überschrift</a:t>
            </a:r>
            <a:endParaRPr lang="de-DE" dirty="0"/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B3C41FBC-150F-F44D-A427-23C068A79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6298" y="3690541"/>
            <a:ext cx="1172594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 err="1"/>
              <a:t>überschrift</a:t>
            </a:r>
            <a:endParaRPr lang="de-DE" dirty="0"/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930E14AF-A344-FA43-9FE9-AD6588AE67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7135" y="3702964"/>
            <a:ext cx="1172594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 err="1"/>
              <a:t>überschrift</a:t>
            </a:r>
            <a:endParaRPr lang="de-DE" dirty="0"/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7999374B-B335-FD4B-B9E5-D3274746BC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62737" y="4420803"/>
            <a:ext cx="1292372" cy="1000517"/>
          </a:xfrm>
          <a:prstGeom prst="rect">
            <a:avLst/>
          </a:prstGeom>
        </p:spPr>
        <p:txBody>
          <a:bodyPr lIns="144000" tIns="72000" rIns="144000" bIns="0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2FA0446E-2DD1-9B45-88FB-03C9855DC8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9645" y="4420803"/>
            <a:ext cx="1292372" cy="1000517"/>
          </a:xfrm>
          <a:prstGeom prst="rect">
            <a:avLst/>
          </a:prstGeom>
        </p:spPr>
        <p:txBody>
          <a:bodyPr lIns="144000" tIns="72000" rIns="144000" bIns="0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01F6FFBF-3F2C-1841-B714-B10D591266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69422" y="4420803"/>
            <a:ext cx="1292372" cy="1000517"/>
          </a:xfrm>
          <a:prstGeom prst="rect">
            <a:avLst/>
          </a:prstGeom>
        </p:spPr>
        <p:txBody>
          <a:bodyPr lIns="144000" tIns="72000" rIns="144000" bIns="0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C5817930-4D47-CB4F-AD09-56E2524F8B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0079" y="4420803"/>
            <a:ext cx="1292372" cy="1000517"/>
          </a:xfrm>
          <a:prstGeom prst="rect">
            <a:avLst/>
          </a:prstGeom>
        </p:spPr>
        <p:txBody>
          <a:bodyPr lIns="144000" tIns="72000" rIns="144000" bIns="0"/>
          <a:lstStyle>
            <a:lvl1pPr marL="0" indent="0" algn="l" defTabSz="5715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F75D3997-3E03-3B4E-9C27-97E838BBCE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55128" y="3600574"/>
            <a:ext cx="1189413" cy="76834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-</a:t>
            </a:r>
            <a:br>
              <a:rPr lang="de-DE" dirty="0"/>
            </a:br>
            <a:r>
              <a:rPr lang="de-DE" dirty="0"/>
              <a:t>ÜBERSCHRIFT/TEXT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FD22E544-5CF7-6541-AB4B-759F15E9E1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55304" y="3849169"/>
            <a:ext cx="1189413" cy="2367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5" name="Textplatzhalter 3">
            <a:extLst>
              <a:ext uri="{FF2B5EF4-FFF2-40B4-BE49-F238E27FC236}">
                <a16:creationId xmlns:a16="http://schemas.microsoft.com/office/drawing/2014/main" id="{5A44B0D8-BF23-A348-8074-F5E2311A3A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08262" y="4469959"/>
            <a:ext cx="1683573" cy="1546578"/>
          </a:xfrm>
          <a:prstGeom prst="rect">
            <a:avLst/>
          </a:prstGeom>
        </p:spPr>
        <p:txBody>
          <a:bodyPr lIns="144000" tIns="72000" rIns="144000" bIns="0"/>
          <a:lstStyle>
            <a:lvl1pPr marL="171450" indent="-171450" algn="l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 </a:t>
            </a:r>
          </a:p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  <a:p>
            <a:pPr lvl="0"/>
            <a:r>
              <a:rPr lang="de-DE" dirty="0"/>
              <a:t>Tex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D240844-479B-1A4B-87E4-9BA7801919B6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6A8176-C04F-934D-90E3-06F5C3CCDBB5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55629F-1910-3742-9A93-2115A8DC68B5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3" name="Textplatzhalter 3">
            <a:extLst>
              <a:ext uri="{FF2B5EF4-FFF2-40B4-BE49-F238E27FC236}">
                <a16:creationId xmlns:a16="http://schemas.microsoft.com/office/drawing/2014/main" id="{5743D760-1E4D-9A48-A5E4-1A6C3E5C276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82" name="Halbbogen 81">
            <a:extLst>
              <a:ext uri="{FF2B5EF4-FFF2-40B4-BE49-F238E27FC236}">
                <a16:creationId xmlns:a16="http://schemas.microsoft.com/office/drawing/2014/main" id="{1DF658FA-691C-7C4E-AA84-FED72CFF58EB}"/>
              </a:ext>
            </a:extLst>
          </p:cNvPr>
          <p:cNvSpPr/>
          <p:nvPr userDrawn="1"/>
        </p:nvSpPr>
        <p:spPr>
          <a:xfrm rot="10800000">
            <a:off x="7880253" y="1574514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3" name="Halbbogen 82">
            <a:extLst>
              <a:ext uri="{FF2B5EF4-FFF2-40B4-BE49-F238E27FC236}">
                <a16:creationId xmlns:a16="http://schemas.microsoft.com/office/drawing/2014/main" id="{1BAAE8FB-6018-264A-B0F1-0B5AAE626F19}"/>
              </a:ext>
            </a:extLst>
          </p:cNvPr>
          <p:cNvSpPr/>
          <p:nvPr userDrawn="1"/>
        </p:nvSpPr>
        <p:spPr>
          <a:xfrm>
            <a:off x="6328533" y="1574514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4" name="Halbbogen 83">
            <a:extLst>
              <a:ext uri="{FF2B5EF4-FFF2-40B4-BE49-F238E27FC236}">
                <a16:creationId xmlns:a16="http://schemas.microsoft.com/office/drawing/2014/main" id="{B4DE3C29-96E6-B441-81C0-C09E4D28DC72}"/>
              </a:ext>
            </a:extLst>
          </p:cNvPr>
          <p:cNvSpPr/>
          <p:nvPr userDrawn="1"/>
        </p:nvSpPr>
        <p:spPr>
          <a:xfrm rot="10800000">
            <a:off x="4777876" y="1539381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5" name="Halbbogen 84">
            <a:extLst>
              <a:ext uri="{FF2B5EF4-FFF2-40B4-BE49-F238E27FC236}">
                <a16:creationId xmlns:a16="http://schemas.microsoft.com/office/drawing/2014/main" id="{206FFB7D-C3E0-1A4A-93FA-1C8D9B942E65}"/>
              </a:ext>
            </a:extLst>
          </p:cNvPr>
          <p:cNvSpPr/>
          <p:nvPr userDrawn="1"/>
        </p:nvSpPr>
        <p:spPr>
          <a:xfrm>
            <a:off x="3226119" y="1539381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6" name="Halbbogen 85">
            <a:extLst>
              <a:ext uri="{FF2B5EF4-FFF2-40B4-BE49-F238E27FC236}">
                <a16:creationId xmlns:a16="http://schemas.microsoft.com/office/drawing/2014/main" id="{28DF3D92-7D7A-6A49-AD21-AB98346DECFB}"/>
              </a:ext>
            </a:extLst>
          </p:cNvPr>
          <p:cNvSpPr/>
          <p:nvPr userDrawn="1"/>
        </p:nvSpPr>
        <p:spPr>
          <a:xfrm rot="10800000">
            <a:off x="1676910" y="1551168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7" name="Halbbogen 86">
            <a:extLst>
              <a:ext uri="{FF2B5EF4-FFF2-40B4-BE49-F238E27FC236}">
                <a16:creationId xmlns:a16="http://schemas.microsoft.com/office/drawing/2014/main" id="{18580D14-3EEA-5341-B89E-1A90141A9050}"/>
              </a:ext>
            </a:extLst>
          </p:cNvPr>
          <p:cNvSpPr/>
          <p:nvPr userDrawn="1"/>
        </p:nvSpPr>
        <p:spPr>
          <a:xfrm>
            <a:off x="1676910" y="1551168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8" name="Halbbogen 87">
            <a:extLst>
              <a:ext uri="{FF2B5EF4-FFF2-40B4-BE49-F238E27FC236}">
                <a16:creationId xmlns:a16="http://schemas.microsoft.com/office/drawing/2014/main" id="{F535638D-48ED-5E46-ACAB-C022A70E0D64}"/>
              </a:ext>
            </a:extLst>
          </p:cNvPr>
          <p:cNvSpPr/>
          <p:nvPr userDrawn="1"/>
        </p:nvSpPr>
        <p:spPr>
          <a:xfrm rot="10800000">
            <a:off x="3230486" y="1543748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89" name="Halbbogen 88">
            <a:extLst>
              <a:ext uri="{FF2B5EF4-FFF2-40B4-BE49-F238E27FC236}">
                <a16:creationId xmlns:a16="http://schemas.microsoft.com/office/drawing/2014/main" id="{E5C354DB-7AFB-404C-9958-CA7978CAB7F4}"/>
              </a:ext>
            </a:extLst>
          </p:cNvPr>
          <p:cNvSpPr/>
          <p:nvPr userDrawn="1"/>
        </p:nvSpPr>
        <p:spPr>
          <a:xfrm>
            <a:off x="4782243" y="1543748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>
              <a:solidFill>
                <a:schemeClr val="tx1"/>
              </a:solidFill>
              <a:latin typeface="Reso" panose="02000000000000000000" pitchFamily="2" charset="0"/>
            </a:endParaRPr>
          </a:p>
        </p:txBody>
      </p:sp>
      <p:sp>
        <p:nvSpPr>
          <p:cNvPr id="91" name="Halbbogen 90">
            <a:extLst>
              <a:ext uri="{FF2B5EF4-FFF2-40B4-BE49-F238E27FC236}">
                <a16:creationId xmlns:a16="http://schemas.microsoft.com/office/drawing/2014/main" id="{E29461F5-36F5-1942-8A78-E1A750DE538A}"/>
              </a:ext>
            </a:extLst>
          </p:cNvPr>
          <p:cNvSpPr/>
          <p:nvPr userDrawn="1"/>
        </p:nvSpPr>
        <p:spPr>
          <a:xfrm>
            <a:off x="7884620" y="1578881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92" name="Oval 3">
            <a:extLst>
              <a:ext uri="{FF2B5EF4-FFF2-40B4-BE49-F238E27FC236}">
                <a16:creationId xmlns:a16="http://schemas.microsoft.com/office/drawing/2014/main" id="{6244E9A5-FA3A-DB47-8249-1E466549530A}"/>
              </a:ext>
            </a:extLst>
          </p:cNvPr>
          <p:cNvSpPr/>
          <p:nvPr userDrawn="1"/>
        </p:nvSpPr>
        <p:spPr>
          <a:xfrm>
            <a:off x="2308465" y="1429852"/>
            <a:ext cx="516733" cy="525796"/>
          </a:xfrm>
          <a:prstGeom prst="ellips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eso SemiBold" panose="02000000000000000000" pitchFamily="2" charset="0"/>
            </a:endParaRPr>
          </a:p>
        </p:txBody>
      </p:sp>
      <p:sp>
        <p:nvSpPr>
          <p:cNvPr id="93" name="Oval 3">
            <a:extLst>
              <a:ext uri="{FF2B5EF4-FFF2-40B4-BE49-F238E27FC236}">
                <a16:creationId xmlns:a16="http://schemas.microsoft.com/office/drawing/2014/main" id="{F3E698BA-3105-374A-B264-8400074A92F2}"/>
              </a:ext>
            </a:extLst>
          </p:cNvPr>
          <p:cNvSpPr/>
          <p:nvPr userDrawn="1"/>
        </p:nvSpPr>
        <p:spPr>
          <a:xfrm>
            <a:off x="3857759" y="2943708"/>
            <a:ext cx="516733" cy="525796"/>
          </a:xfrm>
          <a:prstGeom prst="ellips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eso SemiBold" panose="02000000000000000000" pitchFamily="2" charset="0"/>
            </a:endParaRPr>
          </a:p>
        </p:txBody>
      </p:sp>
      <p:sp>
        <p:nvSpPr>
          <p:cNvPr id="94" name="Oval 3">
            <a:extLst>
              <a:ext uri="{FF2B5EF4-FFF2-40B4-BE49-F238E27FC236}">
                <a16:creationId xmlns:a16="http://schemas.microsoft.com/office/drawing/2014/main" id="{74E71346-8AB2-AE4B-ADF2-A79665DD9C7E}"/>
              </a:ext>
            </a:extLst>
          </p:cNvPr>
          <p:cNvSpPr/>
          <p:nvPr userDrawn="1"/>
        </p:nvSpPr>
        <p:spPr>
          <a:xfrm>
            <a:off x="5417465" y="1429852"/>
            <a:ext cx="516733" cy="525796"/>
          </a:xfrm>
          <a:prstGeom prst="ellips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eso SemiBold" panose="02000000000000000000" pitchFamily="2" charset="0"/>
            </a:endParaRPr>
          </a:p>
        </p:txBody>
      </p:sp>
      <p:sp>
        <p:nvSpPr>
          <p:cNvPr id="96" name="Oval 3">
            <a:extLst>
              <a:ext uri="{FF2B5EF4-FFF2-40B4-BE49-F238E27FC236}">
                <a16:creationId xmlns:a16="http://schemas.microsoft.com/office/drawing/2014/main" id="{20DC679F-D986-E144-9060-A0875F767CE4}"/>
              </a:ext>
            </a:extLst>
          </p:cNvPr>
          <p:cNvSpPr/>
          <p:nvPr userDrawn="1"/>
        </p:nvSpPr>
        <p:spPr>
          <a:xfrm>
            <a:off x="8522226" y="1429852"/>
            <a:ext cx="516733" cy="525796"/>
          </a:xfrm>
          <a:prstGeom prst="ellips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eso SemiBold" panose="02000000000000000000" pitchFamily="2" charset="0"/>
            </a:endParaRP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2D7B3A38-741D-5142-B5C9-82D651BE5D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42985" y="1523670"/>
            <a:ext cx="643309" cy="3277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783DDD0E-36B1-B846-8671-4BB76392C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1888" y="3051908"/>
            <a:ext cx="643309" cy="3277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9E79CD70-22AF-174E-951B-DC79EBD76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4972" y="1515178"/>
            <a:ext cx="643309" cy="3277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D0814ADE-3D49-C94C-874C-11884F7EF8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64698" y="1515178"/>
            <a:ext cx="643309" cy="3277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90" name="Halbbogen 89">
            <a:extLst>
              <a:ext uri="{FF2B5EF4-FFF2-40B4-BE49-F238E27FC236}">
                <a16:creationId xmlns:a16="http://schemas.microsoft.com/office/drawing/2014/main" id="{8EA4B9FF-2E47-C445-AA46-7EF1DA4B08A4}"/>
              </a:ext>
            </a:extLst>
          </p:cNvPr>
          <p:cNvSpPr/>
          <p:nvPr userDrawn="1"/>
        </p:nvSpPr>
        <p:spPr>
          <a:xfrm rot="10800000">
            <a:off x="6332900" y="1570717"/>
            <a:ext cx="1787179" cy="1787179"/>
          </a:xfrm>
          <a:prstGeom prst="blockArc">
            <a:avLst>
              <a:gd name="adj1" fmla="val 10800000"/>
              <a:gd name="adj2" fmla="val 78583"/>
              <a:gd name="adj3" fmla="val 13222"/>
            </a:avLst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5" name="Oval 3">
            <a:extLst>
              <a:ext uri="{FF2B5EF4-FFF2-40B4-BE49-F238E27FC236}">
                <a16:creationId xmlns:a16="http://schemas.microsoft.com/office/drawing/2014/main" id="{49B1CAFD-EA21-CE49-90D5-1BCF1A4B1572}"/>
              </a:ext>
            </a:extLst>
          </p:cNvPr>
          <p:cNvSpPr/>
          <p:nvPr userDrawn="1"/>
        </p:nvSpPr>
        <p:spPr>
          <a:xfrm>
            <a:off x="6972223" y="2952904"/>
            <a:ext cx="516733" cy="525796"/>
          </a:xfrm>
          <a:prstGeom prst="ellips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eso SemiBold" panose="02000000000000000000" pitchFamily="2" charset="0"/>
            </a:endParaRPr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32A66CD4-CBAA-DC40-A304-FE0E6E64B5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02392" y="3065965"/>
            <a:ext cx="643309" cy="3277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26358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30">
            <a:extLst>
              <a:ext uri="{FF2B5EF4-FFF2-40B4-BE49-F238E27FC236}">
                <a16:creationId xmlns:a16="http://schemas.microsoft.com/office/drawing/2014/main" id="{384C0E1F-88C8-6F4C-8DFE-9A42DAF88773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29A6913B-E5ED-4C40-AF71-715F14879783}"/>
              </a:ext>
            </a:extLst>
          </p:cNvPr>
          <p:cNvSpPr/>
          <p:nvPr userDrawn="1"/>
        </p:nvSpPr>
        <p:spPr>
          <a:xfrm>
            <a:off x="517051" y="970220"/>
            <a:ext cx="8074820" cy="774943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7" name="Straight Connector 18">
            <a:extLst>
              <a:ext uri="{FF2B5EF4-FFF2-40B4-BE49-F238E27FC236}">
                <a16:creationId xmlns:a16="http://schemas.microsoft.com/office/drawing/2014/main" id="{AA4E6D78-2688-0745-998C-5FE4AFE0761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30">
            <a:extLst>
              <a:ext uri="{FF2B5EF4-FFF2-40B4-BE49-F238E27FC236}">
                <a16:creationId xmlns:a16="http://schemas.microsoft.com/office/drawing/2014/main" id="{A61ADA34-E8C0-CF4C-A00E-926C640DBD35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28" name="Straight Connector 18">
            <a:extLst>
              <a:ext uri="{FF2B5EF4-FFF2-40B4-BE49-F238E27FC236}">
                <a16:creationId xmlns:a16="http://schemas.microsoft.com/office/drawing/2014/main" id="{34A68BCE-4BFF-4E49-8285-E554AFD6EAB0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FE8CBC91-6560-F84B-89DC-4A76AFC692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8320" y="1069805"/>
            <a:ext cx="3632037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, Mustertext, </a:t>
            </a:r>
            <a:br>
              <a:rPr lang="de-DE" dirty="0"/>
            </a:br>
            <a:r>
              <a:rPr lang="de-DE" dirty="0"/>
              <a:t>Mustertext, Mustertext, 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930C7BE9-C66F-E64E-9A8F-FA24F6BD3B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320" y="2241440"/>
            <a:ext cx="2002000" cy="271487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überschrift</a:t>
            </a:r>
          </a:p>
        </p:txBody>
      </p:sp>
      <p:cxnSp>
        <p:nvCxnSpPr>
          <p:cNvPr id="39" name="Straight Arrow Connector 21">
            <a:extLst>
              <a:ext uri="{FF2B5EF4-FFF2-40B4-BE49-F238E27FC236}">
                <a16:creationId xmlns:a16="http://schemas.microsoft.com/office/drawing/2014/main" id="{8AF957DD-F670-0342-96E5-04288D3058E8}"/>
              </a:ext>
            </a:extLst>
          </p:cNvPr>
          <p:cNvCxnSpPr>
            <a:cxnSpLocks/>
          </p:cNvCxnSpPr>
          <p:nvPr userDrawn="1"/>
        </p:nvCxnSpPr>
        <p:spPr>
          <a:xfrm>
            <a:off x="1721190" y="6466220"/>
            <a:ext cx="8455793" cy="0"/>
          </a:xfrm>
          <a:prstGeom prst="straightConnector1">
            <a:avLst/>
          </a:prstGeom>
          <a:ln w="25400">
            <a:solidFill>
              <a:srgbClr val="FFB81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111">
            <a:extLst>
              <a:ext uri="{FF2B5EF4-FFF2-40B4-BE49-F238E27FC236}">
                <a16:creationId xmlns:a16="http://schemas.microsoft.com/office/drawing/2014/main" id="{A44E79C4-DB48-624E-81C9-1D6ABD8A51A3}"/>
              </a:ext>
            </a:extLst>
          </p:cNvPr>
          <p:cNvSpPr/>
          <p:nvPr userDrawn="1"/>
        </p:nvSpPr>
        <p:spPr>
          <a:xfrm>
            <a:off x="1721190" y="3771687"/>
            <a:ext cx="2664000" cy="259100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marL="0" indent="0">
              <a:buClr>
                <a:srgbClr val="FFB81C"/>
              </a:buClr>
              <a:buFont typeface="Arial" panose="020B0604020202020204" pitchFamily="34" charset="0"/>
              <a:buNone/>
            </a:pPr>
            <a:endParaRPr lang="de-DE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3" name="Rounded Rectangle 111">
            <a:extLst>
              <a:ext uri="{FF2B5EF4-FFF2-40B4-BE49-F238E27FC236}">
                <a16:creationId xmlns:a16="http://schemas.microsoft.com/office/drawing/2014/main" id="{F2425492-0735-2B4E-8F8B-2D174B69FE5C}"/>
              </a:ext>
            </a:extLst>
          </p:cNvPr>
          <p:cNvSpPr/>
          <p:nvPr userDrawn="1"/>
        </p:nvSpPr>
        <p:spPr>
          <a:xfrm>
            <a:off x="4617086" y="3772762"/>
            <a:ext cx="2664000" cy="259100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endParaRPr lang="de-DE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5" name="Rounded Rectangle 111">
            <a:extLst>
              <a:ext uri="{FF2B5EF4-FFF2-40B4-BE49-F238E27FC236}">
                <a16:creationId xmlns:a16="http://schemas.microsoft.com/office/drawing/2014/main" id="{B407F8B3-8125-8F47-A003-F896A8FE30A7}"/>
              </a:ext>
            </a:extLst>
          </p:cNvPr>
          <p:cNvSpPr/>
          <p:nvPr userDrawn="1"/>
        </p:nvSpPr>
        <p:spPr>
          <a:xfrm>
            <a:off x="7512983" y="3771685"/>
            <a:ext cx="2664000" cy="259100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t"/>
          <a:lstStyle/>
          <a:p>
            <a:endParaRPr lang="de-DE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D12B4215-3D68-CF42-86A5-5254C45B3110}"/>
              </a:ext>
            </a:extLst>
          </p:cNvPr>
          <p:cNvSpPr/>
          <p:nvPr userDrawn="1"/>
        </p:nvSpPr>
        <p:spPr>
          <a:xfrm>
            <a:off x="2729189" y="3447685"/>
            <a:ext cx="648000" cy="648000"/>
          </a:xfrm>
          <a:prstGeom prst="ellipse">
            <a:avLst/>
          </a:prstGeom>
          <a:solidFill>
            <a:srgbClr val="FFB81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b="1" u="none" strike="noStrike" cap="none" spc="0" normalizeH="0" baseline="0">
                <a:ln>
                  <a:noFill/>
                </a:ln>
                <a:effectLst/>
                <a:uFillTx/>
                <a:latin typeface="Reso" panose="02000000000000000000" pitchFamily="2" charset="0"/>
                <a:sym typeface="Calibri"/>
              </a:rPr>
              <a:t>A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A01366D-03B7-F047-A0A3-6EE3A5518657}"/>
              </a:ext>
            </a:extLst>
          </p:cNvPr>
          <p:cNvSpPr/>
          <p:nvPr userDrawn="1"/>
        </p:nvSpPr>
        <p:spPr>
          <a:xfrm>
            <a:off x="5625086" y="3447685"/>
            <a:ext cx="648000" cy="648000"/>
          </a:xfrm>
          <a:prstGeom prst="ellipse">
            <a:avLst/>
          </a:prstGeom>
          <a:solidFill>
            <a:srgbClr val="FFB81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b="1" u="none" strike="noStrike" cap="none" spc="0" normalizeH="0" baseline="0">
                <a:ln>
                  <a:noFill/>
                </a:ln>
                <a:effectLst/>
                <a:uFillTx/>
                <a:latin typeface="Reso" panose="02000000000000000000" pitchFamily="2" charset="0"/>
                <a:sym typeface="Calibri"/>
              </a:rPr>
              <a:t>B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A4AA830-5E17-AE46-B25C-2DAD1DBFA3DF}"/>
              </a:ext>
            </a:extLst>
          </p:cNvPr>
          <p:cNvSpPr/>
          <p:nvPr userDrawn="1"/>
        </p:nvSpPr>
        <p:spPr>
          <a:xfrm>
            <a:off x="8520982" y="3448066"/>
            <a:ext cx="648000" cy="648000"/>
          </a:xfrm>
          <a:prstGeom prst="ellipse">
            <a:avLst/>
          </a:prstGeom>
          <a:solidFill>
            <a:srgbClr val="FFB81C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b="1" u="none" strike="noStrike" cap="none" spc="0" normalizeH="0" baseline="0">
                <a:ln>
                  <a:noFill/>
                </a:ln>
                <a:effectLst/>
                <a:uFillTx/>
                <a:latin typeface="Reso" panose="02000000000000000000" pitchFamily="2" charset="0"/>
                <a:sym typeface="Calibri"/>
              </a:rPr>
              <a:t>C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D33ACAB5-3896-3447-8714-3629A0D404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320" y="2641491"/>
            <a:ext cx="9618662" cy="49634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8FCFEE93-0EE2-7941-95EE-776F0FAEE67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92447" y="4691036"/>
            <a:ext cx="2297910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D3B761CB-8D44-464C-B64C-BAD884C14C8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92447" y="4245847"/>
            <a:ext cx="1721190" cy="252000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484C9FC-67B1-8649-A191-B9CDB212F1C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92447" y="5568273"/>
            <a:ext cx="2305861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81C"/>
              </a:buClr>
              <a:buSzTx/>
              <a:buFont typeface="Arial" panose="020B0604020202020204" pitchFamily="34" charset="0"/>
              <a:buNone/>
              <a:tabLst/>
              <a:defRPr sz="12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310814EF-F5A7-8246-9624-3ED63CE5C88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64491" y="4691036"/>
            <a:ext cx="2297910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8A4883AA-6DB2-AD49-A555-09EED3D5878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64491" y="4245847"/>
            <a:ext cx="1721190" cy="252000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</a:t>
            </a:r>
          </a:p>
        </p:txBody>
      </p:sp>
      <p:sp>
        <p:nvSpPr>
          <p:cNvPr id="69" name="Textplatzhalter 9">
            <a:extLst>
              <a:ext uri="{FF2B5EF4-FFF2-40B4-BE49-F238E27FC236}">
                <a16:creationId xmlns:a16="http://schemas.microsoft.com/office/drawing/2014/main" id="{24B48592-ED28-1342-86E3-827204AAC5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64491" y="5568273"/>
            <a:ext cx="2305861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81C"/>
              </a:buClr>
              <a:buSzTx/>
              <a:buFont typeface="Arial" panose="020B0604020202020204" pitchFamily="34" charset="0"/>
              <a:buNone/>
              <a:tabLst/>
              <a:defRPr sz="12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B3D81410-0CCB-5E42-9FD1-958712A5CA3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60387" y="4691036"/>
            <a:ext cx="2297910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A94E8774-221A-2048-9B3A-9563B80010D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60387" y="4245847"/>
            <a:ext cx="1721190" cy="252000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</a:t>
            </a:r>
          </a:p>
        </p:txBody>
      </p:sp>
      <p:sp>
        <p:nvSpPr>
          <p:cNvPr id="72" name="Textplatzhalter 9">
            <a:extLst>
              <a:ext uri="{FF2B5EF4-FFF2-40B4-BE49-F238E27FC236}">
                <a16:creationId xmlns:a16="http://schemas.microsoft.com/office/drawing/2014/main" id="{73F046B5-D70E-6B43-A970-77AF6FEFFAF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60387" y="5568273"/>
            <a:ext cx="2305861" cy="69199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81C"/>
              </a:buClr>
              <a:buSzTx/>
              <a:buFont typeface="Arial" panose="020B0604020202020204" pitchFamily="34" charset="0"/>
              <a:buNone/>
              <a:tabLst/>
              <a:defRPr sz="1200" b="0" i="0"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ext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EA7F36A-DD33-954C-8579-1332E64AA9D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17086" y="6512851"/>
            <a:ext cx="2664000" cy="247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1" i="0">
                <a:latin typeface="Reso Light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4" name="Textplatzhalter 26">
            <a:extLst>
              <a:ext uri="{FF2B5EF4-FFF2-40B4-BE49-F238E27FC236}">
                <a16:creationId xmlns:a16="http://schemas.microsoft.com/office/drawing/2014/main" id="{A42F0655-A4F8-3143-8051-7E827857D66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773018" y="3616658"/>
            <a:ext cx="560341" cy="247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 SemiBold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75" name="Textplatzhalter 26">
            <a:extLst>
              <a:ext uri="{FF2B5EF4-FFF2-40B4-BE49-F238E27FC236}">
                <a16:creationId xmlns:a16="http://schemas.microsoft.com/office/drawing/2014/main" id="{0B306FAC-52FE-A149-B6DF-4A777C4882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68915" y="3610921"/>
            <a:ext cx="560341" cy="247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 SemiBold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76" name="Textplatzhalter 26">
            <a:extLst>
              <a:ext uri="{FF2B5EF4-FFF2-40B4-BE49-F238E27FC236}">
                <a16:creationId xmlns:a16="http://schemas.microsoft.com/office/drawing/2014/main" id="{C1FF1808-0664-2242-964B-7DC5098652A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564811" y="3614342"/>
            <a:ext cx="560341" cy="247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 SemiBold" panose="02000000000000000000" pitchFamily="2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AA9D4EFC-A265-3349-99FD-8EB5C8E697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254806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5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1" i="0" u="sng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Bildplatzhalter 4">
            <a:extLst>
              <a:ext uri="{FF2B5EF4-FFF2-40B4-BE49-F238E27FC236}">
                <a16:creationId xmlns:a16="http://schemas.microsoft.com/office/drawing/2014/main" id="{E8A3883B-F022-C941-B567-E1A62C58568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52312" y="3102196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" name="Isosceles Triangle 30">
            <a:extLst>
              <a:ext uri="{FF2B5EF4-FFF2-40B4-BE49-F238E27FC236}">
                <a16:creationId xmlns:a16="http://schemas.microsoft.com/office/drawing/2014/main" id="{384C0E1F-88C8-6F4C-8DFE-9A42DAF88773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29A6913B-E5ED-4C40-AF71-715F14879783}"/>
              </a:ext>
            </a:extLst>
          </p:cNvPr>
          <p:cNvSpPr/>
          <p:nvPr userDrawn="1"/>
        </p:nvSpPr>
        <p:spPr>
          <a:xfrm>
            <a:off x="517051" y="970220"/>
            <a:ext cx="8074820" cy="774943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7" name="Straight Connector 18">
            <a:extLst>
              <a:ext uri="{FF2B5EF4-FFF2-40B4-BE49-F238E27FC236}">
                <a16:creationId xmlns:a16="http://schemas.microsoft.com/office/drawing/2014/main" id="{AA4E6D78-2688-0745-998C-5FE4AFE0761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30">
            <a:extLst>
              <a:ext uri="{FF2B5EF4-FFF2-40B4-BE49-F238E27FC236}">
                <a16:creationId xmlns:a16="http://schemas.microsoft.com/office/drawing/2014/main" id="{A61ADA34-E8C0-CF4C-A00E-926C640DBD35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Rounded Rectangle 111">
            <a:extLst>
              <a:ext uri="{FF2B5EF4-FFF2-40B4-BE49-F238E27FC236}">
                <a16:creationId xmlns:a16="http://schemas.microsoft.com/office/drawing/2014/main" id="{91EF472B-1F59-A049-908D-66AF9771C365}"/>
              </a:ext>
            </a:extLst>
          </p:cNvPr>
          <p:cNvSpPr/>
          <p:nvPr userDrawn="1"/>
        </p:nvSpPr>
        <p:spPr>
          <a:xfrm>
            <a:off x="957122" y="3907108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12" name="Rounded Rectangle 111">
            <a:extLst>
              <a:ext uri="{FF2B5EF4-FFF2-40B4-BE49-F238E27FC236}">
                <a16:creationId xmlns:a16="http://schemas.microsoft.com/office/drawing/2014/main" id="{8E27BD39-8403-E543-B650-58AA03017648}"/>
              </a:ext>
            </a:extLst>
          </p:cNvPr>
          <p:cNvSpPr/>
          <p:nvPr userDrawn="1"/>
        </p:nvSpPr>
        <p:spPr>
          <a:xfrm>
            <a:off x="3656830" y="3907108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rgbClr val="DCE1E6"/>
              </a:solidFill>
              <a:latin typeface="Roboto" panose="02000000000000000000"/>
            </a:endParaRPr>
          </a:p>
        </p:txBody>
      </p:sp>
      <p:sp>
        <p:nvSpPr>
          <p:cNvPr id="13" name="Rounded Rectangle 111">
            <a:extLst>
              <a:ext uri="{FF2B5EF4-FFF2-40B4-BE49-F238E27FC236}">
                <a16:creationId xmlns:a16="http://schemas.microsoft.com/office/drawing/2014/main" id="{9F5A43BA-EE18-D34E-AE07-77C95081A3CF}"/>
              </a:ext>
            </a:extLst>
          </p:cNvPr>
          <p:cNvSpPr/>
          <p:nvPr userDrawn="1"/>
        </p:nvSpPr>
        <p:spPr>
          <a:xfrm>
            <a:off x="6387984" y="3914162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" name="Rounded Rectangle 111">
            <a:extLst>
              <a:ext uri="{FF2B5EF4-FFF2-40B4-BE49-F238E27FC236}">
                <a16:creationId xmlns:a16="http://schemas.microsoft.com/office/drawing/2014/main" id="{3284BA0E-BE48-574D-AA35-AE01499987E0}"/>
              </a:ext>
            </a:extLst>
          </p:cNvPr>
          <p:cNvSpPr/>
          <p:nvPr userDrawn="1"/>
        </p:nvSpPr>
        <p:spPr>
          <a:xfrm>
            <a:off x="9116094" y="3907108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15" name="Connector: Elbow 24">
            <a:extLst>
              <a:ext uri="{FF2B5EF4-FFF2-40B4-BE49-F238E27FC236}">
                <a16:creationId xmlns:a16="http://schemas.microsoft.com/office/drawing/2014/main" id="{875F97D0-2E0B-2D4A-9FD4-1353B8E815DD}"/>
              </a:ext>
            </a:extLst>
          </p:cNvPr>
          <p:cNvCxnSpPr>
            <a:cxnSpLocks/>
            <a:stCxn id="47" idx="1"/>
          </p:cNvCxnSpPr>
          <p:nvPr userDrawn="1"/>
        </p:nvCxnSpPr>
        <p:spPr>
          <a:xfrm rot="10800000" flipV="1">
            <a:off x="753550" y="2753625"/>
            <a:ext cx="4115596" cy="1427312"/>
          </a:xfrm>
          <a:prstGeom prst="bentConnector3">
            <a:avLst>
              <a:gd name="adj1" fmla="val 105641"/>
            </a:avLst>
          </a:prstGeom>
          <a:ln w="25400">
            <a:solidFill>
              <a:srgbClr val="FFB8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26">
            <a:extLst>
              <a:ext uri="{FF2B5EF4-FFF2-40B4-BE49-F238E27FC236}">
                <a16:creationId xmlns:a16="http://schemas.microsoft.com/office/drawing/2014/main" id="{AC4DA2CA-3BAB-934E-92E9-164338551FC4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764736" y="2753625"/>
            <a:ext cx="4685224" cy="1477422"/>
          </a:xfrm>
          <a:prstGeom prst="bentConnector3">
            <a:avLst>
              <a:gd name="adj1" fmla="val -4879"/>
            </a:avLst>
          </a:prstGeom>
          <a:ln w="25400">
            <a:solidFill>
              <a:srgbClr val="FFB8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1C2BA1E-0B1D-6248-A350-4BEFB13F7B0B}"/>
              </a:ext>
            </a:extLst>
          </p:cNvPr>
          <p:cNvGrpSpPr/>
          <p:nvPr userDrawn="1"/>
        </p:nvGrpSpPr>
        <p:grpSpPr>
          <a:xfrm>
            <a:off x="3178568" y="4136414"/>
            <a:ext cx="420663" cy="420663"/>
            <a:chOff x="4234157" y="4026187"/>
            <a:chExt cx="489344" cy="489344"/>
          </a:xfrm>
        </p:grpSpPr>
        <p:sp>
          <p:nvSpPr>
            <p:cNvPr id="19" name="Isosceles Triangle 30">
              <a:extLst>
                <a:ext uri="{FF2B5EF4-FFF2-40B4-BE49-F238E27FC236}">
                  <a16:creationId xmlns:a16="http://schemas.microsoft.com/office/drawing/2014/main" id="{A84C6A69-0A3E-2943-B5AF-9850F8882043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Isosceles Triangle 30">
              <a:extLst>
                <a:ext uri="{FF2B5EF4-FFF2-40B4-BE49-F238E27FC236}">
                  <a16:creationId xmlns:a16="http://schemas.microsoft.com/office/drawing/2014/main" id="{CEEAF51E-455A-294D-905D-8116B9748142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7AB68E74-5512-0F4C-BF7D-B5B172CB71B0}"/>
              </a:ext>
            </a:extLst>
          </p:cNvPr>
          <p:cNvGrpSpPr/>
          <p:nvPr userDrawn="1"/>
        </p:nvGrpSpPr>
        <p:grpSpPr>
          <a:xfrm>
            <a:off x="5909909" y="4137301"/>
            <a:ext cx="420663" cy="420663"/>
            <a:chOff x="4234157" y="4026187"/>
            <a:chExt cx="489344" cy="489344"/>
          </a:xfrm>
        </p:grpSpPr>
        <p:sp>
          <p:nvSpPr>
            <p:cNvPr id="22" name="Isosceles Triangle 30">
              <a:extLst>
                <a:ext uri="{FF2B5EF4-FFF2-40B4-BE49-F238E27FC236}">
                  <a16:creationId xmlns:a16="http://schemas.microsoft.com/office/drawing/2014/main" id="{FA0ECCB0-D910-E44B-B247-C25395B0FC6A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Isosceles Triangle 30">
              <a:extLst>
                <a:ext uri="{FF2B5EF4-FFF2-40B4-BE49-F238E27FC236}">
                  <a16:creationId xmlns:a16="http://schemas.microsoft.com/office/drawing/2014/main" id="{A0593238-0788-CF4F-B891-F9AA0EC2D08A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B0E47EDF-F8DC-F54A-8DE3-311A9170C22E}"/>
              </a:ext>
            </a:extLst>
          </p:cNvPr>
          <p:cNvGrpSpPr/>
          <p:nvPr userDrawn="1"/>
        </p:nvGrpSpPr>
        <p:grpSpPr>
          <a:xfrm>
            <a:off x="8633376" y="4136414"/>
            <a:ext cx="420663" cy="420663"/>
            <a:chOff x="4234157" y="4026187"/>
            <a:chExt cx="489344" cy="489344"/>
          </a:xfrm>
        </p:grpSpPr>
        <p:sp>
          <p:nvSpPr>
            <p:cNvPr id="25" name="Isosceles Triangle 30">
              <a:extLst>
                <a:ext uri="{FF2B5EF4-FFF2-40B4-BE49-F238E27FC236}">
                  <a16:creationId xmlns:a16="http://schemas.microsoft.com/office/drawing/2014/main" id="{8B73D9C8-170A-A34A-A0FB-F191039716C0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Isosceles Triangle 30">
              <a:extLst>
                <a:ext uri="{FF2B5EF4-FFF2-40B4-BE49-F238E27FC236}">
                  <a16:creationId xmlns:a16="http://schemas.microsoft.com/office/drawing/2014/main" id="{C19AE1F9-6E09-B14D-B399-79CD3EE150D5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cxnSp>
        <p:nvCxnSpPr>
          <p:cNvPr id="28" name="Straight Connector 18">
            <a:extLst>
              <a:ext uri="{FF2B5EF4-FFF2-40B4-BE49-F238E27FC236}">
                <a16:creationId xmlns:a16="http://schemas.microsoft.com/office/drawing/2014/main" id="{34A68BCE-4BFF-4E49-8285-E554AFD6EAB0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FE8CBC91-6560-F84B-89DC-4A76AFC692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8320" y="1069805"/>
            <a:ext cx="3632037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, Mustertext, </a:t>
            </a:r>
            <a:br>
              <a:rPr lang="de-DE" dirty="0"/>
            </a:br>
            <a:r>
              <a:rPr lang="de-DE" dirty="0"/>
              <a:t>Mustertext, Mustertext, 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9F20CB46-FCA5-4A49-9CD5-DD92C0658D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5204" y="4607333"/>
            <a:ext cx="2156428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930C7BE9-C66F-E64E-9A8F-FA24F6BD3B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6310" y="2016347"/>
            <a:ext cx="3622778" cy="256994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überschrift…….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C1C08EC-4F0A-CC45-A42E-4592308881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69146" y="2619401"/>
            <a:ext cx="1891532" cy="2684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7CBEA5CE-FEBB-2B41-BD28-6235C22A7E6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7561" y="4061327"/>
            <a:ext cx="118941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41D41800-8376-8344-ADBF-540BE41B255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60677" y="4063846"/>
            <a:ext cx="120576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8E74AE50-EEEF-2748-8351-81CE627FCF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94091" y="4068972"/>
            <a:ext cx="120576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F40383F9-F56E-BF48-AB80-90800471D23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16093" y="4061326"/>
            <a:ext cx="1229101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891FC140-6E10-1243-81D0-AC7F2D14D3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0677" y="4607333"/>
            <a:ext cx="2154236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52992670-F275-F043-879C-9CF987AD74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92111" y="4607333"/>
            <a:ext cx="2155874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0920E9D8-8476-8A46-8968-188AE500AE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25181" y="4607333"/>
            <a:ext cx="2147828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2B53DF17-A748-C845-9C00-F47FC116F1BE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661082" y="3102196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3" name="Bildplatzhalter 4">
            <a:extLst>
              <a:ext uri="{FF2B5EF4-FFF2-40B4-BE49-F238E27FC236}">
                <a16:creationId xmlns:a16="http://schemas.microsoft.com/office/drawing/2014/main" id="{AEF75661-9EB2-6549-AF77-92AC7E8E25C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94154" y="3102196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4" name="Bildplatzhalter 4">
            <a:extLst>
              <a:ext uri="{FF2B5EF4-FFF2-40B4-BE49-F238E27FC236}">
                <a16:creationId xmlns:a16="http://schemas.microsoft.com/office/drawing/2014/main" id="{CEDB4197-67FC-D743-A1AA-03D3A00CC327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116093" y="3102196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F1F6640B-8F59-9749-B703-70016CD070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527354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Bildplatzhalter 4">
            <a:extLst>
              <a:ext uri="{FF2B5EF4-FFF2-40B4-BE49-F238E27FC236}">
                <a16:creationId xmlns:a16="http://schemas.microsoft.com/office/drawing/2014/main" id="{E8A3883B-F022-C941-B567-E1A62C58568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52312" y="2679108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1" name="Rounded Rectangle 111">
            <a:extLst>
              <a:ext uri="{FF2B5EF4-FFF2-40B4-BE49-F238E27FC236}">
                <a16:creationId xmlns:a16="http://schemas.microsoft.com/office/drawing/2014/main" id="{91EF472B-1F59-A049-908D-66AF9771C365}"/>
              </a:ext>
            </a:extLst>
          </p:cNvPr>
          <p:cNvSpPr/>
          <p:nvPr userDrawn="1"/>
        </p:nvSpPr>
        <p:spPr>
          <a:xfrm>
            <a:off x="957122" y="3484020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12" name="Rounded Rectangle 111">
            <a:extLst>
              <a:ext uri="{FF2B5EF4-FFF2-40B4-BE49-F238E27FC236}">
                <a16:creationId xmlns:a16="http://schemas.microsoft.com/office/drawing/2014/main" id="{8E27BD39-8403-E543-B650-58AA03017648}"/>
              </a:ext>
            </a:extLst>
          </p:cNvPr>
          <p:cNvSpPr/>
          <p:nvPr userDrawn="1"/>
        </p:nvSpPr>
        <p:spPr>
          <a:xfrm>
            <a:off x="3656830" y="3484020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rgbClr val="DCE1E6"/>
              </a:solidFill>
              <a:latin typeface="Roboto" panose="02000000000000000000"/>
            </a:endParaRPr>
          </a:p>
        </p:txBody>
      </p:sp>
      <p:sp>
        <p:nvSpPr>
          <p:cNvPr id="13" name="Rounded Rectangle 111">
            <a:extLst>
              <a:ext uri="{FF2B5EF4-FFF2-40B4-BE49-F238E27FC236}">
                <a16:creationId xmlns:a16="http://schemas.microsoft.com/office/drawing/2014/main" id="{9F5A43BA-EE18-D34E-AE07-77C95081A3CF}"/>
              </a:ext>
            </a:extLst>
          </p:cNvPr>
          <p:cNvSpPr/>
          <p:nvPr userDrawn="1"/>
        </p:nvSpPr>
        <p:spPr>
          <a:xfrm>
            <a:off x="6387984" y="3491074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" name="Rounded Rectangle 111">
            <a:extLst>
              <a:ext uri="{FF2B5EF4-FFF2-40B4-BE49-F238E27FC236}">
                <a16:creationId xmlns:a16="http://schemas.microsoft.com/office/drawing/2014/main" id="{3284BA0E-BE48-574D-AA35-AE01499987E0}"/>
              </a:ext>
            </a:extLst>
          </p:cNvPr>
          <p:cNvSpPr/>
          <p:nvPr userDrawn="1"/>
        </p:nvSpPr>
        <p:spPr>
          <a:xfrm>
            <a:off x="9116094" y="3484020"/>
            <a:ext cx="2160000" cy="278160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15" name="Connector: Elbow 24">
            <a:extLst>
              <a:ext uri="{FF2B5EF4-FFF2-40B4-BE49-F238E27FC236}">
                <a16:creationId xmlns:a16="http://schemas.microsoft.com/office/drawing/2014/main" id="{875F97D0-2E0B-2D4A-9FD4-1353B8E815DD}"/>
              </a:ext>
            </a:extLst>
          </p:cNvPr>
          <p:cNvCxnSpPr>
            <a:cxnSpLocks/>
            <a:stCxn id="47" idx="1"/>
          </p:cNvCxnSpPr>
          <p:nvPr userDrawn="1"/>
        </p:nvCxnSpPr>
        <p:spPr>
          <a:xfrm rot="10800000" flipV="1">
            <a:off x="753550" y="2330537"/>
            <a:ext cx="4115596" cy="1427312"/>
          </a:xfrm>
          <a:prstGeom prst="bentConnector3">
            <a:avLst>
              <a:gd name="adj1" fmla="val 105641"/>
            </a:avLst>
          </a:prstGeom>
          <a:ln w="25400">
            <a:solidFill>
              <a:srgbClr val="FFB8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26">
            <a:extLst>
              <a:ext uri="{FF2B5EF4-FFF2-40B4-BE49-F238E27FC236}">
                <a16:creationId xmlns:a16="http://schemas.microsoft.com/office/drawing/2014/main" id="{AC4DA2CA-3BAB-934E-92E9-164338551FC4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764736" y="2330537"/>
            <a:ext cx="4685224" cy="1477422"/>
          </a:xfrm>
          <a:prstGeom prst="bentConnector3">
            <a:avLst>
              <a:gd name="adj1" fmla="val -4879"/>
            </a:avLst>
          </a:prstGeom>
          <a:ln w="25400">
            <a:solidFill>
              <a:srgbClr val="FFB8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1C2BA1E-0B1D-6248-A350-4BEFB13F7B0B}"/>
              </a:ext>
            </a:extLst>
          </p:cNvPr>
          <p:cNvGrpSpPr/>
          <p:nvPr userDrawn="1"/>
        </p:nvGrpSpPr>
        <p:grpSpPr>
          <a:xfrm>
            <a:off x="3178568" y="3713326"/>
            <a:ext cx="420663" cy="420663"/>
            <a:chOff x="4234157" y="4026187"/>
            <a:chExt cx="489344" cy="489344"/>
          </a:xfrm>
        </p:grpSpPr>
        <p:sp>
          <p:nvSpPr>
            <p:cNvPr id="19" name="Isosceles Triangle 30">
              <a:extLst>
                <a:ext uri="{FF2B5EF4-FFF2-40B4-BE49-F238E27FC236}">
                  <a16:creationId xmlns:a16="http://schemas.microsoft.com/office/drawing/2014/main" id="{A84C6A69-0A3E-2943-B5AF-9850F8882043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Isosceles Triangle 30">
              <a:extLst>
                <a:ext uri="{FF2B5EF4-FFF2-40B4-BE49-F238E27FC236}">
                  <a16:creationId xmlns:a16="http://schemas.microsoft.com/office/drawing/2014/main" id="{CEEAF51E-455A-294D-905D-8116B9748142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7AB68E74-5512-0F4C-BF7D-B5B172CB71B0}"/>
              </a:ext>
            </a:extLst>
          </p:cNvPr>
          <p:cNvGrpSpPr/>
          <p:nvPr userDrawn="1"/>
        </p:nvGrpSpPr>
        <p:grpSpPr>
          <a:xfrm>
            <a:off x="5909909" y="3714213"/>
            <a:ext cx="420663" cy="420663"/>
            <a:chOff x="4234157" y="4026187"/>
            <a:chExt cx="489344" cy="489344"/>
          </a:xfrm>
        </p:grpSpPr>
        <p:sp>
          <p:nvSpPr>
            <p:cNvPr id="22" name="Isosceles Triangle 30">
              <a:extLst>
                <a:ext uri="{FF2B5EF4-FFF2-40B4-BE49-F238E27FC236}">
                  <a16:creationId xmlns:a16="http://schemas.microsoft.com/office/drawing/2014/main" id="{FA0ECCB0-D910-E44B-B247-C25395B0FC6A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Isosceles Triangle 30">
              <a:extLst>
                <a:ext uri="{FF2B5EF4-FFF2-40B4-BE49-F238E27FC236}">
                  <a16:creationId xmlns:a16="http://schemas.microsoft.com/office/drawing/2014/main" id="{A0593238-0788-CF4F-B891-F9AA0EC2D08A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B0E47EDF-F8DC-F54A-8DE3-311A9170C22E}"/>
              </a:ext>
            </a:extLst>
          </p:cNvPr>
          <p:cNvGrpSpPr/>
          <p:nvPr userDrawn="1"/>
        </p:nvGrpSpPr>
        <p:grpSpPr>
          <a:xfrm>
            <a:off x="8633376" y="3713326"/>
            <a:ext cx="420663" cy="420663"/>
            <a:chOff x="4234157" y="4026187"/>
            <a:chExt cx="489344" cy="489344"/>
          </a:xfrm>
        </p:grpSpPr>
        <p:sp>
          <p:nvSpPr>
            <p:cNvPr id="25" name="Isosceles Triangle 30">
              <a:extLst>
                <a:ext uri="{FF2B5EF4-FFF2-40B4-BE49-F238E27FC236}">
                  <a16:creationId xmlns:a16="http://schemas.microsoft.com/office/drawing/2014/main" id="{8B73D9C8-170A-A34A-A0FB-F191039716C0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Isosceles Triangle 30">
              <a:extLst>
                <a:ext uri="{FF2B5EF4-FFF2-40B4-BE49-F238E27FC236}">
                  <a16:creationId xmlns:a16="http://schemas.microsoft.com/office/drawing/2014/main" id="{C19AE1F9-6E09-B14D-B399-79CD3EE150D5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9F20CB46-FCA5-4A49-9CD5-DD92C0658D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5204" y="4184245"/>
            <a:ext cx="2156428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C1C08EC-4F0A-CC45-A42E-4592308881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69146" y="2196313"/>
            <a:ext cx="1891532" cy="268448"/>
          </a:xfrm>
          <a:prstGeom prst="rect">
            <a:avLst/>
          </a:prstGeom>
        </p:spPr>
        <p:txBody>
          <a:bodyPr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1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7CBEA5CE-FEBB-2B41-BD28-6235C22A7E6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7561" y="3638239"/>
            <a:ext cx="118941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41D41800-8376-8344-ADBF-540BE41B255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60677" y="3640758"/>
            <a:ext cx="120576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8E74AE50-EEEF-2748-8351-81CE627FCF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94091" y="3645884"/>
            <a:ext cx="1205763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F40383F9-F56E-BF48-AB80-90800471D23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16093" y="3638238"/>
            <a:ext cx="1229101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891FC140-6E10-1243-81D0-AC7F2D14D3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0677" y="4184245"/>
            <a:ext cx="2154236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52992670-F275-F043-879C-9CF987AD74B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92111" y="4184245"/>
            <a:ext cx="2155874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0920E9D8-8476-8A46-8968-188AE500AE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25181" y="4184245"/>
            <a:ext cx="2147828" cy="1722624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62" name="Bildplatzhalter 4">
            <a:extLst>
              <a:ext uri="{FF2B5EF4-FFF2-40B4-BE49-F238E27FC236}">
                <a16:creationId xmlns:a16="http://schemas.microsoft.com/office/drawing/2014/main" id="{2B53DF17-A748-C845-9C00-F47FC116F1BE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661082" y="2679108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3" name="Bildplatzhalter 4">
            <a:extLst>
              <a:ext uri="{FF2B5EF4-FFF2-40B4-BE49-F238E27FC236}">
                <a16:creationId xmlns:a16="http://schemas.microsoft.com/office/drawing/2014/main" id="{AEF75661-9EB2-6549-AF77-92AC7E8E25C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394154" y="2679108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4" name="Bildplatzhalter 4">
            <a:extLst>
              <a:ext uri="{FF2B5EF4-FFF2-40B4-BE49-F238E27FC236}">
                <a16:creationId xmlns:a16="http://schemas.microsoft.com/office/drawing/2014/main" id="{CEDB4197-67FC-D743-A1AA-03D3A00CC327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116093" y="2679108"/>
            <a:ext cx="2153830" cy="7985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0EDEBF-3D74-9742-9466-0EA082A872F7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D28A74-7024-4741-9DF0-3A23E3871177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41F262-0CF5-5347-912A-61BE32F63A3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CBDE7761-875E-7A48-BDB2-6610F4CE7C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704769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3721F6FD-D127-0A4C-858C-6D723E2C7B4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169026" y="0"/>
            <a:ext cx="5022974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" name="Rounded Rectangle 111">
            <a:extLst>
              <a:ext uri="{FF2B5EF4-FFF2-40B4-BE49-F238E27FC236}">
                <a16:creationId xmlns:a16="http://schemas.microsoft.com/office/drawing/2014/main" id="{36EB01AC-444C-D348-961A-CBBAA8B96CFB}"/>
              </a:ext>
            </a:extLst>
          </p:cNvPr>
          <p:cNvSpPr/>
          <p:nvPr userDrawn="1"/>
        </p:nvSpPr>
        <p:spPr>
          <a:xfrm>
            <a:off x="-1" y="2463313"/>
            <a:ext cx="4770783" cy="193137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algn="ctr"/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/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/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/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/>
            <a:br>
              <a:rPr lang="en-US" sz="1400" b="1" dirty="0">
                <a:solidFill>
                  <a:srgbClr val="FFB81C"/>
                </a:solidFill>
                <a:latin typeface="Reso" panose="02000000000000000000" pitchFamily="2" charset="0"/>
                <a:ea typeface="Roboto" panose="02000000000000000000" pitchFamily="2" charset="0"/>
              </a:rPr>
            </a:br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algn="ctr"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8" name="Straight Connector 18">
            <a:extLst>
              <a:ext uri="{FF2B5EF4-FFF2-40B4-BE49-F238E27FC236}">
                <a16:creationId xmlns:a16="http://schemas.microsoft.com/office/drawing/2014/main" id="{2DE0D21F-B074-9747-8CEC-6BBBE46306D8}"/>
              </a:ext>
            </a:extLst>
          </p:cNvPr>
          <p:cNvCxnSpPr>
            <a:cxnSpLocks/>
          </p:cNvCxnSpPr>
          <p:nvPr/>
        </p:nvCxnSpPr>
        <p:spPr>
          <a:xfrm>
            <a:off x="568476" y="2826270"/>
            <a:ext cx="1187768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EAD1B17-6FE3-AA43-B090-90A32F07E0E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423" y="2942204"/>
            <a:ext cx="1875959" cy="35325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2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D56AFB7-674F-3449-B324-7959D58D9F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59423" y="3366777"/>
            <a:ext cx="1875959" cy="42416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en-US" dirty="0" err="1">
                <a:solidFill>
                  <a:srgbClr val="FFB81C"/>
                </a:solidFill>
                <a:latin typeface="Reso" panose="02000000000000000000" pitchFamily="50" charset="0"/>
              </a:rPr>
              <a:t>Überschrift</a:t>
            </a:r>
            <a:endParaRPr lang="de-DE" dirty="0"/>
          </a:p>
        </p:txBody>
      </p:sp>
      <p:grpSp>
        <p:nvGrpSpPr>
          <p:cNvPr id="7" name="Logo-Pos">
            <a:extLst>
              <a:ext uri="{FF2B5EF4-FFF2-40B4-BE49-F238E27FC236}">
                <a16:creationId xmlns:a16="http://schemas.microsoft.com/office/drawing/2014/main" id="{2D38B677-14C8-3C4E-8AC3-FA1277660C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90DCCF90-E98B-0D41-AE9F-C166763E40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332BB-41A0-3245-A339-ECAFE4C73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0985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C5AB7DF1-1664-A94A-82DB-A9A6CE9474B3}"/>
              </a:ext>
            </a:extLst>
          </p:cNvPr>
          <p:cNvSpPr/>
          <p:nvPr userDrawn="1"/>
        </p:nvSpPr>
        <p:spPr>
          <a:xfrm>
            <a:off x="573016" y="2662455"/>
            <a:ext cx="1686016" cy="38773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1FA2666-9DA6-E84C-867A-3221657A4A11}"/>
              </a:ext>
            </a:extLst>
          </p:cNvPr>
          <p:cNvGrpSpPr/>
          <p:nvPr userDrawn="1"/>
        </p:nvGrpSpPr>
        <p:grpSpPr>
          <a:xfrm>
            <a:off x="1091412" y="2342462"/>
            <a:ext cx="649224" cy="649224"/>
            <a:chOff x="-233724" y="2250132"/>
            <a:chExt cx="649224" cy="64922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D1128C6-6162-584B-9766-DF5B899F8FD9}"/>
                </a:ext>
              </a:extLst>
            </p:cNvPr>
            <p:cNvSpPr/>
            <p:nvPr/>
          </p:nvSpPr>
          <p:spPr>
            <a:xfrm>
              <a:off x="-233724" y="2250132"/>
              <a:ext cx="649224" cy="649224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8" name="Group 3970">
              <a:extLst>
                <a:ext uri="{FF2B5EF4-FFF2-40B4-BE49-F238E27FC236}">
                  <a16:creationId xmlns:a16="http://schemas.microsoft.com/office/drawing/2014/main" id="{DDB637DE-3B5F-764F-9518-EF10DE5249C7}"/>
                </a:ext>
              </a:extLst>
            </p:cNvPr>
            <p:cNvGrpSpPr/>
            <p:nvPr/>
          </p:nvGrpSpPr>
          <p:grpSpPr>
            <a:xfrm>
              <a:off x="-104210" y="2393606"/>
              <a:ext cx="394989" cy="393991"/>
              <a:chOff x="9471026" y="5054601"/>
              <a:chExt cx="628650" cy="627062"/>
            </a:xfrm>
            <a:solidFill>
              <a:schemeClr val="tx1"/>
            </a:solidFill>
          </p:grpSpPr>
          <p:sp>
            <p:nvSpPr>
              <p:cNvPr id="9" name="Freeform 444">
                <a:extLst>
                  <a:ext uri="{FF2B5EF4-FFF2-40B4-BE49-F238E27FC236}">
                    <a16:creationId xmlns:a16="http://schemas.microsoft.com/office/drawing/2014/main" id="{07282C42-4C6A-AE44-B12A-3D7AA6654C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71026" y="5192713"/>
                <a:ext cx="628650" cy="350838"/>
              </a:xfrm>
              <a:custGeom>
                <a:avLst/>
                <a:gdLst>
                  <a:gd name="T0" fmla="*/ 662 w 1325"/>
                  <a:gd name="T1" fmla="*/ 744 h 744"/>
                  <a:gd name="T2" fmla="*/ 6 w 1325"/>
                  <a:gd name="T3" fmla="*/ 385 h 744"/>
                  <a:gd name="T4" fmla="*/ 6 w 1325"/>
                  <a:gd name="T5" fmla="*/ 359 h 744"/>
                  <a:gd name="T6" fmla="*/ 662 w 1325"/>
                  <a:gd name="T7" fmla="*/ 0 h 744"/>
                  <a:gd name="T8" fmla="*/ 1319 w 1325"/>
                  <a:gd name="T9" fmla="*/ 359 h 744"/>
                  <a:gd name="T10" fmla="*/ 1319 w 1325"/>
                  <a:gd name="T11" fmla="*/ 385 h 744"/>
                  <a:gd name="T12" fmla="*/ 662 w 1325"/>
                  <a:gd name="T13" fmla="*/ 744 h 744"/>
                  <a:gd name="T14" fmla="*/ 49 w 1325"/>
                  <a:gd name="T15" fmla="*/ 372 h 744"/>
                  <a:gd name="T16" fmla="*/ 662 w 1325"/>
                  <a:gd name="T17" fmla="*/ 703 h 744"/>
                  <a:gd name="T18" fmla="*/ 1276 w 1325"/>
                  <a:gd name="T19" fmla="*/ 372 h 744"/>
                  <a:gd name="T20" fmla="*/ 662 w 1325"/>
                  <a:gd name="T21" fmla="*/ 42 h 744"/>
                  <a:gd name="T22" fmla="*/ 49 w 1325"/>
                  <a:gd name="T23" fmla="*/ 372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25" h="744">
                    <a:moveTo>
                      <a:pt x="662" y="744"/>
                    </a:moveTo>
                    <a:cubicBezTo>
                      <a:pt x="303" y="744"/>
                      <a:pt x="18" y="400"/>
                      <a:pt x="6" y="385"/>
                    </a:cubicBezTo>
                    <a:cubicBezTo>
                      <a:pt x="0" y="378"/>
                      <a:pt x="0" y="367"/>
                      <a:pt x="6" y="359"/>
                    </a:cubicBezTo>
                    <a:cubicBezTo>
                      <a:pt x="18" y="344"/>
                      <a:pt x="303" y="0"/>
                      <a:pt x="662" y="0"/>
                    </a:cubicBezTo>
                    <a:cubicBezTo>
                      <a:pt x="1022" y="0"/>
                      <a:pt x="1307" y="344"/>
                      <a:pt x="1319" y="359"/>
                    </a:cubicBezTo>
                    <a:cubicBezTo>
                      <a:pt x="1325" y="367"/>
                      <a:pt x="1325" y="378"/>
                      <a:pt x="1319" y="385"/>
                    </a:cubicBezTo>
                    <a:cubicBezTo>
                      <a:pt x="1307" y="400"/>
                      <a:pt x="1022" y="744"/>
                      <a:pt x="662" y="744"/>
                    </a:cubicBezTo>
                    <a:moveTo>
                      <a:pt x="49" y="372"/>
                    </a:moveTo>
                    <a:cubicBezTo>
                      <a:pt x="105" y="435"/>
                      <a:pt x="361" y="703"/>
                      <a:pt x="662" y="703"/>
                    </a:cubicBezTo>
                    <a:cubicBezTo>
                      <a:pt x="964" y="703"/>
                      <a:pt x="1220" y="435"/>
                      <a:pt x="1276" y="372"/>
                    </a:cubicBezTo>
                    <a:cubicBezTo>
                      <a:pt x="1220" y="309"/>
                      <a:pt x="964" y="42"/>
                      <a:pt x="662" y="42"/>
                    </a:cubicBezTo>
                    <a:cubicBezTo>
                      <a:pt x="361" y="42"/>
                      <a:pt x="105" y="309"/>
                      <a:pt x="49" y="3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" name="Freeform 445">
                <a:extLst>
                  <a:ext uri="{FF2B5EF4-FFF2-40B4-BE49-F238E27FC236}">
                    <a16:creationId xmlns:a16="http://schemas.microsoft.com/office/drawing/2014/main" id="{B11C91C9-13E6-FC4D-AEE2-CD540F2D55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09138" y="5192713"/>
                <a:ext cx="352425" cy="350838"/>
              </a:xfrm>
              <a:custGeom>
                <a:avLst/>
                <a:gdLst>
                  <a:gd name="T0" fmla="*/ 371 w 743"/>
                  <a:gd name="T1" fmla="*/ 744 h 744"/>
                  <a:gd name="T2" fmla="*/ 0 w 743"/>
                  <a:gd name="T3" fmla="*/ 372 h 744"/>
                  <a:gd name="T4" fmla="*/ 371 w 743"/>
                  <a:gd name="T5" fmla="*/ 0 h 744"/>
                  <a:gd name="T6" fmla="*/ 743 w 743"/>
                  <a:gd name="T7" fmla="*/ 372 h 744"/>
                  <a:gd name="T8" fmla="*/ 371 w 743"/>
                  <a:gd name="T9" fmla="*/ 744 h 744"/>
                  <a:gd name="T10" fmla="*/ 371 w 743"/>
                  <a:gd name="T11" fmla="*/ 42 h 744"/>
                  <a:gd name="T12" fmla="*/ 41 w 743"/>
                  <a:gd name="T13" fmla="*/ 372 h 744"/>
                  <a:gd name="T14" fmla="*/ 371 w 743"/>
                  <a:gd name="T15" fmla="*/ 703 h 744"/>
                  <a:gd name="T16" fmla="*/ 702 w 743"/>
                  <a:gd name="T17" fmla="*/ 372 h 744"/>
                  <a:gd name="T18" fmla="*/ 371 w 743"/>
                  <a:gd name="T19" fmla="*/ 42 h 7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3" h="744">
                    <a:moveTo>
                      <a:pt x="371" y="744"/>
                    </a:moveTo>
                    <a:cubicBezTo>
                      <a:pt x="167" y="744"/>
                      <a:pt x="0" y="577"/>
                      <a:pt x="0" y="372"/>
                    </a:cubicBezTo>
                    <a:cubicBezTo>
                      <a:pt x="0" y="167"/>
                      <a:pt x="167" y="0"/>
                      <a:pt x="371" y="0"/>
                    </a:cubicBezTo>
                    <a:cubicBezTo>
                      <a:pt x="576" y="0"/>
                      <a:pt x="743" y="167"/>
                      <a:pt x="743" y="372"/>
                    </a:cubicBezTo>
                    <a:cubicBezTo>
                      <a:pt x="743" y="577"/>
                      <a:pt x="576" y="744"/>
                      <a:pt x="371" y="744"/>
                    </a:cubicBezTo>
                    <a:moveTo>
                      <a:pt x="371" y="42"/>
                    </a:moveTo>
                    <a:cubicBezTo>
                      <a:pt x="189" y="42"/>
                      <a:pt x="41" y="190"/>
                      <a:pt x="41" y="372"/>
                    </a:cubicBezTo>
                    <a:cubicBezTo>
                      <a:pt x="41" y="554"/>
                      <a:pt x="189" y="703"/>
                      <a:pt x="371" y="703"/>
                    </a:cubicBezTo>
                    <a:cubicBezTo>
                      <a:pt x="554" y="703"/>
                      <a:pt x="702" y="554"/>
                      <a:pt x="702" y="372"/>
                    </a:cubicBezTo>
                    <a:cubicBezTo>
                      <a:pt x="702" y="190"/>
                      <a:pt x="554" y="42"/>
                      <a:pt x="371" y="4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Freeform 446">
                <a:extLst>
                  <a:ext uri="{FF2B5EF4-FFF2-40B4-BE49-F238E27FC236}">
                    <a16:creationId xmlns:a16="http://schemas.microsoft.com/office/drawing/2014/main" id="{F22B4CDB-1E71-8342-8AE5-CF376DCDB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67876" y="5251451"/>
                <a:ext cx="234950" cy="233363"/>
              </a:xfrm>
              <a:custGeom>
                <a:avLst/>
                <a:gdLst>
                  <a:gd name="T0" fmla="*/ 247 w 495"/>
                  <a:gd name="T1" fmla="*/ 496 h 496"/>
                  <a:gd name="T2" fmla="*/ 0 w 495"/>
                  <a:gd name="T3" fmla="*/ 269 h 496"/>
                  <a:gd name="T4" fmla="*/ 41 w 495"/>
                  <a:gd name="T5" fmla="*/ 269 h 496"/>
                  <a:gd name="T6" fmla="*/ 247 w 495"/>
                  <a:gd name="T7" fmla="*/ 455 h 496"/>
                  <a:gd name="T8" fmla="*/ 454 w 495"/>
                  <a:gd name="T9" fmla="*/ 248 h 496"/>
                  <a:gd name="T10" fmla="*/ 268 w 495"/>
                  <a:gd name="T11" fmla="*/ 42 h 496"/>
                  <a:gd name="T12" fmla="*/ 268 w 495"/>
                  <a:gd name="T13" fmla="*/ 0 h 496"/>
                  <a:gd name="T14" fmla="*/ 495 w 495"/>
                  <a:gd name="T15" fmla="*/ 248 h 496"/>
                  <a:gd name="T16" fmla="*/ 247 w 495"/>
                  <a:gd name="T17" fmla="*/ 49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5" h="496">
                    <a:moveTo>
                      <a:pt x="247" y="496"/>
                    </a:moveTo>
                    <a:cubicBezTo>
                      <a:pt x="115" y="496"/>
                      <a:pt x="0" y="390"/>
                      <a:pt x="0" y="269"/>
                    </a:cubicBezTo>
                    <a:cubicBezTo>
                      <a:pt x="41" y="269"/>
                      <a:pt x="41" y="269"/>
                      <a:pt x="41" y="269"/>
                    </a:cubicBezTo>
                    <a:cubicBezTo>
                      <a:pt x="41" y="356"/>
                      <a:pt x="129" y="455"/>
                      <a:pt x="247" y="455"/>
                    </a:cubicBezTo>
                    <a:cubicBezTo>
                      <a:pt x="361" y="455"/>
                      <a:pt x="454" y="362"/>
                      <a:pt x="454" y="248"/>
                    </a:cubicBezTo>
                    <a:cubicBezTo>
                      <a:pt x="454" y="130"/>
                      <a:pt x="356" y="42"/>
                      <a:pt x="268" y="42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389" y="0"/>
                      <a:pt x="495" y="116"/>
                      <a:pt x="495" y="248"/>
                    </a:cubicBezTo>
                    <a:cubicBezTo>
                      <a:pt x="495" y="385"/>
                      <a:pt x="384" y="496"/>
                      <a:pt x="247" y="49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447">
                <a:extLst>
                  <a:ext uri="{FF2B5EF4-FFF2-40B4-BE49-F238E27FC236}">
                    <a16:creationId xmlns:a16="http://schemas.microsoft.com/office/drawing/2014/main" id="{213CBF13-6C73-104B-99B8-A12982A80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82138" y="5054601"/>
                <a:ext cx="606425" cy="238125"/>
              </a:xfrm>
              <a:custGeom>
                <a:avLst/>
                <a:gdLst>
                  <a:gd name="T0" fmla="*/ 1239 w 1279"/>
                  <a:gd name="T1" fmla="*/ 501 h 501"/>
                  <a:gd name="T2" fmla="*/ 639 w 1279"/>
                  <a:gd name="T3" fmla="*/ 41 h 501"/>
                  <a:gd name="T4" fmla="*/ 40 w 1279"/>
                  <a:gd name="T5" fmla="*/ 501 h 501"/>
                  <a:gd name="T6" fmla="*/ 0 w 1279"/>
                  <a:gd name="T7" fmla="*/ 491 h 501"/>
                  <a:gd name="T8" fmla="*/ 639 w 1279"/>
                  <a:gd name="T9" fmla="*/ 0 h 501"/>
                  <a:gd name="T10" fmla="*/ 1279 w 1279"/>
                  <a:gd name="T11" fmla="*/ 491 h 501"/>
                  <a:gd name="T12" fmla="*/ 1239 w 1279"/>
                  <a:gd name="T13" fmla="*/ 501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9" h="501">
                    <a:moveTo>
                      <a:pt x="1239" y="501"/>
                    </a:moveTo>
                    <a:cubicBezTo>
                      <a:pt x="1167" y="230"/>
                      <a:pt x="920" y="41"/>
                      <a:pt x="639" y="41"/>
                    </a:cubicBezTo>
                    <a:cubicBezTo>
                      <a:pt x="358" y="41"/>
                      <a:pt x="112" y="230"/>
                      <a:pt x="40" y="501"/>
                    </a:cubicBezTo>
                    <a:cubicBezTo>
                      <a:pt x="0" y="491"/>
                      <a:pt x="0" y="491"/>
                      <a:pt x="0" y="491"/>
                    </a:cubicBezTo>
                    <a:cubicBezTo>
                      <a:pt x="77" y="202"/>
                      <a:pt x="340" y="0"/>
                      <a:pt x="639" y="0"/>
                    </a:cubicBezTo>
                    <a:cubicBezTo>
                      <a:pt x="939" y="0"/>
                      <a:pt x="1202" y="202"/>
                      <a:pt x="1279" y="491"/>
                    </a:cubicBezTo>
                    <a:lnTo>
                      <a:pt x="1239" y="5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448">
                <a:extLst>
                  <a:ext uri="{FF2B5EF4-FFF2-40B4-BE49-F238E27FC236}">
                    <a16:creationId xmlns:a16="http://schemas.microsoft.com/office/drawing/2014/main" id="{FFB86F16-1749-D84B-AE9C-D754B01CC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82138" y="5443538"/>
                <a:ext cx="606425" cy="238125"/>
              </a:xfrm>
              <a:custGeom>
                <a:avLst/>
                <a:gdLst>
                  <a:gd name="T0" fmla="*/ 639 w 1279"/>
                  <a:gd name="T1" fmla="*/ 501 h 501"/>
                  <a:gd name="T2" fmla="*/ 0 w 1279"/>
                  <a:gd name="T3" fmla="*/ 11 h 501"/>
                  <a:gd name="T4" fmla="*/ 40 w 1279"/>
                  <a:gd name="T5" fmla="*/ 0 h 501"/>
                  <a:gd name="T6" fmla="*/ 639 w 1279"/>
                  <a:gd name="T7" fmla="*/ 460 h 501"/>
                  <a:gd name="T8" fmla="*/ 1239 w 1279"/>
                  <a:gd name="T9" fmla="*/ 0 h 501"/>
                  <a:gd name="T10" fmla="*/ 1279 w 1279"/>
                  <a:gd name="T11" fmla="*/ 11 h 501"/>
                  <a:gd name="T12" fmla="*/ 639 w 1279"/>
                  <a:gd name="T13" fmla="*/ 501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9" h="501">
                    <a:moveTo>
                      <a:pt x="639" y="501"/>
                    </a:moveTo>
                    <a:cubicBezTo>
                      <a:pt x="340" y="501"/>
                      <a:pt x="77" y="299"/>
                      <a:pt x="0" y="11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12" y="271"/>
                      <a:pt x="359" y="460"/>
                      <a:pt x="639" y="460"/>
                    </a:cubicBezTo>
                    <a:cubicBezTo>
                      <a:pt x="921" y="460"/>
                      <a:pt x="1167" y="271"/>
                      <a:pt x="1239" y="0"/>
                    </a:cubicBezTo>
                    <a:cubicBezTo>
                      <a:pt x="1279" y="11"/>
                      <a:pt x="1279" y="11"/>
                      <a:pt x="1279" y="11"/>
                    </a:cubicBezTo>
                    <a:cubicBezTo>
                      <a:pt x="1202" y="299"/>
                      <a:pt x="939" y="501"/>
                      <a:pt x="639" y="50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449">
                <a:extLst>
                  <a:ext uri="{FF2B5EF4-FFF2-40B4-BE49-F238E27FC236}">
                    <a16:creationId xmlns:a16="http://schemas.microsoft.com/office/drawing/2014/main" id="{759929FD-96E2-3D47-A9D6-E408EAF99D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67876" y="5251451"/>
                <a:ext cx="107950" cy="106363"/>
              </a:xfrm>
              <a:custGeom>
                <a:avLst/>
                <a:gdLst>
                  <a:gd name="T0" fmla="*/ 227 w 227"/>
                  <a:gd name="T1" fmla="*/ 227 h 227"/>
                  <a:gd name="T2" fmla="*/ 0 w 227"/>
                  <a:gd name="T3" fmla="*/ 227 h 227"/>
                  <a:gd name="T4" fmla="*/ 0 w 227"/>
                  <a:gd name="T5" fmla="*/ 207 h 227"/>
                  <a:gd name="T6" fmla="*/ 206 w 227"/>
                  <a:gd name="T7" fmla="*/ 0 h 227"/>
                  <a:gd name="T8" fmla="*/ 227 w 227"/>
                  <a:gd name="T9" fmla="*/ 0 h 227"/>
                  <a:gd name="T10" fmla="*/ 227 w 227"/>
                  <a:gd name="T11" fmla="*/ 227 h 227"/>
                  <a:gd name="T12" fmla="*/ 42 w 227"/>
                  <a:gd name="T13" fmla="*/ 186 h 227"/>
                  <a:gd name="T14" fmla="*/ 186 w 227"/>
                  <a:gd name="T15" fmla="*/ 186 h 227"/>
                  <a:gd name="T16" fmla="*/ 186 w 227"/>
                  <a:gd name="T17" fmla="*/ 43 h 227"/>
                  <a:gd name="T18" fmla="*/ 42 w 227"/>
                  <a:gd name="T19" fmla="*/ 186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7" h="227">
                    <a:moveTo>
                      <a:pt x="227" y="227"/>
                    </a:moveTo>
                    <a:cubicBezTo>
                      <a:pt x="0" y="227"/>
                      <a:pt x="0" y="227"/>
                      <a:pt x="0" y="227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0" y="93"/>
                      <a:pt x="92" y="0"/>
                      <a:pt x="206" y="0"/>
                    </a:cubicBezTo>
                    <a:cubicBezTo>
                      <a:pt x="227" y="0"/>
                      <a:pt x="227" y="0"/>
                      <a:pt x="227" y="0"/>
                    </a:cubicBezTo>
                    <a:lnTo>
                      <a:pt x="227" y="227"/>
                    </a:lnTo>
                    <a:close/>
                    <a:moveTo>
                      <a:pt x="42" y="186"/>
                    </a:moveTo>
                    <a:cubicBezTo>
                      <a:pt x="186" y="186"/>
                      <a:pt x="186" y="186"/>
                      <a:pt x="186" y="186"/>
                    </a:cubicBezTo>
                    <a:cubicBezTo>
                      <a:pt x="186" y="43"/>
                      <a:pt x="186" y="43"/>
                      <a:pt x="186" y="43"/>
                    </a:cubicBezTo>
                    <a:cubicBezTo>
                      <a:pt x="111" y="52"/>
                      <a:pt x="52" y="111"/>
                      <a:pt x="42" y="1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Rectangle 450">
                <a:extLst>
                  <a:ext uri="{FF2B5EF4-FFF2-40B4-BE49-F238E27FC236}">
                    <a16:creationId xmlns:a16="http://schemas.microsoft.com/office/drawing/2014/main" id="{815A7293-0A00-7346-95BF-7A7011CF8B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75826" y="5583238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Rectangle 451">
                <a:extLst>
                  <a:ext uri="{FF2B5EF4-FFF2-40B4-BE49-F238E27FC236}">
                    <a16:creationId xmlns:a16="http://schemas.microsoft.com/office/drawing/2014/main" id="{F5AAFA16-542C-2C47-BD40-8471B21F0A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6138" y="5583238"/>
                <a:ext cx="20638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Rectangle 452">
                <a:extLst>
                  <a:ext uri="{FF2B5EF4-FFF2-40B4-BE49-F238E27FC236}">
                    <a16:creationId xmlns:a16="http://schemas.microsoft.com/office/drawing/2014/main" id="{79F49E85-1494-1045-9B2A-ACADA07FBD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3926" y="5583238"/>
                <a:ext cx="20638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Rectangle 453">
                <a:extLst>
                  <a:ext uri="{FF2B5EF4-FFF2-40B4-BE49-F238E27FC236}">
                    <a16:creationId xmlns:a16="http://schemas.microsoft.com/office/drawing/2014/main" id="{E9B5F5C5-1F59-5A4E-91A1-98C93D46C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75826" y="5133976"/>
                <a:ext cx="19050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Rectangle 454">
                <a:extLst>
                  <a:ext uri="{FF2B5EF4-FFF2-40B4-BE49-F238E27FC236}">
                    <a16:creationId xmlns:a16="http://schemas.microsoft.com/office/drawing/2014/main" id="{2DF15085-3C1E-2F4C-9BEF-0779E85CD4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36138" y="5133976"/>
                <a:ext cx="20638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Rectangle 455">
                <a:extLst>
                  <a:ext uri="{FF2B5EF4-FFF2-40B4-BE49-F238E27FC236}">
                    <a16:creationId xmlns:a16="http://schemas.microsoft.com/office/drawing/2014/main" id="{50C0C16D-4BCC-B44B-B2FC-D501DAA3BF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13926" y="5133976"/>
                <a:ext cx="20638" cy="190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1" name="Rounded Rectangle 111">
            <a:extLst>
              <a:ext uri="{FF2B5EF4-FFF2-40B4-BE49-F238E27FC236}">
                <a16:creationId xmlns:a16="http://schemas.microsoft.com/office/drawing/2014/main" id="{DB3CCDC8-60BA-4745-A5EE-715E2395D475}"/>
              </a:ext>
            </a:extLst>
          </p:cNvPr>
          <p:cNvSpPr/>
          <p:nvPr userDrawn="1"/>
        </p:nvSpPr>
        <p:spPr>
          <a:xfrm>
            <a:off x="2411648" y="2662455"/>
            <a:ext cx="1686016" cy="38773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E2FC59F-8E2A-E846-BE6A-0AD4C62073A7}"/>
              </a:ext>
            </a:extLst>
          </p:cNvPr>
          <p:cNvSpPr/>
          <p:nvPr userDrawn="1"/>
        </p:nvSpPr>
        <p:spPr>
          <a:xfrm>
            <a:off x="2933378" y="2342462"/>
            <a:ext cx="649224" cy="649224"/>
          </a:xfrm>
          <a:prstGeom prst="ellipse">
            <a:avLst/>
          </a:prstGeom>
          <a:solidFill>
            <a:srgbClr val="FFB8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eform 332">
            <a:extLst>
              <a:ext uri="{FF2B5EF4-FFF2-40B4-BE49-F238E27FC236}">
                <a16:creationId xmlns:a16="http://schemas.microsoft.com/office/drawing/2014/main" id="{C6B2D263-C835-6741-8ACF-24D00A8010C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046852" y="2428948"/>
            <a:ext cx="422275" cy="476250"/>
          </a:xfrm>
          <a:custGeom>
            <a:avLst/>
            <a:gdLst>
              <a:gd name="T0" fmla="*/ 297 w 738"/>
              <a:gd name="T1" fmla="*/ 798 h 832"/>
              <a:gd name="T2" fmla="*/ 277 w 738"/>
              <a:gd name="T3" fmla="*/ 793 h 832"/>
              <a:gd name="T4" fmla="*/ 474 w 738"/>
              <a:gd name="T5" fmla="*/ 712 h 832"/>
              <a:gd name="T6" fmla="*/ 321 w 738"/>
              <a:gd name="T7" fmla="*/ 782 h 832"/>
              <a:gd name="T8" fmla="*/ 427 w 738"/>
              <a:gd name="T9" fmla="*/ 754 h 832"/>
              <a:gd name="T10" fmla="*/ 369 w 738"/>
              <a:gd name="T11" fmla="*/ 832 h 832"/>
              <a:gd name="T12" fmla="*/ 269 w 738"/>
              <a:gd name="T13" fmla="*/ 688 h 832"/>
              <a:gd name="T14" fmla="*/ 481 w 738"/>
              <a:gd name="T15" fmla="*/ 663 h 832"/>
              <a:gd name="T16" fmla="*/ 277 w 738"/>
              <a:gd name="T17" fmla="*/ 639 h 832"/>
              <a:gd name="T18" fmla="*/ 255 w 738"/>
              <a:gd name="T19" fmla="*/ 617 h 832"/>
              <a:gd name="T20" fmla="*/ 128 w 738"/>
              <a:gd name="T21" fmla="*/ 363 h 832"/>
              <a:gd name="T22" fmla="*/ 369 w 738"/>
              <a:gd name="T23" fmla="*/ 135 h 832"/>
              <a:gd name="T24" fmla="*/ 610 w 738"/>
              <a:gd name="T25" fmla="*/ 363 h 832"/>
              <a:gd name="T26" fmla="*/ 491 w 738"/>
              <a:gd name="T27" fmla="*/ 577 h 832"/>
              <a:gd name="T28" fmla="*/ 481 w 738"/>
              <a:gd name="T29" fmla="*/ 586 h 832"/>
              <a:gd name="T30" fmla="*/ 369 w 738"/>
              <a:gd name="T31" fmla="*/ 164 h 832"/>
              <a:gd name="T32" fmla="*/ 157 w 738"/>
              <a:gd name="T33" fmla="*/ 361 h 832"/>
              <a:gd name="T34" fmla="*/ 284 w 738"/>
              <a:gd name="T35" fmla="*/ 607 h 832"/>
              <a:gd name="T36" fmla="*/ 517 w 738"/>
              <a:gd name="T37" fmla="*/ 498 h 832"/>
              <a:gd name="T38" fmla="*/ 534 w 738"/>
              <a:gd name="T39" fmla="*/ 234 h 832"/>
              <a:gd name="T40" fmla="*/ 605 w 738"/>
              <a:gd name="T41" fmla="*/ 629 h 832"/>
              <a:gd name="T42" fmla="*/ 577 w 738"/>
              <a:gd name="T43" fmla="*/ 560 h 832"/>
              <a:gd name="T44" fmla="*/ 605 w 738"/>
              <a:gd name="T45" fmla="*/ 629 h 832"/>
              <a:gd name="T46" fmla="*/ 103 w 738"/>
              <a:gd name="T47" fmla="*/ 608 h 832"/>
              <a:gd name="T48" fmla="*/ 172 w 738"/>
              <a:gd name="T49" fmla="*/ 581 h 832"/>
              <a:gd name="T50" fmla="*/ 363 w 738"/>
              <a:gd name="T51" fmla="*/ 528 h 832"/>
              <a:gd name="T52" fmla="*/ 299 w 738"/>
              <a:gd name="T53" fmla="*/ 390 h 832"/>
              <a:gd name="T54" fmla="*/ 461 w 738"/>
              <a:gd name="T55" fmla="*/ 296 h 832"/>
              <a:gd name="T56" fmla="*/ 363 w 738"/>
              <a:gd name="T57" fmla="*/ 528 h 832"/>
              <a:gd name="T58" fmla="*/ 670 w 738"/>
              <a:gd name="T59" fmla="*/ 377 h 832"/>
              <a:gd name="T60" fmla="*/ 738 w 738"/>
              <a:gd name="T61" fmla="*/ 348 h 832"/>
              <a:gd name="T62" fmla="*/ 68 w 738"/>
              <a:gd name="T63" fmla="*/ 363 h 832"/>
              <a:gd name="T64" fmla="*/ 0 w 738"/>
              <a:gd name="T65" fmla="*/ 334 h 832"/>
              <a:gd name="T66" fmla="*/ 68 w 738"/>
              <a:gd name="T67" fmla="*/ 363 h 832"/>
              <a:gd name="T68" fmla="*/ 112 w 738"/>
              <a:gd name="T69" fmla="*/ 106 h 832"/>
              <a:gd name="T70" fmla="*/ 182 w 738"/>
              <a:gd name="T71" fmla="*/ 133 h 832"/>
              <a:gd name="T72" fmla="*/ 587 w 738"/>
              <a:gd name="T73" fmla="*/ 154 h 832"/>
              <a:gd name="T74" fmla="*/ 615 w 738"/>
              <a:gd name="T75" fmla="*/ 85 h 832"/>
              <a:gd name="T76" fmla="*/ 587 w 738"/>
              <a:gd name="T77" fmla="*/ 154 h 832"/>
              <a:gd name="T78" fmla="*/ 361 w 738"/>
              <a:gd name="T79" fmla="*/ 69 h 832"/>
              <a:gd name="T80" fmla="*/ 391 w 738"/>
              <a:gd name="T81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38" h="832">
                <a:moveTo>
                  <a:pt x="369" y="832"/>
                </a:moveTo>
                <a:cubicBezTo>
                  <a:pt x="340" y="832"/>
                  <a:pt x="313" y="820"/>
                  <a:pt x="297" y="798"/>
                </a:cubicBezTo>
                <a:cubicBezTo>
                  <a:pt x="317" y="783"/>
                  <a:pt x="317" y="783"/>
                  <a:pt x="317" y="783"/>
                </a:cubicBezTo>
                <a:cubicBezTo>
                  <a:pt x="277" y="793"/>
                  <a:pt x="277" y="793"/>
                  <a:pt x="277" y="793"/>
                </a:cubicBezTo>
                <a:cubicBezTo>
                  <a:pt x="269" y="765"/>
                  <a:pt x="269" y="765"/>
                  <a:pt x="269" y="765"/>
                </a:cubicBezTo>
                <a:cubicBezTo>
                  <a:pt x="474" y="712"/>
                  <a:pt x="474" y="712"/>
                  <a:pt x="474" y="712"/>
                </a:cubicBezTo>
                <a:cubicBezTo>
                  <a:pt x="481" y="740"/>
                  <a:pt x="481" y="740"/>
                  <a:pt x="481" y="740"/>
                </a:cubicBezTo>
                <a:cubicBezTo>
                  <a:pt x="321" y="782"/>
                  <a:pt x="321" y="782"/>
                  <a:pt x="321" y="782"/>
                </a:cubicBezTo>
                <a:cubicBezTo>
                  <a:pt x="332" y="795"/>
                  <a:pt x="350" y="803"/>
                  <a:pt x="369" y="803"/>
                </a:cubicBezTo>
                <a:cubicBezTo>
                  <a:pt x="401" y="803"/>
                  <a:pt x="427" y="781"/>
                  <a:pt x="427" y="754"/>
                </a:cubicBezTo>
                <a:cubicBezTo>
                  <a:pt x="457" y="754"/>
                  <a:pt x="457" y="754"/>
                  <a:pt x="457" y="754"/>
                </a:cubicBezTo>
                <a:cubicBezTo>
                  <a:pt x="457" y="797"/>
                  <a:pt x="417" y="832"/>
                  <a:pt x="369" y="832"/>
                </a:cubicBezTo>
                <a:close/>
                <a:moveTo>
                  <a:pt x="277" y="716"/>
                </a:moveTo>
                <a:cubicBezTo>
                  <a:pt x="269" y="688"/>
                  <a:pt x="269" y="688"/>
                  <a:pt x="269" y="688"/>
                </a:cubicBezTo>
                <a:cubicBezTo>
                  <a:pt x="474" y="635"/>
                  <a:pt x="474" y="635"/>
                  <a:pt x="474" y="635"/>
                </a:cubicBezTo>
                <a:cubicBezTo>
                  <a:pt x="481" y="663"/>
                  <a:pt x="481" y="663"/>
                  <a:pt x="481" y="663"/>
                </a:cubicBezTo>
                <a:cubicBezTo>
                  <a:pt x="277" y="716"/>
                  <a:pt x="277" y="716"/>
                  <a:pt x="277" y="716"/>
                </a:cubicBezTo>
                <a:close/>
                <a:moveTo>
                  <a:pt x="277" y="639"/>
                </a:moveTo>
                <a:cubicBezTo>
                  <a:pt x="271" y="616"/>
                  <a:pt x="271" y="616"/>
                  <a:pt x="271" y="616"/>
                </a:cubicBezTo>
                <a:cubicBezTo>
                  <a:pt x="255" y="617"/>
                  <a:pt x="255" y="617"/>
                  <a:pt x="255" y="617"/>
                </a:cubicBezTo>
                <a:cubicBezTo>
                  <a:pt x="251" y="560"/>
                  <a:pt x="231" y="544"/>
                  <a:pt x="205" y="524"/>
                </a:cubicBezTo>
                <a:cubicBezTo>
                  <a:pt x="172" y="499"/>
                  <a:pt x="135" y="470"/>
                  <a:pt x="128" y="363"/>
                </a:cubicBezTo>
                <a:cubicBezTo>
                  <a:pt x="124" y="309"/>
                  <a:pt x="144" y="255"/>
                  <a:pt x="184" y="213"/>
                </a:cubicBezTo>
                <a:cubicBezTo>
                  <a:pt x="230" y="163"/>
                  <a:pt x="298" y="135"/>
                  <a:pt x="369" y="135"/>
                </a:cubicBezTo>
                <a:cubicBezTo>
                  <a:pt x="440" y="135"/>
                  <a:pt x="508" y="163"/>
                  <a:pt x="555" y="214"/>
                </a:cubicBezTo>
                <a:cubicBezTo>
                  <a:pt x="595" y="256"/>
                  <a:pt x="614" y="309"/>
                  <a:pt x="610" y="363"/>
                </a:cubicBezTo>
                <a:cubicBezTo>
                  <a:pt x="603" y="467"/>
                  <a:pt x="567" y="496"/>
                  <a:pt x="535" y="521"/>
                </a:cubicBezTo>
                <a:cubicBezTo>
                  <a:pt x="516" y="536"/>
                  <a:pt x="500" y="549"/>
                  <a:pt x="491" y="577"/>
                </a:cubicBezTo>
                <a:cubicBezTo>
                  <a:pt x="477" y="572"/>
                  <a:pt x="477" y="572"/>
                  <a:pt x="477" y="572"/>
                </a:cubicBezTo>
                <a:cubicBezTo>
                  <a:pt x="481" y="586"/>
                  <a:pt x="481" y="586"/>
                  <a:pt x="481" y="586"/>
                </a:cubicBezTo>
                <a:cubicBezTo>
                  <a:pt x="277" y="639"/>
                  <a:pt x="277" y="639"/>
                  <a:pt x="277" y="639"/>
                </a:cubicBezTo>
                <a:close/>
                <a:moveTo>
                  <a:pt x="369" y="164"/>
                </a:moveTo>
                <a:cubicBezTo>
                  <a:pt x="307" y="164"/>
                  <a:pt x="246" y="190"/>
                  <a:pt x="205" y="233"/>
                </a:cubicBezTo>
                <a:cubicBezTo>
                  <a:pt x="171" y="269"/>
                  <a:pt x="154" y="315"/>
                  <a:pt x="157" y="361"/>
                </a:cubicBezTo>
                <a:cubicBezTo>
                  <a:pt x="163" y="455"/>
                  <a:pt x="193" y="478"/>
                  <a:pt x="223" y="501"/>
                </a:cubicBezTo>
                <a:cubicBezTo>
                  <a:pt x="250" y="522"/>
                  <a:pt x="277" y="544"/>
                  <a:pt x="284" y="607"/>
                </a:cubicBezTo>
                <a:cubicBezTo>
                  <a:pt x="466" y="560"/>
                  <a:pt x="466" y="560"/>
                  <a:pt x="466" y="560"/>
                </a:cubicBezTo>
                <a:cubicBezTo>
                  <a:pt x="479" y="529"/>
                  <a:pt x="498" y="513"/>
                  <a:pt x="517" y="498"/>
                </a:cubicBezTo>
                <a:cubicBezTo>
                  <a:pt x="547" y="474"/>
                  <a:pt x="575" y="452"/>
                  <a:pt x="581" y="361"/>
                </a:cubicBezTo>
                <a:cubicBezTo>
                  <a:pt x="584" y="315"/>
                  <a:pt x="568" y="270"/>
                  <a:pt x="534" y="234"/>
                </a:cubicBezTo>
                <a:cubicBezTo>
                  <a:pt x="493" y="190"/>
                  <a:pt x="431" y="164"/>
                  <a:pt x="369" y="164"/>
                </a:cubicBezTo>
                <a:close/>
                <a:moveTo>
                  <a:pt x="605" y="629"/>
                </a:moveTo>
                <a:cubicBezTo>
                  <a:pt x="556" y="581"/>
                  <a:pt x="556" y="581"/>
                  <a:pt x="556" y="581"/>
                </a:cubicBezTo>
                <a:cubicBezTo>
                  <a:pt x="577" y="560"/>
                  <a:pt x="577" y="560"/>
                  <a:pt x="577" y="560"/>
                </a:cubicBezTo>
                <a:cubicBezTo>
                  <a:pt x="626" y="608"/>
                  <a:pt x="626" y="608"/>
                  <a:pt x="626" y="608"/>
                </a:cubicBezTo>
                <a:cubicBezTo>
                  <a:pt x="605" y="629"/>
                  <a:pt x="605" y="629"/>
                  <a:pt x="605" y="629"/>
                </a:cubicBezTo>
                <a:close/>
                <a:moveTo>
                  <a:pt x="123" y="629"/>
                </a:moveTo>
                <a:cubicBezTo>
                  <a:pt x="103" y="608"/>
                  <a:pt x="103" y="608"/>
                  <a:pt x="103" y="608"/>
                </a:cubicBezTo>
                <a:cubicBezTo>
                  <a:pt x="151" y="560"/>
                  <a:pt x="151" y="560"/>
                  <a:pt x="151" y="560"/>
                </a:cubicBezTo>
                <a:cubicBezTo>
                  <a:pt x="172" y="581"/>
                  <a:pt x="172" y="581"/>
                  <a:pt x="172" y="581"/>
                </a:cubicBezTo>
                <a:cubicBezTo>
                  <a:pt x="123" y="629"/>
                  <a:pt x="123" y="629"/>
                  <a:pt x="123" y="629"/>
                </a:cubicBezTo>
                <a:close/>
                <a:moveTo>
                  <a:pt x="363" y="528"/>
                </a:moveTo>
                <a:cubicBezTo>
                  <a:pt x="275" y="407"/>
                  <a:pt x="275" y="407"/>
                  <a:pt x="275" y="407"/>
                </a:cubicBezTo>
                <a:cubicBezTo>
                  <a:pt x="299" y="390"/>
                  <a:pt x="299" y="390"/>
                  <a:pt x="299" y="390"/>
                </a:cubicBezTo>
                <a:cubicBezTo>
                  <a:pt x="360" y="474"/>
                  <a:pt x="360" y="474"/>
                  <a:pt x="360" y="474"/>
                </a:cubicBezTo>
                <a:cubicBezTo>
                  <a:pt x="461" y="296"/>
                  <a:pt x="461" y="296"/>
                  <a:pt x="461" y="296"/>
                </a:cubicBezTo>
                <a:cubicBezTo>
                  <a:pt x="487" y="310"/>
                  <a:pt x="487" y="310"/>
                  <a:pt x="487" y="310"/>
                </a:cubicBezTo>
                <a:cubicBezTo>
                  <a:pt x="363" y="528"/>
                  <a:pt x="363" y="528"/>
                  <a:pt x="363" y="528"/>
                </a:cubicBezTo>
                <a:close/>
                <a:moveTo>
                  <a:pt x="738" y="377"/>
                </a:moveTo>
                <a:cubicBezTo>
                  <a:pt x="670" y="377"/>
                  <a:pt x="670" y="377"/>
                  <a:pt x="670" y="377"/>
                </a:cubicBezTo>
                <a:cubicBezTo>
                  <a:pt x="670" y="348"/>
                  <a:pt x="670" y="348"/>
                  <a:pt x="670" y="348"/>
                </a:cubicBezTo>
                <a:cubicBezTo>
                  <a:pt x="738" y="348"/>
                  <a:pt x="738" y="348"/>
                  <a:pt x="738" y="348"/>
                </a:cubicBezTo>
                <a:cubicBezTo>
                  <a:pt x="738" y="377"/>
                  <a:pt x="738" y="377"/>
                  <a:pt x="738" y="377"/>
                </a:cubicBezTo>
                <a:close/>
                <a:moveTo>
                  <a:pt x="68" y="363"/>
                </a:moveTo>
                <a:cubicBezTo>
                  <a:pt x="0" y="363"/>
                  <a:pt x="0" y="363"/>
                  <a:pt x="0" y="363"/>
                </a:cubicBezTo>
                <a:cubicBezTo>
                  <a:pt x="0" y="334"/>
                  <a:pt x="0" y="334"/>
                  <a:pt x="0" y="334"/>
                </a:cubicBezTo>
                <a:cubicBezTo>
                  <a:pt x="68" y="334"/>
                  <a:pt x="68" y="334"/>
                  <a:pt x="68" y="334"/>
                </a:cubicBezTo>
                <a:cubicBezTo>
                  <a:pt x="68" y="363"/>
                  <a:pt x="68" y="363"/>
                  <a:pt x="68" y="363"/>
                </a:cubicBezTo>
                <a:close/>
                <a:moveTo>
                  <a:pt x="161" y="154"/>
                </a:moveTo>
                <a:cubicBezTo>
                  <a:pt x="112" y="106"/>
                  <a:pt x="112" y="106"/>
                  <a:pt x="112" y="106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61" y="154"/>
                  <a:pt x="161" y="154"/>
                  <a:pt x="161" y="154"/>
                </a:cubicBezTo>
                <a:close/>
                <a:moveTo>
                  <a:pt x="587" y="154"/>
                </a:moveTo>
                <a:cubicBezTo>
                  <a:pt x="566" y="133"/>
                  <a:pt x="566" y="133"/>
                  <a:pt x="566" y="133"/>
                </a:cubicBezTo>
                <a:cubicBezTo>
                  <a:pt x="615" y="85"/>
                  <a:pt x="615" y="85"/>
                  <a:pt x="615" y="85"/>
                </a:cubicBezTo>
                <a:cubicBezTo>
                  <a:pt x="636" y="106"/>
                  <a:pt x="636" y="106"/>
                  <a:pt x="636" y="106"/>
                </a:cubicBezTo>
                <a:cubicBezTo>
                  <a:pt x="587" y="154"/>
                  <a:pt x="587" y="154"/>
                  <a:pt x="587" y="154"/>
                </a:cubicBezTo>
                <a:close/>
                <a:moveTo>
                  <a:pt x="391" y="69"/>
                </a:moveTo>
                <a:cubicBezTo>
                  <a:pt x="361" y="69"/>
                  <a:pt x="361" y="69"/>
                  <a:pt x="361" y="69"/>
                </a:cubicBezTo>
                <a:cubicBezTo>
                  <a:pt x="361" y="0"/>
                  <a:pt x="361" y="0"/>
                  <a:pt x="361" y="0"/>
                </a:cubicBezTo>
                <a:cubicBezTo>
                  <a:pt x="391" y="0"/>
                  <a:pt x="391" y="0"/>
                  <a:pt x="391" y="0"/>
                </a:cubicBezTo>
                <a:cubicBezTo>
                  <a:pt x="391" y="69"/>
                  <a:pt x="391" y="69"/>
                  <a:pt x="391" y="6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Rounded Rectangle 111">
            <a:extLst>
              <a:ext uri="{FF2B5EF4-FFF2-40B4-BE49-F238E27FC236}">
                <a16:creationId xmlns:a16="http://schemas.microsoft.com/office/drawing/2014/main" id="{772E44B0-6CD2-004C-AF2F-B7135DE63B6F}"/>
              </a:ext>
            </a:extLst>
          </p:cNvPr>
          <p:cNvSpPr/>
          <p:nvPr userDrawn="1"/>
        </p:nvSpPr>
        <p:spPr>
          <a:xfrm>
            <a:off x="4250279" y="2662455"/>
            <a:ext cx="1686016" cy="38773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0B2F562-2C5F-104F-828D-AC4CD40271A6}"/>
              </a:ext>
            </a:extLst>
          </p:cNvPr>
          <p:cNvGrpSpPr/>
          <p:nvPr userDrawn="1"/>
        </p:nvGrpSpPr>
        <p:grpSpPr>
          <a:xfrm>
            <a:off x="4780247" y="2351836"/>
            <a:ext cx="649224" cy="649224"/>
            <a:chOff x="5087258" y="2192813"/>
            <a:chExt cx="649224" cy="649224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CA12576-F850-9649-A433-2BFF790432BF}"/>
                </a:ext>
              </a:extLst>
            </p:cNvPr>
            <p:cNvSpPr/>
            <p:nvPr/>
          </p:nvSpPr>
          <p:spPr>
            <a:xfrm>
              <a:off x="5087258" y="2192813"/>
              <a:ext cx="649224" cy="649224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7" name="Group 581">
              <a:extLst>
                <a:ext uri="{FF2B5EF4-FFF2-40B4-BE49-F238E27FC236}">
                  <a16:creationId xmlns:a16="http://schemas.microsoft.com/office/drawing/2014/main" id="{666F73AA-84E3-1C43-885F-6435EE5FD5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40558" y="2307562"/>
              <a:ext cx="342623" cy="413342"/>
              <a:chOff x="8459788" y="3476625"/>
              <a:chExt cx="446087" cy="538162"/>
            </a:xfrm>
            <a:solidFill>
              <a:schemeClr val="tx1"/>
            </a:solidFill>
          </p:grpSpPr>
          <p:sp>
            <p:nvSpPr>
              <p:cNvPr id="28" name="Freeform 275">
                <a:extLst>
                  <a:ext uri="{FF2B5EF4-FFF2-40B4-BE49-F238E27FC236}">
                    <a16:creationId xmlns:a16="http://schemas.microsoft.com/office/drawing/2014/main" id="{8C6BADF6-38BC-8846-B0AD-41465D5424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51875" y="3476625"/>
                <a:ext cx="61912" cy="131762"/>
              </a:xfrm>
              <a:custGeom>
                <a:avLst/>
                <a:gdLst>
                  <a:gd name="T0" fmla="*/ 19 w 39"/>
                  <a:gd name="T1" fmla="*/ 83 h 83"/>
                  <a:gd name="T2" fmla="*/ 0 w 39"/>
                  <a:gd name="T3" fmla="*/ 53 h 83"/>
                  <a:gd name="T4" fmla="*/ 0 w 39"/>
                  <a:gd name="T5" fmla="*/ 29 h 83"/>
                  <a:gd name="T6" fmla="*/ 19 w 39"/>
                  <a:gd name="T7" fmla="*/ 0 h 83"/>
                  <a:gd name="T8" fmla="*/ 39 w 39"/>
                  <a:gd name="T9" fmla="*/ 29 h 83"/>
                  <a:gd name="T10" fmla="*/ 39 w 39"/>
                  <a:gd name="T11" fmla="*/ 53 h 83"/>
                  <a:gd name="T12" fmla="*/ 19 w 39"/>
                  <a:gd name="T13" fmla="*/ 83 h 83"/>
                  <a:gd name="T14" fmla="*/ 19 w 39"/>
                  <a:gd name="T15" fmla="*/ 83 h 83"/>
                  <a:gd name="T16" fmla="*/ 11 w 39"/>
                  <a:gd name="T17" fmla="*/ 50 h 83"/>
                  <a:gd name="T18" fmla="*/ 19 w 39"/>
                  <a:gd name="T19" fmla="*/ 63 h 83"/>
                  <a:gd name="T20" fmla="*/ 28 w 39"/>
                  <a:gd name="T21" fmla="*/ 50 h 83"/>
                  <a:gd name="T22" fmla="*/ 28 w 39"/>
                  <a:gd name="T23" fmla="*/ 32 h 83"/>
                  <a:gd name="T24" fmla="*/ 19 w 39"/>
                  <a:gd name="T25" fmla="*/ 19 h 83"/>
                  <a:gd name="T26" fmla="*/ 11 w 39"/>
                  <a:gd name="T27" fmla="*/ 32 h 83"/>
                  <a:gd name="T28" fmla="*/ 11 w 39"/>
                  <a:gd name="T29" fmla="*/ 50 h 83"/>
                  <a:gd name="T30" fmla="*/ 11 w 39"/>
                  <a:gd name="T31" fmla="*/ 5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83">
                    <a:moveTo>
                      <a:pt x="19" y="83"/>
                    </a:moveTo>
                    <a:lnTo>
                      <a:pt x="0" y="53"/>
                    </a:lnTo>
                    <a:lnTo>
                      <a:pt x="0" y="29"/>
                    </a:lnTo>
                    <a:lnTo>
                      <a:pt x="19" y="0"/>
                    </a:lnTo>
                    <a:lnTo>
                      <a:pt x="39" y="29"/>
                    </a:lnTo>
                    <a:lnTo>
                      <a:pt x="39" y="53"/>
                    </a:lnTo>
                    <a:lnTo>
                      <a:pt x="19" y="83"/>
                    </a:lnTo>
                    <a:lnTo>
                      <a:pt x="19" y="83"/>
                    </a:lnTo>
                    <a:close/>
                    <a:moveTo>
                      <a:pt x="11" y="50"/>
                    </a:moveTo>
                    <a:lnTo>
                      <a:pt x="19" y="63"/>
                    </a:lnTo>
                    <a:lnTo>
                      <a:pt x="28" y="50"/>
                    </a:lnTo>
                    <a:lnTo>
                      <a:pt x="28" y="32"/>
                    </a:lnTo>
                    <a:lnTo>
                      <a:pt x="19" y="19"/>
                    </a:lnTo>
                    <a:lnTo>
                      <a:pt x="11" y="32"/>
                    </a:lnTo>
                    <a:lnTo>
                      <a:pt x="11" y="50"/>
                    </a:lnTo>
                    <a:lnTo>
                      <a:pt x="11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276">
                <a:extLst>
                  <a:ext uri="{FF2B5EF4-FFF2-40B4-BE49-F238E27FC236}">
                    <a16:creationId xmlns:a16="http://schemas.microsoft.com/office/drawing/2014/main" id="{5E38FF09-E077-E543-B3F6-FBAE4CD97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6800" y="3667125"/>
                <a:ext cx="219075" cy="347662"/>
              </a:xfrm>
              <a:custGeom>
                <a:avLst/>
                <a:gdLst>
                  <a:gd name="T0" fmla="*/ 112 w 138"/>
                  <a:gd name="T1" fmla="*/ 219 h 219"/>
                  <a:gd name="T2" fmla="*/ 0 w 138"/>
                  <a:gd name="T3" fmla="*/ 26 h 219"/>
                  <a:gd name="T4" fmla="*/ 9 w 138"/>
                  <a:gd name="T5" fmla="*/ 21 h 219"/>
                  <a:gd name="T6" fmla="*/ 112 w 138"/>
                  <a:gd name="T7" fmla="*/ 197 h 219"/>
                  <a:gd name="T8" fmla="*/ 126 w 138"/>
                  <a:gd name="T9" fmla="*/ 172 h 219"/>
                  <a:gd name="T10" fmla="*/ 28 w 138"/>
                  <a:gd name="T11" fmla="*/ 5 h 219"/>
                  <a:gd name="T12" fmla="*/ 37 w 138"/>
                  <a:gd name="T13" fmla="*/ 0 h 219"/>
                  <a:gd name="T14" fmla="*/ 138 w 138"/>
                  <a:gd name="T15" fmla="*/ 172 h 219"/>
                  <a:gd name="T16" fmla="*/ 112 w 138"/>
                  <a:gd name="T17" fmla="*/ 219 h 219"/>
                  <a:gd name="T18" fmla="*/ 112 w 138"/>
                  <a:gd name="T19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8" h="219">
                    <a:moveTo>
                      <a:pt x="112" y="219"/>
                    </a:moveTo>
                    <a:lnTo>
                      <a:pt x="0" y="26"/>
                    </a:lnTo>
                    <a:lnTo>
                      <a:pt x="9" y="21"/>
                    </a:lnTo>
                    <a:lnTo>
                      <a:pt x="112" y="197"/>
                    </a:lnTo>
                    <a:lnTo>
                      <a:pt x="126" y="172"/>
                    </a:lnTo>
                    <a:lnTo>
                      <a:pt x="28" y="5"/>
                    </a:lnTo>
                    <a:lnTo>
                      <a:pt x="37" y="0"/>
                    </a:lnTo>
                    <a:lnTo>
                      <a:pt x="138" y="172"/>
                    </a:lnTo>
                    <a:lnTo>
                      <a:pt x="112" y="219"/>
                    </a:lnTo>
                    <a:lnTo>
                      <a:pt x="112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277">
                <a:extLst>
                  <a:ext uri="{FF2B5EF4-FFF2-40B4-BE49-F238E27FC236}">
                    <a16:creationId xmlns:a16="http://schemas.microsoft.com/office/drawing/2014/main" id="{8DECB3D2-4175-D74A-9A74-BA7F90D8A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788" y="3667125"/>
                <a:ext cx="219075" cy="347662"/>
              </a:xfrm>
              <a:custGeom>
                <a:avLst/>
                <a:gdLst>
                  <a:gd name="T0" fmla="*/ 26 w 138"/>
                  <a:gd name="T1" fmla="*/ 219 h 219"/>
                  <a:gd name="T2" fmla="*/ 0 w 138"/>
                  <a:gd name="T3" fmla="*/ 172 h 219"/>
                  <a:gd name="T4" fmla="*/ 1 w 138"/>
                  <a:gd name="T5" fmla="*/ 170 h 219"/>
                  <a:gd name="T6" fmla="*/ 100 w 138"/>
                  <a:gd name="T7" fmla="*/ 0 h 219"/>
                  <a:gd name="T8" fmla="*/ 110 w 138"/>
                  <a:gd name="T9" fmla="*/ 5 h 219"/>
                  <a:gd name="T10" fmla="*/ 12 w 138"/>
                  <a:gd name="T11" fmla="*/ 172 h 219"/>
                  <a:gd name="T12" fmla="*/ 26 w 138"/>
                  <a:gd name="T13" fmla="*/ 197 h 219"/>
                  <a:gd name="T14" fmla="*/ 129 w 138"/>
                  <a:gd name="T15" fmla="*/ 21 h 219"/>
                  <a:gd name="T16" fmla="*/ 138 w 138"/>
                  <a:gd name="T17" fmla="*/ 26 h 219"/>
                  <a:gd name="T18" fmla="*/ 26 w 138"/>
                  <a:gd name="T19" fmla="*/ 219 h 219"/>
                  <a:gd name="T20" fmla="*/ 26 w 138"/>
                  <a:gd name="T21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8" h="219">
                    <a:moveTo>
                      <a:pt x="26" y="219"/>
                    </a:moveTo>
                    <a:lnTo>
                      <a:pt x="0" y="172"/>
                    </a:lnTo>
                    <a:lnTo>
                      <a:pt x="1" y="170"/>
                    </a:lnTo>
                    <a:lnTo>
                      <a:pt x="100" y="0"/>
                    </a:lnTo>
                    <a:lnTo>
                      <a:pt x="110" y="5"/>
                    </a:lnTo>
                    <a:lnTo>
                      <a:pt x="12" y="172"/>
                    </a:lnTo>
                    <a:lnTo>
                      <a:pt x="26" y="197"/>
                    </a:lnTo>
                    <a:lnTo>
                      <a:pt x="129" y="21"/>
                    </a:lnTo>
                    <a:lnTo>
                      <a:pt x="138" y="26"/>
                    </a:lnTo>
                    <a:lnTo>
                      <a:pt x="26" y="219"/>
                    </a:lnTo>
                    <a:lnTo>
                      <a:pt x="26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278">
                <a:extLst>
                  <a:ext uri="{FF2B5EF4-FFF2-40B4-BE49-F238E27FC236}">
                    <a16:creationId xmlns:a16="http://schemas.microsoft.com/office/drawing/2014/main" id="{E1AA7992-A476-9B47-A7BC-043EF792B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8538" y="3584575"/>
                <a:ext cx="128587" cy="128587"/>
              </a:xfrm>
              <a:custGeom>
                <a:avLst/>
                <a:gdLst>
                  <a:gd name="T0" fmla="*/ 113 w 226"/>
                  <a:gd name="T1" fmla="*/ 226 h 226"/>
                  <a:gd name="T2" fmla="*/ 0 w 226"/>
                  <a:gd name="T3" fmla="*/ 113 h 226"/>
                  <a:gd name="T4" fmla="*/ 113 w 226"/>
                  <a:gd name="T5" fmla="*/ 0 h 226"/>
                  <a:gd name="T6" fmla="*/ 226 w 226"/>
                  <a:gd name="T7" fmla="*/ 113 h 226"/>
                  <a:gd name="T8" fmla="*/ 113 w 226"/>
                  <a:gd name="T9" fmla="*/ 226 h 226"/>
                  <a:gd name="T10" fmla="*/ 113 w 226"/>
                  <a:gd name="T11" fmla="*/ 29 h 226"/>
                  <a:gd name="T12" fmla="*/ 29 w 226"/>
                  <a:gd name="T13" fmla="*/ 113 h 226"/>
                  <a:gd name="T14" fmla="*/ 113 w 226"/>
                  <a:gd name="T15" fmla="*/ 197 h 226"/>
                  <a:gd name="T16" fmla="*/ 197 w 226"/>
                  <a:gd name="T17" fmla="*/ 113 h 226"/>
                  <a:gd name="T18" fmla="*/ 113 w 226"/>
                  <a:gd name="T19" fmla="*/ 2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6" h="226">
                    <a:moveTo>
                      <a:pt x="113" y="226"/>
                    </a:moveTo>
                    <a:cubicBezTo>
                      <a:pt x="51" y="226"/>
                      <a:pt x="0" y="175"/>
                      <a:pt x="0" y="113"/>
                    </a:cubicBezTo>
                    <a:cubicBezTo>
                      <a:pt x="0" y="51"/>
                      <a:pt x="51" y="0"/>
                      <a:pt x="113" y="0"/>
                    </a:cubicBezTo>
                    <a:cubicBezTo>
                      <a:pt x="175" y="0"/>
                      <a:pt x="226" y="51"/>
                      <a:pt x="226" y="113"/>
                    </a:cubicBezTo>
                    <a:cubicBezTo>
                      <a:pt x="226" y="175"/>
                      <a:pt x="175" y="226"/>
                      <a:pt x="113" y="226"/>
                    </a:cubicBezTo>
                    <a:close/>
                    <a:moveTo>
                      <a:pt x="113" y="29"/>
                    </a:moveTo>
                    <a:cubicBezTo>
                      <a:pt x="67" y="29"/>
                      <a:pt x="29" y="67"/>
                      <a:pt x="29" y="113"/>
                    </a:cubicBezTo>
                    <a:cubicBezTo>
                      <a:pt x="29" y="159"/>
                      <a:pt x="67" y="197"/>
                      <a:pt x="113" y="197"/>
                    </a:cubicBezTo>
                    <a:cubicBezTo>
                      <a:pt x="159" y="197"/>
                      <a:pt x="197" y="159"/>
                      <a:pt x="197" y="113"/>
                    </a:cubicBezTo>
                    <a:cubicBezTo>
                      <a:pt x="197" y="67"/>
                      <a:pt x="159" y="29"/>
                      <a:pt x="11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279">
                <a:extLst>
                  <a:ext uri="{FF2B5EF4-FFF2-40B4-BE49-F238E27FC236}">
                    <a16:creationId xmlns:a16="http://schemas.microsoft.com/office/drawing/2014/main" id="{108EFABE-56E2-1D4A-8ECE-858FA0524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4100" y="3794125"/>
                <a:ext cx="17462" cy="101600"/>
              </a:xfrm>
              <a:custGeom>
                <a:avLst/>
                <a:gdLst>
                  <a:gd name="T0" fmla="*/ 11 w 11"/>
                  <a:gd name="T1" fmla="*/ 64 h 64"/>
                  <a:gd name="T2" fmla="*/ 0 w 11"/>
                  <a:gd name="T3" fmla="*/ 64 h 64"/>
                  <a:gd name="T4" fmla="*/ 0 w 11"/>
                  <a:gd name="T5" fmla="*/ 0 h 64"/>
                  <a:gd name="T6" fmla="*/ 11 w 11"/>
                  <a:gd name="T7" fmla="*/ 0 h 64"/>
                  <a:gd name="T8" fmla="*/ 11 w 11"/>
                  <a:gd name="T9" fmla="*/ 64 h 64"/>
                  <a:gd name="T10" fmla="*/ 11 w 11"/>
                  <a:gd name="T1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64">
                    <a:moveTo>
                      <a:pt x="11" y="64"/>
                    </a:moveTo>
                    <a:lnTo>
                      <a:pt x="0" y="64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1" y="64"/>
                    </a:lnTo>
                    <a:lnTo>
                      <a:pt x="1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" name="Freeform 280">
                <a:extLst>
                  <a:ext uri="{FF2B5EF4-FFF2-40B4-BE49-F238E27FC236}">
                    <a16:creationId xmlns:a16="http://schemas.microsoft.com/office/drawing/2014/main" id="{68F14582-7530-2E4A-9073-5EEB78F08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3600" y="3713163"/>
                <a:ext cx="396875" cy="134937"/>
              </a:xfrm>
              <a:custGeom>
                <a:avLst/>
                <a:gdLst>
                  <a:gd name="T0" fmla="*/ 347 w 694"/>
                  <a:gd name="T1" fmla="*/ 236 h 236"/>
                  <a:gd name="T2" fmla="*/ 0 w 694"/>
                  <a:gd name="T3" fmla="*/ 12 h 236"/>
                  <a:gd name="T4" fmla="*/ 27 w 694"/>
                  <a:gd name="T5" fmla="*/ 0 h 236"/>
                  <a:gd name="T6" fmla="*/ 347 w 694"/>
                  <a:gd name="T7" fmla="*/ 207 h 236"/>
                  <a:gd name="T8" fmla="*/ 668 w 694"/>
                  <a:gd name="T9" fmla="*/ 0 h 236"/>
                  <a:gd name="T10" fmla="*/ 694 w 694"/>
                  <a:gd name="T11" fmla="*/ 12 h 236"/>
                  <a:gd name="T12" fmla="*/ 347 w 694"/>
                  <a:gd name="T13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4" h="236">
                    <a:moveTo>
                      <a:pt x="347" y="236"/>
                    </a:moveTo>
                    <a:cubicBezTo>
                      <a:pt x="200" y="236"/>
                      <a:pt x="63" y="148"/>
                      <a:pt x="0" y="1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85" y="126"/>
                      <a:pt x="211" y="207"/>
                      <a:pt x="347" y="207"/>
                    </a:cubicBezTo>
                    <a:cubicBezTo>
                      <a:pt x="483" y="207"/>
                      <a:pt x="609" y="126"/>
                      <a:pt x="668" y="0"/>
                    </a:cubicBezTo>
                    <a:cubicBezTo>
                      <a:pt x="694" y="12"/>
                      <a:pt x="694" y="12"/>
                      <a:pt x="694" y="12"/>
                    </a:cubicBezTo>
                    <a:cubicBezTo>
                      <a:pt x="631" y="148"/>
                      <a:pt x="495" y="236"/>
                      <a:pt x="347" y="2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4" name="Rounded Rectangle 111">
            <a:extLst>
              <a:ext uri="{FF2B5EF4-FFF2-40B4-BE49-F238E27FC236}">
                <a16:creationId xmlns:a16="http://schemas.microsoft.com/office/drawing/2014/main" id="{B692DDC4-F867-2742-96E8-AF57C9871C32}"/>
              </a:ext>
            </a:extLst>
          </p:cNvPr>
          <p:cNvSpPr/>
          <p:nvPr userDrawn="1"/>
        </p:nvSpPr>
        <p:spPr>
          <a:xfrm>
            <a:off x="6088910" y="2662455"/>
            <a:ext cx="1681200" cy="387738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AFB696D4-727D-3A44-9AC3-76637EC4EFA5}"/>
              </a:ext>
            </a:extLst>
          </p:cNvPr>
          <p:cNvGrpSpPr/>
          <p:nvPr userDrawn="1"/>
        </p:nvGrpSpPr>
        <p:grpSpPr>
          <a:xfrm>
            <a:off x="6623994" y="2351836"/>
            <a:ext cx="649224" cy="649224"/>
            <a:chOff x="6624135" y="2216446"/>
            <a:chExt cx="649224" cy="64922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3B08669-7CAC-FF46-BA0C-2CCD28CD9940}"/>
                </a:ext>
              </a:extLst>
            </p:cNvPr>
            <p:cNvSpPr/>
            <p:nvPr/>
          </p:nvSpPr>
          <p:spPr>
            <a:xfrm>
              <a:off x="6624135" y="2216446"/>
              <a:ext cx="649224" cy="649224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37" name="Group 862">
              <a:extLst>
                <a:ext uri="{FF2B5EF4-FFF2-40B4-BE49-F238E27FC236}">
                  <a16:creationId xmlns:a16="http://schemas.microsoft.com/office/drawing/2014/main" id="{C327A563-064B-FC49-84ED-D5B974B52C0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759304" y="2335263"/>
              <a:ext cx="373962" cy="373962"/>
              <a:chOff x="9626601" y="3146426"/>
              <a:chExt cx="660400" cy="660400"/>
            </a:xfrm>
            <a:solidFill>
              <a:schemeClr val="tx1"/>
            </a:solidFill>
          </p:grpSpPr>
          <p:sp>
            <p:nvSpPr>
              <p:cNvPr id="38" name="Freeform 503">
                <a:extLst>
                  <a:ext uri="{FF2B5EF4-FFF2-40B4-BE49-F238E27FC236}">
                    <a16:creationId xmlns:a16="http://schemas.microsoft.com/office/drawing/2014/main" id="{07CFE220-B48B-E244-A9E1-B4F2C84A8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18676" y="3146426"/>
                <a:ext cx="568325" cy="568325"/>
              </a:xfrm>
              <a:custGeom>
                <a:avLst/>
                <a:gdLst>
                  <a:gd name="T0" fmla="*/ 335 w 1412"/>
                  <a:gd name="T1" fmla="*/ 1410 h 1410"/>
                  <a:gd name="T2" fmla="*/ 317 w 1412"/>
                  <a:gd name="T3" fmla="*/ 1402 h 1410"/>
                  <a:gd name="T4" fmla="*/ 10 w 1412"/>
                  <a:gd name="T5" fmla="*/ 1095 h 1410"/>
                  <a:gd name="T6" fmla="*/ 6 w 1412"/>
                  <a:gd name="T7" fmla="*/ 1063 h 1410"/>
                  <a:gd name="T8" fmla="*/ 1386 w 1412"/>
                  <a:gd name="T9" fmla="*/ 0 h 1410"/>
                  <a:gd name="T10" fmla="*/ 1412 w 1412"/>
                  <a:gd name="T11" fmla="*/ 26 h 1410"/>
                  <a:gd name="T12" fmla="*/ 349 w 1412"/>
                  <a:gd name="T13" fmla="*/ 1406 h 1410"/>
                  <a:gd name="T14" fmla="*/ 335 w 1412"/>
                  <a:gd name="T15" fmla="*/ 1410 h 1410"/>
                  <a:gd name="T16" fmla="*/ 61 w 1412"/>
                  <a:gd name="T17" fmla="*/ 1073 h 1410"/>
                  <a:gd name="T18" fmla="*/ 339 w 1412"/>
                  <a:gd name="T19" fmla="*/ 1351 h 1410"/>
                  <a:gd name="T20" fmla="*/ 1360 w 1412"/>
                  <a:gd name="T21" fmla="*/ 52 h 1410"/>
                  <a:gd name="T22" fmla="*/ 61 w 1412"/>
                  <a:gd name="T23" fmla="*/ 1073 h 1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12" h="1410">
                    <a:moveTo>
                      <a:pt x="335" y="1410"/>
                    </a:moveTo>
                    <a:cubicBezTo>
                      <a:pt x="329" y="1410"/>
                      <a:pt x="322" y="1407"/>
                      <a:pt x="317" y="1402"/>
                    </a:cubicBezTo>
                    <a:cubicBezTo>
                      <a:pt x="10" y="1095"/>
                      <a:pt x="10" y="1095"/>
                      <a:pt x="10" y="1095"/>
                    </a:cubicBezTo>
                    <a:cubicBezTo>
                      <a:pt x="1" y="1086"/>
                      <a:pt x="0" y="1073"/>
                      <a:pt x="6" y="1063"/>
                    </a:cubicBezTo>
                    <a:cubicBezTo>
                      <a:pt x="33" y="1020"/>
                      <a:pt x="663" y="0"/>
                      <a:pt x="1386" y="0"/>
                    </a:cubicBezTo>
                    <a:cubicBezTo>
                      <a:pt x="1400" y="0"/>
                      <a:pt x="1412" y="12"/>
                      <a:pt x="1412" y="26"/>
                    </a:cubicBezTo>
                    <a:cubicBezTo>
                      <a:pt x="1412" y="749"/>
                      <a:pt x="392" y="1379"/>
                      <a:pt x="349" y="1406"/>
                    </a:cubicBezTo>
                    <a:cubicBezTo>
                      <a:pt x="345" y="1408"/>
                      <a:pt x="340" y="1410"/>
                      <a:pt x="335" y="1410"/>
                    </a:cubicBezTo>
                    <a:moveTo>
                      <a:pt x="61" y="1073"/>
                    </a:moveTo>
                    <a:cubicBezTo>
                      <a:pt x="339" y="1351"/>
                      <a:pt x="339" y="1351"/>
                      <a:pt x="339" y="1351"/>
                    </a:cubicBezTo>
                    <a:cubicBezTo>
                      <a:pt x="472" y="1266"/>
                      <a:pt x="1337" y="687"/>
                      <a:pt x="1360" y="52"/>
                    </a:cubicBezTo>
                    <a:cubicBezTo>
                      <a:pt x="725" y="75"/>
                      <a:pt x="146" y="940"/>
                      <a:pt x="61" y="107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504">
                <a:extLst>
                  <a:ext uri="{FF2B5EF4-FFF2-40B4-BE49-F238E27FC236}">
                    <a16:creationId xmlns:a16="http://schemas.microsoft.com/office/drawing/2014/main" id="{5291888A-D969-F84F-85C1-DB9BCFA51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07563" y="3594101"/>
                <a:ext cx="131763" cy="130175"/>
              </a:xfrm>
              <a:custGeom>
                <a:avLst/>
                <a:gdLst>
                  <a:gd name="T0" fmla="*/ 233 w 328"/>
                  <a:gd name="T1" fmla="*/ 325 h 325"/>
                  <a:gd name="T2" fmla="*/ 215 w 328"/>
                  <a:gd name="T3" fmla="*/ 318 h 325"/>
                  <a:gd name="T4" fmla="*/ 10 w 328"/>
                  <a:gd name="T5" fmla="*/ 113 h 325"/>
                  <a:gd name="T6" fmla="*/ 10 w 328"/>
                  <a:gd name="T7" fmla="*/ 77 h 325"/>
                  <a:gd name="T8" fmla="*/ 87 w 328"/>
                  <a:gd name="T9" fmla="*/ 0 h 325"/>
                  <a:gd name="T10" fmla="*/ 123 w 328"/>
                  <a:gd name="T11" fmla="*/ 36 h 325"/>
                  <a:gd name="T12" fmla="*/ 65 w 328"/>
                  <a:gd name="T13" fmla="*/ 95 h 325"/>
                  <a:gd name="T14" fmla="*/ 233 w 328"/>
                  <a:gd name="T15" fmla="*/ 263 h 325"/>
                  <a:gd name="T16" fmla="*/ 292 w 328"/>
                  <a:gd name="T17" fmla="*/ 205 h 325"/>
                  <a:gd name="T18" fmla="*/ 328 w 328"/>
                  <a:gd name="T19" fmla="*/ 241 h 325"/>
                  <a:gd name="T20" fmla="*/ 251 w 328"/>
                  <a:gd name="T21" fmla="*/ 318 h 325"/>
                  <a:gd name="T22" fmla="*/ 233 w 328"/>
                  <a:gd name="T23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8" h="325">
                    <a:moveTo>
                      <a:pt x="233" y="325"/>
                    </a:moveTo>
                    <a:cubicBezTo>
                      <a:pt x="227" y="325"/>
                      <a:pt x="220" y="323"/>
                      <a:pt x="215" y="318"/>
                    </a:cubicBezTo>
                    <a:cubicBezTo>
                      <a:pt x="10" y="113"/>
                      <a:pt x="10" y="113"/>
                      <a:pt x="10" y="113"/>
                    </a:cubicBezTo>
                    <a:cubicBezTo>
                      <a:pt x="0" y="103"/>
                      <a:pt x="0" y="87"/>
                      <a:pt x="10" y="77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123" y="36"/>
                      <a:pt x="123" y="36"/>
                      <a:pt x="123" y="36"/>
                    </a:cubicBezTo>
                    <a:cubicBezTo>
                      <a:pt x="65" y="95"/>
                      <a:pt x="65" y="95"/>
                      <a:pt x="65" y="95"/>
                    </a:cubicBezTo>
                    <a:cubicBezTo>
                      <a:pt x="233" y="263"/>
                      <a:pt x="233" y="263"/>
                      <a:pt x="233" y="263"/>
                    </a:cubicBezTo>
                    <a:cubicBezTo>
                      <a:pt x="292" y="205"/>
                      <a:pt x="292" y="205"/>
                      <a:pt x="292" y="205"/>
                    </a:cubicBezTo>
                    <a:cubicBezTo>
                      <a:pt x="328" y="241"/>
                      <a:pt x="328" y="241"/>
                      <a:pt x="328" y="241"/>
                    </a:cubicBezTo>
                    <a:cubicBezTo>
                      <a:pt x="251" y="318"/>
                      <a:pt x="251" y="318"/>
                      <a:pt x="251" y="318"/>
                    </a:cubicBezTo>
                    <a:cubicBezTo>
                      <a:pt x="246" y="323"/>
                      <a:pt x="240" y="325"/>
                      <a:pt x="233" y="32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505">
                <a:extLst>
                  <a:ext uri="{FF2B5EF4-FFF2-40B4-BE49-F238E27FC236}">
                    <a16:creationId xmlns:a16="http://schemas.microsoft.com/office/drawing/2014/main" id="{C9F4C92E-E382-B948-970B-1ED104DDE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6601" y="3654426"/>
                <a:ext cx="150813" cy="152400"/>
              </a:xfrm>
              <a:custGeom>
                <a:avLst/>
                <a:gdLst>
                  <a:gd name="T0" fmla="*/ 25 w 377"/>
                  <a:gd name="T1" fmla="*/ 377 h 377"/>
                  <a:gd name="T2" fmla="*/ 0 w 377"/>
                  <a:gd name="T3" fmla="*/ 352 h 377"/>
                  <a:gd name="T4" fmla="*/ 161 w 377"/>
                  <a:gd name="T5" fmla="*/ 0 h 377"/>
                  <a:gd name="T6" fmla="*/ 197 w 377"/>
                  <a:gd name="T7" fmla="*/ 37 h 377"/>
                  <a:gd name="T8" fmla="*/ 53 w 377"/>
                  <a:gd name="T9" fmla="*/ 324 h 377"/>
                  <a:gd name="T10" fmla="*/ 340 w 377"/>
                  <a:gd name="T11" fmla="*/ 180 h 377"/>
                  <a:gd name="T12" fmla="*/ 377 w 377"/>
                  <a:gd name="T13" fmla="*/ 216 h 377"/>
                  <a:gd name="T14" fmla="*/ 25 w 377"/>
                  <a:gd name="T15" fmla="*/ 377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7" h="377">
                    <a:moveTo>
                      <a:pt x="25" y="377"/>
                    </a:moveTo>
                    <a:cubicBezTo>
                      <a:pt x="11" y="377"/>
                      <a:pt x="0" y="366"/>
                      <a:pt x="0" y="352"/>
                    </a:cubicBezTo>
                    <a:cubicBezTo>
                      <a:pt x="0" y="344"/>
                      <a:pt x="2" y="160"/>
                      <a:pt x="161" y="0"/>
                    </a:cubicBezTo>
                    <a:cubicBezTo>
                      <a:pt x="197" y="37"/>
                      <a:pt x="197" y="37"/>
                      <a:pt x="197" y="37"/>
                    </a:cubicBezTo>
                    <a:cubicBezTo>
                      <a:pt x="88" y="146"/>
                      <a:pt x="60" y="269"/>
                      <a:pt x="53" y="324"/>
                    </a:cubicBezTo>
                    <a:cubicBezTo>
                      <a:pt x="108" y="316"/>
                      <a:pt x="231" y="289"/>
                      <a:pt x="340" y="180"/>
                    </a:cubicBezTo>
                    <a:cubicBezTo>
                      <a:pt x="377" y="216"/>
                      <a:pt x="377" y="216"/>
                      <a:pt x="377" y="216"/>
                    </a:cubicBezTo>
                    <a:cubicBezTo>
                      <a:pt x="217" y="375"/>
                      <a:pt x="33" y="377"/>
                      <a:pt x="25" y="3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506">
                <a:extLst>
                  <a:ext uri="{FF2B5EF4-FFF2-40B4-BE49-F238E27FC236}">
                    <a16:creationId xmlns:a16="http://schemas.microsoft.com/office/drawing/2014/main" id="{3A3FD0C7-F352-A549-A6AF-347042BEAC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48876" y="3279776"/>
                <a:ext cx="104775" cy="104775"/>
              </a:xfrm>
              <a:custGeom>
                <a:avLst/>
                <a:gdLst>
                  <a:gd name="T0" fmla="*/ 128 w 257"/>
                  <a:gd name="T1" fmla="*/ 257 h 257"/>
                  <a:gd name="T2" fmla="*/ 0 w 257"/>
                  <a:gd name="T3" fmla="*/ 128 h 257"/>
                  <a:gd name="T4" fmla="*/ 128 w 257"/>
                  <a:gd name="T5" fmla="*/ 0 h 257"/>
                  <a:gd name="T6" fmla="*/ 257 w 257"/>
                  <a:gd name="T7" fmla="*/ 128 h 257"/>
                  <a:gd name="T8" fmla="*/ 128 w 257"/>
                  <a:gd name="T9" fmla="*/ 257 h 257"/>
                  <a:gd name="T10" fmla="*/ 128 w 257"/>
                  <a:gd name="T11" fmla="*/ 52 h 257"/>
                  <a:gd name="T12" fmla="*/ 52 w 257"/>
                  <a:gd name="T13" fmla="*/ 128 h 257"/>
                  <a:gd name="T14" fmla="*/ 128 w 257"/>
                  <a:gd name="T15" fmla="*/ 205 h 257"/>
                  <a:gd name="T16" fmla="*/ 205 w 257"/>
                  <a:gd name="T17" fmla="*/ 128 h 257"/>
                  <a:gd name="T18" fmla="*/ 128 w 257"/>
                  <a:gd name="T19" fmla="*/ 52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7" h="257">
                    <a:moveTo>
                      <a:pt x="128" y="257"/>
                    </a:moveTo>
                    <a:cubicBezTo>
                      <a:pt x="58" y="257"/>
                      <a:pt x="0" y="199"/>
                      <a:pt x="0" y="128"/>
                    </a:cubicBezTo>
                    <a:cubicBezTo>
                      <a:pt x="0" y="58"/>
                      <a:pt x="58" y="0"/>
                      <a:pt x="128" y="0"/>
                    </a:cubicBezTo>
                    <a:cubicBezTo>
                      <a:pt x="199" y="0"/>
                      <a:pt x="257" y="58"/>
                      <a:pt x="257" y="128"/>
                    </a:cubicBezTo>
                    <a:cubicBezTo>
                      <a:pt x="257" y="199"/>
                      <a:pt x="199" y="257"/>
                      <a:pt x="128" y="257"/>
                    </a:cubicBezTo>
                    <a:moveTo>
                      <a:pt x="128" y="52"/>
                    </a:moveTo>
                    <a:cubicBezTo>
                      <a:pt x="86" y="52"/>
                      <a:pt x="52" y="86"/>
                      <a:pt x="52" y="128"/>
                    </a:cubicBezTo>
                    <a:cubicBezTo>
                      <a:pt x="52" y="171"/>
                      <a:pt x="86" y="205"/>
                      <a:pt x="128" y="205"/>
                    </a:cubicBezTo>
                    <a:cubicBezTo>
                      <a:pt x="171" y="205"/>
                      <a:pt x="205" y="171"/>
                      <a:pt x="205" y="128"/>
                    </a:cubicBezTo>
                    <a:cubicBezTo>
                      <a:pt x="205" y="86"/>
                      <a:pt x="171" y="52"/>
                      <a:pt x="128" y="5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Freeform 507">
                <a:extLst>
                  <a:ext uri="{FF2B5EF4-FFF2-40B4-BE49-F238E27FC236}">
                    <a16:creationId xmlns:a16="http://schemas.microsoft.com/office/drawing/2014/main" id="{CC33F6DC-E52E-4D4C-B6FA-A113F9C779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6801" y="3373438"/>
                <a:ext cx="103188" cy="103188"/>
              </a:xfrm>
              <a:custGeom>
                <a:avLst/>
                <a:gdLst>
                  <a:gd name="T0" fmla="*/ 128 w 256"/>
                  <a:gd name="T1" fmla="*/ 256 h 256"/>
                  <a:gd name="T2" fmla="*/ 0 w 256"/>
                  <a:gd name="T3" fmla="*/ 128 h 256"/>
                  <a:gd name="T4" fmla="*/ 128 w 256"/>
                  <a:gd name="T5" fmla="*/ 0 h 256"/>
                  <a:gd name="T6" fmla="*/ 256 w 256"/>
                  <a:gd name="T7" fmla="*/ 128 h 256"/>
                  <a:gd name="T8" fmla="*/ 128 w 256"/>
                  <a:gd name="T9" fmla="*/ 256 h 256"/>
                  <a:gd name="T10" fmla="*/ 128 w 256"/>
                  <a:gd name="T11" fmla="*/ 51 h 256"/>
                  <a:gd name="T12" fmla="*/ 51 w 256"/>
                  <a:gd name="T13" fmla="*/ 128 h 256"/>
                  <a:gd name="T14" fmla="*/ 128 w 256"/>
                  <a:gd name="T15" fmla="*/ 205 h 256"/>
                  <a:gd name="T16" fmla="*/ 205 w 256"/>
                  <a:gd name="T17" fmla="*/ 128 h 256"/>
                  <a:gd name="T18" fmla="*/ 128 w 256"/>
                  <a:gd name="T19" fmla="*/ 5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6" h="256">
                    <a:moveTo>
                      <a:pt x="128" y="256"/>
                    </a:moveTo>
                    <a:cubicBezTo>
                      <a:pt x="57" y="256"/>
                      <a:pt x="0" y="199"/>
                      <a:pt x="0" y="128"/>
                    </a:cubicBezTo>
                    <a:cubicBezTo>
                      <a:pt x="0" y="57"/>
                      <a:pt x="57" y="0"/>
                      <a:pt x="128" y="0"/>
                    </a:cubicBezTo>
                    <a:cubicBezTo>
                      <a:pt x="198" y="0"/>
                      <a:pt x="256" y="57"/>
                      <a:pt x="256" y="128"/>
                    </a:cubicBezTo>
                    <a:cubicBezTo>
                      <a:pt x="256" y="199"/>
                      <a:pt x="198" y="256"/>
                      <a:pt x="128" y="256"/>
                    </a:cubicBezTo>
                    <a:moveTo>
                      <a:pt x="128" y="51"/>
                    </a:moveTo>
                    <a:cubicBezTo>
                      <a:pt x="85" y="51"/>
                      <a:pt x="51" y="86"/>
                      <a:pt x="51" y="128"/>
                    </a:cubicBezTo>
                    <a:cubicBezTo>
                      <a:pt x="51" y="170"/>
                      <a:pt x="85" y="205"/>
                      <a:pt x="128" y="205"/>
                    </a:cubicBezTo>
                    <a:cubicBezTo>
                      <a:pt x="170" y="205"/>
                      <a:pt x="205" y="170"/>
                      <a:pt x="205" y="128"/>
                    </a:cubicBezTo>
                    <a:cubicBezTo>
                      <a:pt x="205" y="86"/>
                      <a:pt x="170" y="51"/>
                      <a:pt x="128" y="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3" name="Freeform 508">
                <a:extLst>
                  <a:ext uri="{FF2B5EF4-FFF2-40B4-BE49-F238E27FC236}">
                    <a16:creationId xmlns:a16="http://schemas.microsoft.com/office/drawing/2014/main" id="{A05E9822-C404-ED4B-B9E0-41C479B149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63138" y="3467101"/>
                <a:ext cx="103188" cy="103188"/>
              </a:xfrm>
              <a:custGeom>
                <a:avLst/>
                <a:gdLst>
                  <a:gd name="T0" fmla="*/ 128 w 256"/>
                  <a:gd name="T1" fmla="*/ 256 h 256"/>
                  <a:gd name="T2" fmla="*/ 0 w 256"/>
                  <a:gd name="T3" fmla="*/ 128 h 256"/>
                  <a:gd name="T4" fmla="*/ 128 w 256"/>
                  <a:gd name="T5" fmla="*/ 0 h 256"/>
                  <a:gd name="T6" fmla="*/ 256 w 256"/>
                  <a:gd name="T7" fmla="*/ 128 h 256"/>
                  <a:gd name="T8" fmla="*/ 128 w 256"/>
                  <a:gd name="T9" fmla="*/ 256 h 256"/>
                  <a:gd name="T10" fmla="*/ 128 w 256"/>
                  <a:gd name="T11" fmla="*/ 51 h 256"/>
                  <a:gd name="T12" fmla="*/ 51 w 256"/>
                  <a:gd name="T13" fmla="*/ 128 h 256"/>
                  <a:gd name="T14" fmla="*/ 128 w 256"/>
                  <a:gd name="T15" fmla="*/ 205 h 256"/>
                  <a:gd name="T16" fmla="*/ 205 w 256"/>
                  <a:gd name="T17" fmla="*/ 128 h 256"/>
                  <a:gd name="T18" fmla="*/ 128 w 256"/>
                  <a:gd name="T19" fmla="*/ 5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6" h="256">
                    <a:moveTo>
                      <a:pt x="128" y="256"/>
                    </a:moveTo>
                    <a:cubicBezTo>
                      <a:pt x="58" y="256"/>
                      <a:pt x="0" y="198"/>
                      <a:pt x="0" y="128"/>
                    </a:cubicBezTo>
                    <a:cubicBezTo>
                      <a:pt x="0" y="57"/>
                      <a:pt x="58" y="0"/>
                      <a:pt x="128" y="0"/>
                    </a:cubicBezTo>
                    <a:cubicBezTo>
                      <a:pt x="199" y="0"/>
                      <a:pt x="256" y="57"/>
                      <a:pt x="256" y="128"/>
                    </a:cubicBezTo>
                    <a:cubicBezTo>
                      <a:pt x="256" y="198"/>
                      <a:pt x="199" y="256"/>
                      <a:pt x="128" y="256"/>
                    </a:cubicBezTo>
                    <a:moveTo>
                      <a:pt x="128" y="51"/>
                    </a:moveTo>
                    <a:cubicBezTo>
                      <a:pt x="86" y="51"/>
                      <a:pt x="51" y="85"/>
                      <a:pt x="51" y="128"/>
                    </a:cubicBezTo>
                    <a:cubicBezTo>
                      <a:pt x="51" y="170"/>
                      <a:pt x="86" y="205"/>
                      <a:pt x="128" y="205"/>
                    </a:cubicBezTo>
                    <a:cubicBezTo>
                      <a:pt x="171" y="205"/>
                      <a:pt x="205" y="170"/>
                      <a:pt x="205" y="128"/>
                    </a:cubicBezTo>
                    <a:cubicBezTo>
                      <a:pt x="205" y="85"/>
                      <a:pt x="171" y="51"/>
                      <a:pt x="128" y="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Freeform 509">
                <a:extLst>
                  <a:ext uri="{FF2B5EF4-FFF2-40B4-BE49-F238E27FC236}">
                    <a16:creationId xmlns:a16="http://schemas.microsoft.com/office/drawing/2014/main" id="{F72E1D8F-66EE-CE46-B438-49A2EC694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4888" y="3400426"/>
                <a:ext cx="298450" cy="406400"/>
              </a:xfrm>
              <a:custGeom>
                <a:avLst/>
                <a:gdLst>
                  <a:gd name="T0" fmla="*/ 282 w 741"/>
                  <a:gd name="T1" fmla="*/ 1010 h 1010"/>
                  <a:gd name="T2" fmla="*/ 26 w 741"/>
                  <a:gd name="T3" fmla="*/ 1010 h 1010"/>
                  <a:gd name="T4" fmla="*/ 0 w 741"/>
                  <a:gd name="T5" fmla="*/ 985 h 1010"/>
                  <a:gd name="T6" fmla="*/ 0 w 741"/>
                  <a:gd name="T7" fmla="*/ 780 h 1010"/>
                  <a:gd name="T8" fmla="*/ 51 w 741"/>
                  <a:gd name="T9" fmla="*/ 780 h 1010"/>
                  <a:gd name="T10" fmla="*/ 51 w 741"/>
                  <a:gd name="T11" fmla="*/ 959 h 1010"/>
                  <a:gd name="T12" fmla="*/ 265 w 741"/>
                  <a:gd name="T13" fmla="*/ 959 h 1010"/>
                  <a:gd name="T14" fmla="*/ 694 w 741"/>
                  <a:gd name="T15" fmla="*/ 0 h 1010"/>
                  <a:gd name="T16" fmla="*/ 741 w 741"/>
                  <a:gd name="T17" fmla="*/ 21 h 1010"/>
                  <a:gd name="T18" fmla="*/ 305 w 741"/>
                  <a:gd name="T19" fmla="*/ 995 h 1010"/>
                  <a:gd name="T20" fmla="*/ 282 w 741"/>
                  <a:gd name="T21" fmla="*/ 1010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1" h="1010">
                    <a:moveTo>
                      <a:pt x="282" y="1010"/>
                    </a:moveTo>
                    <a:cubicBezTo>
                      <a:pt x="26" y="1010"/>
                      <a:pt x="26" y="1010"/>
                      <a:pt x="26" y="1010"/>
                    </a:cubicBezTo>
                    <a:cubicBezTo>
                      <a:pt x="12" y="1010"/>
                      <a:pt x="0" y="999"/>
                      <a:pt x="0" y="985"/>
                    </a:cubicBezTo>
                    <a:cubicBezTo>
                      <a:pt x="0" y="780"/>
                      <a:pt x="0" y="780"/>
                      <a:pt x="0" y="780"/>
                    </a:cubicBezTo>
                    <a:cubicBezTo>
                      <a:pt x="51" y="780"/>
                      <a:pt x="51" y="780"/>
                      <a:pt x="51" y="780"/>
                    </a:cubicBezTo>
                    <a:cubicBezTo>
                      <a:pt x="51" y="959"/>
                      <a:pt x="51" y="959"/>
                      <a:pt x="51" y="959"/>
                    </a:cubicBezTo>
                    <a:cubicBezTo>
                      <a:pt x="265" y="959"/>
                      <a:pt x="265" y="959"/>
                      <a:pt x="265" y="959"/>
                    </a:cubicBezTo>
                    <a:cubicBezTo>
                      <a:pt x="694" y="0"/>
                      <a:pt x="694" y="0"/>
                      <a:pt x="694" y="0"/>
                    </a:cubicBezTo>
                    <a:cubicBezTo>
                      <a:pt x="741" y="21"/>
                      <a:pt x="741" y="21"/>
                      <a:pt x="741" y="21"/>
                    </a:cubicBezTo>
                    <a:cubicBezTo>
                      <a:pt x="305" y="995"/>
                      <a:pt x="305" y="995"/>
                      <a:pt x="305" y="995"/>
                    </a:cubicBezTo>
                    <a:cubicBezTo>
                      <a:pt x="301" y="1004"/>
                      <a:pt x="292" y="1010"/>
                      <a:pt x="282" y="101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Freeform 510">
                <a:extLst>
                  <a:ext uri="{FF2B5EF4-FFF2-40B4-BE49-F238E27FC236}">
                    <a16:creationId xmlns:a16="http://schemas.microsoft.com/office/drawing/2014/main" id="{4543C525-01F4-4E40-8012-E0F90DB09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6601" y="3240088"/>
                <a:ext cx="406400" cy="298450"/>
              </a:xfrm>
              <a:custGeom>
                <a:avLst/>
                <a:gdLst>
                  <a:gd name="T0" fmla="*/ 230 w 1009"/>
                  <a:gd name="T1" fmla="*/ 741 h 741"/>
                  <a:gd name="T2" fmla="*/ 25 w 1009"/>
                  <a:gd name="T3" fmla="*/ 741 h 741"/>
                  <a:gd name="T4" fmla="*/ 0 w 1009"/>
                  <a:gd name="T5" fmla="*/ 715 h 741"/>
                  <a:gd name="T6" fmla="*/ 0 w 1009"/>
                  <a:gd name="T7" fmla="*/ 459 h 741"/>
                  <a:gd name="T8" fmla="*/ 15 w 1009"/>
                  <a:gd name="T9" fmla="*/ 436 h 741"/>
                  <a:gd name="T10" fmla="*/ 989 w 1009"/>
                  <a:gd name="T11" fmla="*/ 0 h 741"/>
                  <a:gd name="T12" fmla="*/ 1009 w 1009"/>
                  <a:gd name="T13" fmla="*/ 47 h 741"/>
                  <a:gd name="T14" fmla="*/ 51 w 1009"/>
                  <a:gd name="T15" fmla="*/ 476 h 741"/>
                  <a:gd name="T16" fmla="*/ 51 w 1009"/>
                  <a:gd name="T17" fmla="*/ 690 h 741"/>
                  <a:gd name="T18" fmla="*/ 230 w 1009"/>
                  <a:gd name="T19" fmla="*/ 690 h 741"/>
                  <a:gd name="T20" fmla="*/ 230 w 1009"/>
                  <a:gd name="T21" fmla="*/ 741 h 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09" h="741">
                    <a:moveTo>
                      <a:pt x="230" y="741"/>
                    </a:moveTo>
                    <a:cubicBezTo>
                      <a:pt x="25" y="741"/>
                      <a:pt x="25" y="741"/>
                      <a:pt x="25" y="741"/>
                    </a:cubicBezTo>
                    <a:cubicBezTo>
                      <a:pt x="11" y="741"/>
                      <a:pt x="0" y="729"/>
                      <a:pt x="0" y="715"/>
                    </a:cubicBezTo>
                    <a:cubicBezTo>
                      <a:pt x="0" y="459"/>
                      <a:pt x="0" y="459"/>
                      <a:pt x="0" y="459"/>
                    </a:cubicBezTo>
                    <a:cubicBezTo>
                      <a:pt x="0" y="449"/>
                      <a:pt x="6" y="440"/>
                      <a:pt x="15" y="436"/>
                    </a:cubicBezTo>
                    <a:cubicBezTo>
                      <a:pt x="989" y="0"/>
                      <a:pt x="989" y="0"/>
                      <a:pt x="989" y="0"/>
                    </a:cubicBezTo>
                    <a:cubicBezTo>
                      <a:pt x="1009" y="47"/>
                      <a:pt x="1009" y="47"/>
                      <a:pt x="1009" y="47"/>
                    </a:cubicBezTo>
                    <a:cubicBezTo>
                      <a:pt x="51" y="476"/>
                      <a:pt x="51" y="476"/>
                      <a:pt x="51" y="476"/>
                    </a:cubicBezTo>
                    <a:cubicBezTo>
                      <a:pt x="51" y="690"/>
                      <a:pt x="51" y="690"/>
                      <a:pt x="51" y="690"/>
                    </a:cubicBezTo>
                    <a:cubicBezTo>
                      <a:pt x="230" y="690"/>
                      <a:pt x="230" y="690"/>
                      <a:pt x="230" y="690"/>
                    </a:cubicBezTo>
                    <a:lnTo>
                      <a:pt x="230" y="7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6" name="Freeform 511">
                <a:extLst>
                  <a:ext uri="{FF2B5EF4-FFF2-40B4-BE49-F238E27FC236}">
                    <a16:creationId xmlns:a16="http://schemas.microsoft.com/office/drawing/2014/main" id="{B659B012-66C8-0C4F-BE37-04D91B03F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3176" y="3176588"/>
                <a:ext cx="92075" cy="93663"/>
              </a:xfrm>
              <a:custGeom>
                <a:avLst/>
                <a:gdLst>
                  <a:gd name="T0" fmla="*/ 231 w 231"/>
                  <a:gd name="T1" fmla="*/ 231 h 231"/>
                  <a:gd name="T2" fmla="*/ 0 w 231"/>
                  <a:gd name="T3" fmla="*/ 0 h 231"/>
                  <a:gd name="T4" fmla="*/ 51 w 231"/>
                  <a:gd name="T5" fmla="*/ 0 h 231"/>
                  <a:gd name="T6" fmla="*/ 231 w 231"/>
                  <a:gd name="T7" fmla="*/ 179 h 231"/>
                  <a:gd name="T8" fmla="*/ 231 w 231"/>
                  <a:gd name="T9" fmla="*/ 231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1" h="231">
                    <a:moveTo>
                      <a:pt x="231" y="231"/>
                    </a:moveTo>
                    <a:cubicBezTo>
                      <a:pt x="104" y="231"/>
                      <a:pt x="0" y="127"/>
                      <a:pt x="0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99"/>
                      <a:pt x="132" y="179"/>
                      <a:pt x="231" y="179"/>
                    </a:cubicBezTo>
                    <a:lnTo>
                      <a:pt x="231" y="2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4437C538-42AB-564E-89D3-FA0349F76F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16" y="4628213"/>
            <a:ext cx="1686016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3C4BB994-0D03-A74A-BCF7-BBA5841425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016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26B24131-A2C1-6046-BEF2-9249F6C839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73016" y="3613386"/>
            <a:ext cx="1686016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B46B17C0-C88C-1944-988C-D70A61FE2F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411648" y="4628213"/>
            <a:ext cx="1686016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21372E99-1988-CD4B-8F51-818EA37C6FD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11648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BFBAADBF-378B-E144-B964-6E45D677187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11648" y="3613386"/>
            <a:ext cx="1686016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BD25FEEF-D6C0-6C42-80A7-4F1F0E907C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50279" y="4628213"/>
            <a:ext cx="1686016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05DDCEA2-856D-2046-8387-47AF55E8A6C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50279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22281BF4-FAE4-F745-B5CD-3C992D3965F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50279" y="3613386"/>
            <a:ext cx="1686016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CC389126-167D-C949-8CD6-5690BFD3016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03136" y="4628213"/>
            <a:ext cx="1666974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989C8A2C-4FDF-E94D-97C6-8C5F79EF63E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03136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86397E9E-A570-1547-9098-CD87263291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03136" y="3613386"/>
            <a:ext cx="1666974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9" name="Rounded Rectangle 111">
            <a:extLst>
              <a:ext uri="{FF2B5EF4-FFF2-40B4-BE49-F238E27FC236}">
                <a16:creationId xmlns:a16="http://schemas.microsoft.com/office/drawing/2014/main" id="{84A4A710-E02C-B642-9176-A940DF4298BA}"/>
              </a:ext>
            </a:extLst>
          </p:cNvPr>
          <p:cNvSpPr/>
          <p:nvPr userDrawn="1"/>
        </p:nvSpPr>
        <p:spPr>
          <a:xfrm>
            <a:off x="7922725" y="2662455"/>
            <a:ext cx="1681200" cy="388051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5B285E74-3CD0-F841-BD55-FB87972B19CF}"/>
              </a:ext>
            </a:extLst>
          </p:cNvPr>
          <p:cNvGrpSpPr/>
          <p:nvPr userDrawn="1"/>
        </p:nvGrpSpPr>
        <p:grpSpPr>
          <a:xfrm>
            <a:off x="8442999" y="2342462"/>
            <a:ext cx="649224" cy="649224"/>
            <a:chOff x="8438845" y="2168605"/>
            <a:chExt cx="649224" cy="649224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50810C88-290E-9B45-AD8F-586CB123B91E}"/>
                </a:ext>
              </a:extLst>
            </p:cNvPr>
            <p:cNvSpPr/>
            <p:nvPr/>
          </p:nvSpPr>
          <p:spPr>
            <a:xfrm>
              <a:off x="8438845" y="2168605"/>
              <a:ext cx="649224" cy="649224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2" name="Group 573">
              <a:extLst>
                <a:ext uri="{FF2B5EF4-FFF2-40B4-BE49-F238E27FC236}">
                  <a16:creationId xmlns:a16="http://schemas.microsoft.com/office/drawing/2014/main" id="{EF03719B-79FE-3247-80F8-D49EE991108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54477" y="2303130"/>
              <a:ext cx="354650" cy="352545"/>
              <a:chOff x="334963" y="2722563"/>
              <a:chExt cx="534988" cy="531813"/>
            </a:xfrm>
            <a:solidFill>
              <a:schemeClr val="tx1"/>
            </a:solidFill>
          </p:grpSpPr>
          <p:sp>
            <p:nvSpPr>
              <p:cNvPr id="93" name="Freeform 170">
                <a:extLst>
                  <a:ext uri="{FF2B5EF4-FFF2-40B4-BE49-F238E27FC236}">
                    <a16:creationId xmlns:a16="http://schemas.microsoft.com/office/drawing/2014/main" id="{CC6D6E76-CE14-2940-BDD7-E1532AD0B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26" y="2852738"/>
                <a:ext cx="15875" cy="179388"/>
              </a:xfrm>
              <a:custGeom>
                <a:avLst/>
                <a:gdLst>
                  <a:gd name="T0" fmla="*/ 10 w 10"/>
                  <a:gd name="T1" fmla="*/ 113 h 113"/>
                  <a:gd name="T2" fmla="*/ 0 w 10"/>
                  <a:gd name="T3" fmla="*/ 113 h 113"/>
                  <a:gd name="T4" fmla="*/ 0 w 10"/>
                  <a:gd name="T5" fmla="*/ 0 h 113"/>
                  <a:gd name="T6" fmla="*/ 10 w 10"/>
                  <a:gd name="T7" fmla="*/ 0 h 113"/>
                  <a:gd name="T8" fmla="*/ 10 w 10"/>
                  <a:gd name="T9" fmla="*/ 113 h 113"/>
                  <a:gd name="T10" fmla="*/ 10 w 10"/>
                  <a:gd name="T11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13">
                    <a:moveTo>
                      <a:pt x="10" y="113"/>
                    </a:moveTo>
                    <a:lnTo>
                      <a:pt x="0" y="113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113"/>
                    </a:lnTo>
                    <a:lnTo>
                      <a:pt x="10" y="1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Freeform 171">
                <a:extLst>
                  <a:ext uri="{FF2B5EF4-FFF2-40B4-BE49-F238E27FC236}">
                    <a16:creationId xmlns:a16="http://schemas.microsoft.com/office/drawing/2014/main" id="{A2AFE2DD-A591-A34F-9A4C-3B05718CF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376" y="2852738"/>
                <a:ext cx="17463" cy="179388"/>
              </a:xfrm>
              <a:custGeom>
                <a:avLst/>
                <a:gdLst>
                  <a:gd name="T0" fmla="*/ 11 w 11"/>
                  <a:gd name="T1" fmla="*/ 113 h 113"/>
                  <a:gd name="T2" fmla="*/ 0 w 11"/>
                  <a:gd name="T3" fmla="*/ 113 h 113"/>
                  <a:gd name="T4" fmla="*/ 0 w 11"/>
                  <a:gd name="T5" fmla="*/ 0 h 113"/>
                  <a:gd name="T6" fmla="*/ 11 w 11"/>
                  <a:gd name="T7" fmla="*/ 0 h 113"/>
                  <a:gd name="T8" fmla="*/ 11 w 11"/>
                  <a:gd name="T9" fmla="*/ 113 h 113"/>
                  <a:gd name="T10" fmla="*/ 11 w 11"/>
                  <a:gd name="T11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13">
                    <a:moveTo>
                      <a:pt x="11" y="113"/>
                    </a:moveTo>
                    <a:lnTo>
                      <a:pt x="0" y="113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1" y="113"/>
                    </a:lnTo>
                    <a:lnTo>
                      <a:pt x="11" y="1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Freeform 172">
                <a:extLst>
                  <a:ext uri="{FF2B5EF4-FFF2-40B4-BE49-F238E27FC236}">
                    <a16:creationId xmlns:a16="http://schemas.microsoft.com/office/drawing/2014/main" id="{05C1CA59-83F6-2141-A282-C46BEB8B3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151" y="3021013"/>
                <a:ext cx="119063" cy="233363"/>
              </a:xfrm>
              <a:custGeom>
                <a:avLst/>
                <a:gdLst>
                  <a:gd name="T0" fmla="*/ 75 w 75"/>
                  <a:gd name="T1" fmla="*/ 147 h 147"/>
                  <a:gd name="T2" fmla="*/ 0 w 75"/>
                  <a:gd name="T3" fmla="*/ 147 h 147"/>
                  <a:gd name="T4" fmla="*/ 0 w 75"/>
                  <a:gd name="T5" fmla="*/ 133 h 147"/>
                  <a:gd name="T6" fmla="*/ 7 w 75"/>
                  <a:gd name="T7" fmla="*/ 119 h 147"/>
                  <a:gd name="T8" fmla="*/ 7 w 75"/>
                  <a:gd name="T9" fmla="*/ 27 h 147"/>
                  <a:gd name="T10" fmla="*/ 14 w 75"/>
                  <a:gd name="T11" fmla="*/ 6 h 147"/>
                  <a:gd name="T12" fmla="*/ 14 w 75"/>
                  <a:gd name="T13" fmla="*/ 0 h 147"/>
                  <a:gd name="T14" fmla="*/ 25 w 75"/>
                  <a:gd name="T15" fmla="*/ 0 h 147"/>
                  <a:gd name="T16" fmla="*/ 25 w 75"/>
                  <a:gd name="T17" fmla="*/ 9 h 147"/>
                  <a:gd name="T18" fmla="*/ 18 w 75"/>
                  <a:gd name="T19" fmla="*/ 29 h 147"/>
                  <a:gd name="T20" fmla="*/ 18 w 75"/>
                  <a:gd name="T21" fmla="*/ 122 h 147"/>
                  <a:gd name="T22" fmla="*/ 11 w 75"/>
                  <a:gd name="T23" fmla="*/ 136 h 147"/>
                  <a:gd name="T24" fmla="*/ 64 w 75"/>
                  <a:gd name="T25" fmla="*/ 136 h 147"/>
                  <a:gd name="T26" fmla="*/ 64 w 75"/>
                  <a:gd name="T27" fmla="*/ 136 h 147"/>
                  <a:gd name="T28" fmla="*/ 57 w 75"/>
                  <a:gd name="T29" fmla="*/ 122 h 147"/>
                  <a:gd name="T30" fmla="*/ 57 w 75"/>
                  <a:gd name="T31" fmla="*/ 29 h 147"/>
                  <a:gd name="T32" fmla="*/ 51 w 75"/>
                  <a:gd name="T33" fmla="*/ 13 h 147"/>
                  <a:gd name="T34" fmla="*/ 34 w 75"/>
                  <a:gd name="T35" fmla="*/ 13 h 147"/>
                  <a:gd name="T36" fmla="*/ 34 w 75"/>
                  <a:gd name="T37" fmla="*/ 2 h 147"/>
                  <a:gd name="T38" fmla="*/ 59 w 75"/>
                  <a:gd name="T39" fmla="*/ 2 h 147"/>
                  <a:gd name="T40" fmla="*/ 67 w 75"/>
                  <a:gd name="T41" fmla="*/ 28 h 147"/>
                  <a:gd name="T42" fmla="*/ 67 w 75"/>
                  <a:gd name="T43" fmla="*/ 119 h 147"/>
                  <a:gd name="T44" fmla="*/ 75 w 75"/>
                  <a:gd name="T45" fmla="*/ 133 h 147"/>
                  <a:gd name="T46" fmla="*/ 75 w 75"/>
                  <a:gd name="T47" fmla="*/ 147 h 147"/>
                  <a:gd name="T48" fmla="*/ 75 w 75"/>
                  <a:gd name="T49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5" h="147">
                    <a:moveTo>
                      <a:pt x="75" y="147"/>
                    </a:moveTo>
                    <a:lnTo>
                      <a:pt x="0" y="147"/>
                    </a:lnTo>
                    <a:lnTo>
                      <a:pt x="0" y="133"/>
                    </a:lnTo>
                    <a:lnTo>
                      <a:pt x="7" y="119"/>
                    </a:lnTo>
                    <a:lnTo>
                      <a:pt x="7" y="27"/>
                    </a:lnTo>
                    <a:lnTo>
                      <a:pt x="14" y="6"/>
                    </a:lnTo>
                    <a:lnTo>
                      <a:pt x="14" y="0"/>
                    </a:lnTo>
                    <a:lnTo>
                      <a:pt x="25" y="0"/>
                    </a:lnTo>
                    <a:lnTo>
                      <a:pt x="25" y="9"/>
                    </a:lnTo>
                    <a:lnTo>
                      <a:pt x="18" y="29"/>
                    </a:lnTo>
                    <a:lnTo>
                      <a:pt x="18" y="122"/>
                    </a:lnTo>
                    <a:lnTo>
                      <a:pt x="11" y="136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57" y="122"/>
                    </a:lnTo>
                    <a:lnTo>
                      <a:pt x="57" y="29"/>
                    </a:lnTo>
                    <a:lnTo>
                      <a:pt x="51" y="13"/>
                    </a:lnTo>
                    <a:lnTo>
                      <a:pt x="34" y="13"/>
                    </a:lnTo>
                    <a:lnTo>
                      <a:pt x="34" y="2"/>
                    </a:lnTo>
                    <a:lnTo>
                      <a:pt x="59" y="2"/>
                    </a:lnTo>
                    <a:lnTo>
                      <a:pt x="67" y="28"/>
                    </a:lnTo>
                    <a:lnTo>
                      <a:pt x="67" y="119"/>
                    </a:lnTo>
                    <a:lnTo>
                      <a:pt x="75" y="133"/>
                    </a:lnTo>
                    <a:lnTo>
                      <a:pt x="75" y="147"/>
                    </a:lnTo>
                    <a:lnTo>
                      <a:pt x="75" y="1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6" name="Freeform 173">
                <a:extLst>
                  <a:ext uri="{FF2B5EF4-FFF2-40B4-BE49-F238E27FC236}">
                    <a16:creationId xmlns:a16="http://schemas.microsoft.com/office/drawing/2014/main" id="{E3641852-E71B-104C-8AC2-A3EF357558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963" y="2732088"/>
                <a:ext cx="300038" cy="128588"/>
              </a:xfrm>
              <a:custGeom>
                <a:avLst/>
                <a:gdLst>
                  <a:gd name="T0" fmla="*/ 347 w 524"/>
                  <a:gd name="T1" fmla="*/ 225 h 225"/>
                  <a:gd name="T2" fmla="*/ 222 w 524"/>
                  <a:gd name="T3" fmla="*/ 225 h 225"/>
                  <a:gd name="T4" fmla="*/ 220 w 524"/>
                  <a:gd name="T5" fmla="*/ 213 h 225"/>
                  <a:gd name="T6" fmla="*/ 176 w 524"/>
                  <a:gd name="T7" fmla="*/ 147 h 225"/>
                  <a:gd name="T8" fmla="*/ 72 w 524"/>
                  <a:gd name="T9" fmla="*/ 179 h 225"/>
                  <a:gd name="T10" fmla="*/ 58 w 524"/>
                  <a:gd name="T11" fmla="*/ 191 h 225"/>
                  <a:gd name="T12" fmla="*/ 48 w 524"/>
                  <a:gd name="T13" fmla="*/ 182 h 225"/>
                  <a:gd name="T14" fmla="*/ 7 w 524"/>
                  <a:gd name="T15" fmla="*/ 141 h 225"/>
                  <a:gd name="T16" fmla="*/ 0 w 524"/>
                  <a:gd name="T17" fmla="*/ 132 h 225"/>
                  <a:gd name="T18" fmla="*/ 7 w 524"/>
                  <a:gd name="T19" fmla="*/ 123 h 225"/>
                  <a:gd name="T20" fmla="*/ 215 w 524"/>
                  <a:gd name="T21" fmla="*/ 0 h 225"/>
                  <a:gd name="T22" fmla="*/ 313 w 524"/>
                  <a:gd name="T23" fmla="*/ 0 h 225"/>
                  <a:gd name="T24" fmla="*/ 363 w 524"/>
                  <a:gd name="T25" fmla="*/ 23 h 225"/>
                  <a:gd name="T26" fmla="*/ 392 w 524"/>
                  <a:gd name="T27" fmla="*/ 39 h 225"/>
                  <a:gd name="T28" fmla="*/ 422 w 524"/>
                  <a:gd name="T29" fmla="*/ 23 h 225"/>
                  <a:gd name="T30" fmla="*/ 470 w 524"/>
                  <a:gd name="T31" fmla="*/ 0 h 225"/>
                  <a:gd name="T32" fmla="*/ 524 w 524"/>
                  <a:gd name="T33" fmla="*/ 0 h 225"/>
                  <a:gd name="T34" fmla="*/ 524 w 524"/>
                  <a:gd name="T35" fmla="*/ 186 h 225"/>
                  <a:gd name="T36" fmla="*/ 451 w 524"/>
                  <a:gd name="T37" fmla="*/ 186 h 225"/>
                  <a:gd name="T38" fmla="*/ 422 w 524"/>
                  <a:gd name="T39" fmla="*/ 168 h 225"/>
                  <a:gd name="T40" fmla="*/ 392 w 524"/>
                  <a:gd name="T41" fmla="*/ 147 h 225"/>
                  <a:gd name="T42" fmla="*/ 347 w 524"/>
                  <a:gd name="T43" fmla="*/ 211 h 225"/>
                  <a:gd name="T44" fmla="*/ 347 w 524"/>
                  <a:gd name="T45" fmla="*/ 225 h 225"/>
                  <a:gd name="T46" fmla="*/ 247 w 524"/>
                  <a:gd name="T47" fmla="*/ 196 h 225"/>
                  <a:gd name="T48" fmla="*/ 319 w 524"/>
                  <a:gd name="T49" fmla="*/ 196 h 225"/>
                  <a:gd name="T50" fmla="*/ 392 w 524"/>
                  <a:gd name="T51" fmla="*/ 118 h 225"/>
                  <a:gd name="T52" fmla="*/ 444 w 524"/>
                  <a:gd name="T53" fmla="*/ 148 h 225"/>
                  <a:gd name="T54" fmla="*/ 453 w 524"/>
                  <a:gd name="T55" fmla="*/ 157 h 225"/>
                  <a:gd name="T56" fmla="*/ 495 w 524"/>
                  <a:gd name="T57" fmla="*/ 157 h 225"/>
                  <a:gd name="T58" fmla="*/ 495 w 524"/>
                  <a:gd name="T59" fmla="*/ 29 h 225"/>
                  <a:gd name="T60" fmla="*/ 470 w 524"/>
                  <a:gd name="T61" fmla="*/ 29 h 225"/>
                  <a:gd name="T62" fmla="*/ 441 w 524"/>
                  <a:gd name="T63" fmla="*/ 45 h 225"/>
                  <a:gd name="T64" fmla="*/ 392 w 524"/>
                  <a:gd name="T65" fmla="*/ 68 h 225"/>
                  <a:gd name="T66" fmla="*/ 345 w 524"/>
                  <a:gd name="T67" fmla="*/ 46 h 225"/>
                  <a:gd name="T68" fmla="*/ 313 w 524"/>
                  <a:gd name="T69" fmla="*/ 29 h 225"/>
                  <a:gd name="T70" fmla="*/ 215 w 524"/>
                  <a:gd name="T71" fmla="*/ 29 h 225"/>
                  <a:gd name="T72" fmla="*/ 38 w 524"/>
                  <a:gd name="T73" fmla="*/ 132 h 225"/>
                  <a:gd name="T74" fmla="*/ 58 w 524"/>
                  <a:gd name="T75" fmla="*/ 151 h 225"/>
                  <a:gd name="T76" fmla="*/ 176 w 524"/>
                  <a:gd name="T77" fmla="*/ 118 h 225"/>
                  <a:gd name="T78" fmla="*/ 247 w 524"/>
                  <a:gd name="T79" fmla="*/ 196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24" h="225">
                    <a:moveTo>
                      <a:pt x="347" y="225"/>
                    </a:moveTo>
                    <a:cubicBezTo>
                      <a:pt x="222" y="225"/>
                      <a:pt x="222" y="225"/>
                      <a:pt x="222" y="225"/>
                    </a:cubicBezTo>
                    <a:cubicBezTo>
                      <a:pt x="220" y="213"/>
                      <a:pt x="220" y="213"/>
                      <a:pt x="220" y="213"/>
                    </a:cubicBezTo>
                    <a:cubicBezTo>
                      <a:pt x="220" y="212"/>
                      <a:pt x="211" y="147"/>
                      <a:pt x="176" y="147"/>
                    </a:cubicBezTo>
                    <a:cubicBezTo>
                      <a:pt x="105" y="147"/>
                      <a:pt x="95" y="156"/>
                      <a:pt x="72" y="179"/>
                    </a:cubicBezTo>
                    <a:cubicBezTo>
                      <a:pt x="58" y="191"/>
                      <a:pt x="58" y="191"/>
                      <a:pt x="58" y="191"/>
                    </a:cubicBezTo>
                    <a:cubicBezTo>
                      <a:pt x="48" y="182"/>
                      <a:pt x="48" y="182"/>
                      <a:pt x="48" y="182"/>
                    </a:cubicBezTo>
                    <a:cubicBezTo>
                      <a:pt x="47" y="181"/>
                      <a:pt x="20" y="158"/>
                      <a:pt x="7" y="141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7" y="123"/>
                      <a:pt x="7" y="123"/>
                      <a:pt x="7" y="123"/>
                    </a:cubicBezTo>
                    <a:cubicBezTo>
                      <a:pt x="72" y="45"/>
                      <a:pt x="127" y="0"/>
                      <a:pt x="215" y="0"/>
                    </a:cubicBezTo>
                    <a:cubicBezTo>
                      <a:pt x="313" y="0"/>
                      <a:pt x="313" y="0"/>
                      <a:pt x="313" y="0"/>
                    </a:cubicBezTo>
                    <a:cubicBezTo>
                      <a:pt x="333" y="0"/>
                      <a:pt x="349" y="12"/>
                      <a:pt x="363" y="23"/>
                    </a:cubicBezTo>
                    <a:cubicBezTo>
                      <a:pt x="373" y="31"/>
                      <a:pt x="383" y="39"/>
                      <a:pt x="392" y="39"/>
                    </a:cubicBezTo>
                    <a:cubicBezTo>
                      <a:pt x="403" y="39"/>
                      <a:pt x="410" y="33"/>
                      <a:pt x="422" y="23"/>
                    </a:cubicBezTo>
                    <a:cubicBezTo>
                      <a:pt x="433" y="13"/>
                      <a:pt x="448" y="0"/>
                      <a:pt x="470" y="0"/>
                    </a:cubicBezTo>
                    <a:cubicBezTo>
                      <a:pt x="524" y="0"/>
                      <a:pt x="524" y="0"/>
                      <a:pt x="524" y="0"/>
                    </a:cubicBezTo>
                    <a:cubicBezTo>
                      <a:pt x="524" y="186"/>
                      <a:pt x="524" y="186"/>
                      <a:pt x="524" y="186"/>
                    </a:cubicBezTo>
                    <a:cubicBezTo>
                      <a:pt x="451" y="186"/>
                      <a:pt x="451" y="186"/>
                      <a:pt x="451" y="186"/>
                    </a:cubicBezTo>
                    <a:cubicBezTo>
                      <a:pt x="439" y="186"/>
                      <a:pt x="431" y="177"/>
                      <a:pt x="422" y="168"/>
                    </a:cubicBezTo>
                    <a:cubicBezTo>
                      <a:pt x="414" y="158"/>
                      <a:pt x="404" y="147"/>
                      <a:pt x="392" y="147"/>
                    </a:cubicBezTo>
                    <a:cubicBezTo>
                      <a:pt x="374" y="147"/>
                      <a:pt x="347" y="164"/>
                      <a:pt x="347" y="211"/>
                    </a:cubicBezTo>
                    <a:cubicBezTo>
                      <a:pt x="347" y="225"/>
                      <a:pt x="347" y="225"/>
                      <a:pt x="347" y="225"/>
                    </a:cubicBezTo>
                    <a:close/>
                    <a:moveTo>
                      <a:pt x="247" y="196"/>
                    </a:move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5" y="139"/>
                      <a:pt x="364" y="118"/>
                      <a:pt x="392" y="118"/>
                    </a:cubicBezTo>
                    <a:cubicBezTo>
                      <a:pt x="417" y="118"/>
                      <a:pt x="433" y="136"/>
                      <a:pt x="444" y="148"/>
                    </a:cubicBezTo>
                    <a:cubicBezTo>
                      <a:pt x="447" y="151"/>
                      <a:pt x="451" y="155"/>
                      <a:pt x="453" y="157"/>
                    </a:cubicBezTo>
                    <a:cubicBezTo>
                      <a:pt x="495" y="157"/>
                      <a:pt x="495" y="157"/>
                      <a:pt x="495" y="157"/>
                    </a:cubicBezTo>
                    <a:cubicBezTo>
                      <a:pt x="495" y="29"/>
                      <a:pt x="495" y="29"/>
                      <a:pt x="495" y="29"/>
                    </a:cubicBezTo>
                    <a:cubicBezTo>
                      <a:pt x="470" y="29"/>
                      <a:pt x="470" y="29"/>
                      <a:pt x="470" y="29"/>
                    </a:cubicBezTo>
                    <a:cubicBezTo>
                      <a:pt x="460" y="29"/>
                      <a:pt x="452" y="35"/>
                      <a:pt x="441" y="45"/>
                    </a:cubicBezTo>
                    <a:cubicBezTo>
                      <a:pt x="429" y="55"/>
                      <a:pt x="415" y="68"/>
                      <a:pt x="392" y="68"/>
                    </a:cubicBezTo>
                    <a:cubicBezTo>
                      <a:pt x="373" y="68"/>
                      <a:pt x="358" y="57"/>
                      <a:pt x="345" y="46"/>
                    </a:cubicBezTo>
                    <a:cubicBezTo>
                      <a:pt x="334" y="37"/>
                      <a:pt x="323" y="29"/>
                      <a:pt x="313" y="29"/>
                    </a:cubicBezTo>
                    <a:cubicBezTo>
                      <a:pt x="215" y="29"/>
                      <a:pt x="215" y="29"/>
                      <a:pt x="215" y="29"/>
                    </a:cubicBezTo>
                    <a:cubicBezTo>
                      <a:pt x="149" y="29"/>
                      <a:pt x="104" y="55"/>
                      <a:pt x="38" y="132"/>
                    </a:cubicBezTo>
                    <a:cubicBezTo>
                      <a:pt x="44" y="139"/>
                      <a:pt x="52" y="146"/>
                      <a:pt x="58" y="151"/>
                    </a:cubicBezTo>
                    <a:cubicBezTo>
                      <a:pt x="83" y="128"/>
                      <a:pt x="102" y="118"/>
                      <a:pt x="176" y="118"/>
                    </a:cubicBezTo>
                    <a:cubicBezTo>
                      <a:pt x="224" y="118"/>
                      <a:pt x="241" y="171"/>
                      <a:pt x="247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7" name="Freeform 174">
                <a:extLst>
                  <a:ext uri="{FF2B5EF4-FFF2-40B4-BE49-F238E27FC236}">
                    <a16:creationId xmlns:a16="http://schemas.microsoft.com/office/drawing/2014/main" id="{E8780853-5E5D-894D-A5D7-3CBDB2185F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463" y="2722563"/>
                <a:ext cx="217488" cy="531813"/>
              </a:xfrm>
              <a:custGeom>
                <a:avLst/>
                <a:gdLst>
                  <a:gd name="T0" fmla="*/ 191 w 382"/>
                  <a:gd name="T1" fmla="*/ 929 h 929"/>
                  <a:gd name="T2" fmla="*/ 118 w 382"/>
                  <a:gd name="T3" fmla="*/ 855 h 929"/>
                  <a:gd name="T4" fmla="*/ 118 w 382"/>
                  <a:gd name="T5" fmla="*/ 364 h 929"/>
                  <a:gd name="T6" fmla="*/ 0 w 382"/>
                  <a:gd name="T7" fmla="*/ 207 h 929"/>
                  <a:gd name="T8" fmla="*/ 0 w 382"/>
                  <a:gd name="T9" fmla="*/ 168 h 929"/>
                  <a:gd name="T10" fmla="*/ 127 w 382"/>
                  <a:gd name="T11" fmla="*/ 7 h 929"/>
                  <a:gd name="T12" fmla="*/ 147 w 382"/>
                  <a:gd name="T13" fmla="*/ 0 h 929"/>
                  <a:gd name="T14" fmla="*/ 147 w 382"/>
                  <a:gd name="T15" fmla="*/ 153 h 929"/>
                  <a:gd name="T16" fmla="*/ 235 w 382"/>
                  <a:gd name="T17" fmla="*/ 153 h 929"/>
                  <a:gd name="T18" fmla="*/ 235 w 382"/>
                  <a:gd name="T19" fmla="*/ 0 h 929"/>
                  <a:gd name="T20" fmla="*/ 255 w 382"/>
                  <a:gd name="T21" fmla="*/ 7 h 929"/>
                  <a:gd name="T22" fmla="*/ 382 w 382"/>
                  <a:gd name="T23" fmla="*/ 168 h 929"/>
                  <a:gd name="T24" fmla="*/ 382 w 382"/>
                  <a:gd name="T25" fmla="*/ 207 h 929"/>
                  <a:gd name="T26" fmla="*/ 265 w 382"/>
                  <a:gd name="T27" fmla="*/ 364 h 929"/>
                  <a:gd name="T28" fmla="*/ 265 w 382"/>
                  <a:gd name="T29" fmla="*/ 855 h 929"/>
                  <a:gd name="T30" fmla="*/ 191 w 382"/>
                  <a:gd name="T31" fmla="*/ 929 h 929"/>
                  <a:gd name="T32" fmla="*/ 118 w 382"/>
                  <a:gd name="T33" fmla="*/ 43 h 929"/>
                  <a:gd name="T34" fmla="*/ 29 w 382"/>
                  <a:gd name="T35" fmla="*/ 168 h 929"/>
                  <a:gd name="T36" fmla="*/ 29 w 382"/>
                  <a:gd name="T37" fmla="*/ 207 h 929"/>
                  <a:gd name="T38" fmla="*/ 137 w 382"/>
                  <a:gd name="T39" fmla="*/ 340 h 929"/>
                  <a:gd name="T40" fmla="*/ 147 w 382"/>
                  <a:gd name="T41" fmla="*/ 344 h 929"/>
                  <a:gd name="T42" fmla="*/ 147 w 382"/>
                  <a:gd name="T43" fmla="*/ 855 h 929"/>
                  <a:gd name="T44" fmla="*/ 191 w 382"/>
                  <a:gd name="T45" fmla="*/ 899 h 929"/>
                  <a:gd name="T46" fmla="*/ 235 w 382"/>
                  <a:gd name="T47" fmla="*/ 855 h 929"/>
                  <a:gd name="T48" fmla="*/ 235 w 382"/>
                  <a:gd name="T49" fmla="*/ 344 h 929"/>
                  <a:gd name="T50" fmla="*/ 245 w 382"/>
                  <a:gd name="T51" fmla="*/ 340 h 929"/>
                  <a:gd name="T52" fmla="*/ 353 w 382"/>
                  <a:gd name="T53" fmla="*/ 207 h 929"/>
                  <a:gd name="T54" fmla="*/ 353 w 382"/>
                  <a:gd name="T55" fmla="*/ 168 h 929"/>
                  <a:gd name="T56" fmla="*/ 265 w 382"/>
                  <a:gd name="T57" fmla="*/ 43 h 929"/>
                  <a:gd name="T58" fmla="*/ 265 w 382"/>
                  <a:gd name="T59" fmla="*/ 183 h 929"/>
                  <a:gd name="T60" fmla="*/ 118 w 382"/>
                  <a:gd name="T61" fmla="*/ 183 h 929"/>
                  <a:gd name="T62" fmla="*/ 118 w 382"/>
                  <a:gd name="T63" fmla="*/ 43 h 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82" h="929">
                    <a:moveTo>
                      <a:pt x="191" y="929"/>
                    </a:moveTo>
                    <a:cubicBezTo>
                      <a:pt x="151" y="929"/>
                      <a:pt x="118" y="896"/>
                      <a:pt x="118" y="855"/>
                    </a:cubicBezTo>
                    <a:cubicBezTo>
                      <a:pt x="118" y="364"/>
                      <a:pt x="118" y="364"/>
                      <a:pt x="118" y="364"/>
                    </a:cubicBezTo>
                    <a:cubicBezTo>
                      <a:pt x="40" y="334"/>
                      <a:pt x="0" y="280"/>
                      <a:pt x="0" y="207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88"/>
                      <a:pt x="64" y="30"/>
                      <a:pt x="127" y="7"/>
                    </a:cubicBezTo>
                    <a:cubicBezTo>
                      <a:pt x="147" y="0"/>
                      <a:pt x="147" y="0"/>
                      <a:pt x="147" y="0"/>
                    </a:cubicBezTo>
                    <a:cubicBezTo>
                      <a:pt x="147" y="153"/>
                      <a:pt x="147" y="153"/>
                      <a:pt x="147" y="153"/>
                    </a:cubicBezTo>
                    <a:cubicBezTo>
                      <a:pt x="235" y="153"/>
                      <a:pt x="235" y="153"/>
                      <a:pt x="235" y="153"/>
                    </a:cubicBezTo>
                    <a:cubicBezTo>
                      <a:pt x="235" y="0"/>
                      <a:pt x="235" y="0"/>
                      <a:pt x="235" y="0"/>
                    </a:cubicBezTo>
                    <a:cubicBezTo>
                      <a:pt x="255" y="7"/>
                      <a:pt x="255" y="7"/>
                      <a:pt x="255" y="7"/>
                    </a:cubicBezTo>
                    <a:cubicBezTo>
                      <a:pt x="318" y="30"/>
                      <a:pt x="382" y="88"/>
                      <a:pt x="382" y="168"/>
                    </a:cubicBezTo>
                    <a:cubicBezTo>
                      <a:pt x="382" y="207"/>
                      <a:pt x="382" y="207"/>
                      <a:pt x="382" y="207"/>
                    </a:cubicBezTo>
                    <a:cubicBezTo>
                      <a:pt x="382" y="280"/>
                      <a:pt x="342" y="334"/>
                      <a:pt x="265" y="364"/>
                    </a:cubicBezTo>
                    <a:cubicBezTo>
                      <a:pt x="265" y="855"/>
                      <a:pt x="265" y="855"/>
                      <a:pt x="265" y="855"/>
                    </a:cubicBezTo>
                    <a:cubicBezTo>
                      <a:pt x="265" y="896"/>
                      <a:pt x="232" y="929"/>
                      <a:pt x="191" y="929"/>
                    </a:cubicBezTo>
                    <a:close/>
                    <a:moveTo>
                      <a:pt x="118" y="43"/>
                    </a:moveTo>
                    <a:cubicBezTo>
                      <a:pt x="72" y="66"/>
                      <a:pt x="29" y="111"/>
                      <a:pt x="29" y="168"/>
                    </a:cubicBezTo>
                    <a:cubicBezTo>
                      <a:pt x="29" y="207"/>
                      <a:pt x="29" y="207"/>
                      <a:pt x="29" y="207"/>
                    </a:cubicBezTo>
                    <a:cubicBezTo>
                      <a:pt x="29" y="270"/>
                      <a:pt x="65" y="315"/>
                      <a:pt x="137" y="340"/>
                    </a:cubicBezTo>
                    <a:cubicBezTo>
                      <a:pt x="147" y="344"/>
                      <a:pt x="147" y="344"/>
                      <a:pt x="147" y="344"/>
                    </a:cubicBezTo>
                    <a:cubicBezTo>
                      <a:pt x="147" y="855"/>
                      <a:pt x="147" y="855"/>
                      <a:pt x="147" y="855"/>
                    </a:cubicBezTo>
                    <a:cubicBezTo>
                      <a:pt x="147" y="879"/>
                      <a:pt x="167" y="899"/>
                      <a:pt x="191" y="899"/>
                    </a:cubicBezTo>
                    <a:cubicBezTo>
                      <a:pt x="216" y="899"/>
                      <a:pt x="235" y="879"/>
                      <a:pt x="235" y="855"/>
                    </a:cubicBezTo>
                    <a:cubicBezTo>
                      <a:pt x="235" y="344"/>
                      <a:pt x="235" y="344"/>
                      <a:pt x="235" y="344"/>
                    </a:cubicBezTo>
                    <a:cubicBezTo>
                      <a:pt x="245" y="340"/>
                      <a:pt x="245" y="340"/>
                      <a:pt x="245" y="340"/>
                    </a:cubicBezTo>
                    <a:cubicBezTo>
                      <a:pt x="317" y="315"/>
                      <a:pt x="353" y="270"/>
                      <a:pt x="353" y="207"/>
                    </a:cubicBezTo>
                    <a:cubicBezTo>
                      <a:pt x="353" y="168"/>
                      <a:pt x="353" y="168"/>
                      <a:pt x="353" y="168"/>
                    </a:cubicBezTo>
                    <a:cubicBezTo>
                      <a:pt x="353" y="111"/>
                      <a:pt x="310" y="66"/>
                      <a:pt x="265" y="43"/>
                    </a:cubicBezTo>
                    <a:cubicBezTo>
                      <a:pt x="265" y="183"/>
                      <a:pt x="265" y="183"/>
                      <a:pt x="265" y="183"/>
                    </a:cubicBezTo>
                    <a:cubicBezTo>
                      <a:pt x="118" y="183"/>
                      <a:pt x="118" y="183"/>
                      <a:pt x="118" y="183"/>
                    </a:cubicBezTo>
                    <a:cubicBezTo>
                      <a:pt x="118" y="43"/>
                      <a:pt x="118" y="43"/>
                      <a:pt x="118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8" name="Freeform 175">
                <a:extLst>
                  <a:ext uri="{FF2B5EF4-FFF2-40B4-BE49-F238E27FC236}">
                    <a16:creationId xmlns:a16="http://schemas.microsoft.com/office/drawing/2014/main" id="{CBCD667C-E9D9-FA4C-880C-32D4BA76A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6" y="3178176"/>
                <a:ext cx="17463" cy="33338"/>
              </a:xfrm>
              <a:custGeom>
                <a:avLst/>
                <a:gdLst>
                  <a:gd name="T0" fmla="*/ 11 w 11"/>
                  <a:gd name="T1" fmla="*/ 21 h 21"/>
                  <a:gd name="T2" fmla="*/ 0 w 11"/>
                  <a:gd name="T3" fmla="*/ 21 h 21"/>
                  <a:gd name="T4" fmla="*/ 0 w 11"/>
                  <a:gd name="T5" fmla="*/ 0 h 21"/>
                  <a:gd name="T6" fmla="*/ 11 w 11"/>
                  <a:gd name="T7" fmla="*/ 0 h 21"/>
                  <a:gd name="T8" fmla="*/ 11 w 11"/>
                  <a:gd name="T9" fmla="*/ 21 h 21"/>
                  <a:gd name="T10" fmla="*/ 11 w 11"/>
                  <a:gd name="T11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21">
                    <a:moveTo>
                      <a:pt x="11" y="21"/>
                    </a:moveTo>
                    <a:lnTo>
                      <a:pt x="0" y="21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1" y="21"/>
                    </a:lnTo>
                    <a:lnTo>
                      <a:pt x="11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99" name="Rounded Rectangle 111">
            <a:extLst>
              <a:ext uri="{FF2B5EF4-FFF2-40B4-BE49-F238E27FC236}">
                <a16:creationId xmlns:a16="http://schemas.microsoft.com/office/drawing/2014/main" id="{35E3BCA8-A50E-B74C-A7A1-3C14DDA7712F}"/>
              </a:ext>
            </a:extLst>
          </p:cNvPr>
          <p:cNvSpPr/>
          <p:nvPr userDrawn="1"/>
        </p:nvSpPr>
        <p:spPr>
          <a:xfrm>
            <a:off x="9756001" y="2662455"/>
            <a:ext cx="1681200" cy="388513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lnSpc>
                <a:spcPct val="130000"/>
              </a:lnSpc>
            </a:pPr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A3492D6E-CFEC-AE4F-AFB6-35AEFFE6B23F}"/>
              </a:ext>
            </a:extLst>
          </p:cNvPr>
          <p:cNvGrpSpPr/>
          <p:nvPr userDrawn="1"/>
        </p:nvGrpSpPr>
        <p:grpSpPr>
          <a:xfrm>
            <a:off x="10271989" y="2356844"/>
            <a:ext cx="649224" cy="649224"/>
            <a:chOff x="10255468" y="2159412"/>
            <a:chExt cx="649224" cy="649224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9E29CCA-88FD-564F-90C0-A11C8A9444E9}"/>
                </a:ext>
              </a:extLst>
            </p:cNvPr>
            <p:cNvSpPr/>
            <p:nvPr/>
          </p:nvSpPr>
          <p:spPr>
            <a:xfrm>
              <a:off x="10255468" y="2159412"/>
              <a:ext cx="649224" cy="649224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102" name="Group 587">
              <a:extLst>
                <a:ext uri="{FF2B5EF4-FFF2-40B4-BE49-F238E27FC236}">
                  <a16:creationId xmlns:a16="http://schemas.microsoft.com/office/drawing/2014/main" id="{93F3342F-3E46-4441-B132-4F9FEF1A2738}"/>
                </a:ext>
              </a:extLst>
            </p:cNvPr>
            <p:cNvGrpSpPr>
              <a:grpSpLocks noChangeAspect="1"/>
            </p:cNvGrpSpPr>
            <p:nvPr/>
          </p:nvGrpSpPr>
          <p:grpSpPr>
            <a:xfrm rot="2430203">
              <a:off x="10348123" y="2275883"/>
              <a:ext cx="463914" cy="422738"/>
              <a:chOff x="3817938" y="3500438"/>
              <a:chExt cx="536574" cy="488949"/>
            </a:xfrm>
            <a:solidFill>
              <a:schemeClr val="tx1"/>
            </a:solidFill>
          </p:grpSpPr>
          <p:sp>
            <p:nvSpPr>
              <p:cNvPr id="103" name="Freeform 206">
                <a:extLst>
                  <a:ext uri="{FF2B5EF4-FFF2-40B4-BE49-F238E27FC236}">
                    <a16:creationId xmlns:a16="http://schemas.microsoft.com/office/drawing/2014/main" id="{DD13EF22-3006-3C45-8386-5D9271EB9D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500438"/>
                <a:ext cx="347662" cy="347662"/>
              </a:xfrm>
              <a:custGeom>
                <a:avLst/>
                <a:gdLst>
                  <a:gd name="T0" fmla="*/ 334 w 608"/>
                  <a:gd name="T1" fmla="*/ 553 h 608"/>
                  <a:gd name="T2" fmla="*/ 246 w 608"/>
                  <a:gd name="T3" fmla="*/ 608 h 608"/>
                  <a:gd name="T4" fmla="*/ 149 w 608"/>
                  <a:gd name="T5" fmla="*/ 501 h 608"/>
                  <a:gd name="T6" fmla="*/ 48 w 608"/>
                  <a:gd name="T7" fmla="*/ 478 h 608"/>
                  <a:gd name="T8" fmla="*/ 55 w 608"/>
                  <a:gd name="T9" fmla="*/ 334 h 608"/>
                  <a:gd name="T10" fmla="*/ 0 w 608"/>
                  <a:gd name="T11" fmla="*/ 246 h 608"/>
                  <a:gd name="T12" fmla="*/ 106 w 608"/>
                  <a:gd name="T13" fmla="*/ 149 h 608"/>
                  <a:gd name="T14" fmla="*/ 130 w 608"/>
                  <a:gd name="T15" fmla="*/ 48 h 608"/>
                  <a:gd name="T16" fmla="*/ 274 w 608"/>
                  <a:gd name="T17" fmla="*/ 55 h 608"/>
                  <a:gd name="T18" fmla="*/ 362 w 608"/>
                  <a:gd name="T19" fmla="*/ 0 h 608"/>
                  <a:gd name="T20" fmla="*/ 459 w 608"/>
                  <a:gd name="T21" fmla="*/ 106 h 608"/>
                  <a:gd name="T22" fmla="*/ 560 w 608"/>
                  <a:gd name="T23" fmla="*/ 130 h 608"/>
                  <a:gd name="T24" fmla="*/ 553 w 608"/>
                  <a:gd name="T25" fmla="*/ 273 h 608"/>
                  <a:gd name="T26" fmla="*/ 608 w 608"/>
                  <a:gd name="T27" fmla="*/ 362 h 608"/>
                  <a:gd name="T28" fmla="*/ 502 w 608"/>
                  <a:gd name="T29" fmla="*/ 458 h 608"/>
                  <a:gd name="T30" fmla="*/ 478 w 608"/>
                  <a:gd name="T31" fmla="*/ 560 h 608"/>
                  <a:gd name="T32" fmla="*/ 166 w 608"/>
                  <a:gd name="T33" fmla="*/ 543 h 608"/>
                  <a:gd name="T34" fmla="*/ 257 w 608"/>
                  <a:gd name="T35" fmla="*/ 521 h 608"/>
                  <a:gd name="T36" fmla="*/ 340 w 608"/>
                  <a:gd name="T37" fmla="*/ 522 h 608"/>
                  <a:gd name="T38" fmla="*/ 376 w 608"/>
                  <a:gd name="T39" fmla="*/ 570 h 608"/>
                  <a:gd name="T40" fmla="*/ 424 w 608"/>
                  <a:gd name="T41" fmla="*/ 490 h 608"/>
                  <a:gd name="T42" fmla="*/ 484 w 608"/>
                  <a:gd name="T43" fmla="*/ 433 h 608"/>
                  <a:gd name="T44" fmla="*/ 543 w 608"/>
                  <a:gd name="T45" fmla="*/ 441 h 608"/>
                  <a:gd name="T46" fmla="*/ 521 w 608"/>
                  <a:gd name="T47" fmla="*/ 351 h 608"/>
                  <a:gd name="T48" fmla="*/ 523 w 608"/>
                  <a:gd name="T49" fmla="*/ 267 h 608"/>
                  <a:gd name="T50" fmla="*/ 571 w 608"/>
                  <a:gd name="T51" fmla="*/ 232 h 608"/>
                  <a:gd name="T52" fmla="*/ 491 w 608"/>
                  <a:gd name="T53" fmla="*/ 184 h 608"/>
                  <a:gd name="T54" fmla="*/ 433 w 608"/>
                  <a:gd name="T55" fmla="*/ 123 h 608"/>
                  <a:gd name="T56" fmla="*/ 442 w 608"/>
                  <a:gd name="T57" fmla="*/ 64 h 608"/>
                  <a:gd name="T58" fmla="*/ 351 w 608"/>
                  <a:gd name="T59" fmla="*/ 87 h 608"/>
                  <a:gd name="T60" fmla="*/ 268 w 608"/>
                  <a:gd name="T61" fmla="*/ 85 h 608"/>
                  <a:gd name="T62" fmla="*/ 232 w 608"/>
                  <a:gd name="T63" fmla="*/ 37 h 608"/>
                  <a:gd name="T64" fmla="*/ 184 w 608"/>
                  <a:gd name="T65" fmla="*/ 117 h 608"/>
                  <a:gd name="T66" fmla="*/ 124 w 608"/>
                  <a:gd name="T67" fmla="*/ 175 h 608"/>
                  <a:gd name="T68" fmla="*/ 65 w 608"/>
                  <a:gd name="T69" fmla="*/ 166 h 608"/>
                  <a:gd name="T70" fmla="*/ 87 w 608"/>
                  <a:gd name="T71" fmla="*/ 257 h 608"/>
                  <a:gd name="T72" fmla="*/ 85 w 608"/>
                  <a:gd name="T73" fmla="*/ 340 h 608"/>
                  <a:gd name="T74" fmla="*/ 37 w 608"/>
                  <a:gd name="T75" fmla="*/ 376 h 608"/>
                  <a:gd name="T76" fmla="*/ 117 w 608"/>
                  <a:gd name="T77" fmla="*/ 424 h 608"/>
                  <a:gd name="T78" fmla="*/ 175 w 608"/>
                  <a:gd name="T79" fmla="*/ 484 h 608"/>
                  <a:gd name="T80" fmla="*/ 166 w 608"/>
                  <a:gd name="T81" fmla="*/ 543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08" h="608">
                    <a:moveTo>
                      <a:pt x="362" y="608"/>
                    </a:moveTo>
                    <a:cubicBezTo>
                      <a:pt x="334" y="553"/>
                      <a:pt x="334" y="553"/>
                      <a:pt x="334" y="553"/>
                    </a:cubicBezTo>
                    <a:cubicBezTo>
                      <a:pt x="314" y="555"/>
                      <a:pt x="294" y="555"/>
                      <a:pt x="274" y="553"/>
                    </a:cubicBezTo>
                    <a:cubicBezTo>
                      <a:pt x="246" y="608"/>
                      <a:pt x="246" y="608"/>
                      <a:pt x="246" y="608"/>
                    </a:cubicBezTo>
                    <a:cubicBezTo>
                      <a:pt x="130" y="560"/>
                      <a:pt x="130" y="560"/>
                      <a:pt x="130" y="560"/>
                    </a:cubicBezTo>
                    <a:cubicBezTo>
                      <a:pt x="149" y="501"/>
                      <a:pt x="149" y="501"/>
                      <a:pt x="149" y="501"/>
                    </a:cubicBezTo>
                    <a:cubicBezTo>
                      <a:pt x="133" y="489"/>
                      <a:pt x="119" y="474"/>
                      <a:pt x="106" y="458"/>
                    </a:cubicBezTo>
                    <a:cubicBezTo>
                      <a:pt x="48" y="478"/>
                      <a:pt x="48" y="478"/>
                      <a:pt x="48" y="478"/>
                    </a:cubicBezTo>
                    <a:cubicBezTo>
                      <a:pt x="0" y="362"/>
                      <a:pt x="0" y="362"/>
                      <a:pt x="0" y="362"/>
                    </a:cubicBezTo>
                    <a:cubicBezTo>
                      <a:pt x="55" y="334"/>
                      <a:pt x="55" y="334"/>
                      <a:pt x="55" y="334"/>
                    </a:cubicBezTo>
                    <a:cubicBezTo>
                      <a:pt x="52" y="314"/>
                      <a:pt x="52" y="293"/>
                      <a:pt x="55" y="273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48" y="130"/>
                      <a:pt x="48" y="130"/>
                      <a:pt x="48" y="13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19" y="133"/>
                      <a:pt x="133" y="119"/>
                      <a:pt x="149" y="106"/>
                    </a:cubicBezTo>
                    <a:cubicBezTo>
                      <a:pt x="130" y="48"/>
                      <a:pt x="130" y="48"/>
                      <a:pt x="130" y="48"/>
                    </a:cubicBezTo>
                    <a:cubicBezTo>
                      <a:pt x="246" y="0"/>
                      <a:pt x="246" y="0"/>
                      <a:pt x="246" y="0"/>
                    </a:cubicBezTo>
                    <a:cubicBezTo>
                      <a:pt x="274" y="55"/>
                      <a:pt x="274" y="55"/>
                      <a:pt x="274" y="55"/>
                    </a:cubicBezTo>
                    <a:cubicBezTo>
                      <a:pt x="294" y="52"/>
                      <a:pt x="314" y="52"/>
                      <a:pt x="334" y="55"/>
                    </a:cubicBezTo>
                    <a:cubicBezTo>
                      <a:pt x="362" y="0"/>
                      <a:pt x="362" y="0"/>
                      <a:pt x="362" y="0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59" y="106"/>
                      <a:pt x="459" y="106"/>
                      <a:pt x="459" y="106"/>
                    </a:cubicBezTo>
                    <a:cubicBezTo>
                      <a:pt x="475" y="118"/>
                      <a:pt x="489" y="133"/>
                      <a:pt x="502" y="149"/>
                    </a:cubicBezTo>
                    <a:cubicBezTo>
                      <a:pt x="560" y="130"/>
                      <a:pt x="560" y="130"/>
                      <a:pt x="560" y="130"/>
                    </a:cubicBezTo>
                    <a:cubicBezTo>
                      <a:pt x="608" y="246"/>
                      <a:pt x="608" y="246"/>
                      <a:pt x="608" y="246"/>
                    </a:cubicBezTo>
                    <a:cubicBezTo>
                      <a:pt x="553" y="273"/>
                      <a:pt x="553" y="273"/>
                      <a:pt x="553" y="273"/>
                    </a:cubicBezTo>
                    <a:cubicBezTo>
                      <a:pt x="556" y="293"/>
                      <a:pt x="556" y="314"/>
                      <a:pt x="553" y="334"/>
                    </a:cubicBezTo>
                    <a:cubicBezTo>
                      <a:pt x="608" y="362"/>
                      <a:pt x="608" y="362"/>
                      <a:pt x="608" y="362"/>
                    </a:cubicBezTo>
                    <a:cubicBezTo>
                      <a:pt x="560" y="478"/>
                      <a:pt x="560" y="478"/>
                      <a:pt x="560" y="478"/>
                    </a:cubicBezTo>
                    <a:cubicBezTo>
                      <a:pt x="502" y="458"/>
                      <a:pt x="502" y="458"/>
                      <a:pt x="502" y="458"/>
                    </a:cubicBezTo>
                    <a:cubicBezTo>
                      <a:pt x="489" y="474"/>
                      <a:pt x="475" y="489"/>
                      <a:pt x="459" y="501"/>
                    </a:cubicBezTo>
                    <a:cubicBezTo>
                      <a:pt x="478" y="560"/>
                      <a:pt x="478" y="560"/>
                      <a:pt x="478" y="560"/>
                    </a:cubicBezTo>
                    <a:cubicBezTo>
                      <a:pt x="362" y="608"/>
                      <a:pt x="362" y="608"/>
                      <a:pt x="362" y="608"/>
                    </a:cubicBezTo>
                    <a:close/>
                    <a:moveTo>
                      <a:pt x="166" y="543"/>
                    </a:moveTo>
                    <a:cubicBezTo>
                      <a:pt x="232" y="570"/>
                      <a:pt x="232" y="570"/>
                      <a:pt x="232" y="570"/>
                    </a:cubicBezTo>
                    <a:cubicBezTo>
                      <a:pt x="257" y="521"/>
                      <a:pt x="257" y="521"/>
                      <a:pt x="257" y="521"/>
                    </a:cubicBezTo>
                    <a:cubicBezTo>
                      <a:pt x="268" y="522"/>
                      <a:pt x="268" y="522"/>
                      <a:pt x="268" y="522"/>
                    </a:cubicBezTo>
                    <a:cubicBezTo>
                      <a:pt x="292" y="526"/>
                      <a:pt x="316" y="526"/>
                      <a:pt x="340" y="522"/>
                    </a:cubicBezTo>
                    <a:cubicBezTo>
                      <a:pt x="351" y="520"/>
                      <a:pt x="351" y="520"/>
                      <a:pt x="351" y="520"/>
                    </a:cubicBezTo>
                    <a:cubicBezTo>
                      <a:pt x="376" y="570"/>
                      <a:pt x="376" y="570"/>
                      <a:pt x="376" y="570"/>
                    </a:cubicBezTo>
                    <a:cubicBezTo>
                      <a:pt x="442" y="543"/>
                      <a:pt x="442" y="543"/>
                      <a:pt x="442" y="543"/>
                    </a:cubicBezTo>
                    <a:cubicBezTo>
                      <a:pt x="424" y="490"/>
                      <a:pt x="424" y="490"/>
                      <a:pt x="424" y="490"/>
                    </a:cubicBezTo>
                    <a:cubicBezTo>
                      <a:pt x="433" y="484"/>
                      <a:pt x="433" y="484"/>
                      <a:pt x="433" y="484"/>
                    </a:cubicBezTo>
                    <a:cubicBezTo>
                      <a:pt x="453" y="470"/>
                      <a:pt x="470" y="452"/>
                      <a:pt x="484" y="433"/>
                    </a:cubicBezTo>
                    <a:cubicBezTo>
                      <a:pt x="491" y="424"/>
                      <a:pt x="491" y="424"/>
                      <a:pt x="491" y="424"/>
                    </a:cubicBezTo>
                    <a:cubicBezTo>
                      <a:pt x="543" y="441"/>
                      <a:pt x="543" y="441"/>
                      <a:pt x="543" y="441"/>
                    </a:cubicBezTo>
                    <a:cubicBezTo>
                      <a:pt x="571" y="376"/>
                      <a:pt x="571" y="376"/>
                      <a:pt x="571" y="376"/>
                    </a:cubicBezTo>
                    <a:cubicBezTo>
                      <a:pt x="521" y="351"/>
                      <a:pt x="521" y="351"/>
                      <a:pt x="521" y="351"/>
                    </a:cubicBezTo>
                    <a:cubicBezTo>
                      <a:pt x="523" y="340"/>
                      <a:pt x="523" y="340"/>
                      <a:pt x="523" y="340"/>
                    </a:cubicBezTo>
                    <a:cubicBezTo>
                      <a:pt x="527" y="316"/>
                      <a:pt x="527" y="291"/>
                      <a:pt x="523" y="267"/>
                    </a:cubicBezTo>
                    <a:cubicBezTo>
                      <a:pt x="521" y="257"/>
                      <a:pt x="521" y="257"/>
                      <a:pt x="521" y="257"/>
                    </a:cubicBezTo>
                    <a:cubicBezTo>
                      <a:pt x="571" y="232"/>
                      <a:pt x="571" y="232"/>
                      <a:pt x="571" y="232"/>
                    </a:cubicBezTo>
                    <a:cubicBezTo>
                      <a:pt x="543" y="166"/>
                      <a:pt x="543" y="166"/>
                      <a:pt x="543" y="166"/>
                    </a:cubicBezTo>
                    <a:cubicBezTo>
                      <a:pt x="491" y="184"/>
                      <a:pt x="491" y="184"/>
                      <a:pt x="491" y="184"/>
                    </a:cubicBezTo>
                    <a:cubicBezTo>
                      <a:pt x="484" y="175"/>
                      <a:pt x="484" y="175"/>
                      <a:pt x="484" y="175"/>
                    </a:cubicBezTo>
                    <a:cubicBezTo>
                      <a:pt x="470" y="155"/>
                      <a:pt x="453" y="137"/>
                      <a:pt x="433" y="123"/>
                    </a:cubicBezTo>
                    <a:cubicBezTo>
                      <a:pt x="424" y="117"/>
                      <a:pt x="424" y="117"/>
                      <a:pt x="424" y="117"/>
                    </a:cubicBezTo>
                    <a:cubicBezTo>
                      <a:pt x="442" y="64"/>
                      <a:pt x="442" y="64"/>
                      <a:pt x="442" y="64"/>
                    </a:cubicBezTo>
                    <a:cubicBezTo>
                      <a:pt x="376" y="37"/>
                      <a:pt x="376" y="37"/>
                      <a:pt x="376" y="37"/>
                    </a:cubicBezTo>
                    <a:cubicBezTo>
                      <a:pt x="351" y="87"/>
                      <a:pt x="351" y="87"/>
                      <a:pt x="351" y="87"/>
                    </a:cubicBezTo>
                    <a:cubicBezTo>
                      <a:pt x="340" y="85"/>
                      <a:pt x="340" y="85"/>
                      <a:pt x="340" y="85"/>
                    </a:cubicBezTo>
                    <a:cubicBezTo>
                      <a:pt x="316" y="81"/>
                      <a:pt x="292" y="81"/>
                      <a:pt x="268" y="85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32" y="37"/>
                      <a:pt x="232" y="37"/>
                      <a:pt x="232" y="37"/>
                    </a:cubicBezTo>
                    <a:cubicBezTo>
                      <a:pt x="166" y="64"/>
                      <a:pt x="166" y="64"/>
                      <a:pt x="166" y="64"/>
                    </a:cubicBezTo>
                    <a:cubicBezTo>
                      <a:pt x="184" y="117"/>
                      <a:pt x="184" y="117"/>
                      <a:pt x="184" y="117"/>
                    </a:cubicBezTo>
                    <a:cubicBezTo>
                      <a:pt x="175" y="123"/>
                      <a:pt x="175" y="123"/>
                      <a:pt x="175" y="123"/>
                    </a:cubicBezTo>
                    <a:cubicBezTo>
                      <a:pt x="155" y="138"/>
                      <a:pt x="138" y="155"/>
                      <a:pt x="124" y="175"/>
                    </a:cubicBezTo>
                    <a:cubicBezTo>
                      <a:pt x="117" y="184"/>
                      <a:pt x="117" y="184"/>
                      <a:pt x="117" y="184"/>
                    </a:cubicBezTo>
                    <a:cubicBezTo>
                      <a:pt x="65" y="166"/>
                      <a:pt x="65" y="166"/>
                      <a:pt x="65" y="166"/>
                    </a:cubicBezTo>
                    <a:cubicBezTo>
                      <a:pt x="37" y="232"/>
                      <a:pt x="37" y="232"/>
                      <a:pt x="37" y="232"/>
                    </a:cubicBezTo>
                    <a:cubicBezTo>
                      <a:pt x="87" y="257"/>
                      <a:pt x="87" y="257"/>
                      <a:pt x="87" y="257"/>
                    </a:cubicBezTo>
                    <a:cubicBezTo>
                      <a:pt x="85" y="267"/>
                      <a:pt x="85" y="267"/>
                      <a:pt x="85" y="267"/>
                    </a:cubicBezTo>
                    <a:cubicBezTo>
                      <a:pt x="81" y="291"/>
                      <a:pt x="81" y="316"/>
                      <a:pt x="85" y="340"/>
                    </a:cubicBezTo>
                    <a:cubicBezTo>
                      <a:pt x="87" y="351"/>
                      <a:pt x="87" y="351"/>
                      <a:pt x="87" y="351"/>
                    </a:cubicBezTo>
                    <a:cubicBezTo>
                      <a:pt x="37" y="376"/>
                      <a:pt x="37" y="376"/>
                      <a:pt x="37" y="376"/>
                    </a:cubicBezTo>
                    <a:cubicBezTo>
                      <a:pt x="65" y="441"/>
                      <a:pt x="65" y="441"/>
                      <a:pt x="65" y="441"/>
                    </a:cubicBezTo>
                    <a:cubicBezTo>
                      <a:pt x="117" y="424"/>
                      <a:pt x="117" y="424"/>
                      <a:pt x="117" y="424"/>
                    </a:cubicBezTo>
                    <a:cubicBezTo>
                      <a:pt x="124" y="433"/>
                      <a:pt x="124" y="433"/>
                      <a:pt x="124" y="433"/>
                    </a:cubicBezTo>
                    <a:cubicBezTo>
                      <a:pt x="138" y="453"/>
                      <a:pt x="155" y="470"/>
                      <a:pt x="175" y="484"/>
                    </a:cubicBezTo>
                    <a:cubicBezTo>
                      <a:pt x="184" y="490"/>
                      <a:pt x="184" y="490"/>
                      <a:pt x="184" y="490"/>
                    </a:cubicBezTo>
                    <a:cubicBezTo>
                      <a:pt x="166" y="543"/>
                      <a:pt x="166" y="543"/>
                      <a:pt x="166" y="5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Freeform 207">
                <a:extLst>
                  <a:ext uri="{FF2B5EF4-FFF2-40B4-BE49-F238E27FC236}">
                    <a16:creationId xmlns:a16="http://schemas.microsoft.com/office/drawing/2014/main" id="{ACD4E6EA-65B7-9346-B4A1-FA938AEA99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0038" y="3611563"/>
                <a:ext cx="141287" cy="125412"/>
              </a:xfrm>
              <a:custGeom>
                <a:avLst/>
                <a:gdLst>
                  <a:gd name="T0" fmla="*/ 124 w 248"/>
                  <a:gd name="T1" fmla="*/ 219 h 219"/>
                  <a:gd name="T2" fmla="*/ 124 w 248"/>
                  <a:gd name="T3" fmla="*/ 219 h 219"/>
                  <a:gd name="T4" fmla="*/ 23 w 248"/>
                  <a:gd name="T5" fmla="*/ 151 h 219"/>
                  <a:gd name="T6" fmla="*/ 82 w 248"/>
                  <a:gd name="T7" fmla="*/ 9 h 219"/>
                  <a:gd name="T8" fmla="*/ 124 w 248"/>
                  <a:gd name="T9" fmla="*/ 0 h 219"/>
                  <a:gd name="T10" fmla="*/ 225 w 248"/>
                  <a:gd name="T11" fmla="*/ 68 h 219"/>
                  <a:gd name="T12" fmla="*/ 166 w 248"/>
                  <a:gd name="T13" fmla="*/ 210 h 219"/>
                  <a:gd name="T14" fmla="*/ 124 w 248"/>
                  <a:gd name="T15" fmla="*/ 219 h 219"/>
                  <a:gd name="T16" fmla="*/ 124 w 248"/>
                  <a:gd name="T17" fmla="*/ 30 h 219"/>
                  <a:gd name="T18" fmla="*/ 93 w 248"/>
                  <a:gd name="T19" fmla="*/ 36 h 219"/>
                  <a:gd name="T20" fmla="*/ 50 w 248"/>
                  <a:gd name="T21" fmla="*/ 140 h 219"/>
                  <a:gd name="T22" fmla="*/ 124 w 248"/>
                  <a:gd name="T23" fmla="*/ 190 h 219"/>
                  <a:gd name="T24" fmla="*/ 124 w 248"/>
                  <a:gd name="T25" fmla="*/ 190 h 219"/>
                  <a:gd name="T26" fmla="*/ 155 w 248"/>
                  <a:gd name="T27" fmla="*/ 183 h 219"/>
                  <a:gd name="T28" fmla="*/ 198 w 248"/>
                  <a:gd name="T29" fmla="*/ 79 h 219"/>
                  <a:gd name="T30" fmla="*/ 124 w 248"/>
                  <a:gd name="T31" fmla="*/ 3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8" h="219">
                    <a:moveTo>
                      <a:pt x="124" y="219"/>
                    </a:moveTo>
                    <a:cubicBezTo>
                      <a:pt x="124" y="219"/>
                      <a:pt x="124" y="219"/>
                      <a:pt x="124" y="219"/>
                    </a:cubicBezTo>
                    <a:cubicBezTo>
                      <a:pt x="80" y="219"/>
                      <a:pt x="40" y="192"/>
                      <a:pt x="23" y="151"/>
                    </a:cubicBezTo>
                    <a:cubicBezTo>
                      <a:pt x="0" y="96"/>
                      <a:pt x="27" y="32"/>
                      <a:pt x="82" y="9"/>
                    </a:cubicBezTo>
                    <a:cubicBezTo>
                      <a:pt x="96" y="3"/>
                      <a:pt x="110" y="0"/>
                      <a:pt x="124" y="0"/>
                    </a:cubicBezTo>
                    <a:cubicBezTo>
                      <a:pt x="168" y="0"/>
                      <a:pt x="208" y="27"/>
                      <a:pt x="225" y="68"/>
                    </a:cubicBezTo>
                    <a:cubicBezTo>
                      <a:pt x="248" y="123"/>
                      <a:pt x="221" y="187"/>
                      <a:pt x="166" y="210"/>
                    </a:cubicBezTo>
                    <a:cubicBezTo>
                      <a:pt x="152" y="216"/>
                      <a:pt x="138" y="219"/>
                      <a:pt x="124" y="219"/>
                    </a:cubicBezTo>
                    <a:close/>
                    <a:moveTo>
                      <a:pt x="124" y="30"/>
                    </a:moveTo>
                    <a:cubicBezTo>
                      <a:pt x="114" y="30"/>
                      <a:pt x="103" y="32"/>
                      <a:pt x="93" y="36"/>
                    </a:cubicBezTo>
                    <a:cubicBezTo>
                      <a:pt x="53" y="53"/>
                      <a:pt x="33" y="100"/>
                      <a:pt x="50" y="140"/>
                    </a:cubicBezTo>
                    <a:cubicBezTo>
                      <a:pt x="63" y="170"/>
                      <a:pt x="92" y="190"/>
                      <a:pt x="124" y="190"/>
                    </a:cubicBezTo>
                    <a:cubicBezTo>
                      <a:pt x="124" y="190"/>
                      <a:pt x="124" y="190"/>
                      <a:pt x="124" y="190"/>
                    </a:cubicBezTo>
                    <a:cubicBezTo>
                      <a:pt x="135" y="190"/>
                      <a:pt x="145" y="187"/>
                      <a:pt x="155" y="183"/>
                    </a:cubicBezTo>
                    <a:cubicBezTo>
                      <a:pt x="195" y="167"/>
                      <a:pt x="215" y="120"/>
                      <a:pt x="198" y="79"/>
                    </a:cubicBezTo>
                    <a:cubicBezTo>
                      <a:pt x="185" y="49"/>
                      <a:pt x="156" y="30"/>
                      <a:pt x="1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5" name="Freeform 208">
                <a:extLst>
                  <a:ext uri="{FF2B5EF4-FFF2-40B4-BE49-F238E27FC236}">
                    <a16:creationId xmlns:a16="http://schemas.microsoft.com/office/drawing/2014/main" id="{DD997BF3-C7F9-3240-AF4C-1BFB21940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788" y="3624263"/>
                <a:ext cx="95250" cy="90487"/>
              </a:xfrm>
              <a:custGeom>
                <a:avLst/>
                <a:gdLst>
                  <a:gd name="T0" fmla="*/ 51 w 164"/>
                  <a:gd name="T1" fmla="*/ 159 h 159"/>
                  <a:gd name="T2" fmla="*/ 17 w 164"/>
                  <a:gd name="T3" fmla="*/ 121 h 159"/>
                  <a:gd name="T4" fmla="*/ 60 w 164"/>
                  <a:gd name="T5" fmla="*/ 17 h 159"/>
                  <a:gd name="T6" fmla="*/ 164 w 164"/>
                  <a:gd name="T7" fmla="*/ 60 h 159"/>
                  <a:gd name="T8" fmla="*/ 137 w 164"/>
                  <a:gd name="T9" fmla="*/ 71 h 159"/>
                  <a:gd name="T10" fmla="*/ 71 w 164"/>
                  <a:gd name="T11" fmla="*/ 44 h 159"/>
                  <a:gd name="T12" fmla="*/ 44 w 164"/>
                  <a:gd name="T13" fmla="*/ 110 h 159"/>
                  <a:gd name="T14" fmla="*/ 65 w 164"/>
                  <a:gd name="T15" fmla="*/ 134 h 159"/>
                  <a:gd name="T16" fmla="*/ 51 w 164"/>
                  <a:gd name="T17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59">
                    <a:moveTo>
                      <a:pt x="51" y="159"/>
                    </a:moveTo>
                    <a:cubicBezTo>
                      <a:pt x="35" y="150"/>
                      <a:pt x="24" y="137"/>
                      <a:pt x="17" y="121"/>
                    </a:cubicBezTo>
                    <a:cubicBezTo>
                      <a:pt x="0" y="80"/>
                      <a:pt x="19" y="34"/>
                      <a:pt x="60" y="17"/>
                    </a:cubicBezTo>
                    <a:cubicBezTo>
                      <a:pt x="101" y="0"/>
                      <a:pt x="147" y="19"/>
                      <a:pt x="164" y="60"/>
                    </a:cubicBezTo>
                    <a:cubicBezTo>
                      <a:pt x="137" y="71"/>
                      <a:pt x="137" y="71"/>
                      <a:pt x="137" y="71"/>
                    </a:cubicBezTo>
                    <a:cubicBezTo>
                      <a:pt x="127" y="45"/>
                      <a:pt x="97" y="33"/>
                      <a:pt x="71" y="44"/>
                    </a:cubicBezTo>
                    <a:cubicBezTo>
                      <a:pt x="46" y="54"/>
                      <a:pt x="33" y="84"/>
                      <a:pt x="44" y="110"/>
                    </a:cubicBezTo>
                    <a:cubicBezTo>
                      <a:pt x="48" y="120"/>
                      <a:pt x="56" y="128"/>
                      <a:pt x="65" y="134"/>
                    </a:cubicBezTo>
                    <a:cubicBezTo>
                      <a:pt x="51" y="159"/>
                      <a:pt x="51" y="159"/>
                      <a:pt x="5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6" name="Freeform 210">
                <a:extLst>
                  <a:ext uri="{FF2B5EF4-FFF2-40B4-BE49-F238E27FC236}">
                    <a16:creationId xmlns:a16="http://schemas.microsoft.com/office/drawing/2014/main" id="{A7800120-2A59-134D-8A46-105242115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938" y="3552825"/>
                <a:ext cx="187325" cy="198437"/>
              </a:xfrm>
              <a:custGeom>
                <a:avLst/>
                <a:gdLst>
                  <a:gd name="T0" fmla="*/ 46 w 326"/>
                  <a:gd name="T1" fmla="*/ 347 h 347"/>
                  <a:gd name="T2" fmla="*/ 4 w 326"/>
                  <a:gd name="T3" fmla="*/ 261 h 347"/>
                  <a:gd name="T4" fmla="*/ 53 w 326"/>
                  <a:gd name="T5" fmla="*/ 237 h 347"/>
                  <a:gd name="T6" fmla="*/ 51 w 326"/>
                  <a:gd name="T7" fmla="*/ 208 h 347"/>
                  <a:gd name="T8" fmla="*/ 0 w 326"/>
                  <a:gd name="T9" fmla="*/ 190 h 347"/>
                  <a:gd name="T10" fmla="*/ 31 w 326"/>
                  <a:gd name="T11" fmla="*/ 100 h 347"/>
                  <a:gd name="T12" fmla="*/ 83 w 326"/>
                  <a:gd name="T13" fmla="*/ 117 h 347"/>
                  <a:gd name="T14" fmla="*/ 102 w 326"/>
                  <a:gd name="T15" fmla="*/ 95 h 347"/>
                  <a:gd name="T16" fmla="*/ 78 w 326"/>
                  <a:gd name="T17" fmla="*/ 46 h 347"/>
                  <a:gd name="T18" fmla="*/ 164 w 326"/>
                  <a:gd name="T19" fmla="*/ 4 h 347"/>
                  <a:gd name="T20" fmla="*/ 188 w 326"/>
                  <a:gd name="T21" fmla="*/ 53 h 347"/>
                  <a:gd name="T22" fmla="*/ 218 w 326"/>
                  <a:gd name="T23" fmla="*/ 52 h 347"/>
                  <a:gd name="T24" fmla="*/ 236 w 326"/>
                  <a:gd name="T25" fmla="*/ 0 h 347"/>
                  <a:gd name="T26" fmla="*/ 326 w 326"/>
                  <a:gd name="T27" fmla="*/ 31 h 347"/>
                  <a:gd name="T28" fmla="*/ 304 w 326"/>
                  <a:gd name="T29" fmla="*/ 93 h 347"/>
                  <a:gd name="T30" fmla="*/ 277 w 326"/>
                  <a:gd name="T31" fmla="*/ 84 h 347"/>
                  <a:gd name="T32" fmla="*/ 289 w 326"/>
                  <a:gd name="T33" fmla="*/ 49 h 347"/>
                  <a:gd name="T34" fmla="*/ 254 w 326"/>
                  <a:gd name="T35" fmla="*/ 37 h 347"/>
                  <a:gd name="T36" fmla="*/ 238 w 326"/>
                  <a:gd name="T37" fmla="*/ 83 h 347"/>
                  <a:gd name="T38" fmla="*/ 226 w 326"/>
                  <a:gd name="T39" fmla="*/ 82 h 347"/>
                  <a:gd name="T40" fmla="*/ 183 w 326"/>
                  <a:gd name="T41" fmla="*/ 84 h 347"/>
                  <a:gd name="T42" fmla="*/ 172 w 326"/>
                  <a:gd name="T43" fmla="*/ 87 h 347"/>
                  <a:gd name="T44" fmla="*/ 151 w 326"/>
                  <a:gd name="T45" fmla="*/ 43 h 347"/>
                  <a:gd name="T46" fmla="*/ 118 w 326"/>
                  <a:gd name="T47" fmla="*/ 60 h 347"/>
                  <a:gd name="T48" fmla="*/ 139 w 326"/>
                  <a:gd name="T49" fmla="*/ 103 h 347"/>
                  <a:gd name="T50" fmla="*/ 130 w 326"/>
                  <a:gd name="T51" fmla="*/ 110 h 347"/>
                  <a:gd name="T52" fmla="*/ 101 w 326"/>
                  <a:gd name="T53" fmla="*/ 143 h 347"/>
                  <a:gd name="T54" fmla="*/ 95 w 326"/>
                  <a:gd name="T55" fmla="*/ 152 h 347"/>
                  <a:gd name="T56" fmla="*/ 49 w 326"/>
                  <a:gd name="T57" fmla="*/ 137 h 347"/>
                  <a:gd name="T58" fmla="*/ 37 w 326"/>
                  <a:gd name="T59" fmla="*/ 172 h 347"/>
                  <a:gd name="T60" fmla="*/ 83 w 326"/>
                  <a:gd name="T61" fmla="*/ 187 h 347"/>
                  <a:gd name="T62" fmla="*/ 81 w 326"/>
                  <a:gd name="T63" fmla="*/ 199 h 347"/>
                  <a:gd name="T64" fmla="*/ 84 w 326"/>
                  <a:gd name="T65" fmla="*/ 242 h 347"/>
                  <a:gd name="T66" fmla="*/ 87 w 326"/>
                  <a:gd name="T67" fmla="*/ 254 h 347"/>
                  <a:gd name="T68" fmla="*/ 43 w 326"/>
                  <a:gd name="T69" fmla="*/ 275 h 347"/>
                  <a:gd name="T70" fmla="*/ 59 w 326"/>
                  <a:gd name="T71" fmla="*/ 308 h 347"/>
                  <a:gd name="T72" fmla="*/ 92 w 326"/>
                  <a:gd name="T73" fmla="*/ 292 h 347"/>
                  <a:gd name="T74" fmla="*/ 105 w 326"/>
                  <a:gd name="T75" fmla="*/ 318 h 347"/>
                  <a:gd name="T76" fmla="*/ 46 w 326"/>
                  <a:gd name="T77" fmla="*/ 347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6" h="347">
                    <a:moveTo>
                      <a:pt x="46" y="347"/>
                    </a:moveTo>
                    <a:cubicBezTo>
                      <a:pt x="4" y="261"/>
                      <a:pt x="4" y="261"/>
                      <a:pt x="4" y="261"/>
                    </a:cubicBezTo>
                    <a:cubicBezTo>
                      <a:pt x="53" y="237"/>
                      <a:pt x="53" y="237"/>
                      <a:pt x="53" y="237"/>
                    </a:cubicBezTo>
                    <a:cubicBezTo>
                      <a:pt x="52" y="227"/>
                      <a:pt x="51" y="218"/>
                      <a:pt x="51" y="208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83" y="117"/>
                      <a:pt x="83" y="117"/>
                      <a:pt x="83" y="117"/>
                    </a:cubicBezTo>
                    <a:cubicBezTo>
                      <a:pt x="88" y="109"/>
                      <a:pt x="95" y="102"/>
                      <a:pt x="102" y="95"/>
                    </a:cubicBezTo>
                    <a:cubicBezTo>
                      <a:pt x="78" y="46"/>
                      <a:pt x="78" y="46"/>
                      <a:pt x="78" y="46"/>
                    </a:cubicBezTo>
                    <a:cubicBezTo>
                      <a:pt x="164" y="4"/>
                      <a:pt x="164" y="4"/>
                      <a:pt x="164" y="4"/>
                    </a:cubicBezTo>
                    <a:cubicBezTo>
                      <a:pt x="188" y="53"/>
                      <a:pt x="188" y="53"/>
                      <a:pt x="188" y="53"/>
                    </a:cubicBezTo>
                    <a:cubicBezTo>
                      <a:pt x="198" y="52"/>
                      <a:pt x="208" y="51"/>
                      <a:pt x="218" y="52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326" y="31"/>
                      <a:pt x="326" y="31"/>
                      <a:pt x="326" y="31"/>
                    </a:cubicBezTo>
                    <a:cubicBezTo>
                      <a:pt x="304" y="93"/>
                      <a:pt x="304" y="93"/>
                      <a:pt x="304" y="93"/>
                    </a:cubicBezTo>
                    <a:cubicBezTo>
                      <a:pt x="277" y="84"/>
                      <a:pt x="277" y="84"/>
                      <a:pt x="277" y="84"/>
                    </a:cubicBezTo>
                    <a:cubicBezTo>
                      <a:pt x="289" y="49"/>
                      <a:pt x="289" y="49"/>
                      <a:pt x="289" y="49"/>
                    </a:cubicBezTo>
                    <a:cubicBezTo>
                      <a:pt x="254" y="37"/>
                      <a:pt x="254" y="37"/>
                      <a:pt x="254" y="37"/>
                    </a:cubicBezTo>
                    <a:cubicBezTo>
                      <a:pt x="238" y="83"/>
                      <a:pt x="238" y="83"/>
                      <a:pt x="238" y="83"/>
                    </a:cubicBezTo>
                    <a:cubicBezTo>
                      <a:pt x="226" y="82"/>
                      <a:pt x="226" y="82"/>
                      <a:pt x="226" y="82"/>
                    </a:cubicBezTo>
                    <a:cubicBezTo>
                      <a:pt x="212" y="80"/>
                      <a:pt x="197" y="81"/>
                      <a:pt x="183" y="84"/>
                    </a:cubicBezTo>
                    <a:cubicBezTo>
                      <a:pt x="172" y="87"/>
                      <a:pt x="172" y="87"/>
                      <a:pt x="172" y="87"/>
                    </a:cubicBezTo>
                    <a:cubicBezTo>
                      <a:pt x="151" y="43"/>
                      <a:pt x="151" y="43"/>
                      <a:pt x="151" y="43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39" y="103"/>
                      <a:pt x="139" y="103"/>
                      <a:pt x="139" y="103"/>
                    </a:cubicBezTo>
                    <a:cubicBezTo>
                      <a:pt x="130" y="110"/>
                      <a:pt x="130" y="110"/>
                      <a:pt x="130" y="110"/>
                    </a:cubicBezTo>
                    <a:cubicBezTo>
                      <a:pt x="118" y="120"/>
                      <a:pt x="109" y="130"/>
                      <a:pt x="101" y="143"/>
                    </a:cubicBezTo>
                    <a:cubicBezTo>
                      <a:pt x="95" y="152"/>
                      <a:pt x="95" y="152"/>
                      <a:pt x="95" y="152"/>
                    </a:cubicBezTo>
                    <a:cubicBezTo>
                      <a:pt x="49" y="137"/>
                      <a:pt x="49" y="137"/>
                      <a:pt x="49" y="137"/>
                    </a:cubicBezTo>
                    <a:cubicBezTo>
                      <a:pt x="37" y="172"/>
                      <a:pt x="37" y="172"/>
                      <a:pt x="37" y="172"/>
                    </a:cubicBezTo>
                    <a:cubicBezTo>
                      <a:pt x="83" y="187"/>
                      <a:pt x="83" y="187"/>
                      <a:pt x="83" y="187"/>
                    </a:cubicBezTo>
                    <a:cubicBezTo>
                      <a:pt x="81" y="199"/>
                      <a:pt x="81" y="199"/>
                      <a:pt x="81" y="199"/>
                    </a:cubicBezTo>
                    <a:cubicBezTo>
                      <a:pt x="80" y="213"/>
                      <a:pt x="81" y="228"/>
                      <a:pt x="84" y="242"/>
                    </a:cubicBezTo>
                    <a:cubicBezTo>
                      <a:pt x="87" y="254"/>
                      <a:pt x="87" y="254"/>
                      <a:pt x="87" y="254"/>
                    </a:cubicBezTo>
                    <a:cubicBezTo>
                      <a:pt x="43" y="275"/>
                      <a:pt x="43" y="275"/>
                      <a:pt x="43" y="275"/>
                    </a:cubicBezTo>
                    <a:cubicBezTo>
                      <a:pt x="59" y="308"/>
                      <a:pt x="59" y="308"/>
                      <a:pt x="59" y="308"/>
                    </a:cubicBezTo>
                    <a:cubicBezTo>
                      <a:pt x="92" y="292"/>
                      <a:pt x="92" y="292"/>
                      <a:pt x="92" y="292"/>
                    </a:cubicBezTo>
                    <a:cubicBezTo>
                      <a:pt x="105" y="318"/>
                      <a:pt x="105" y="318"/>
                      <a:pt x="105" y="318"/>
                    </a:cubicBezTo>
                    <a:cubicBezTo>
                      <a:pt x="46" y="347"/>
                      <a:pt x="46" y="347"/>
                      <a:pt x="46" y="3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7" name="Freeform 211">
                <a:extLst>
                  <a:ext uri="{FF2B5EF4-FFF2-40B4-BE49-F238E27FC236}">
                    <a16:creationId xmlns:a16="http://schemas.microsoft.com/office/drawing/2014/main" id="{229B6800-7E1F-7E43-8C6A-8D2D8F421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5725" y="3821113"/>
                <a:ext cx="98425" cy="90487"/>
              </a:xfrm>
              <a:custGeom>
                <a:avLst/>
                <a:gdLst>
                  <a:gd name="T0" fmla="*/ 91 w 173"/>
                  <a:gd name="T1" fmla="*/ 160 h 160"/>
                  <a:gd name="T2" fmla="*/ 91 w 173"/>
                  <a:gd name="T3" fmla="*/ 160 h 160"/>
                  <a:gd name="T4" fmla="*/ 60 w 173"/>
                  <a:gd name="T5" fmla="*/ 154 h 160"/>
                  <a:gd name="T6" fmla="*/ 17 w 173"/>
                  <a:gd name="T7" fmla="*/ 49 h 160"/>
                  <a:gd name="T8" fmla="*/ 91 w 173"/>
                  <a:gd name="T9" fmla="*/ 0 h 160"/>
                  <a:gd name="T10" fmla="*/ 121 w 173"/>
                  <a:gd name="T11" fmla="*/ 6 h 160"/>
                  <a:gd name="T12" fmla="*/ 165 w 173"/>
                  <a:gd name="T13" fmla="*/ 50 h 160"/>
                  <a:gd name="T14" fmla="*/ 165 w 173"/>
                  <a:gd name="T15" fmla="*/ 111 h 160"/>
                  <a:gd name="T16" fmla="*/ 91 w 173"/>
                  <a:gd name="T17" fmla="*/ 160 h 160"/>
                  <a:gd name="T18" fmla="*/ 91 w 173"/>
                  <a:gd name="T19" fmla="*/ 29 h 160"/>
                  <a:gd name="T20" fmla="*/ 44 w 173"/>
                  <a:gd name="T21" fmla="*/ 61 h 160"/>
                  <a:gd name="T22" fmla="*/ 71 w 173"/>
                  <a:gd name="T23" fmla="*/ 127 h 160"/>
                  <a:gd name="T24" fmla="*/ 138 w 173"/>
                  <a:gd name="T25" fmla="*/ 100 h 160"/>
                  <a:gd name="T26" fmla="*/ 138 w 173"/>
                  <a:gd name="T27" fmla="*/ 61 h 160"/>
                  <a:gd name="T28" fmla="*/ 110 w 173"/>
                  <a:gd name="T29" fmla="*/ 33 h 160"/>
                  <a:gd name="T30" fmla="*/ 91 w 173"/>
                  <a:gd name="T31" fmla="*/ 2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3" h="160">
                    <a:moveTo>
                      <a:pt x="91" y="160"/>
                    </a:moveTo>
                    <a:cubicBezTo>
                      <a:pt x="91" y="160"/>
                      <a:pt x="91" y="160"/>
                      <a:pt x="91" y="160"/>
                    </a:cubicBezTo>
                    <a:cubicBezTo>
                      <a:pt x="80" y="160"/>
                      <a:pt x="70" y="158"/>
                      <a:pt x="60" y="154"/>
                    </a:cubicBezTo>
                    <a:cubicBezTo>
                      <a:pt x="19" y="137"/>
                      <a:pt x="0" y="90"/>
                      <a:pt x="17" y="49"/>
                    </a:cubicBezTo>
                    <a:cubicBezTo>
                      <a:pt x="29" y="19"/>
                      <a:pt x="58" y="0"/>
                      <a:pt x="91" y="0"/>
                    </a:cubicBezTo>
                    <a:cubicBezTo>
                      <a:pt x="101" y="0"/>
                      <a:pt x="112" y="2"/>
                      <a:pt x="121" y="6"/>
                    </a:cubicBezTo>
                    <a:cubicBezTo>
                      <a:pt x="141" y="14"/>
                      <a:pt x="157" y="30"/>
                      <a:pt x="165" y="50"/>
                    </a:cubicBezTo>
                    <a:cubicBezTo>
                      <a:pt x="173" y="69"/>
                      <a:pt x="173" y="91"/>
                      <a:pt x="165" y="111"/>
                    </a:cubicBezTo>
                    <a:cubicBezTo>
                      <a:pt x="152" y="141"/>
                      <a:pt x="123" y="160"/>
                      <a:pt x="91" y="160"/>
                    </a:cubicBezTo>
                    <a:close/>
                    <a:moveTo>
                      <a:pt x="91" y="29"/>
                    </a:moveTo>
                    <a:cubicBezTo>
                      <a:pt x="70" y="29"/>
                      <a:pt x="52" y="42"/>
                      <a:pt x="44" y="61"/>
                    </a:cubicBezTo>
                    <a:cubicBezTo>
                      <a:pt x="33" y="87"/>
                      <a:pt x="45" y="116"/>
                      <a:pt x="71" y="127"/>
                    </a:cubicBezTo>
                    <a:cubicBezTo>
                      <a:pt x="97" y="138"/>
                      <a:pt x="127" y="125"/>
                      <a:pt x="138" y="100"/>
                    </a:cubicBezTo>
                    <a:cubicBezTo>
                      <a:pt x="143" y="87"/>
                      <a:pt x="143" y="73"/>
                      <a:pt x="138" y="61"/>
                    </a:cubicBezTo>
                    <a:cubicBezTo>
                      <a:pt x="132" y="48"/>
                      <a:pt x="123" y="38"/>
                      <a:pt x="110" y="33"/>
                    </a:cubicBezTo>
                    <a:cubicBezTo>
                      <a:pt x="104" y="31"/>
                      <a:pt x="97" y="29"/>
                      <a:pt x="9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8" name="Freeform 209">
                <a:extLst>
                  <a:ext uri="{FF2B5EF4-FFF2-40B4-BE49-F238E27FC236}">
                    <a16:creationId xmlns:a16="http://schemas.microsoft.com/office/drawing/2014/main" id="{6B1204BC-0112-BB48-B879-6C2F1078D2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4288" y="3743325"/>
                <a:ext cx="246062" cy="246062"/>
              </a:xfrm>
              <a:custGeom>
                <a:avLst/>
                <a:gdLst>
                  <a:gd name="T0" fmla="*/ 230 w 429"/>
                  <a:gd name="T1" fmla="*/ 377 h 428"/>
                  <a:gd name="T2" fmla="*/ 178 w 429"/>
                  <a:gd name="T3" fmla="*/ 428 h 428"/>
                  <a:gd name="T4" fmla="*/ 110 w 429"/>
                  <a:gd name="T5" fmla="*/ 340 h 428"/>
                  <a:gd name="T6" fmla="*/ 37 w 429"/>
                  <a:gd name="T7" fmla="*/ 340 h 428"/>
                  <a:gd name="T8" fmla="*/ 52 w 429"/>
                  <a:gd name="T9" fmla="*/ 229 h 428"/>
                  <a:gd name="T10" fmla="*/ 0 w 429"/>
                  <a:gd name="T11" fmla="*/ 178 h 428"/>
                  <a:gd name="T12" fmla="*/ 89 w 429"/>
                  <a:gd name="T13" fmla="*/ 110 h 428"/>
                  <a:gd name="T14" fmla="*/ 89 w 429"/>
                  <a:gd name="T15" fmla="*/ 37 h 428"/>
                  <a:gd name="T16" fmla="*/ 200 w 429"/>
                  <a:gd name="T17" fmla="*/ 51 h 428"/>
                  <a:gd name="T18" fmla="*/ 251 w 429"/>
                  <a:gd name="T19" fmla="*/ 0 h 428"/>
                  <a:gd name="T20" fmla="*/ 319 w 429"/>
                  <a:gd name="T21" fmla="*/ 88 h 428"/>
                  <a:gd name="T22" fmla="*/ 392 w 429"/>
                  <a:gd name="T23" fmla="*/ 88 h 428"/>
                  <a:gd name="T24" fmla="*/ 378 w 429"/>
                  <a:gd name="T25" fmla="*/ 199 h 428"/>
                  <a:gd name="T26" fmla="*/ 429 w 429"/>
                  <a:gd name="T27" fmla="*/ 251 h 428"/>
                  <a:gd name="T28" fmla="*/ 341 w 429"/>
                  <a:gd name="T29" fmla="*/ 319 h 428"/>
                  <a:gd name="T30" fmla="*/ 341 w 429"/>
                  <a:gd name="T31" fmla="*/ 391 h 428"/>
                  <a:gd name="T32" fmla="*/ 127 w 429"/>
                  <a:gd name="T33" fmla="*/ 376 h 428"/>
                  <a:gd name="T34" fmla="*/ 181 w 429"/>
                  <a:gd name="T35" fmla="*/ 345 h 428"/>
                  <a:gd name="T36" fmla="*/ 237 w 429"/>
                  <a:gd name="T37" fmla="*/ 347 h 428"/>
                  <a:gd name="T38" fmla="*/ 267 w 429"/>
                  <a:gd name="T39" fmla="*/ 390 h 428"/>
                  <a:gd name="T40" fmla="*/ 283 w 429"/>
                  <a:gd name="T41" fmla="*/ 330 h 428"/>
                  <a:gd name="T42" fmla="*/ 324 w 429"/>
                  <a:gd name="T43" fmla="*/ 292 h 428"/>
                  <a:gd name="T44" fmla="*/ 376 w 429"/>
                  <a:gd name="T45" fmla="*/ 302 h 428"/>
                  <a:gd name="T46" fmla="*/ 345 w 429"/>
                  <a:gd name="T47" fmla="*/ 248 h 428"/>
                  <a:gd name="T48" fmla="*/ 347 w 429"/>
                  <a:gd name="T49" fmla="*/ 192 h 428"/>
                  <a:gd name="T50" fmla="*/ 391 w 429"/>
                  <a:gd name="T51" fmla="*/ 162 h 428"/>
                  <a:gd name="T52" fmla="*/ 331 w 429"/>
                  <a:gd name="T53" fmla="*/ 145 h 428"/>
                  <a:gd name="T54" fmla="*/ 293 w 429"/>
                  <a:gd name="T55" fmla="*/ 105 h 428"/>
                  <a:gd name="T56" fmla="*/ 302 w 429"/>
                  <a:gd name="T57" fmla="*/ 53 h 428"/>
                  <a:gd name="T58" fmla="*/ 248 w 429"/>
                  <a:gd name="T59" fmla="*/ 83 h 428"/>
                  <a:gd name="T60" fmla="*/ 193 w 429"/>
                  <a:gd name="T61" fmla="*/ 82 h 428"/>
                  <a:gd name="T62" fmla="*/ 162 w 429"/>
                  <a:gd name="T63" fmla="*/ 38 h 428"/>
                  <a:gd name="T64" fmla="*/ 146 w 429"/>
                  <a:gd name="T65" fmla="*/ 98 h 428"/>
                  <a:gd name="T66" fmla="*/ 105 w 429"/>
                  <a:gd name="T67" fmla="*/ 136 h 428"/>
                  <a:gd name="T68" fmla="*/ 53 w 429"/>
                  <a:gd name="T69" fmla="*/ 127 h 428"/>
                  <a:gd name="T70" fmla="*/ 84 w 429"/>
                  <a:gd name="T71" fmla="*/ 181 h 428"/>
                  <a:gd name="T72" fmla="*/ 82 w 429"/>
                  <a:gd name="T73" fmla="*/ 236 h 428"/>
                  <a:gd name="T74" fmla="*/ 39 w 429"/>
                  <a:gd name="T75" fmla="*/ 266 h 428"/>
                  <a:gd name="T76" fmla="*/ 99 w 429"/>
                  <a:gd name="T77" fmla="*/ 283 h 428"/>
                  <a:gd name="T78" fmla="*/ 137 w 429"/>
                  <a:gd name="T79" fmla="*/ 324 h 428"/>
                  <a:gd name="T80" fmla="*/ 127 w 429"/>
                  <a:gd name="T81" fmla="*/ 376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9" h="428">
                    <a:moveTo>
                      <a:pt x="251" y="428"/>
                    </a:moveTo>
                    <a:cubicBezTo>
                      <a:pt x="230" y="377"/>
                      <a:pt x="230" y="377"/>
                      <a:pt x="230" y="377"/>
                    </a:cubicBezTo>
                    <a:cubicBezTo>
                      <a:pt x="220" y="378"/>
                      <a:pt x="210" y="378"/>
                      <a:pt x="200" y="377"/>
                    </a:cubicBezTo>
                    <a:cubicBezTo>
                      <a:pt x="178" y="428"/>
                      <a:pt x="178" y="428"/>
                      <a:pt x="178" y="428"/>
                    </a:cubicBezTo>
                    <a:cubicBezTo>
                      <a:pt x="89" y="391"/>
                      <a:pt x="89" y="391"/>
                      <a:pt x="89" y="391"/>
                    </a:cubicBezTo>
                    <a:cubicBezTo>
                      <a:pt x="110" y="340"/>
                      <a:pt x="110" y="340"/>
                      <a:pt x="110" y="340"/>
                    </a:cubicBezTo>
                    <a:cubicBezTo>
                      <a:pt x="102" y="334"/>
                      <a:pt x="95" y="326"/>
                      <a:pt x="89" y="319"/>
                    </a:cubicBezTo>
                    <a:cubicBezTo>
                      <a:pt x="37" y="340"/>
                      <a:pt x="37" y="340"/>
                      <a:pt x="37" y="340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52" y="229"/>
                      <a:pt x="52" y="229"/>
                      <a:pt x="52" y="229"/>
                    </a:cubicBezTo>
                    <a:cubicBezTo>
                      <a:pt x="51" y="219"/>
                      <a:pt x="51" y="209"/>
                      <a:pt x="52" y="199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89" y="110"/>
                      <a:pt x="89" y="110"/>
                      <a:pt x="89" y="110"/>
                    </a:cubicBezTo>
                    <a:cubicBezTo>
                      <a:pt x="95" y="102"/>
                      <a:pt x="102" y="95"/>
                      <a:pt x="110" y="88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210" y="50"/>
                      <a:pt x="220" y="50"/>
                      <a:pt x="230" y="51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341" y="37"/>
                      <a:pt x="341" y="37"/>
                      <a:pt x="341" y="37"/>
                    </a:cubicBezTo>
                    <a:cubicBezTo>
                      <a:pt x="319" y="88"/>
                      <a:pt x="319" y="88"/>
                      <a:pt x="319" y="88"/>
                    </a:cubicBezTo>
                    <a:cubicBezTo>
                      <a:pt x="327" y="95"/>
                      <a:pt x="334" y="102"/>
                      <a:pt x="341" y="110"/>
                    </a:cubicBezTo>
                    <a:cubicBezTo>
                      <a:pt x="392" y="88"/>
                      <a:pt x="392" y="88"/>
                      <a:pt x="392" y="88"/>
                    </a:cubicBezTo>
                    <a:cubicBezTo>
                      <a:pt x="429" y="178"/>
                      <a:pt x="429" y="178"/>
                      <a:pt x="429" y="178"/>
                    </a:cubicBezTo>
                    <a:cubicBezTo>
                      <a:pt x="378" y="199"/>
                      <a:pt x="378" y="199"/>
                      <a:pt x="378" y="199"/>
                    </a:cubicBezTo>
                    <a:cubicBezTo>
                      <a:pt x="379" y="209"/>
                      <a:pt x="379" y="219"/>
                      <a:pt x="378" y="229"/>
                    </a:cubicBezTo>
                    <a:cubicBezTo>
                      <a:pt x="429" y="251"/>
                      <a:pt x="429" y="251"/>
                      <a:pt x="429" y="251"/>
                    </a:cubicBezTo>
                    <a:cubicBezTo>
                      <a:pt x="392" y="340"/>
                      <a:pt x="392" y="340"/>
                      <a:pt x="392" y="340"/>
                    </a:cubicBezTo>
                    <a:cubicBezTo>
                      <a:pt x="341" y="319"/>
                      <a:pt x="341" y="319"/>
                      <a:pt x="341" y="319"/>
                    </a:cubicBezTo>
                    <a:cubicBezTo>
                      <a:pt x="334" y="326"/>
                      <a:pt x="327" y="334"/>
                      <a:pt x="319" y="340"/>
                    </a:cubicBezTo>
                    <a:cubicBezTo>
                      <a:pt x="341" y="391"/>
                      <a:pt x="341" y="391"/>
                      <a:pt x="341" y="391"/>
                    </a:cubicBezTo>
                    <a:cubicBezTo>
                      <a:pt x="251" y="428"/>
                      <a:pt x="251" y="428"/>
                      <a:pt x="251" y="428"/>
                    </a:cubicBezTo>
                    <a:close/>
                    <a:moveTo>
                      <a:pt x="127" y="376"/>
                    </a:moveTo>
                    <a:cubicBezTo>
                      <a:pt x="162" y="390"/>
                      <a:pt x="162" y="390"/>
                      <a:pt x="162" y="390"/>
                    </a:cubicBezTo>
                    <a:cubicBezTo>
                      <a:pt x="181" y="345"/>
                      <a:pt x="181" y="345"/>
                      <a:pt x="181" y="345"/>
                    </a:cubicBezTo>
                    <a:cubicBezTo>
                      <a:pt x="193" y="347"/>
                      <a:pt x="193" y="347"/>
                      <a:pt x="193" y="347"/>
                    </a:cubicBezTo>
                    <a:cubicBezTo>
                      <a:pt x="207" y="349"/>
                      <a:pt x="222" y="349"/>
                      <a:pt x="237" y="347"/>
                    </a:cubicBezTo>
                    <a:cubicBezTo>
                      <a:pt x="248" y="345"/>
                      <a:pt x="248" y="345"/>
                      <a:pt x="248" y="345"/>
                    </a:cubicBezTo>
                    <a:cubicBezTo>
                      <a:pt x="267" y="390"/>
                      <a:pt x="267" y="390"/>
                      <a:pt x="267" y="390"/>
                    </a:cubicBezTo>
                    <a:cubicBezTo>
                      <a:pt x="302" y="376"/>
                      <a:pt x="302" y="376"/>
                      <a:pt x="302" y="376"/>
                    </a:cubicBezTo>
                    <a:cubicBezTo>
                      <a:pt x="283" y="330"/>
                      <a:pt x="283" y="330"/>
                      <a:pt x="283" y="330"/>
                    </a:cubicBezTo>
                    <a:cubicBezTo>
                      <a:pt x="293" y="323"/>
                      <a:pt x="293" y="323"/>
                      <a:pt x="293" y="323"/>
                    </a:cubicBezTo>
                    <a:cubicBezTo>
                      <a:pt x="305" y="315"/>
                      <a:pt x="316" y="304"/>
                      <a:pt x="324" y="292"/>
                    </a:cubicBezTo>
                    <a:cubicBezTo>
                      <a:pt x="331" y="283"/>
                      <a:pt x="331" y="283"/>
                      <a:pt x="331" y="283"/>
                    </a:cubicBezTo>
                    <a:cubicBezTo>
                      <a:pt x="376" y="302"/>
                      <a:pt x="376" y="302"/>
                      <a:pt x="376" y="302"/>
                    </a:cubicBezTo>
                    <a:cubicBezTo>
                      <a:pt x="391" y="266"/>
                      <a:pt x="391" y="266"/>
                      <a:pt x="391" y="266"/>
                    </a:cubicBezTo>
                    <a:cubicBezTo>
                      <a:pt x="345" y="248"/>
                      <a:pt x="345" y="248"/>
                      <a:pt x="345" y="248"/>
                    </a:cubicBezTo>
                    <a:cubicBezTo>
                      <a:pt x="347" y="236"/>
                      <a:pt x="347" y="236"/>
                      <a:pt x="347" y="236"/>
                    </a:cubicBezTo>
                    <a:cubicBezTo>
                      <a:pt x="350" y="222"/>
                      <a:pt x="350" y="207"/>
                      <a:pt x="347" y="192"/>
                    </a:cubicBezTo>
                    <a:cubicBezTo>
                      <a:pt x="345" y="181"/>
                      <a:pt x="345" y="181"/>
                      <a:pt x="345" y="181"/>
                    </a:cubicBezTo>
                    <a:cubicBezTo>
                      <a:pt x="391" y="162"/>
                      <a:pt x="391" y="162"/>
                      <a:pt x="391" y="162"/>
                    </a:cubicBezTo>
                    <a:cubicBezTo>
                      <a:pt x="376" y="127"/>
                      <a:pt x="376" y="127"/>
                      <a:pt x="376" y="127"/>
                    </a:cubicBezTo>
                    <a:cubicBezTo>
                      <a:pt x="331" y="145"/>
                      <a:pt x="331" y="145"/>
                      <a:pt x="331" y="145"/>
                    </a:cubicBezTo>
                    <a:cubicBezTo>
                      <a:pt x="324" y="136"/>
                      <a:pt x="324" y="136"/>
                      <a:pt x="324" y="136"/>
                    </a:cubicBezTo>
                    <a:cubicBezTo>
                      <a:pt x="315" y="124"/>
                      <a:pt x="305" y="113"/>
                      <a:pt x="293" y="105"/>
                    </a:cubicBezTo>
                    <a:cubicBezTo>
                      <a:pt x="283" y="98"/>
                      <a:pt x="283" y="98"/>
                      <a:pt x="283" y="98"/>
                    </a:cubicBezTo>
                    <a:cubicBezTo>
                      <a:pt x="302" y="53"/>
                      <a:pt x="302" y="53"/>
                      <a:pt x="302" y="53"/>
                    </a:cubicBezTo>
                    <a:cubicBezTo>
                      <a:pt x="267" y="38"/>
                      <a:pt x="267" y="38"/>
                      <a:pt x="267" y="38"/>
                    </a:cubicBezTo>
                    <a:cubicBezTo>
                      <a:pt x="248" y="83"/>
                      <a:pt x="248" y="83"/>
                      <a:pt x="248" y="83"/>
                    </a:cubicBezTo>
                    <a:cubicBezTo>
                      <a:pt x="237" y="81"/>
                      <a:pt x="237" y="81"/>
                      <a:pt x="237" y="81"/>
                    </a:cubicBezTo>
                    <a:cubicBezTo>
                      <a:pt x="222" y="79"/>
                      <a:pt x="207" y="79"/>
                      <a:pt x="193" y="82"/>
                    </a:cubicBezTo>
                    <a:cubicBezTo>
                      <a:pt x="181" y="83"/>
                      <a:pt x="181" y="83"/>
                      <a:pt x="181" y="83"/>
                    </a:cubicBezTo>
                    <a:cubicBezTo>
                      <a:pt x="162" y="38"/>
                      <a:pt x="162" y="38"/>
                      <a:pt x="162" y="38"/>
                    </a:cubicBezTo>
                    <a:cubicBezTo>
                      <a:pt x="127" y="53"/>
                      <a:pt x="127" y="53"/>
                      <a:pt x="127" y="53"/>
                    </a:cubicBezTo>
                    <a:cubicBezTo>
                      <a:pt x="146" y="98"/>
                      <a:pt x="146" y="98"/>
                      <a:pt x="146" y="98"/>
                    </a:cubicBezTo>
                    <a:cubicBezTo>
                      <a:pt x="137" y="105"/>
                      <a:pt x="137" y="105"/>
                      <a:pt x="137" y="105"/>
                    </a:cubicBezTo>
                    <a:cubicBezTo>
                      <a:pt x="124" y="114"/>
                      <a:pt x="114" y="124"/>
                      <a:pt x="105" y="136"/>
                    </a:cubicBezTo>
                    <a:cubicBezTo>
                      <a:pt x="99" y="145"/>
                      <a:pt x="99" y="145"/>
                      <a:pt x="99" y="145"/>
                    </a:cubicBezTo>
                    <a:cubicBezTo>
                      <a:pt x="53" y="127"/>
                      <a:pt x="53" y="127"/>
                      <a:pt x="53" y="127"/>
                    </a:cubicBezTo>
                    <a:cubicBezTo>
                      <a:pt x="39" y="162"/>
                      <a:pt x="39" y="162"/>
                      <a:pt x="39" y="162"/>
                    </a:cubicBezTo>
                    <a:cubicBezTo>
                      <a:pt x="84" y="181"/>
                      <a:pt x="84" y="181"/>
                      <a:pt x="84" y="181"/>
                    </a:cubicBezTo>
                    <a:cubicBezTo>
                      <a:pt x="82" y="192"/>
                      <a:pt x="82" y="192"/>
                      <a:pt x="82" y="192"/>
                    </a:cubicBezTo>
                    <a:cubicBezTo>
                      <a:pt x="80" y="207"/>
                      <a:pt x="80" y="221"/>
                      <a:pt x="82" y="236"/>
                    </a:cubicBezTo>
                    <a:cubicBezTo>
                      <a:pt x="84" y="248"/>
                      <a:pt x="84" y="248"/>
                      <a:pt x="84" y="248"/>
                    </a:cubicBezTo>
                    <a:cubicBezTo>
                      <a:pt x="39" y="266"/>
                      <a:pt x="39" y="266"/>
                      <a:pt x="39" y="266"/>
                    </a:cubicBezTo>
                    <a:cubicBezTo>
                      <a:pt x="53" y="302"/>
                      <a:pt x="53" y="302"/>
                      <a:pt x="53" y="302"/>
                    </a:cubicBezTo>
                    <a:cubicBezTo>
                      <a:pt x="99" y="283"/>
                      <a:pt x="99" y="283"/>
                      <a:pt x="99" y="283"/>
                    </a:cubicBezTo>
                    <a:cubicBezTo>
                      <a:pt x="105" y="292"/>
                      <a:pt x="105" y="292"/>
                      <a:pt x="105" y="292"/>
                    </a:cubicBezTo>
                    <a:cubicBezTo>
                      <a:pt x="114" y="304"/>
                      <a:pt x="125" y="315"/>
                      <a:pt x="137" y="324"/>
                    </a:cubicBezTo>
                    <a:cubicBezTo>
                      <a:pt x="146" y="330"/>
                      <a:pt x="146" y="330"/>
                      <a:pt x="146" y="330"/>
                    </a:cubicBezTo>
                    <a:cubicBezTo>
                      <a:pt x="127" y="376"/>
                      <a:pt x="127" y="376"/>
                      <a:pt x="127" y="3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15" name="Textplatzhalter 3">
            <a:extLst>
              <a:ext uri="{FF2B5EF4-FFF2-40B4-BE49-F238E27FC236}">
                <a16:creationId xmlns:a16="http://schemas.microsoft.com/office/drawing/2014/main" id="{DC962F71-4775-0A4A-89B6-E7E61F08E9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36234" y="4628213"/>
            <a:ext cx="1666974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116" name="Textplatzhalter 3">
            <a:extLst>
              <a:ext uri="{FF2B5EF4-FFF2-40B4-BE49-F238E27FC236}">
                <a16:creationId xmlns:a16="http://schemas.microsoft.com/office/drawing/2014/main" id="{F8C46972-4A17-EE4C-843B-827B05BA21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936234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17" name="Textplatzhalter 3">
            <a:extLst>
              <a:ext uri="{FF2B5EF4-FFF2-40B4-BE49-F238E27FC236}">
                <a16:creationId xmlns:a16="http://schemas.microsoft.com/office/drawing/2014/main" id="{0DC3B2A6-979C-D744-9E74-00A71FB7AD1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936234" y="3613386"/>
            <a:ext cx="1666974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118" name="Textplatzhalter 3">
            <a:extLst>
              <a:ext uri="{FF2B5EF4-FFF2-40B4-BE49-F238E27FC236}">
                <a16:creationId xmlns:a16="http://schemas.microsoft.com/office/drawing/2014/main" id="{8C840CE5-EE28-D84E-9A27-090F2C858F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55284" y="4628213"/>
            <a:ext cx="1666974" cy="1706803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119" name="Textplatzhalter 3">
            <a:extLst>
              <a:ext uri="{FF2B5EF4-FFF2-40B4-BE49-F238E27FC236}">
                <a16:creationId xmlns:a16="http://schemas.microsoft.com/office/drawing/2014/main" id="{A78DAD64-BAF2-2C4E-A0A3-641DD6EE21E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755284" y="3261671"/>
            <a:ext cx="1268060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20" name="Textplatzhalter 3">
            <a:extLst>
              <a:ext uri="{FF2B5EF4-FFF2-40B4-BE49-F238E27FC236}">
                <a16:creationId xmlns:a16="http://schemas.microsoft.com/office/drawing/2014/main" id="{3B244EBD-AE68-3C42-893F-3EA0981C614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755284" y="3613386"/>
            <a:ext cx="1666974" cy="602314"/>
          </a:xfrm>
          <a:prstGeom prst="rect">
            <a:avLst/>
          </a:prstGeom>
        </p:spPr>
        <p:txBody>
          <a:bodyPr lIns="180000" tIns="72000" rIns="14400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F61574E7-027C-8D41-906E-584AE70F58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A2B244C8-FF77-2F4C-8927-5B7C1C4EEEBE}"/>
              </a:ext>
            </a:extLst>
          </p:cNvPr>
          <p:cNvSpPr/>
          <p:nvPr userDrawn="1"/>
        </p:nvSpPr>
        <p:spPr>
          <a:xfrm>
            <a:off x="517051" y="970220"/>
            <a:ext cx="8074820" cy="774943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3" name="Isosceles Triangle 30">
            <a:extLst>
              <a:ext uri="{FF2B5EF4-FFF2-40B4-BE49-F238E27FC236}">
                <a16:creationId xmlns:a16="http://schemas.microsoft.com/office/drawing/2014/main" id="{85929BD9-31AB-9B42-93A7-D29052D59073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7F2BAB00-4FBC-E34C-8517-D0CE57B47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8320" y="1069805"/>
            <a:ext cx="7884679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, Mustertext, </a:t>
            </a:r>
            <a:br>
              <a:rPr lang="de-DE" dirty="0"/>
            </a:br>
            <a:r>
              <a:rPr lang="de-DE" dirty="0"/>
              <a:t>Mustertext, Mustertext, </a:t>
            </a:r>
          </a:p>
        </p:txBody>
      </p:sp>
      <p:sp>
        <p:nvSpPr>
          <p:cNvPr id="121" name="Textplatzhalter 3">
            <a:extLst>
              <a:ext uri="{FF2B5EF4-FFF2-40B4-BE49-F238E27FC236}">
                <a16:creationId xmlns:a16="http://schemas.microsoft.com/office/drawing/2014/main" id="{660C323B-A552-2E4B-917E-42AD7F7EED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6310" y="1936834"/>
            <a:ext cx="3622778" cy="256994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überschrift</a:t>
            </a:r>
          </a:p>
        </p:txBody>
      </p:sp>
      <p:cxnSp>
        <p:nvCxnSpPr>
          <p:cNvPr id="122" name="Straight Connector 18">
            <a:extLst>
              <a:ext uri="{FF2B5EF4-FFF2-40B4-BE49-F238E27FC236}">
                <a16:creationId xmlns:a16="http://schemas.microsoft.com/office/drawing/2014/main" id="{93A19B87-ED01-6B40-B3BC-438BC60E7380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47855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11">
            <a:extLst>
              <a:ext uri="{FF2B5EF4-FFF2-40B4-BE49-F238E27FC236}">
                <a16:creationId xmlns:a16="http://schemas.microsoft.com/office/drawing/2014/main" id="{19D8D960-DCA7-D44A-B96A-1E45A5D5742B}"/>
              </a:ext>
            </a:extLst>
          </p:cNvPr>
          <p:cNvSpPr/>
          <p:nvPr userDrawn="1"/>
        </p:nvSpPr>
        <p:spPr>
          <a:xfrm>
            <a:off x="4621161" y="1"/>
            <a:ext cx="7570839" cy="6857999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74645423-5C3D-D241-9E60-0BA12F479B3B}"/>
              </a:ext>
            </a:extLst>
          </p:cNvPr>
          <p:cNvSpPr/>
          <p:nvPr userDrawn="1"/>
        </p:nvSpPr>
        <p:spPr>
          <a:xfrm>
            <a:off x="6907073" y="4423823"/>
            <a:ext cx="3924477" cy="771474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FFB81C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1"/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DB7DAA7C-31BB-7947-A687-779B75A0B81E}"/>
              </a:ext>
            </a:extLst>
          </p:cNvPr>
          <p:cNvSpPr/>
          <p:nvPr userDrawn="1"/>
        </p:nvSpPr>
        <p:spPr>
          <a:xfrm>
            <a:off x="6905259" y="5316517"/>
            <a:ext cx="3924469" cy="771474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FFB81C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1"/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ounded Rectangle 111">
            <a:extLst>
              <a:ext uri="{FF2B5EF4-FFF2-40B4-BE49-F238E27FC236}">
                <a16:creationId xmlns:a16="http://schemas.microsoft.com/office/drawing/2014/main" id="{FC2F66B9-1AF3-864C-91B6-4BCA1471E652}"/>
              </a:ext>
            </a:extLst>
          </p:cNvPr>
          <p:cNvSpPr/>
          <p:nvPr userDrawn="1"/>
        </p:nvSpPr>
        <p:spPr>
          <a:xfrm>
            <a:off x="6905260" y="3531878"/>
            <a:ext cx="3926638" cy="771474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FFB81C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1"/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8CE76BE-2010-5E49-ACFA-5D9468399CC3}"/>
              </a:ext>
            </a:extLst>
          </p:cNvPr>
          <p:cNvSpPr/>
          <p:nvPr userDrawn="1"/>
        </p:nvSpPr>
        <p:spPr>
          <a:xfrm>
            <a:off x="6692014" y="3693837"/>
            <a:ext cx="447556" cy="447556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Reso SemiBold" panose="02000000000000000000" pitchFamily="2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A27B4F7-2A94-2F4B-9150-C8C1ABE03097}"/>
              </a:ext>
            </a:extLst>
          </p:cNvPr>
          <p:cNvSpPr/>
          <p:nvPr userDrawn="1"/>
        </p:nvSpPr>
        <p:spPr>
          <a:xfrm>
            <a:off x="6692014" y="4578913"/>
            <a:ext cx="447556" cy="447557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Reso SemiBold" panose="02000000000000000000" pitchFamily="2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4EE47B5-8B09-C74F-ABF2-08B7823CAEE7}"/>
              </a:ext>
            </a:extLst>
          </p:cNvPr>
          <p:cNvSpPr/>
          <p:nvPr userDrawn="1"/>
        </p:nvSpPr>
        <p:spPr>
          <a:xfrm>
            <a:off x="6692014" y="5470993"/>
            <a:ext cx="447556" cy="447557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latin typeface="Reso SemiBold" panose="02000000000000000000" pitchFamily="2" charset="0"/>
            </a:endParaRP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79F8870D-F167-9F4E-8CCB-EE7F3B081BD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96890" y="1224512"/>
            <a:ext cx="5978620" cy="19395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BA48F77-16D8-5E4A-A097-B0E64B46421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6890" y="3515090"/>
            <a:ext cx="1220592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E4174D2-DDD3-314B-BF26-4E99B4584F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6890" y="3937206"/>
            <a:ext cx="2985898" cy="215078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84059DFC-60A0-254D-9ADC-A58D0C9799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726782" y="2793856"/>
            <a:ext cx="2986502" cy="187470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374E554F-CB8C-C54C-9428-E5FCAE01F4F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26782" y="3006118"/>
            <a:ext cx="2986502" cy="15793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0865236-0F40-3F43-993E-AA2A685A2A91}"/>
              </a:ext>
            </a:extLst>
          </p:cNvPr>
          <p:cNvSpPr txBox="1"/>
          <p:nvPr userDrawn="1"/>
        </p:nvSpPr>
        <p:spPr>
          <a:xfrm>
            <a:off x="6692014" y="3731977"/>
            <a:ext cx="447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i="0" dirty="0">
                <a:solidFill>
                  <a:schemeClr val="bg2"/>
                </a:solidFill>
                <a:latin typeface="Reso" panose="02000000000000000000" pitchFamily="2" charset="0"/>
              </a:rPr>
              <a:t>1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654F441-0A64-E44C-B2C1-1CC5F2DF350E}"/>
              </a:ext>
            </a:extLst>
          </p:cNvPr>
          <p:cNvSpPr txBox="1"/>
          <p:nvPr userDrawn="1"/>
        </p:nvSpPr>
        <p:spPr>
          <a:xfrm>
            <a:off x="6692014" y="4624671"/>
            <a:ext cx="447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i="0" dirty="0">
                <a:solidFill>
                  <a:schemeClr val="bg2"/>
                </a:solidFill>
                <a:latin typeface="Reso" panose="02000000000000000000" pitchFamily="2" charset="0"/>
              </a:rPr>
              <a:t>2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7EAED30-C2F7-124A-A500-18BF33E53938}"/>
              </a:ext>
            </a:extLst>
          </p:cNvPr>
          <p:cNvSpPr txBox="1"/>
          <p:nvPr userDrawn="1"/>
        </p:nvSpPr>
        <p:spPr>
          <a:xfrm>
            <a:off x="6692014" y="5510345"/>
            <a:ext cx="447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i="0" dirty="0">
                <a:solidFill>
                  <a:schemeClr val="bg2"/>
                </a:solidFill>
                <a:latin typeface="Reso" panose="02000000000000000000" pitchFamily="2" charset="0"/>
              </a:rPr>
              <a:t>3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D92D18D-9880-764B-8541-79103DD8721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40052" y="3531130"/>
            <a:ext cx="3289676" cy="770725"/>
          </a:xfrm>
          <a:prstGeom prst="rect">
            <a:avLst/>
          </a:prstGeom>
          <a:noFill/>
        </p:spPr>
        <p:txBody>
          <a:bodyPr lIns="0" tIns="72000" rIns="72000" bIns="7200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067FAD2B-B844-0942-975E-25056825B0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40052" y="4423075"/>
            <a:ext cx="3289676" cy="771474"/>
          </a:xfrm>
          <a:prstGeom prst="rect">
            <a:avLst/>
          </a:prstGeom>
          <a:noFill/>
        </p:spPr>
        <p:txBody>
          <a:bodyPr lIns="0" tIns="72000" rIns="72000" bIns="7200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0214B44E-C864-034C-AF57-6D90566A958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40052" y="5315767"/>
            <a:ext cx="3289676" cy="771473"/>
          </a:xfrm>
          <a:prstGeom prst="rect">
            <a:avLst/>
          </a:prstGeom>
          <a:noFill/>
        </p:spPr>
        <p:txBody>
          <a:bodyPr lIns="0" tIns="72000" rIns="72000" bIns="7200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grpSp>
        <p:nvGrpSpPr>
          <p:cNvPr id="26" name="Logo-Pos">
            <a:extLst>
              <a:ext uri="{FF2B5EF4-FFF2-40B4-BE49-F238E27FC236}">
                <a16:creationId xmlns:a16="http://schemas.microsoft.com/office/drawing/2014/main" id="{3336976B-A41D-6745-A6AB-70AC6D1CE9C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4CD9E537-83FD-AD4B-A797-B8915973A5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53BCB24-A123-8746-BD8F-860070466B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0E9FA63-6191-E440-9049-31A353C62D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931565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71E6B075-98DD-CC40-AD93-EDFF85F18F1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496889" y="3130651"/>
            <a:ext cx="1724157" cy="15875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4">
            <a:extLst>
              <a:ext uri="{FF2B5EF4-FFF2-40B4-BE49-F238E27FC236}">
                <a16:creationId xmlns:a16="http://schemas.microsoft.com/office/drawing/2014/main" id="{531AD2A9-E57E-E549-AEE6-C5574F7F421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96890" y="4858455"/>
            <a:ext cx="1724158" cy="15875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90831933-A64B-934E-8103-16451109466B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96890" y="1402847"/>
            <a:ext cx="1724157" cy="15875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D82E5C37-17C9-FA47-90A8-BA2348FEEF49}"/>
              </a:ext>
            </a:extLst>
          </p:cNvPr>
          <p:cNvSpPr/>
          <p:nvPr userDrawn="1"/>
        </p:nvSpPr>
        <p:spPr>
          <a:xfrm>
            <a:off x="4018410" y="1402848"/>
            <a:ext cx="7548452" cy="1266009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FFB81C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CA7A3D1B-9559-8947-88A6-F6537D4693EF}"/>
              </a:ext>
            </a:extLst>
          </p:cNvPr>
          <p:cNvSpPr/>
          <p:nvPr userDrawn="1"/>
        </p:nvSpPr>
        <p:spPr>
          <a:xfrm>
            <a:off x="4018410" y="3123334"/>
            <a:ext cx="2368399" cy="332130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60B41FDF-406F-3749-BFB2-E3EDA267E08C}"/>
              </a:ext>
            </a:extLst>
          </p:cNvPr>
          <p:cNvSpPr/>
          <p:nvPr userDrawn="1"/>
        </p:nvSpPr>
        <p:spPr>
          <a:xfrm>
            <a:off x="6608436" y="3118827"/>
            <a:ext cx="2368399" cy="332130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0800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43ED945E-F774-E24D-870C-9B9DAA1D6BA0}"/>
              </a:ext>
            </a:extLst>
          </p:cNvPr>
          <p:cNvSpPr/>
          <p:nvPr userDrawn="1"/>
        </p:nvSpPr>
        <p:spPr>
          <a:xfrm>
            <a:off x="9198463" y="3123534"/>
            <a:ext cx="2368399" cy="3316327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A9F7C4B-FD3C-1742-99AD-8E230BB7D25A}"/>
              </a:ext>
            </a:extLst>
          </p:cNvPr>
          <p:cNvGrpSpPr/>
          <p:nvPr userDrawn="1"/>
        </p:nvGrpSpPr>
        <p:grpSpPr>
          <a:xfrm rot="5400000">
            <a:off x="5056942" y="2748175"/>
            <a:ext cx="291334" cy="291334"/>
            <a:chOff x="4234157" y="4026187"/>
            <a:chExt cx="489344" cy="489344"/>
          </a:xfrm>
        </p:grpSpPr>
        <p:sp>
          <p:nvSpPr>
            <p:cNvPr id="12" name="Isosceles Triangle 30">
              <a:extLst>
                <a:ext uri="{FF2B5EF4-FFF2-40B4-BE49-F238E27FC236}">
                  <a16:creationId xmlns:a16="http://schemas.microsoft.com/office/drawing/2014/main" id="{FDE4C99C-7A31-B443-B4F3-1E79A25C0AA7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" name="Isosceles Triangle 30">
              <a:extLst>
                <a:ext uri="{FF2B5EF4-FFF2-40B4-BE49-F238E27FC236}">
                  <a16:creationId xmlns:a16="http://schemas.microsoft.com/office/drawing/2014/main" id="{01365340-5500-D54B-A8D1-211B3E1E5107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A50484C-8644-8E43-81EE-AED37D0FA512}"/>
              </a:ext>
            </a:extLst>
          </p:cNvPr>
          <p:cNvGrpSpPr/>
          <p:nvPr userDrawn="1"/>
        </p:nvGrpSpPr>
        <p:grpSpPr>
          <a:xfrm rot="5400000">
            <a:off x="7646969" y="2748175"/>
            <a:ext cx="291334" cy="291334"/>
            <a:chOff x="4234157" y="4026187"/>
            <a:chExt cx="489344" cy="489344"/>
          </a:xfrm>
        </p:grpSpPr>
        <p:sp>
          <p:nvSpPr>
            <p:cNvPr id="15" name="Isosceles Triangle 30">
              <a:extLst>
                <a:ext uri="{FF2B5EF4-FFF2-40B4-BE49-F238E27FC236}">
                  <a16:creationId xmlns:a16="http://schemas.microsoft.com/office/drawing/2014/main" id="{417E384C-5F21-3C42-AECF-C96F4AB5791E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" name="Isosceles Triangle 30">
              <a:extLst>
                <a:ext uri="{FF2B5EF4-FFF2-40B4-BE49-F238E27FC236}">
                  <a16:creationId xmlns:a16="http://schemas.microsoft.com/office/drawing/2014/main" id="{616CBD64-CD9E-054F-B3ED-B3023A8D6B00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DA1877A-B3E6-1240-B1DE-D4D9AF655618}"/>
              </a:ext>
            </a:extLst>
          </p:cNvPr>
          <p:cNvGrpSpPr/>
          <p:nvPr userDrawn="1"/>
        </p:nvGrpSpPr>
        <p:grpSpPr>
          <a:xfrm rot="5400000">
            <a:off x="10236995" y="2748175"/>
            <a:ext cx="291334" cy="291334"/>
            <a:chOff x="4234157" y="4026187"/>
            <a:chExt cx="489344" cy="489344"/>
          </a:xfrm>
        </p:grpSpPr>
        <p:sp>
          <p:nvSpPr>
            <p:cNvPr id="18" name="Isosceles Triangle 30">
              <a:extLst>
                <a:ext uri="{FF2B5EF4-FFF2-40B4-BE49-F238E27FC236}">
                  <a16:creationId xmlns:a16="http://schemas.microsoft.com/office/drawing/2014/main" id="{198D725C-314F-5C45-9F9E-9497ADF1A9B7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" name="Isosceles Triangle 30">
              <a:extLst>
                <a:ext uri="{FF2B5EF4-FFF2-40B4-BE49-F238E27FC236}">
                  <a16:creationId xmlns:a16="http://schemas.microsoft.com/office/drawing/2014/main" id="{E3F3AD16-6BD1-EE4D-BAF1-F781F9192FD5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cxnSp>
        <p:nvCxnSpPr>
          <p:cNvPr id="20" name="Straight Connector 18">
            <a:extLst>
              <a:ext uri="{FF2B5EF4-FFF2-40B4-BE49-F238E27FC236}">
                <a16:creationId xmlns:a16="http://schemas.microsoft.com/office/drawing/2014/main" id="{15248786-7B6D-D84E-BCE0-79D4FEF19F6A}"/>
              </a:ext>
            </a:extLst>
          </p:cNvPr>
          <p:cNvCxnSpPr>
            <a:cxnSpLocks/>
          </p:cNvCxnSpPr>
          <p:nvPr userDrawn="1"/>
        </p:nvCxnSpPr>
        <p:spPr>
          <a:xfrm flipH="1">
            <a:off x="4018410" y="6439860"/>
            <a:ext cx="2368399" cy="0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8">
            <a:extLst>
              <a:ext uri="{FF2B5EF4-FFF2-40B4-BE49-F238E27FC236}">
                <a16:creationId xmlns:a16="http://schemas.microsoft.com/office/drawing/2014/main" id="{FFEA792E-5E95-1A47-981C-6AD1C4DD8529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8436" y="6439860"/>
            <a:ext cx="2368399" cy="0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8">
            <a:extLst>
              <a:ext uri="{FF2B5EF4-FFF2-40B4-BE49-F238E27FC236}">
                <a16:creationId xmlns:a16="http://schemas.microsoft.com/office/drawing/2014/main" id="{CB5AC45A-13C6-8E45-A25C-1E80A70EAED5}"/>
              </a:ext>
            </a:extLst>
          </p:cNvPr>
          <p:cNvCxnSpPr>
            <a:cxnSpLocks/>
          </p:cNvCxnSpPr>
          <p:nvPr userDrawn="1"/>
        </p:nvCxnSpPr>
        <p:spPr>
          <a:xfrm flipH="1">
            <a:off x="9198463" y="6439860"/>
            <a:ext cx="2368399" cy="0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1BA161E5-2D05-0548-B81E-90B0ABAD3E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50903" y="2352070"/>
            <a:ext cx="1186195" cy="633574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C5FB06F2-1DDD-554E-BDBB-6D0619F1D2A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50902" y="4084648"/>
            <a:ext cx="1186195" cy="633574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BC7BAC30-749D-DB48-9B8D-E65B97EB569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46138" y="5817226"/>
            <a:ext cx="1186195" cy="633574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1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D694FE10-65A2-2340-B204-F181193973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97214" y="1561170"/>
            <a:ext cx="1225054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9B656297-647B-724B-932A-1C54BEA5DF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97214" y="1987144"/>
            <a:ext cx="7217040" cy="619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B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BE43758A-1D82-9842-85E8-854C6AAD93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19995" y="3735116"/>
            <a:ext cx="2223149" cy="2570430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425A4206-8FF6-0F4E-BE3D-63257D1186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018408" y="3389864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BCD6CC65-E2BB-8B49-A68C-7BA1BA20F77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30427" y="3735116"/>
            <a:ext cx="2223149" cy="2570430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06F9C44-94E4-DF41-B83E-3E380545986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28840" y="3389864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0DD2A8E-FEAD-064C-B867-00882847D7B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202939" y="3735116"/>
            <a:ext cx="2223149" cy="2570430"/>
          </a:xfrm>
          <a:prstGeom prst="rect">
            <a:avLst/>
          </a:prstGeom>
        </p:spPr>
        <p:txBody>
          <a:bodyPr lIns="180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07ABA67A-7A34-2947-A1CF-4143A05431D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01352" y="3389864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BC1A58F2-ED0F-2F4D-BBE0-68FB4F86E1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87455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48B77786-8F34-0242-9168-9BB8B40CBB30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96890" y="3690865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D5691D25-6CE3-674D-9812-7D75DAD1868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995939" y="0"/>
            <a:ext cx="3196061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170952E7-53FE-C74B-9228-DD094A24A1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6890" y="1219033"/>
            <a:ext cx="1252580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B0419480-4E8F-914F-A09B-9E36E991E9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6890" y="1597627"/>
            <a:ext cx="7371565" cy="619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B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ABE3C22F-D06A-C348-B1B9-68D344D2D17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96890" y="2741083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0041CCB3-4630-5246-B1F4-F306205914C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148218" y="2741083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3F1BDD6D-762E-1246-B464-98010053EE8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799546" y="2741083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4F9F080B-6A4D-A84B-86E4-AC93532A4CB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450874" y="2741083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84A0FD9-BB63-1248-A798-14383B7FA17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148218" y="3690865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83DCE2E3-8F8D-4349-B5B1-770FEB0F209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799546" y="3690865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60E545E9-B72F-DA43-A8E5-BD5DEA13A21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450874" y="3690865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D2A93B79-0B70-E04B-968C-5E5A6E697E3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96890" y="4640647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3BB58F54-9DAD-B740-8D34-0E4C5DA7958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2148218" y="4640647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8DC8E3BD-CF93-5746-8ED1-6FF67728F67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799546" y="4640647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53BE6DCA-EDE3-1842-ABF4-BC21E3713729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450874" y="4640647"/>
            <a:ext cx="1463666" cy="750734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lIns="18000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grpSp>
        <p:nvGrpSpPr>
          <p:cNvPr id="46" name="Logo-Pos">
            <a:extLst>
              <a:ext uri="{FF2B5EF4-FFF2-40B4-BE49-F238E27FC236}">
                <a16:creationId xmlns:a16="http://schemas.microsoft.com/office/drawing/2014/main" id="{FF5050A1-5A93-BA4E-812D-9472A5A0EE8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43CDD261-0758-EF43-86B0-38E9B9F2AF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18F0C4F-9C82-0349-AC4B-968B853F35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8231A8CB-BCD5-FB4B-BDD8-BB2F38483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41447180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9A466359-F037-544B-A305-DC9BA0E8FE8F}"/>
              </a:ext>
            </a:extLst>
          </p:cNvPr>
          <p:cNvSpPr/>
          <p:nvPr userDrawn="1"/>
        </p:nvSpPr>
        <p:spPr>
          <a:xfrm>
            <a:off x="516177" y="1212466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Rounded Rectangle 111">
            <a:extLst>
              <a:ext uri="{FF2B5EF4-FFF2-40B4-BE49-F238E27FC236}">
                <a16:creationId xmlns:a16="http://schemas.microsoft.com/office/drawing/2014/main" id="{54611D39-B93E-FE40-ABA4-D083B330E915}"/>
              </a:ext>
            </a:extLst>
          </p:cNvPr>
          <p:cNvSpPr/>
          <p:nvPr userDrawn="1"/>
        </p:nvSpPr>
        <p:spPr>
          <a:xfrm>
            <a:off x="3325889" y="1209783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5F43C5DF-1255-C641-84A0-645DF98FCCF3}"/>
              </a:ext>
            </a:extLst>
          </p:cNvPr>
          <p:cNvSpPr/>
          <p:nvPr userDrawn="1"/>
        </p:nvSpPr>
        <p:spPr>
          <a:xfrm>
            <a:off x="6142260" y="1209783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06146470-2421-9E49-9973-A1384DFFD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995939" y="0"/>
            <a:ext cx="3196061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grpSp>
        <p:nvGrpSpPr>
          <p:cNvPr id="11" name="Logo-Pos">
            <a:extLst>
              <a:ext uri="{FF2B5EF4-FFF2-40B4-BE49-F238E27FC236}">
                <a16:creationId xmlns:a16="http://schemas.microsoft.com/office/drawing/2014/main" id="{6D81DE34-A217-B247-816E-8B5467BC097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C107F635-16C3-044F-BF02-C5BDDB5829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C894177-2491-3C41-B738-E4F4DA98FF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FB5E925-6E5A-0E40-A958-54F3C0E1379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4591" y="1360373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6DB08CB-88C7-4340-8D9F-3CE7B5261CE1}"/>
              </a:ext>
            </a:extLst>
          </p:cNvPr>
          <p:cNvSpPr txBox="1"/>
          <p:nvPr userDrawn="1"/>
        </p:nvSpPr>
        <p:spPr>
          <a:xfrm>
            <a:off x="514591" y="1720655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1959C199-414A-3B4D-BE7A-C94135972A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332548" y="1360373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96C92B5-90E5-9941-AF31-FA3B40627F4E}"/>
              </a:ext>
            </a:extLst>
          </p:cNvPr>
          <p:cNvSpPr txBox="1"/>
          <p:nvPr userDrawn="1"/>
        </p:nvSpPr>
        <p:spPr>
          <a:xfrm>
            <a:off x="3332548" y="1720655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074A158B-A8A5-1C41-A72C-0EEDD555A9C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42260" y="1360373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CBA4A9B-C186-584F-85C0-796D4B6D23A8}"/>
              </a:ext>
            </a:extLst>
          </p:cNvPr>
          <p:cNvSpPr txBox="1"/>
          <p:nvPr userDrawn="1"/>
        </p:nvSpPr>
        <p:spPr>
          <a:xfrm>
            <a:off x="6142260" y="1720655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2" name="Rounded Rectangle 111">
            <a:extLst>
              <a:ext uri="{FF2B5EF4-FFF2-40B4-BE49-F238E27FC236}">
                <a16:creationId xmlns:a16="http://schemas.microsoft.com/office/drawing/2014/main" id="{D492598D-82AA-A348-98CD-FAA24A7EA075}"/>
              </a:ext>
            </a:extLst>
          </p:cNvPr>
          <p:cNvSpPr/>
          <p:nvPr userDrawn="1"/>
        </p:nvSpPr>
        <p:spPr>
          <a:xfrm>
            <a:off x="3332548" y="3860072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C1308F95-BAED-2D40-9FAD-7552C9C6AF6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39207" y="4010662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B6B668D-5F98-B04E-A03E-9E48913DB2FF}"/>
              </a:ext>
            </a:extLst>
          </p:cNvPr>
          <p:cNvSpPr txBox="1"/>
          <p:nvPr userDrawn="1"/>
        </p:nvSpPr>
        <p:spPr>
          <a:xfrm>
            <a:off x="3339207" y="4370944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5" name="Rounded Rectangle 111">
            <a:extLst>
              <a:ext uri="{FF2B5EF4-FFF2-40B4-BE49-F238E27FC236}">
                <a16:creationId xmlns:a16="http://schemas.microsoft.com/office/drawing/2014/main" id="{9E33ED84-CFBF-4341-9572-C441DE55214A}"/>
              </a:ext>
            </a:extLst>
          </p:cNvPr>
          <p:cNvSpPr/>
          <p:nvPr userDrawn="1"/>
        </p:nvSpPr>
        <p:spPr>
          <a:xfrm>
            <a:off x="6142260" y="3860072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537E81AD-50F6-DD48-B4BF-569E2ED9D7C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148919" y="4010662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73703AA-133C-4C43-8AC5-FF391803E3DD}"/>
              </a:ext>
            </a:extLst>
          </p:cNvPr>
          <p:cNvSpPr txBox="1"/>
          <p:nvPr userDrawn="1"/>
        </p:nvSpPr>
        <p:spPr>
          <a:xfrm>
            <a:off x="6148919" y="4370944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8" name="Rounded Rectangle 111">
            <a:extLst>
              <a:ext uri="{FF2B5EF4-FFF2-40B4-BE49-F238E27FC236}">
                <a16:creationId xmlns:a16="http://schemas.microsoft.com/office/drawing/2014/main" id="{2A0ECBBD-38A5-DB44-AF1A-D49F7EA3ABBA}"/>
              </a:ext>
            </a:extLst>
          </p:cNvPr>
          <p:cNvSpPr/>
          <p:nvPr userDrawn="1"/>
        </p:nvSpPr>
        <p:spPr>
          <a:xfrm>
            <a:off x="514062" y="3860072"/>
            <a:ext cx="2682000" cy="252000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15875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72000" rtlCol="0" anchor="t"/>
          <a:lstStyle/>
          <a:p>
            <a:endParaRPr lang="en-US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FFDF6EE-D9CC-4040-A8F9-BF7825F1F4A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0721" y="4010662"/>
            <a:ext cx="2224736" cy="208243"/>
          </a:xfrm>
          <a:prstGeom prst="rect">
            <a:avLst/>
          </a:prstGeom>
          <a:noFill/>
        </p:spPr>
        <p:txBody>
          <a:bodyPr lIns="144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BB417DB-FB79-E444-86AE-B2D6B5D51F03}"/>
              </a:ext>
            </a:extLst>
          </p:cNvPr>
          <p:cNvSpPr txBox="1"/>
          <p:nvPr userDrawn="1"/>
        </p:nvSpPr>
        <p:spPr>
          <a:xfrm>
            <a:off x="520721" y="4370944"/>
            <a:ext cx="2559809" cy="127727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 defTabSz="57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100" b="0" i="0" dirty="0" err="1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rem</a:t>
            </a:r>
            <a:endParaRPr lang="de-DE" sz="1100" b="0" i="0" dirty="0">
              <a:solidFill>
                <a:schemeClr val="bg2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2D83489D-432E-5646-81B6-D06307B14D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520887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111">
            <a:extLst>
              <a:ext uri="{FF2B5EF4-FFF2-40B4-BE49-F238E27FC236}">
                <a16:creationId xmlns:a16="http://schemas.microsoft.com/office/drawing/2014/main" id="{FE7FF7E6-9D5F-AB47-94A1-86F16850A106}"/>
              </a:ext>
            </a:extLst>
          </p:cNvPr>
          <p:cNvSpPr/>
          <p:nvPr userDrawn="1"/>
        </p:nvSpPr>
        <p:spPr>
          <a:xfrm>
            <a:off x="4621161" y="1"/>
            <a:ext cx="7570839" cy="6857999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66C7080-9548-CE41-B036-1575FF08E3C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96890" y="1224512"/>
            <a:ext cx="5978619" cy="19395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grpSp>
        <p:nvGrpSpPr>
          <p:cNvPr id="9" name="Logo-Pos">
            <a:extLst>
              <a:ext uri="{FF2B5EF4-FFF2-40B4-BE49-F238E27FC236}">
                <a16:creationId xmlns:a16="http://schemas.microsoft.com/office/drawing/2014/main" id="{30F4A8B5-5586-A047-B75D-E6A037310BD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0" name="Freeform 29">
              <a:extLst>
                <a:ext uri="{FF2B5EF4-FFF2-40B4-BE49-F238E27FC236}">
                  <a16:creationId xmlns:a16="http://schemas.microsoft.com/office/drawing/2014/main" id="{113FD0B2-62F3-A848-9E15-A9D1782B3B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2F226D2-C6C0-7149-A064-EDCE8BEABE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DFCDD133-2203-C14C-BF8D-D045533DE4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296969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D1E29EA-F6C0-B645-AAA4-D8F735D5043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96890" y="1224512"/>
            <a:ext cx="5978619" cy="38790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FEB242F-621D-5E4F-A717-3973574DF51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6890" y="5357714"/>
            <a:ext cx="1227792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79BE106C-CF3A-0742-A5F8-421A69E179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6891" y="5779831"/>
            <a:ext cx="5746254" cy="71917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….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9FCCE525-7D26-8C41-BE73-EE3923D918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22860" y="1224513"/>
            <a:ext cx="1220618" cy="186688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D396715-0D55-9E4F-9CB8-E6689DEAE61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022860" y="3070713"/>
            <a:ext cx="1220618" cy="186688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  <a:p>
            <a:pPr lvl="0"/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8B31B500-E9E9-A54A-9234-B52F939244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022860" y="4916914"/>
            <a:ext cx="1220618" cy="186688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556C2FFB-A8FA-CB45-91DA-F065A756A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176928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5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3D5932D-A5C6-DD40-AA8F-B41FCCC762E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835401" y="1558753"/>
            <a:ext cx="2151444" cy="13368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2F2EDCA7-F54E-A044-AFDC-0765D0940EC7}"/>
              </a:ext>
            </a:extLst>
          </p:cNvPr>
          <p:cNvSpPr/>
          <p:nvPr userDrawn="1"/>
        </p:nvSpPr>
        <p:spPr>
          <a:xfrm>
            <a:off x="530901" y="1558754"/>
            <a:ext cx="3184578" cy="486964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80000" rtlCol="0" anchor="t"/>
          <a:lstStyle/>
          <a:p>
            <a:endParaRPr lang="en-US" sz="11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7CE241D-F77A-4C47-9FB4-FCB33B8B6A00}"/>
              </a:ext>
            </a:extLst>
          </p:cNvPr>
          <p:cNvSpPr/>
          <p:nvPr userDrawn="1"/>
        </p:nvSpPr>
        <p:spPr>
          <a:xfrm>
            <a:off x="3835401" y="3052643"/>
            <a:ext cx="2151444" cy="3375757"/>
          </a:xfrm>
          <a:prstGeom prst="rect">
            <a:avLst/>
          </a:prstGeom>
          <a:noFill/>
          <a:ln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C64E4232-9980-2149-BD91-9D54C25298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0901" y="1240115"/>
            <a:ext cx="1674740" cy="255927"/>
          </a:xfrm>
          <a:prstGeom prst="rect">
            <a:avLst/>
          </a:prstGeom>
          <a:noFill/>
        </p:spPr>
        <p:txBody>
          <a:bodyPr lIns="36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1E950878-06C4-FA49-A8D1-1DD6B8C60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0902" y="1923448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3DEDBA74-EBEA-A44D-91C3-AF4D0FE963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30901" y="1705608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E7B0E50-4CCB-BB45-A409-E71DFCC477A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0902" y="3564822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43679C20-07BC-CA41-85A7-E69688D4CF5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30901" y="3346982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6D06B21C-16AD-9240-94D9-AE62BB7C9DA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30902" y="5212486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99EE112-3D0B-3F44-849A-AEAA3D12BE2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30901" y="4994646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E2339992-7A5E-674A-AED7-DA8883E8E93B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9667331" y="1558753"/>
            <a:ext cx="2151444" cy="13368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7" name="Rounded Rectangle 111">
            <a:extLst>
              <a:ext uri="{FF2B5EF4-FFF2-40B4-BE49-F238E27FC236}">
                <a16:creationId xmlns:a16="http://schemas.microsoft.com/office/drawing/2014/main" id="{D1E35B44-32EB-A04A-B86C-341D88BB559E}"/>
              </a:ext>
            </a:extLst>
          </p:cNvPr>
          <p:cNvSpPr/>
          <p:nvPr userDrawn="1"/>
        </p:nvSpPr>
        <p:spPr>
          <a:xfrm>
            <a:off x="6362831" y="1558754"/>
            <a:ext cx="3184578" cy="4869646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80000" rtlCol="0" anchor="t"/>
          <a:lstStyle/>
          <a:p>
            <a:endParaRPr lang="en-US" sz="11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D0FDEF7-B408-E646-9FCA-9580B9FB54E5}"/>
              </a:ext>
            </a:extLst>
          </p:cNvPr>
          <p:cNvSpPr/>
          <p:nvPr userDrawn="1"/>
        </p:nvSpPr>
        <p:spPr>
          <a:xfrm>
            <a:off x="9667331" y="3052643"/>
            <a:ext cx="2151444" cy="3375757"/>
          </a:xfrm>
          <a:prstGeom prst="rect">
            <a:avLst/>
          </a:prstGeom>
          <a:noFill/>
          <a:ln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45D947D9-0491-1642-9078-35261C666F2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362831" y="1240115"/>
            <a:ext cx="1674740" cy="255927"/>
          </a:xfrm>
          <a:prstGeom prst="rect">
            <a:avLst/>
          </a:prstGeom>
          <a:noFill/>
        </p:spPr>
        <p:txBody>
          <a:bodyPr lIns="36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1B0A01CA-3976-8847-882C-2DD6C998789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362832" y="1923448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DC468653-81D3-3643-9935-0FCEBDF2E4C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362831" y="1705608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236BFBE9-A7D0-BA4D-959C-7703AF2605A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362832" y="3564822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A01388E9-750B-764F-A81E-88B2EABFA94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362831" y="3346982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52927D0B-80B2-FE49-AABC-65A781E3862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62832" y="5212486"/>
            <a:ext cx="3013576" cy="1114032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12429BAD-5CE4-E144-B202-1A83EB04F4F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62831" y="4994646"/>
            <a:ext cx="2223149" cy="208243"/>
          </a:xfrm>
          <a:prstGeom prst="rect">
            <a:avLst/>
          </a:prstGeom>
          <a:noFill/>
        </p:spPr>
        <p:txBody>
          <a:bodyPr lIns="180000" tIns="0" rIns="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Überschrif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724BD6A8-D030-3643-B7F2-D5478C30D0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0034708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D1178447-3450-C942-9E3B-F18941CE3CC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07976" y="1263466"/>
            <a:ext cx="1764000" cy="10155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2434E9-02DD-7F4A-8AD5-B2B6B7EE6B30}"/>
              </a:ext>
            </a:extLst>
          </p:cNvPr>
          <p:cNvSpPr/>
          <p:nvPr userDrawn="1"/>
        </p:nvSpPr>
        <p:spPr>
          <a:xfrm>
            <a:off x="511059" y="3721842"/>
            <a:ext cx="1758309" cy="2918024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AA67C04-0688-8B49-B5D4-5960F36E4273}"/>
              </a:ext>
            </a:extLst>
          </p:cNvPr>
          <p:cNvGrpSpPr/>
          <p:nvPr userDrawn="1"/>
        </p:nvGrpSpPr>
        <p:grpSpPr>
          <a:xfrm rot="5400000">
            <a:off x="1243360" y="3427767"/>
            <a:ext cx="221537" cy="221537"/>
            <a:chOff x="4234157" y="4026187"/>
            <a:chExt cx="489344" cy="489344"/>
          </a:xfrm>
        </p:grpSpPr>
        <p:sp>
          <p:nvSpPr>
            <p:cNvPr id="6" name="Isosceles Triangle 30">
              <a:extLst>
                <a:ext uri="{FF2B5EF4-FFF2-40B4-BE49-F238E27FC236}">
                  <a16:creationId xmlns:a16="http://schemas.microsoft.com/office/drawing/2014/main" id="{014AA968-7D2D-4641-9457-D8863EAC9CDF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" name="Isosceles Triangle 30">
              <a:extLst>
                <a:ext uri="{FF2B5EF4-FFF2-40B4-BE49-F238E27FC236}">
                  <a16:creationId xmlns:a16="http://schemas.microsoft.com/office/drawing/2014/main" id="{CF8827A9-5714-D04F-B245-DFC34DF85645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57B1214C-0F52-084B-811A-229895C5F592}"/>
              </a:ext>
            </a:extLst>
          </p:cNvPr>
          <p:cNvSpPr/>
          <p:nvPr userDrawn="1"/>
        </p:nvSpPr>
        <p:spPr>
          <a:xfrm>
            <a:off x="9037717" y="2279031"/>
            <a:ext cx="1764307" cy="997999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Rounded Rectangle 111">
            <a:extLst>
              <a:ext uri="{FF2B5EF4-FFF2-40B4-BE49-F238E27FC236}">
                <a16:creationId xmlns:a16="http://schemas.microsoft.com/office/drawing/2014/main" id="{E7345F3D-F514-1C43-BAD1-F6E1FB4D228E}"/>
              </a:ext>
            </a:extLst>
          </p:cNvPr>
          <p:cNvSpPr/>
          <p:nvPr userDrawn="1"/>
        </p:nvSpPr>
        <p:spPr>
          <a:xfrm>
            <a:off x="511059" y="2283205"/>
            <a:ext cx="1764307" cy="994643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>
              <a:lnSpc>
                <a:spcPct val="130000"/>
              </a:lnSpc>
            </a:pPr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" name="Rounded Rectangle 111">
            <a:extLst>
              <a:ext uri="{FF2B5EF4-FFF2-40B4-BE49-F238E27FC236}">
                <a16:creationId xmlns:a16="http://schemas.microsoft.com/office/drawing/2014/main" id="{176C4B9A-5CD1-9144-A09B-0BA624DA7F90}"/>
              </a:ext>
            </a:extLst>
          </p:cNvPr>
          <p:cNvSpPr/>
          <p:nvPr userDrawn="1"/>
        </p:nvSpPr>
        <p:spPr>
          <a:xfrm>
            <a:off x="6908496" y="2279031"/>
            <a:ext cx="1764307" cy="997999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5" name="Rounded Rectangle 111">
            <a:extLst>
              <a:ext uri="{FF2B5EF4-FFF2-40B4-BE49-F238E27FC236}">
                <a16:creationId xmlns:a16="http://schemas.microsoft.com/office/drawing/2014/main" id="{C83AD60F-07D8-A148-B1F6-CBFB17D5E2AA}"/>
              </a:ext>
            </a:extLst>
          </p:cNvPr>
          <p:cNvSpPr/>
          <p:nvPr userDrawn="1"/>
        </p:nvSpPr>
        <p:spPr>
          <a:xfrm>
            <a:off x="4775935" y="2279850"/>
            <a:ext cx="1764307" cy="997998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6" name="Rounded Rectangle 111">
            <a:extLst>
              <a:ext uri="{FF2B5EF4-FFF2-40B4-BE49-F238E27FC236}">
                <a16:creationId xmlns:a16="http://schemas.microsoft.com/office/drawing/2014/main" id="{2D95BD65-F148-5E4E-8BCE-F83C517351AA}"/>
              </a:ext>
            </a:extLst>
          </p:cNvPr>
          <p:cNvSpPr/>
          <p:nvPr userDrawn="1"/>
        </p:nvSpPr>
        <p:spPr>
          <a:xfrm>
            <a:off x="2643498" y="2279032"/>
            <a:ext cx="1764307" cy="990421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BDD69ABE-3391-D642-8796-56CD04BC5018}"/>
              </a:ext>
            </a:extLst>
          </p:cNvPr>
          <p:cNvGrpSpPr/>
          <p:nvPr userDrawn="1"/>
        </p:nvGrpSpPr>
        <p:grpSpPr>
          <a:xfrm rot="5400000">
            <a:off x="3369018" y="3436973"/>
            <a:ext cx="221537" cy="221537"/>
            <a:chOff x="4234157" y="4026187"/>
            <a:chExt cx="489344" cy="489344"/>
          </a:xfrm>
        </p:grpSpPr>
        <p:sp>
          <p:nvSpPr>
            <p:cNvPr id="19" name="Isosceles Triangle 30">
              <a:extLst>
                <a:ext uri="{FF2B5EF4-FFF2-40B4-BE49-F238E27FC236}">
                  <a16:creationId xmlns:a16="http://schemas.microsoft.com/office/drawing/2014/main" id="{F651F3A2-12DD-2A41-AE60-5EAC4CE40761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Isosceles Triangle 30">
              <a:extLst>
                <a:ext uri="{FF2B5EF4-FFF2-40B4-BE49-F238E27FC236}">
                  <a16:creationId xmlns:a16="http://schemas.microsoft.com/office/drawing/2014/main" id="{6E00E22A-4C0A-DC45-A4D9-0538FD01F6BC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4B09E62-454D-7E40-B790-1E58D5D2FD6D}"/>
              </a:ext>
            </a:extLst>
          </p:cNvPr>
          <p:cNvGrpSpPr/>
          <p:nvPr userDrawn="1"/>
        </p:nvGrpSpPr>
        <p:grpSpPr>
          <a:xfrm rot="5400000">
            <a:off x="5544085" y="3436973"/>
            <a:ext cx="221537" cy="221537"/>
            <a:chOff x="4234157" y="4026187"/>
            <a:chExt cx="489344" cy="489344"/>
          </a:xfrm>
        </p:grpSpPr>
        <p:sp>
          <p:nvSpPr>
            <p:cNvPr id="22" name="Isosceles Triangle 30">
              <a:extLst>
                <a:ext uri="{FF2B5EF4-FFF2-40B4-BE49-F238E27FC236}">
                  <a16:creationId xmlns:a16="http://schemas.microsoft.com/office/drawing/2014/main" id="{C0044AEF-3BF1-D144-8616-005E433ABD58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Isosceles Triangle 30">
              <a:extLst>
                <a:ext uri="{FF2B5EF4-FFF2-40B4-BE49-F238E27FC236}">
                  <a16:creationId xmlns:a16="http://schemas.microsoft.com/office/drawing/2014/main" id="{AC673281-9C02-B541-A05A-1B8AA833E0BD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FE17893-0242-5E4B-AC90-0161A90C7E20}"/>
              </a:ext>
            </a:extLst>
          </p:cNvPr>
          <p:cNvGrpSpPr/>
          <p:nvPr userDrawn="1"/>
        </p:nvGrpSpPr>
        <p:grpSpPr>
          <a:xfrm rot="5400000">
            <a:off x="7642627" y="3440290"/>
            <a:ext cx="221537" cy="221537"/>
            <a:chOff x="4234157" y="4026187"/>
            <a:chExt cx="489344" cy="489344"/>
          </a:xfrm>
        </p:grpSpPr>
        <p:sp>
          <p:nvSpPr>
            <p:cNvPr id="25" name="Isosceles Triangle 30">
              <a:extLst>
                <a:ext uri="{FF2B5EF4-FFF2-40B4-BE49-F238E27FC236}">
                  <a16:creationId xmlns:a16="http://schemas.microsoft.com/office/drawing/2014/main" id="{5B4C3E42-6526-604F-B54B-B89E3C4A8178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Isosceles Triangle 30">
              <a:extLst>
                <a:ext uri="{FF2B5EF4-FFF2-40B4-BE49-F238E27FC236}">
                  <a16:creationId xmlns:a16="http://schemas.microsoft.com/office/drawing/2014/main" id="{A800A61B-9309-1C4E-8FB6-7DD4E19A93C6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0AF7D8E-C90F-AD47-813E-DBEFD639CBA6}"/>
              </a:ext>
            </a:extLst>
          </p:cNvPr>
          <p:cNvGrpSpPr/>
          <p:nvPr userDrawn="1"/>
        </p:nvGrpSpPr>
        <p:grpSpPr>
          <a:xfrm rot="5400000">
            <a:off x="9797138" y="3436973"/>
            <a:ext cx="221537" cy="221537"/>
            <a:chOff x="4234157" y="4026187"/>
            <a:chExt cx="489344" cy="489344"/>
          </a:xfrm>
        </p:grpSpPr>
        <p:sp>
          <p:nvSpPr>
            <p:cNvPr id="28" name="Isosceles Triangle 30">
              <a:extLst>
                <a:ext uri="{FF2B5EF4-FFF2-40B4-BE49-F238E27FC236}">
                  <a16:creationId xmlns:a16="http://schemas.microsoft.com/office/drawing/2014/main" id="{B9ED0B02-3025-ED4C-9AF9-F9173F645D01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" name="Isosceles Triangle 30">
              <a:extLst>
                <a:ext uri="{FF2B5EF4-FFF2-40B4-BE49-F238E27FC236}">
                  <a16:creationId xmlns:a16="http://schemas.microsoft.com/office/drawing/2014/main" id="{3DE723F0-54B4-BE4F-BD54-251B89792AC1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30" name="Rechteck 29">
            <a:extLst>
              <a:ext uri="{FF2B5EF4-FFF2-40B4-BE49-F238E27FC236}">
                <a16:creationId xmlns:a16="http://schemas.microsoft.com/office/drawing/2014/main" id="{3591A88B-F949-9D43-A609-4692DB547615}"/>
              </a:ext>
            </a:extLst>
          </p:cNvPr>
          <p:cNvSpPr/>
          <p:nvPr userDrawn="1"/>
        </p:nvSpPr>
        <p:spPr>
          <a:xfrm>
            <a:off x="4784664" y="3721842"/>
            <a:ext cx="1764307" cy="2918024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9FC1C0B4-A142-7B45-AF7F-606CA29C0776}"/>
              </a:ext>
            </a:extLst>
          </p:cNvPr>
          <p:cNvSpPr/>
          <p:nvPr userDrawn="1"/>
        </p:nvSpPr>
        <p:spPr>
          <a:xfrm>
            <a:off x="9033628" y="3731114"/>
            <a:ext cx="1762877" cy="2918024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6BC8F35-297C-0145-AA40-BCC82375C523}"/>
              </a:ext>
            </a:extLst>
          </p:cNvPr>
          <p:cNvSpPr/>
          <p:nvPr userDrawn="1"/>
        </p:nvSpPr>
        <p:spPr>
          <a:xfrm>
            <a:off x="6909796" y="3732921"/>
            <a:ext cx="1762877" cy="2918024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A9697A6-FB45-A64D-B624-B7A709F21428}"/>
              </a:ext>
            </a:extLst>
          </p:cNvPr>
          <p:cNvSpPr/>
          <p:nvPr userDrawn="1"/>
        </p:nvSpPr>
        <p:spPr>
          <a:xfrm>
            <a:off x="2643496" y="3731114"/>
            <a:ext cx="1768191" cy="2918024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3B4C0CD5-6DBC-4241-A4F6-DCDE51D1D69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2659869" y="1263466"/>
            <a:ext cx="1764000" cy="10155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6" name="Bildplatzhalter 4">
            <a:extLst>
              <a:ext uri="{FF2B5EF4-FFF2-40B4-BE49-F238E27FC236}">
                <a16:creationId xmlns:a16="http://schemas.microsoft.com/office/drawing/2014/main" id="{9458BA7D-6FCF-5E4F-BE61-27FE13FE6B7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781021" y="1263466"/>
            <a:ext cx="1764000" cy="10155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7" name="Bildplatzhalter 4">
            <a:extLst>
              <a:ext uri="{FF2B5EF4-FFF2-40B4-BE49-F238E27FC236}">
                <a16:creationId xmlns:a16="http://schemas.microsoft.com/office/drawing/2014/main" id="{B4106229-92B4-FD49-A575-5DD4178873D3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906979" y="1263466"/>
            <a:ext cx="1764000" cy="10155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38" name="Bildplatzhalter 4">
            <a:extLst>
              <a:ext uri="{FF2B5EF4-FFF2-40B4-BE49-F238E27FC236}">
                <a16:creationId xmlns:a16="http://schemas.microsoft.com/office/drawing/2014/main" id="{7E222396-CF84-DD40-840D-8013AA7E316A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9033066" y="1263466"/>
            <a:ext cx="1764000" cy="10155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C19C6408-7833-0A43-B5CC-A5D7954881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6280" y="2558654"/>
            <a:ext cx="1622771" cy="529436"/>
          </a:xfrm>
          <a:prstGeom prst="rect">
            <a:avLst/>
          </a:prstGeom>
        </p:spPr>
        <p:txBody>
          <a:bodyPr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3" name="Textplatzhalter 39">
            <a:extLst>
              <a:ext uri="{FF2B5EF4-FFF2-40B4-BE49-F238E27FC236}">
                <a16:creationId xmlns:a16="http://schemas.microsoft.com/office/drawing/2014/main" id="{B1C43E0E-1F1E-D445-A50B-31441923F7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646888" y="2558654"/>
            <a:ext cx="1617986" cy="529436"/>
          </a:xfrm>
          <a:prstGeom prst="rect">
            <a:avLst/>
          </a:prstGeom>
        </p:spPr>
        <p:txBody>
          <a:bodyPr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7" name="Textplatzhalter 39">
            <a:extLst>
              <a:ext uri="{FF2B5EF4-FFF2-40B4-BE49-F238E27FC236}">
                <a16:creationId xmlns:a16="http://schemas.microsoft.com/office/drawing/2014/main" id="{3FB9B9C8-C54D-BD4F-A080-11E9ABE6D18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786424" y="2558654"/>
            <a:ext cx="1622771" cy="529436"/>
          </a:xfrm>
          <a:prstGeom prst="rect">
            <a:avLst/>
          </a:prstGeom>
        </p:spPr>
        <p:txBody>
          <a:bodyPr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8" name="Textplatzhalter 39">
            <a:extLst>
              <a:ext uri="{FF2B5EF4-FFF2-40B4-BE49-F238E27FC236}">
                <a16:creationId xmlns:a16="http://schemas.microsoft.com/office/drawing/2014/main" id="{FEF37365-1FFA-CF46-8EF6-A81A2D1BEA6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911764" y="2558654"/>
            <a:ext cx="1622771" cy="529436"/>
          </a:xfrm>
          <a:prstGeom prst="rect">
            <a:avLst/>
          </a:prstGeom>
        </p:spPr>
        <p:txBody>
          <a:bodyPr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9" name="Textplatzhalter 39">
            <a:extLst>
              <a:ext uri="{FF2B5EF4-FFF2-40B4-BE49-F238E27FC236}">
                <a16:creationId xmlns:a16="http://schemas.microsoft.com/office/drawing/2014/main" id="{37EDDBAA-06F3-5643-AF5A-F6CF00325A5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40811" y="2558654"/>
            <a:ext cx="1622771" cy="529436"/>
          </a:xfrm>
          <a:prstGeom prst="rect">
            <a:avLst/>
          </a:prstGeom>
        </p:spPr>
        <p:txBody>
          <a:bodyPr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E32220A7-9055-A04B-BBBD-E1B5445480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6575533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111">
            <a:extLst>
              <a:ext uri="{FF2B5EF4-FFF2-40B4-BE49-F238E27FC236}">
                <a16:creationId xmlns:a16="http://schemas.microsoft.com/office/drawing/2014/main" id="{2592EE51-F9D3-5743-831F-C5C7BBD14F38}"/>
              </a:ext>
            </a:extLst>
          </p:cNvPr>
          <p:cNvSpPr/>
          <p:nvPr userDrawn="1"/>
        </p:nvSpPr>
        <p:spPr>
          <a:xfrm>
            <a:off x="4621161" y="1"/>
            <a:ext cx="7570839" cy="6857999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endParaRPr lang="en-US" sz="1400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171450" indent="-171450">
              <a:buClr>
                <a:srgbClr val="FFB81C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3A110DE-1107-8444-A800-C8719A560C7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96890" y="2603380"/>
            <a:ext cx="3773358" cy="18658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grpSp>
        <p:nvGrpSpPr>
          <p:cNvPr id="6" name="Logo-Pos">
            <a:extLst>
              <a:ext uri="{FF2B5EF4-FFF2-40B4-BE49-F238E27FC236}">
                <a16:creationId xmlns:a16="http://schemas.microsoft.com/office/drawing/2014/main" id="{25D2B7F9-F00F-1640-9DCD-6D02C7D11C9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7" name="Freeform 29">
              <a:extLst>
                <a:ext uri="{FF2B5EF4-FFF2-40B4-BE49-F238E27FC236}">
                  <a16:creationId xmlns:a16="http://schemas.microsoft.com/office/drawing/2014/main" id="{CE63CAA1-9737-9343-BA95-CB1CF4D468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5DDE1F6-85E8-D244-B6E6-351FE71977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Rounded Rectangle 111">
            <a:extLst>
              <a:ext uri="{FF2B5EF4-FFF2-40B4-BE49-F238E27FC236}">
                <a16:creationId xmlns:a16="http://schemas.microsoft.com/office/drawing/2014/main" id="{D6396CDC-64BD-334C-B67F-E0514A8B1A19}"/>
              </a:ext>
            </a:extLst>
          </p:cNvPr>
          <p:cNvSpPr/>
          <p:nvPr userDrawn="1"/>
        </p:nvSpPr>
        <p:spPr>
          <a:xfrm>
            <a:off x="5693591" y="2164131"/>
            <a:ext cx="5622109" cy="274438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Reso Light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11" name="Straight Connector 18">
            <a:extLst>
              <a:ext uri="{FF2B5EF4-FFF2-40B4-BE49-F238E27FC236}">
                <a16:creationId xmlns:a16="http://schemas.microsoft.com/office/drawing/2014/main" id="{CA979A78-645E-FF40-97DC-47CDD5DD6CD5}"/>
              </a:ext>
            </a:extLst>
          </p:cNvPr>
          <p:cNvCxnSpPr>
            <a:cxnSpLocks/>
          </p:cNvCxnSpPr>
          <p:nvPr userDrawn="1"/>
        </p:nvCxnSpPr>
        <p:spPr>
          <a:xfrm>
            <a:off x="5693591" y="4924378"/>
            <a:ext cx="5622109" cy="0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833EA239-2F15-C54B-9C3B-3771C5E6078D}"/>
              </a:ext>
            </a:extLst>
          </p:cNvPr>
          <p:cNvSpPr txBox="1"/>
          <p:nvPr userDrawn="1"/>
        </p:nvSpPr>
        <p:spPr>
          <a:xfrm>
            <a:off x="5693591" y="2164131"/>
            <a:ext cx="5622109" cy="2753025"/>
          </a:xfrm>
          <a:prstGeom prst="rect">
            <a:avLst/>
          </a:prstGeom>
          <a:solidFill>
            <a:srgbClr val="595959">
              <a:alpha val="20000"/>
            </a:srgbClr>
          </a:solidFill>
        </p:spPr>
        <p:txBody>
          <a:bodyPr wrap="square" lIns="144000" tIns="144000" rIns="144000" bIns="144000" rtlCol="0">
            <a:spAutoFit/>
          </a:bodyPr>
          <a:lstStyle/>
          <a:p>
            <a:pPr algn="ctr" defTabSz="57600"/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Lore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ipsu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olor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si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me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consectetuer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dipiscing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li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enean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commodo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ligula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ge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olor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enean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assa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Cum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soci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atoqu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enatibu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et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agn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arturien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onte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ascetur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ridiculu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u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onec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qua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fel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ultricie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ec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ellentesqu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u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retiu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qu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se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ulla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consequa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assa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qu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ni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onec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ed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justo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fringilla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vel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lique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ec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vulputat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ge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arcu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In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ni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justo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rhoncu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u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imperdie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a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venenat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vita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,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justo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Nulla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ictu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fel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eu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ede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molli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pretium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Integer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tincidunt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</a:t>
            </a:r>
            <a:b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</a:br>
            <a:b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</a:b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Cra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 </a:t>
            </a:r>
            <a:r>
              <a:rPr lang="de-DE" sz="1600" b="0" i="0" dirty="0" err="1">
                <a:solidFill>
                  <a:schemeClr val="bg2"/>
                </a:solidFill>
                <a:latin typeface="Reso" panose="02000000000000000000" pitchFamily="2" charset="0"/>
              </a:rPr>
              <a:t>dapibus</a:t>
            </a:r>
            <a:r>
              <a:rPr lang="de-DE" sz="1600" b="0" i="0" dirty="0">
                <a:solidFill>
                  <a:schemeClr val="bg2"/>
                </a:solidFill>
                <a:latin typeface="Reso" panose="02000000000000000000" pitchFamily="2" charset="0"/>
              </a:rPr>
              <a:t>. 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2C7AAC16-8B39-9C4B-9277-D62EFA390B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7EDAB2AC-8C5C-7741-8705-CAA8CAC02EF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9283943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C345D865-017B-BD4A-8C97-3F31D7D2B4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8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897904F-ADD5-6C47-8DCC-CEEC66F0E6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1704" y="3863699"/>
            <a:ext cx="374767" cy="37476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1847C01-368E-7341-B641-5F996F3F15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21703" y="4377735"/>
            <a:ext cx="374767" cy="37476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6F314D9-32D2-294D-9215-9CAA9020DB4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21703" y="4888880"/>
            <a:ext cx="374767" cy="37476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BD04BBD-0745-7543-A5B6-B22FD922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21703" y="5404361"/>
            <a:ext cx="374767" cy="37476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432ADCA-A246-0341-9C3C-A8F7DB0858C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521703" y="5919842"/>
            <a:ext cx="374767" cy="374767"/>
          </a:xfrm>
          <a:prstGeom prst="rect">
            <a:avLst/>
          </a:prstGeom>
        </p:spPr>
      </p:pic>
      <p:grpSp>
        <p:nvGrpSpPr>
          <p:cNvPr id="15" name="Logo-Pos">
            <a:extLst>
              <a:ext uri="{FF2B5EF4-FFF2-40B4-BE49-F238E27FC236}">
                <a16:creationId xmlns:a16="http://schemas.microsoft.com/office/drawing/2014/main" id="{CD6278B6-9A8F-884E-9C7F-9F885B555D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9893EDB0-2566-D245-A515-C3087DFE0B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7ED5F3C-156D-E54D-88B1-D28B6A6C35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85BDD014-E500-214A-8A32-6FFA9D14FEC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69322" y="3927189"/>
            <a:ext cx="2021011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Name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F8F66DDF-045C-CD47-A982-3ACECE8FD52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69322" y="4434024"/>
            <a:ext cx="2021011" cy="20824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000 0000 0000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883FA4D7-4A41-6E40-8AA6-2B05813741B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69322" y="4965513"/>
            <a:ext cx="2021011" cy="18885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E-Mail@yourdomain.com</a:t>
            </a:r>
            <a:endParaRPr lang="de-DE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AE9373EB-D520-D047-BCA2-EAE83778629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69322" y="5474525"/>
            <a:ext cx="2021011" cy="18885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Street XX, 66666 Hamburg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144CDDE3-7494-7E4F-9410-1C07860BE1B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69323" y="5973632"/>
            <a:ext cx="2021010" cy="18885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Modis.com</a:t>
            </a:r>
            <a:endParaRPr lang="de-DE" dirty="0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4BD49B45-E52C-3548-965C-41C4EA2F7F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085053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3721F6FD-D127-0A4C-858C-6D723E2C7B4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7169026" y="0"/>
            <a:ext cx="5022974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grpSp>
        <p:nvGrpSpPr>
          <p:cNvPr id="7" name="Logo-Pos">
            <a:extLst>
              <a:ext uri="{FF2B5EF4-FFF2-40B4-BE49-F238E27FC236}">
                <a16:creationId xmlns:a16="http://schemas.microsoft.com/office/drawing/2014/main" id="{2D38B677-14C8-3C4E-8AC3-FA1277660C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90DCCF90-E98B-0D41-AE9F-C166763E40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332BB-41A0-3245-A339-ECAFE4C73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49BDFBEC-C999-A447-98DE-F98C593E867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96890" y="2484120"/>
            <a:ext cx="5421772" cy="372417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</a:p>
          <a:p>
            <a:pPr lvl="0"/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FF09F14-D4E3-AE44-A25F-F1FA709D264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6891" y="2122156"/>
            <a:ext cx="2547934" cy="2769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DAA8511-8F71-B74C-B711-B122C902D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3ED5CEA8-0DB3-CE41-8091-1D54FA504D9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711819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-Pos">
            <a:extLst>
              <a:ext uri="{FF2B5EF4-FFF2-40B4-BE49-F238E27FC236}">
                <a16:creationId xmlns:a16="http://schemas.microsoft.com/office/drawing/2014/main" id="{2D38B677-14C8-3C4E-8AC3-FA1277660C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90DCCF90-E98B-0D41-AE9F-C166763E40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332BB-41A0-3245-A339-ECAFE4C73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A9BD850-300E-574B-9FA9-DE335FDCBBF5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BF9E16-E50C-6449-892D-849409CA9149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1B0C3C-D210-0A48-8E28-83C98B2E0D6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CA71F2D0-E899-7847-B61B-8B259104838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96890" y="2484120"/>
            <a:ext cx="5421772" cy="372417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</a:p>
          <a:p>
            <a:pPr lvl="0"/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3D040367-2994-5E48-890B-615A47BC6E7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6891" y="2122156"/>
            <a:ext cx="2547934" cy="2769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D1FFE4F8-DC13-4247-94F6-FD37EF98F9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15605" y="2484119"/>
            <a:ext cx="5399678" cy="372417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</a:p>
          <a:p>
            <a:pPr lvl="0"/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B65BB1A9-9EFB-B14E-AF4B-A1D2F07433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3664590D-91D4-964C-894F-8FB3FDA27F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7578593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-Pos">
            <a:extLst>
              <a:ext uri="{FF2B5EF4-FFF2-40B4-BE49-F238E27FC236}">
                <a16:creationId xmlns:a16="http://schemas.microsoft.com/office/drawing/2014/main" id="{2D38B677-14C8-3C4E-8AC3-FA1277660C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90DCCF90-E98B-0D41-AE9F-C166763E40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332BB-41A0-3245-A339-ECAFE4C73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8F403B9A-39DF-7D40-9C66-C641E5D858F5}"/>
              </a:ext>
            </a:extLst>
          </p:cNvPr>
          <p:cNvSpPr txBox="1"/>
          <p:nvPr userDrawn="1"/>
        </p:nvSpPr>
        <p:spPr>
          <a:xfrm rot="10800000">
            <a:off x="7710876" y="2217564"/>
            <a:ext cx="596280" cy="184665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DE" sz="12000" b="0" i="0" dirty="0">
                <a:solidFill>
                  <a:schemeClr val="tx1"/>
                </a:solidFill>
                <a:latin typeface="Reso" panose="02000000000000000000" pitchFamily="2" charset="0"/>
                <a:ea typeface="Roboto" panose="02000000000000000000" pitchFamily="2" charset="0"/>
              </a:rPr>
              <a:t>„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5DE3A52-0139-A14B-AF39-ECE3E20863FB}"/>
              </a:ext>
            </a:extLst>
          </p:cNvPr>
          <p:cNvSpPr txBox="1"/>
          <p:nvPr userDrawn="1"/>
        </p:nvSpPr>
        <p:spPr>
          <a:xfrm>
            <a:off x="10313097" y="3213274"/>
            <a:ext cx="596280" cy="184665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DE" sz="12000" b="0" i="0" dirty="0">
                <a:solidFill>
                  <a:schemeClr val="tx1"/>
                </a:solidFill>
                <a:latin typeface="Reso" panose="02000000000000000000" pitchFamily="2" charset="0"/>
                <a:ea typeface="Roboto" panose="02000000000000000000" pitchFamily="2" charset="0"/>
              </a:rPr>
              <a:t>„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6994922C-6547-A740-B51B-850CB104BE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2484120"/>
            <a:ext cx="3241586" cy="372417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</a:p>
          <a:p>
            <a:pPr lvl="0"/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10F8C853-C500-004D-9CE6-B0570D7400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6891" y="2122156"/>
            <a:ext cx="2547934" cy="2769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F9966BF-6C04-064F-9FE5-5638032BBC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82986" y="2484120"/>
            <a:ext cx="324000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D2E28A6-0C8A-DA45-B85F-6DF8CF51AB8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67496" y="3033818"/>
            <a:ext cx="3041881" cy="1378162"/>
          </a:xfrm>
          <a:prstGeom prst="rect">
            <a:avLst/>
          </a:prstGeom>
        </p:spPr>
        <p:txBody>
          <a:bodyPr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C2302CE4-67C5-AD48-8B6A-B28CC5BDC30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82986" y="4528178"/>
            <a:ext cx="3240000" cy="1754611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F150E7-ADAE-FB41-9120-44CA1CA4C9BB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7D0249-3B67-AA4C-912C-19CBB8C487F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0D9C5B9F-8290-754A-8313-695E3DB15905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E257A79-1BE7-6148-A7AF-F7F08021C6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F119715A-E607-7949-A60D-13AC5E59E9D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3808831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8F403B9A-39DF-7D40-9C66-C641E5D858F5}"/>
              </a:ext>
            </a:extLst>
          </p:cNvPr>
          <p:cNvSpPr txBox="1"/>
          <p:nvPr userDrawn="1"/>
        </p:nvSpPr>
        <p:spPr>
          <a:xfrm rot="10800000">
            <a:off x="4307413" y="652888"/>
            <a:ext cx="650124" cy="369331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DE" sz="24000" b="0" i="0" dirty="0">
                <a:solidFill>
                  <a:schemeClr val="tx1"/>
                </a:solidFill>
                <a:latin typeface="Reso" panose="02000000000000000000" pitchFamily="2" charset="0"/>
                <a:ea typeface="Roboto" panose="02000000000000000000" pitchFamily="2" charset="0"/>
              </a:rPr>
              <a:t>„</a:t>
            </a:r>
          </a:p>
        </p:txBody>
      </p:sp>
      <p:grpSp>
        <p:nvGrpSpPr>
          <p:cNvPr id="7" name="Logo-Pos">
            <a:extLst>
              <a:ext uri="{FF2B5EF4-FFF2-40B4-BE49-F238E27FC236}">
                <a16:creationId xmlns:a16="http://schemas.microsoft.com/office/drawing/2014/main" id="{2D38B677-14C8-3C4E-8AC3-FA1277660C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12" name="Freeform 29">
              <a:extLst>
                <a:ext uri="{FF2B5EF4-FFF2-40B4-BE49-F238E27FC236}">
                  <a16:creationId xmlns:a16="http://schemas.microsoft.com/office/drawing/2014/main" id="{90DCCF90-E98B-0D41-AE9F-C166763E40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332BB-41A0-3245-A339-ECAFE4C73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D5DE3A52-0139-A14B-AF39-ECE3E20863FB}"/>
              </a:ext>
            </a:extLst>
          </p:cNvPr>
          <p:cNvSpPr txBox="1"/>
          <p:nvPr userDrawn="1"/>
        </p:nvSpPr>
        <p:spPr>
          <a:xfrm>
            <a:off x="11019003" y="2775749"/>
            <a:ext cx="596280" cy="369331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DE" sz="24000" b="0" i="0" dirty="0">
                <a:solidFill>
                  <a:schemeClr val="tx1"/>
                </a:solidFill>
                <a:latin typeface="Reso" panose="02000000000000000000" pitchFamily="2" charset="0"/>
                <a:ea typeface="Roboto" panose="02000000000000000000" pitchFamily="2" charset="0"/>
              </a:rPr>
              <a:t>„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F9966BF-6C04-064F-9FE5-5638032BBC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82986" y="2484120"/>
            <a:ext cx="324000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C2302CE4-67C5-AD48-8B6A-B28CC5BDC30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82986" y="4528178"/>
            <a:ext cx="3240000" cy="1754611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F150E7-ADAE-FB41-9120-44CA1CA4C9BB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7D0249-3B67-AA4C-912C-19CBB8C487FC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0D9C5B9F-8290-754A-8313-695E3DB15905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16FA6C2E-8D06-B34F-9E9A-D6D8217CF2C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67496" y="2482949"/>
            <a:ext cx="324000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04550A0-5E2C-7E4B-981F-1D1088E2297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2484120"/>
            <a:ext cx="3241586" cy="372417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</a:p>
          <a:p>
            <a:pPr lvl="0"/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. Maecenas </a:t>
            </a:r>
            <a:r>
              <a:rPr lang="de-DE" dirty="0" err="1"/>
              <a:t>nec</a:t>
            </a:r>
            <a:r>
              <a:rPr lang="de-DE" dirty="0"/>
              <a:t> </a:t>
            </a:r>
            <a:r>
              <a:rPr lang="de-DE" dirty="0" err="1"/>
              <a:t>odio</a:t>
            </a:r>
            <a:r>
              <a:rPr lang="de-DE" dirty="0"/>
              <a:t> et ante </a:t>
            </a:r>
            <a:r>
              <a:rPr lang="de-DE" dirty="0" err="1"/>
              <a:t>tincidunt</a:t>
            </a:r>
            <a:r>
              <a:rPr lang="de-DE" dirty="0"/>
              <a:t> </a:t>
            </a:r>
            <a:r>
              <a:rPr lang="de-DE" dirty="0" err="1"/>
              <a:t>temp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 </a:t>
            </a:r>
            <a:r>
              <a:rPr lang="de-DE" dirty="0" err="1"/>
              <a:t>sapien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faucibus</a:t>
            </a:r>
            <a:r>
              <a:rPr lang="de-DE" dirty="0"/>
              <a:t>.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B1AE11B8-8589-FA47-A0BC-59D38BE6243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6891" y="2122156"/>
            <a:ext cx="2547934" cy="2769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83F4D62-5C34-3D41-8490-3BFC8E84CC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8A10ABA1-BD58-FA41-B93A-D2635FA456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693432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evron 88">
            <a:extLst>
              <a:ext uri="{FF2B5EF4-FFF2-40B4-BE49-F238E27FC236}">
                <a16:creationId xmlns:a16="http://schemas.microsoft.com/office/drawing/2014/main" id="{3F39D1DC-0A50-0F43-BC59-F6410D9913D8}"/>
              </a:ext>
            </a:extLst>
          </p:cNvPr>
          <p:cNvSpPr/>
          <p:nvPr userDrawn="1"/>
        </p:nvSpPr>
        <p:spPr>
          <a:xfrm>
            <a:off x="8845218" y="3092529"/>
            <a:ext cx="2441327" cy="276867"/>
          </a:xfrm>
          <a:prstGeom prst="chevron">
            <a:avLst>
              <a:gd name="adj" fmla="val 58079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Chevron 82">
            <a:extLst>
              <a:ext uri="{FF2B5EF4-FFF2-40B4-BE49-F238E27FC236}">
                <a16:creationId xmlns:a16="http://schemas.microsoft.com/office/drawing/2014/main" id="{18E74BA6-10F0-F642-9102-C642521310B6}"/>
              </a:ext>
            </a:extLst>
          </p:cNvPr>
          <p:cNvSpPr/>
          <p:nvPr userDrawn="1"/>
        </p:nvSpPr>
        <p:spPr>
          <a:xfrm>
            <a:off x="6176755" y="3092529"/>
            <a:ext cx="2441327" cy="276867"/>
          </a:xfrm>
          <a:prstGeom prst="chevron">
            <a:avLst>
              <a:gd name="adj" fmla="val 58079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Chevron 76">
            <a:extLst>
              <a:ext uri="{FF2B5EF4-FFF2-40B4-BE49-F238E27FC236}">
                <a16:creationId xmlns:a16="http://schemas.microsoft.com/office/drawing/2014/main" id="{21220963-1F5F-AF4B-B986-F4FB194A9D1E}"/>
              </a:ext>
            </a:extLst>
          </p:cNvPr>
          <p:cNvSpPr/>
          <p:nvPr userDrawn="1"/>
        </p:nvSpPr>
        <p:spPr>
          <a:xfrm>
            <a:off x="3508292" y="3092529"/>
            <a:ext cx="2441327" cy="276867"/>
          </a:xfrm>
          <a:prstGeom prst="chevron">
            <a:avLst>
              <a:gd name="adj" fmla="val 58079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Chevron 57">
            <a:extLst>
              <a:ext uri="{FF2B5EF4-FFF2-40B4-BE49-F238E27FC236}">
                <a16:creationId xmlns:a16="http://schemas.microsoft.com/office/drawing/2014/main" id="{8C913C3B-1332-034B-ADEC-8A6F26C79F7B}"/>
              </a:ext>
            </a:extLst>
          </p:cNvPr>
          <p:cNvSpPr/>
          <p:nvPr userDrawn="1"/>
        </p:nvSpPr>
        <p:spPr>
          <a:xfrm>
            <a:off x="839829" y="3092531"/>
            <a:ext cx="2441327" cy="276867"/>
          </a:xfrm>
          <a:prstGeom prst="chevron">
            <a:avLst>
              <a:gd name="adj" fmla="val 58079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78CABDD6-C258-A348-A68C-EB78CFEE2CC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136077" y="1712181"/>
            <a:ext cx="1848830" cy="11164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D7A6F4C8-1380-2146-8B3E-D2AA8118252B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4540" y="1712181"/>
            <a:ext cx="1848830" cy="11164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90522D6A-22F3-A846-BAF5-DA8A41CED77D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73003" y="1712181"/>
            <a:ext cx="1848830" cy="11164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183F61FF-CC59-EF4C-89D0-274DA5E9C543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141466" y="1712181"/>
            <a:ext cx="1848830" cy="11164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B623047-0E15-C74D-A7F8-9C27AC49CCE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36077" y="3579946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9D7F535F-A660-2B44-A16B-FB5F70673A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04540" y="3579945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A1B84500-3E3F-0C4A-8110-4671A4555C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73003" y="3579945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9FC3B342-D2D1-5E46-9B53-927AA823B8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41466" y="3579945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3485C98-B481-644A-AE3C-03DC316C8DB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36077" y="4010609"/>
            <a:ext cx="184883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05B90FC3-E651-EF47-8590-2E04C2E07DB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804540" y="4010608"/>
            <a:ext cx="184883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0D431F79-ADF6-394B-87B0-016F36B8AA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473003" y="4010608"/>
            <a:ext cx="184883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8CEC7F3A-FEF9-CB49-952C-5DEC9955205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41466" y="4010608"/>
            <a:ext cx="1848830" cy="1754611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06BE66DE-BD6A-B94E-9136-8BD7B3C5E1F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73438" y="3122767"/>
            <a:ext cx="1174108" cy="2201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018</a:t>
            </a:r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9E54A79E-DF96-154C-B2A4-99F5C002FC3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141901" y="3122767"/>
            <a:ext cx="1174108" cy="2201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019</a:t>
            </a:r>
          </a:p>
        </p:txBody>
      </p:sp>
      <p:sp>
        <p:nvSpPr>
          <p:cNvPr id="22" name="Textplatzhalter 11">
            <a:extLst>
              <a:ext uri="{FF2B5EF4-FFF2-40B4-BE49-F238E27FC236}">
                <a16:creationId xmlns:a16="http://schemas.microsoft.com/office/drawing/2014/main" id="{DB657154-AAE6-AD46-B042-843790F1E1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810364" y="3122767"/>
            <a:ext cx="1174108" cy="2201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020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53962D24-4F9B-E142-9DDF-D520C75D7B9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478827" y="3122767"/>
            <a:ext cx="1174108" cy="2201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021</a:t>
            </a:r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A2F110FD-D81C-0442-B47E-A13320B06B06}"/>
              </a:ext>
            </a:extLst>
          </p:cNvPr>
          <p:cNvSpPr>
            <a:spLocks noGrp="1"/>
          </p:cNvSpPr>
          <p:nvPr>
            <p:ph type="dt" sz="half" idx="5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25" name="Fußzeilenplatzhalter 24">
            <a:extLst>
              <a:ext uri="{FF2B5EF4-FFF2-40B4-BE49-F238E27FC236}">
                <a16:creationId xmlns:a16="http://schemas.microsoft.com/office/drawing/2014/main" id="{343ADF51-F30F-C54E-96D5-4EA5399F708F}"/>
              </a:ext>
            </a:extLst>
          </p:cNvPr>
          <p:cNvSpPr>
            <a:spLocks noGrp="1"/>
          </p:cNvSpPr>
          <p:nvPr>
            <p:ph type="ftr" sz="quarter" idx="5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Foliennummernplatzhalter 25">
            <a:extLst>
              <a:ext uri="{FF2B5EF4-FFF2-40B4-BE49-F238E27FC236}">
                <a16:creationId xmlns:a16="http://schemas.microsoft.com/office/drawing/2014/main" id="{8EF6CA7A-CBAE-DC4F-B166-D5224C58B37F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723C6EAA-AEFD-4141-8C8B-C8111E0C27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867018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7" grpId="0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D16B5A92-ACA6-FF4F-B673-F250943B90D3}"/>
              </a:ext>
            </a:extLst>
          </p:cNvPr>
          <p:cNvSpPr/>
          <p:nvPr userDrawn="1"/>
        </p:nvSpPr>
        <p:spPr>
          <a:xfrm>
            <a:off x="3642359" y="3892713"/>
            <a:ext cx="8549641" cy="182880"/>
          </a:xfrm>
          <a:custGeom>
            <a:avLst/>
            <a:gdLst>
              <a:gd name="connsiteX0" fmla="*/ 91440 w 8549641"/>
              <a:gd name="connsiteY0" fmla="*/ 0 h 182880"/>
              <a:gd name="connsiteX1" fmla="*/ 8549641 w 8549641"/>
              <a:gd name="connsiteY1" fmla="*/ 0 h 182880"/>
              <a:gd name="connsiteX2" fmla="*/ 8549641 w 8549641"/>
              <a:gd name="connsiteY2" fmla="*/ 182880 h 182880"/>
              <a:gd name="connsiteX3" fmla="*/ 91440 w 8549641"/>
              <a:gd name="connsiteY3" fmla="*/ 182880 h 182880"/>
              <a:gd name="connsiteX4" fmla="*/ 0 w 8549641"/>
              <a:gd name="connsiteY4" fmla="*/ 91440 h 182880"/>
              <a:gd name="connsiteX5" fmla="*/ 91440 w 8549641"/>
              <a:gd name="connsiteY5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49641" h="182880">
                <a:moveTo>
                  <a:pt x="91440" y="0"/>
                </a:moveTo>
                <a:lnTo>
                  <a:pt x="8549641" y="0"/>
                </a:lnTo>
                <a:lnTo>
                  <a:pt x="8549641" y="182880"/>
                </a:lnTo>
                <a:lnTo>
                  <a:pt x="91440" y="182880"/>
                </a:lnTo>
                <a:cubicBezTo>
                  <a:pt x="40939" y="182880"/>
                  <a:pt x="0" y="141941"/>
                  <a:pt x="0" y="91440"/>
                </a:cubicBezTo>
                <a:cubicBezTo>
                  <a:pt x="0" y="40939"/>
                  <a:pt x="40939" y="0"/>
                  <a:pt x="9144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grpSp>
        <p:nvGrpSpPr>
          <p:cNvPr id="8" name="Group 13">
            <a:extLst>
              <a:ext uri="{FF2B5EF4-FFF2-40B4-BE49-F238E27FC236}">
                <a16:creationId xmlns:a16="http://schemas.microsoft.com/office/drawing/2014/main" id="{812BBFA0-F0DA-3147-8755-CA218D32842D}"/>
              </a:ext>
            </a:extLst>
          </p:cNvPr>
          <p:cNvGrpSpPr/>
          <p:nvPr userDrawn="1"/>
        </p:nvGrpSpPr>
        <p:grpSpPr>
          <a:xfrm>
            <a:off x="3901107" y="2804783"/>
            <a:ext cx="70718" cy="1128137"/>
            <a:chOff x="853107" y="1754522"/>
            <a:chExt cx="70718" cy="112813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CCEC02A-4574-BD4F-B581-24C114FFF306}"/>
                </a:ext>
              </a:extLst>
            </p:cNvPr>
            <p:cNvSpPr/>
            <p:nvPr/>
          </p:nvSpPr>
          <p:spPr>
            <a:xfrm>
              <a:off x="853107" y="1754522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" name="Straight Connector 10">
              <a:extLst>
                <a:ext uri="{FF2B5EF4-FFF2-40B4-BE49-F238E27FC236}">
                  <a16:creationId xmlns:a16="http://schemas.microsoft.com/office/drawing/2014/main" id="{AE569004-6078-AE4C-B143-6D5BB78471CE}"/>
                </a:ext>
              </a:extLst>
            </p:cNvPr>
            <p:cNvCxnSpPr>
              <a:cxnSpLocks/>
              <a:stCxn id="9" idx="4"/>
              <a:endCxn id="11" idx="0"/>
            </p:cNvCxnSpPr>
            <p:nvPr/>
          </p:nvCxnSpPr>
          <p:spPr>
            <a:xfrm>
              <a:off x="888466" y="1825238"/>
              <a:ext cx="0" cy="1057421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8B60DEE3-4BB3-CF41-865D-ACE6FDC00933}"/>
              </a:ext>
            </a:extLst>
          </p:cNvPr>
          <p:cNvSpPr/>
          <p:nvPr userDrawn="1"/>
        </p:nvSpPr>
        <p:spPr>
          <a:xfrm>
            <a:off x="3885231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20">
            <a:extLst>
              <a:ext uri="{FF2B5EF4-FFF2-40B4-BE49-F238E27FC236}">
                <a16:creationId xmlns:a16="http://schemas.microsoft.com/office/drawing/2014/main" id="{2FDB53AB-44DC-1A4C-AB9D-FDE09346776E}"/>
              </a:ext>
            </a:extLst>
          </p:cNvPr>
          <p:cNvGrpSpPr/>
          <p:nvPr userDrawn="1"/>
        </p:nvGrpSpPr>
        <p:grpSpPr>
          <a:xfrm>
            <a:off x="6571081" y="4035386"/>
            <a:ext cx="70718" cy="1105408"/>
            <a:chOff x="3523081" y="2985125"/>
            <a:chExt cx="70718" cy="110540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6FF4E62-E093-254B-B05B-C1A3D83F92EF}"/>
                </a:ext>
              </a:extLst>
            </p:cNvPr>
            <p:cNvSpPr/>
            <p:nvPr/>
          </p:nvSpPr>
          <p:spPr>
            <a:xfrm>
              <a:off x="3523081" y="4019817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EDA7069-C416-F041-ADC0-6C1DB0D014D5}"/>
                </a:ext>
              </a:extLst>
            </p:cNvPr>
            <p:cNvCxnSpPr/>
            <p:nvPr/>
          </p:nvCxnSpPr>
          <p:spPr>
            <a:xfrm>
              <a:off x="3558440" y="2985125"/>
              <a:ext cx="0" cy="1034692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B1C091A4-8D5A-D246-BC61-2C62EC6B356C}"/>
              </a:ext>
            </a:extLst>
          </p:cNvPr>
          <p:cNvSpPr/>
          <p:nvPr userDrawn="1"/>
        </p:nvSpPr>
        <p:spPr>
          <a:xfrm>
            <a:off x="6555205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7">
            <a:extLst>
              <a:ext uri="{FF2B5EF4-FFF2-40B4-BE49-F238E27FC236}">
                <a16:creationId xmlns:a16="http://schemas.microsoft.com/office/drawing/2014/main" id="{B23648DC-8548-3E42-A44B-5A93C13B1B5C}"/>
              </a:ext>
            </a:extLst>
          </p:cNvPr>
          <p:cNvGrpSpPr/>
          <p:nvPr userDrawn="1"/>
        </p:nvGrpSpPr>
        <p:grpSpPr>
          <a:xfrm>
            <a:off x="9288881" y="2804783"/>
            <a:ext cx="70718" cy="1128137"/>
            <a:chOff x="6240881" y="1754522"/>
            <a:chExt cx="70718" cy="1128137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2644D21-D68A-D549-8074-3FE5E2A780B6}"/>
                </a:ext>
              </a:extLst>
            </p:cNvPr>
            <p:cNvSpPr/>
            <p:nvPr/>
          </p:nvSpPr>
          <p:spPr>
            <a:xfrm>
              <a:off x="6240881" y="1754522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Straight Connector 24">
              <a:extLst>
                <a:ext uri="{FF2B5EF4-FFF2-40B4-BE49-F238E27FC236}">
                  <a16:creationId xmlns:a16="http://schemas.microsoft.com/office/drawing/2014/main" id="{66056575-0199-4D4A-B55F-36203A3FAFFA}"/>
                </a:ext>
              </a:extLst>
            </p:cNvPr>
            <p:cNvCxnSpPr>
              <a:cxnSpLocks/>
              <a:stCxn id="25" idx="4"/>
              <a:endCxn id="27" idx="0"/>
            </p:cNvCxnSpPr>
            <p:nvPr/>
          </p:nvCxnSpPr>
          <p:spPr>
            <a:xfrm>
              <a:off x="6276240" y="1825238"/>
              <a:ext cx="0" cy="1057421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A90C7EAF-6DB2-CD45-966C-CE861C979823}"/>
              </a:ext>
            </a:extLst>
          </p:cNvPr>
          <p:cNvSpPr/>
          <p:nvPr userDrawn="1"/>
        </p:nvSpPr>
        <p:spPr>
          <a:xfrm>
            <a:off x="9273005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icture Placeholder 33">
            <a:extLst>
              <a:ext uri="{FF2B5EF4-FFF2-40B4-BE49-F238E27FC236}">
                <a16:creationId xmlns:a16="http://schemas.microsoft.com/office/drawing/2014/main" id="{18A7EF7B-5CA0-174B-93A3-7591C889FF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964934" y="4387219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ABC1166D-18F2-AA4C-8E51-EE4D8228FD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02935" y="2804783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16183307-4C5E-D745-986D-CBA181EEDE6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02935" y="3235447"/>
            <a:ext cx="2140210" cy="41035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41" name="Textplatzhalter 11">
            <a:extLst>
              <a:ext uri="{FF2B5EF4-FFF2-40B4-BE49-F238E27FC236}">
                <a16:creationId xmlns:a16="http://schemas.microsoft.com/office/drawing/2014/main" id="{D2827CEF-18BD-DD46-9384-A6C45689F9D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769935" y="4387219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E6A280FF-9C8D-BD48-99C6-F6A444596E6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769935" y="4817884"/>
            <a:ext cx="2140210" cy="32291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43" name="Textplatzhalter 11">
            <a:extLst>
              <a:ext uri="{FF2B5EF4-FFF2-40B4-BE49-F238E27FC236}">
                <a16:creationId xmlns:a16="http://schemas.microsoft.com/office/drawing/2014/main" id="{58EDFCEF-4C06-814F-A314-0828B681912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490708" y="2804783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FEF70C23-867D-3A40-BE97-9A6A6A155BF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490708" y="3235448"/>
            <a:ext cx="2140210" cy="32291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45" name="Datumsplatzhalter 44">
            <a:extLst>
              <a:ext uri="{FF2B5EF4-FFF2-40B4-BE49-F238E27FC236}">
                <a16:creationId xmlns:a16="http://schemas.microsoft.com/office/drawing/2014/main" id="{23CF0B49-EC0E-A248-BEB9-768C7F1DF48C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46" name="Fußzeilenplatzhalter 45">
            <a:extLst>
              <a:ext uri="{FF2B5EF4-FFF2-40B4-BE49-F238E27FC236}">
                <a16:creationId xmlns:a16="http://schemas.microsoft.com/office/drawing/2014/main" id="{D79873AA-7F5F-1544-9E47-C806A4C7F8DA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7" name="Foliennummernplatzhalter 46">
            <a:extLst>
              <a:ext uri="{FF2B5EF4-FFF2-40B4-BE49-F238E27FC236}">
                <a16:creationId xmlns:a16="http://schemas.microsoft.com/office/drawing/2014/main" id="{039C283D-434D-4447-B8AD-6DEB6A720BBD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8" name="Picture Placeholder 32">
            <a:extLst>
              <a:ext uri="{FF2B5EF4-FFF2-40B4-BE49-F238E27FC236}">
                <a16:creationId xmlns:a16="http://schemas.microsoft.com/office/drawing/2014/main" id="{17B96889-439C-764E-8951-9F6D53206F42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4446995" y="4387219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49" name="Picture Placeholder 33">
            <a:extLst>
              <a:ext uri="{FF2B5EF4-FFF2-40B4-BE49-F238E27FC236}">
                <a16:creationId xmlns:a16="http://schemas.microsoft.com/office/drawing/2014/main" id="{04AAEEBD-35F0-E544-B32D-234FBC0BBC57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7160988" y="2565131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FDBBBB74-8651-7545-8746-94FFB0D8CB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5DCE5AA1-A9DC-EC42-8F40-BE6DEE5713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749224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9" grpId="0" animBg="1"/>
      <p:bldP spid="27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5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6">
            <a:extLst>
              <a:ext uri="{FF2B5EF4-FFF2-40B4-BE49-F238E27FC236}">
                <a16:creationId xmlns:a16="http://schemas.microsoft.com/office/drawing/2014/main" id="{04856727-5EDE-1940-AE38-3D4510FF2243}"/>
              </a:ext>
            </a:extLst>
          </p:cNvPr>
          <p:cNvSpPr/>
          <p:nvPr userDrawn="1"/>
        </p:nvSpPr>
        <p:spPr>
          <a:xfrm rot="10800000">
            <a:off x="-7621" y="3892713"/>
            <a:ext cx="8549641" cy="182880"/>
          </a:xfrm>
          <a:custGeom>
            <a:avLst/>
            <a:gdLst>
              <a:gd name="connsiteX0" fmla="*/ 91440 w 8549641"/>
              <a:gd name="connsiteY0" fmla="*/ 0 h 182880"/>
              <a:gd name="connsiteX1" fmla="*/ 8549641 w 8549641"/>
              <a:gd name="connsiteY1" fmla="*/ 0 h 182880"/>
              <a:gd name="connsiteX2" fmla="*/ 8549641 w 8549641"/>
              <a:gd name="connsiteY2" fmla="*/ 182880 h 182880"/>
              <a:gd name="connsiteX3" fmla="*/ 91440 w 8549641"/>
              <a:gd name="connsiteY3" fmla="*/ 182880 h 182880"/>
              <a:gd name="connsiteX4" fmla="*/ 0 w 8549641"/>
              <a:gd name="connsiteY4" fmla="*/ 91440 h 182880"/>
              <a:gd name="connsiteX5" fmla="*/ 91440 w 8549641"/>
              <a:gd name="connsiteY5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49641" h="182880">
                <a:moveTo>
                  <a:pt x="91440" y="0"/>
                </a:moveTo>
                <a:lnTo>
                  <a:pt x="8549641" y="0"/>
                </a:lnTo>
                <a:lnTo>
                  <a:pt x="8549641" y="182880"/>
                </a:lnTo>
                <a:lnTo>
                  <a:pt x="91440" y="182880"/>
                </a:lnTo>
                <a:cubicBezTo>
                  <a:pt x="40939" y="182880"/>
                  <a:pt x="0" y="141941"/>
                  <a:pt x="0" y="91440"/>
                </a:cubicBezTo>
                <a:cubicBezTo>
                  <a:pt x="0" y="40939"/>
                  <a:pt x="40939" y="0"/>
                  <a:pt x="9144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30" name="Picture Placeholder 33">
            <a:extLst>
              <a:ext uri="{FF2B5EF4-FFF2-40B4-BE49-F238E27FC236}">
                <a16:creationId xmlns:a16="http://schemas.microsoft.com/office/drawing/2014/main" id="{2D93FA51-847E-AC44-B346-1D64449CD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23528" y="2564072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33" name="Textplatzhalter 11">
            <a:extLst>
              <a:ext uri="{FF2B5EF4-FFF2-40B4-BE49-F238E27FC236}">
                <a16:creationId xmlns:a16="http://schemas.microsoft.com/office/drawing/2014/main" id="{FA7AC849-A33D-754A-B6D2-50AF7FEDF98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216970" y="4387219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C72C5260-C39E-954E-A069-84946E1B5D0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216970" y="4817884"/>
            <a:ext cx="2140210" cy="32291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grpSp>
        <p:nvGrpSpPr>
          <p:cNvPr id="41" name="Group 20">
            <a:extLst>
              <a:ext uri="{FF2B5EF4-FFF2-40B4-BE49-F238E27FC236}">
                <a16:creationId xmlns:a16="http://schemas.microsoft.com/office/drawing/2014/main" id="{B1C254AC-AA4E-E74D-8D82-31D7F950E5AE}"/>
              </a:ext>
            </a:extLst>
          </p:cNvPr>
          <p:cNvGrpSpPr/>
          <p:nvPr userDrawn="1"/>
        </p:nvGrpSpPr>
        <p:grpSpPr>
          <a:xfrm>
            <a:off x="978678" y="4035386"/>
            <a:ext cx="70718" cy="1105408"/>
            <a:chOff x="3523081" y="2985125"/>
            <a:chExt cx="70718" cy="110540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58B263C7-C884-6C4D-98AA-DD1C35A43FAA}"/>
                </a:ext>
              </a:extLst>
            </p:cNvPr>
            <p:cNvSpPr/>
            <p:nvPr/>
          </p:nvSpPr>
          <p:spPr>
            <a:xfrm>
              <a:off x="3523081" y="4019817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3" name="Straight Connector 17">
              <a:extLst>
                <a:ext uri="{FF2B5EF4-FFF2-40B4-BE49-F238E27FC236}">
                  <a16:creationId xmlns:a16="http://schemas.microsoft.com/office/drawing/2014/main" id="{2E56B7A2-8936-D046-89EB-8401C4439D87}"/>
                </a:ext>
              </a:extLst>
            </p:cNvPr>
            <p:cNvCxnSpPr/>
            <p:nvPr/>
          </p:nvCxnSpPr>
          <p:spPr>
            <a:xfrm>
              <a:off x="3558440" y="2985125"/>
              <a:ext cx="0" cy="1034692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E646C9A2-3F4B-3342-ADC3-7ADBEAF89E24}"/>
              </a:ext>
            </a:extLst>
          </p:cNvPr>
          <p:cNvSpPr/>
          <p:nvPr userDrawn="1"/>
        </p:nvSpPr>
        <p:spPr>
          <a:xfrm>
            <a:off x="962802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Picture Placeholder 32">
            <a:extLst>
              <a:ext uri="{FF2B5EF4-FFF2-40B4-BE49-F238E27FC236}">
                <a16:creationId xmlns:a16="http://schemas.microsoft.com/office/drawing/2014/main" id="{42020DC8-9B6D-614D-BC50-8B85B96EFB62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4446995" y="4387219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74" name="Textplatzhalter 11">
            <a:extLst>
              <a:ext uri="{FF2B5EF4-FFF2-40B4-BE49-F238E27FC236}">
                <a16:creationId xmlns:a16="http://schemas.microsoft.com/office/drawing/2014/main" id="{D37A587A-2C9E-6844-B227-3A595166473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754430" y="4387219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1F1ECE9F-1383-0447-828C-30AAAC5E0A1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754430" y="4817884"/>
            <a:ext cx="2140210" cy="32291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grpSp>
        <p:nvGrpSpPr>
          <p:cNvPr id="76" name="Group 20">
            <a:extLst>
              <a:ext uri="{FF2B5EF4-FFF2-40B4-BE49-F238E27FC236}">
                <a16:creationId xmlns:a16="http://schemas.microsoft.com/office/drawing/2014/main" id="{969689D3-F2F3-4F46-8AE2-EFAD15143A9C}"/>
              </a:ext>
            </a:extLst>
          </p:cNvPr>
          <p:cNvGrpSpPr/>
          <p:nvPr userDrawn="1"/>
        </p:nvGrpSpPr>
        <p:grpSpPr>
          <a:xfrm>
            <a:off x="6516138" y="4035386"/>
            <a:ext cx="70718" cy="1105408"/>
            <a:chOff x="3523081" y="2985125"/>
            <a:chExt cx="70718" cy="1105408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E617585D-850C-8E47-BF9C-4B88388AB62B}"/>
                </a:ext>
              </a:extLst>
            </p:cNvPr>
            <p:cNvSpPr/>
            <p:nvPr/>
          </p:nvSpPr>
          <p:spPr>
            <a:xfrm>
              <a:off x="3523081" y="4019817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8" name="Straight Connector 17">
              <a:extLst>
                <a:ext uri="{FF2B5EF4-FFF2-40B4-BE49-F238E27FC236}">
                  <a16:creationId xmlns:a16="http://schemas.microsoft.com/office/drawing/2014/main" id="{CBAA6BE1-FA0F-6D46-BD5C-13D69C8171AD}"/>
                </a:ext>
              </a:extLst>
            </p:cNvPr>
            <p:cNvCxnSpPr/>
            <p:nvPr/>
          </p:nvCxnSpPr>
          <p:spPr>
            <a:xfrm>
              <a:off x="3558440" y="2985125"/>
              <a:ext cx="0" cy="1034692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Oval 78">
            <a:extLst>
              <a:ext uri="{FF2B5EF4-FFF2-40B4-BE49-F238E27FC236}">
                <a16:creationId xmlns:a16="http://schemas.microsoft.com/office/drawing/2014/main" id="{B50F863C-EA02-7441-825D-B40B85B180A6}"/>
              </a:ext>
            </a:extLst>
          </p:cNvPr>
          <p:cNvSpPr/>
          <p:nvPr userDrawn="1"/>
        </p:nvSpPr>
        <p:spPr>
          <a:xfrm>
            <a:off x="6500262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Picture Placeholder 33">
            <a:extLst>
              <a:ext uri="{FF2B5EF4-FFF2-40B4-BE49-F238E27FC236}">
                <a16:creationId xmlns:a16="http://schemas.microsoft.com/office/drawing/2014/main" id="{6187F608-5A7C-9241-92C5-8F18FFDDA2FC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7160988" y="2565131"/>
            <a:ext cx="1035714" cy="103571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81" name="Datumsplatzhalter 80">
            <a:extLst>
              <a:ext uri="{FF2B5EF4-FFF2-40B4-BE49-F238E27FC236}">
                <a16:creationId xmlns:a16="http://schemas.microsoft.com/office/drawing/2014/main" id="{CCC47F54-2D13-984D-8074-AD2EF695AB7C}"/>
              </a:ext>
            </a:extLst>
          </p:cNvPr>
          <p:cNvSpPr>
            <a:spLocks noGrp="1"/>
          </p:cNvSpPr>
          <p:nvPr>
            <p:ph type="dt" sz="half" idx="58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82" name="Fußzeilenplatzhalter 81">
            <a:extLst>
              <a:ext uri="{FF2B5EF4-FFF2-40B4-BE49-F238E27FC236}">
                <a16:creationId xmlns:a16="http://schemas.microsoft.com/office/drawing/2014/main" id="{FECAA7CE-D5CD-BA48-9B57-6821799CD6FC}"/>
              </a:ext>
            </a:extLst>
          </p:cNvPr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3" name="Foliennummernplatzhalter 82">
            <a:extLst>
              <a:ext uri="{FF2B5EF4-FFF2-40B4-BE49-F238E27FC236}">
                <a16:creationId xmlns:a16="http://schemas.microsoft.com/office/drawing/2014/main" id="{754B3C5A-4D64-014D-A160-B927EE6CADE9}"/>
              </a:ext>
            </a:extLst>
          </p:cNvPr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84" name="Group 13">
            <a:extLst>
              <a:ext uri="{FF2B5EF4-FFF2-40B4-BE49-F238E27FC236}">
                <a16:creationId xmlns:a16="http://schemas.microsoft.com/office/drawing/2014/main" id="{2E0D8277-2C31-B543-A61F-F1883136E131}"/>
              </a:ext>
            </a:extLst>
          </p:cNvPr>
          <p:cNvGrpSpPr/>
          <p:nvPr userDrawn="1"/>
        </p:nvGrpSpPr>
        <p:grpSpPr>
          <a:xfrm>
            <a:off x="3901107" y="2804783"/>
            <a:ext cx="70718" cy="1128137"/>
            <a:chOff x="853107" y="1754522"/>
            <a:chExt cx="70718" cy="1128137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6C978ABD-BB66-2444-878B-351F32E1775C}"/>
                </a:ext>
              </a:extLst>
            </p:cNvPr>
            <p:cNvSpPr/>
            <p:nvPr/>
          </p:nvSpPr>
          <p:spPr>
            <a:xfrm>
              <a:off x="853107" y="1754522"/>
              <a:ext cx="70718" cy="70716"/>
            </a:xfrm>
            <a:prstGeom prst="ellipse">
              <a:avLst/>
            </a:prstGeom>
            <a:solidFill>
              <a:srgbClr val="373A3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6" name="Straight Connector 10">
              <a:extLst>
                <a:ext uri="{FF2B5EF4-FFF2-40B4-BE49-F238E27FC236}">
                  <a16:creationId xmlns:a16="http://schemas.microsoft.com/office/drawing/2014/main" id="{4E55EAA6-C580-1C43-BBC1-A0DD50555B18}"/>
                </a:ext>
              </a:extLst>
            </p:cNvPr>
            <p:cNvCxnSpPr>
              <a:cxnSpLocks/>
              <a:stCxn id="85" idx="4"/>
              <a:endCxn id="87" idx="0"/>
            </p:cNvCxnSpPr>
            <p:nvPr/>
          </p:nvCxnSpPr>
          <p:spPr>
            <a:xfrm>
              <a:off x="888466" y="1825238"/>
              <a:ext cx="0" cy="1057421"/>
            </a:xfrm>
            <a:prstGeom prst="line">
              <a:avLst/>
            </a:prstGeom>
            <a:ln w="9525">
              <a:solidFill>
                <a:srgbClr val="373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Oval 86">
            <a:extLst>
              <a:ext uri="{FF2B5EF4-FFF2-40B4-BE49-F238E27FC236}">
                <a16:creationId xmlns:a16="http://schemas.microsoft.com/office/drawing/2014/main" id="{52E443A5-44D9-EB4A-83AC-508DB2DC7ADA}"/>
              </a:ext>
            </a:extLst>
          </p:cNvPr>
          <p:cNvSpPr/>
          <p:nvPr userDrawn="1"/>
        </p:nvSpPr>
        <p:spPr>
          <a:xfrm>
            <a:off x="3885231" y="3932920"/>
            <a:ext cx="102470" cy="102466"/>
          </a:xfrm>
          <a:prstGeom prst="ellipse">
            <a:avLst/>
          </a:prstGeom>
          <a:solidFill>
            <a:srgbClr val="373A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platzhalter 11">
            <a:extLst>
              <a:ext uri="{FF2B5EF4-FFF2-40B4-BE49-F238E27FC236}">
                <a16:creationId xmlns:a16="http://schemas.microsoft.com/office/drawing/2014/main" id="{E3EFD169-8FE0-C548-85C5-86875ED9AAB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02935" y="2804783"/>
            <a:ext cx="1848830" cy="2201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B05185DA-C9C6-1D41-AEA0-4360F0E4F17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02935" y="3235447"/>
            <a:ext cx="2140210" cy="41035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-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01014D35-501C-AA43-8F74-9DA669F383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95707E1-C8E1-134B-8600-92FD99A9C2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2799369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44" grpId="0" animBg="1"/>
      <p:bldP spid="79" grpId="0" animBg="1"/>
      <p:bldP spid="87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3D70511-9ABA-5E4D-9815-6A6761981AB2}"/>
              </a:ext>
            </a:extLst>
          </p:cNvPr>
          <p:cNvSpPr/>
          <p:nvPr userDrawn="1"/>
        </p:nvSpPr>
        <p:spPr>
          <a:xfrm rot="5400000">
            <a:off x="5379257" y="-2646067"/>
            <a:ext cx="1613806" cy="11378540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Picture 16">
            <a:extLst>
              <a:ext uri="{FF2B5EF4-FFF2-40B4-BE49-F238E27FC236}">
                <a16:creationId xmlns:a16="http://schemas.microsoft.com/office/drawing/2014/main" id="{C226E2ED-E5B4-BE42-8FF3-ED8C284E1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554" y="2647839"/>
            <a:ext cx="5788047" cy="3350975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47023C9-2D41-7D4D-AE46-A658E28BA8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35084" y="2849078"/>
            <a:ext cx="4361247" cy="2738196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CC69448A-5CDB-D24E-B6A2-5D1CA2489A3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7608" y="2881391"/>
            <a:ext cx="4679916" cy="79528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4CB8082-66A9-1947-B9B3-D12F0BE9DA0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7607" y="2519426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653409E-5534-9F44-841D-31EC47202EA5}"/>
              </a:ext>
            </a:extLst>
          </p:cNvPr>
          <p:cNvSpPr/>
          <p:nvPr userDrawn="1"/>
        </p:nvSpPr>
        <p:spPr>
          <a:xfrm>
            <a:off x="777607" y="4468433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EB947FC-49B9-4843-ACF3-DAB537058ADE}"/>
              </a:ext>
            </a:extLst>
          </p:cNvPr>
          <p:cNvSpPr/>
          <p:nvPr userDrawn="1"/>
        </p:nvSpPr>
        <p:spPr>
          <a:xfrm>
            <a:off x="777607" y="5337017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5770A91C-0DED-A648-9809-B2154EB5F1B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15087" y="4470744"/>
            <a:ext cx="3942437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30BC221-2AE5-7142-8306-C5C1BF4041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15086" y="5337017"/>
            <a:ext cx="3942437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9D1891-07C0-2441-80E0-1FF0B575AC9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33317" y="4580190"/>
            <a:ext cx="589093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AF198D99-25FA-DA47-9ABE-68EABA2E28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3317" y="5448773"/>
            <a:ext cx="589093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2E55DAB-D2E9-3742-A2A2-BCFBE11B9367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4B1F6632-D11A-0E48-A0B7-0FB356FB4450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1B2F2DD1-1D8E-CB48-8003-960EA097C0D8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7BF5E38-E9FB-5D42-8870-7A36ECF55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40440107-AF9A-5E46-8D64-0B58F8E0429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648170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B05B113F-38A1-9548-AEBF-730BDFF2D69E}"/>
              </a:ext>
            </a:extLst>
          </p:cNvPr>
          <p:cNvSpPr/>
          <p:nvPr userDrawn="1"/>
        </p:nvSpPr>
        <p:spPr>
          <a:xfrm rot="5400000">
            <a:off x="5379257" y="-2646067"/>
            <a:ext cx="1613806" cy="11378540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C24CE6D-9CC5-9E48-A394-8F29478CABD9}"/>
              </a:ext>
            </a:extLst>
          </p:cNvPr>
          <p:cNvSpPr/>
          <p:nvPr userDrawn="1"/>
        </p:nvSpPr>
        <p:spPr>
          <a:xfrm>
            <a:off x="6302382" y="4492887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C9F67BE-ED67-8D48-85FE-F2973EB65641}"/>
              </a:ext>
            </a:extLst>
          </p:cNvPr>
          <p:cNvSpPr/>
          <p:nvPr userDrawn="1"/>
        </p:nvSpPr>
        <p:spPr>
          <a:xfrm>
            <a:off x="6302382" y="5361471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035F868-E198-AB45-809F-046D0F1BEB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039862" y="4495198"/>
            <a:ext cx="1882631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ACC0C1F-4A31-EA49-A113-B0211AC2AE0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039862" y="5361471"/>
            <a:ext cx="1882632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4B8B99E6-B801-184D-A7C8-A73170C744D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302383" y="4604644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FDBEF231-AEB4-9244-A9FC-C603B6AFE9B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302383" y="5473227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34DD97D4-A895-854D-A22A-CFCA7C84FC5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302383" y="2881391"/>
            <a:ext cx="5477186" cy="79528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FFFD25F1-3DF6-E24A-AAA2-9C23EF6D8C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302382" y="2519426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698721A-63E2-0644-8EBE-AC632D95EABF}"/>
              </a:ext>
            </a:extLst>
          </p:cNvPr>
          <p:cNvSpPr/>
          <p:nvPr userDrawn="1"/>
        </p:nvSpPr>
        <p:spPr>
          <a:xfrm>
            <a:off x="9159458" y="4490576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618FC8-FDAD-9B4D-8F94-71BEECE2F265}"/>
              </a:ext>
            </a:extLst>
          </p:cNvPr>
          <p:cNvSpPr/>
          <p:nvPr userDrawn="1"/>
        </p:nvSpPr>
        <p:spPr>
          <a:xfrm>
            <a:off x="9159458" y="5359160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5B2FDEF-118E-4D4B-BBC2-A27D02E07C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896938" y="4492887"/>
            <a:ext cx="1882631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F5BA12E3-64C3-FF43-8775-9A51C393D75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896938" y="5359160"/>
            <a:ext cx="1882632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57DB442E-DA86-CB4D-9B57-2894259CE3B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59459" y="4602333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B31760FD-E86D-554B-8F18-DB95379BE81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159459" y="5470916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pic>
        <p:nvPicPr>
          <p:cNvPr id="3" name="Picture 24">
            <a:extLst>
              <a:ext uri="{FF2B5EF4-FFF2-40B4-BE49-F238E27FC236}">
                <a16:creationId xmlns:a16="http://schemas.microsoft.com/office/drawing/2014/main" id="{62EB3004-240B-2D4B-9931-1354C48DE8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065" y="1754402"/>
            <a:ext cx="4934919" cy="5395598"/>
          </a:xfrm>
          <a:prstGeom prst="rect">
            <a:avLst/>
          </a:prstGeom>
        </p:spPr>
      </p:pic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37C8DCBA-4072-354C-A7A6-57F58684FC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14363" y="2068345"/>
            <a:ext cx="4241990" cy="2538585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Reso Light" panose="02000000000000000000" pitchFamily="2" charset="0"/>
              </a:defRPr>
            </a:lvl1pPr>
          </a:lstStyle>
          <a:p>
            <a:endParaRPr lang="de-DE" b="0" i="0" dirty="0">
              <a:latin typeface="Reso Light" panose="02000000000000000000" pitchFamily="2" charset="0"/>
            </a:endParaRPr>
          </a:p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4E5DDBD-E642-1C49-803A-AB269698A989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656E022-6D1D-5849-B7D8-564AD5C884B1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924027E-F70C-1F44-B6D2-6D6D639B2CC0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C6A5EC65-754C-A24E-835E-917386830E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238EEF66-2923-EF4E-8D13-7D65B37046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993240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B05B113F-38A1-9548-AEBF-730BDFF2D69E}"/>
              </a:ext>
            </a:extLst>
          </p:cNvPr>
          <p:cNvSpPr/>
          <p:nvPr userDrawn="1"/>
        </p:nvSpPr>
        <p:spPr>
          <a:xfrm rot="5400000">
            <a:off x="5379257" y="-2646067"/>
            <a:ext cx="1613806" cy="11378540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C24CE6D-9CC5-9E48-A394-8F29478CABD9}"/>
              </a:ext>
            </a:extLst>
          </p:cNvPr>
          <p:cNvSpPr/>
          <p:nvPr userDrawn="1"/>
        </p:nvSpPr>
        <p:spPr>
          <a:xfrm>
            <a:off x="772574" y="4352075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C9F67BE-ED67-8D48-85FE-F2973EB65641}"/>
              </a:ext>
            </a:extLst>
          </p:cNvPr>
          <p:cNvSpPr/>
          <p:nvPr userDrawn="1"/>
        </p:nvSpPr>
        <p:spPr>
          <a:xfrm>
            <a:off x="772574" y="5220659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035F868-E198-AB45-809F-046D0F1BEB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510054" y="4354386"/>
            <a:ext cx="3179938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ACC0C1F-4A31-EA49-A113-B0211AC2AE0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10054" y="5220659"/>
            <a:ext cx="3179938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4B8B99E6-B801-184D-A7C8-A73170C744D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72575" y="4463832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FDBEF231-AEB4-9244-A9FC-C603B6AFE9B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72575" y="5332415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698721A-63E2-0644-8EBE-AC632D95EABF}"/>
              </a:ext>
            </a:extLst>
          </p:cNvPr>
          <p:cNvSpPr/>
          <p:nvPr userDrawn="1"/>
        </p:nvSpPr>
        <p:spPr>
          <a:xfrm>
            <a:off x="7643780" y="4352075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618FC8-FDAD-9B4D-8F94-71BEECE2F265}"/>
              </a:ext>
            </a:extLst>
          </p:cNvPr>
          <p:cNvSpPr/>
          <p:nvPr userDrawn="1"/>
        </p:nvSpPr>
        <p:spPr>
          <a:xfrm>
            <a:off x="7643780" y="5220659"/>
            <a:ext cx="500514" cy="50051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15B2FDEF-118E-4D4B-BBC2-A27D02E07C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81260" y="4354386"/>
            <a:ext cx="3398309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F5BA12E3-64C3-FF43-8775-9A51C393D75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1260" y="5220659"/>
            <a:ext cx="3398309" cy="500514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57DB442E-DA86-CB4D-9B57-2894259CE3B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643781" y="4463832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B31760FD-E86D-554B-8F18-DB95379BE81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43781" y="5332415"/>
            <a:ext cx="500514" cy="27699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D1C2EB2D-0B0E-554D-BF2B-06E05C91869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7608" y="2881391"/>
            <a:ext cx="3912384" cy="79528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B43702E-766C-CB40-B49A-8E2732A7C4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7607" y="2519426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0FF0BE4C-8938-2142-AA53-25A04879E9D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649541" y="2881392"/>
            <a:ext cx="4130028" cy="795280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pic>
        <p:nvPicPr>
          <p:cNvPr id="26" name="Picture 58">
            <a:extLst>
              <a:ext uri="{FF2B5EF4-FFF2-40B4-BE49-F238E27FC236}">
                <a16:creationId xmlns:a16="http://schemas.microsoft.com/office/drawing/2014/main" id="{25ACF879-620F-C145-AE62-A7D4530495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909" y="1618826"/>
            <a:ext cx="4726471" cy="5743499"/>
          </a:xfrm>
          <a:prstGeom prst="rect">
            <a:avLst/>
          </a:prstGeom>
        </p:spPr>
      </p:pic>
      <p:sp>
        <p:nvSpPr>
          <p:cNvPr id="27" name="Picture Placeholder 21">
            <a:extLst>
              <a:ext uri="{FF2B5EF4-FFF2-40B4-BE49-F238E27FC236}">
                <a16:creationId xmlns:a16="http://schemas.microsoft.com/office/drawing/2014/main" id="{DE2F9F2E-D1C0-F74B-8E35-8A3F086CE4A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43070" y="2259755"/>
            <a:ext cx="1853393" cy="3310964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29BB371F-E32D-554E-B3DC-A1A0C4D18C49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82FBBAF-98B3-3641-952E-A9149E1DBCC5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5DDA055E-3841-AD45-A4E6-3319EF44B65A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CA91EA8D-2D49-164D-A9CC-81472AB230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5E9BCA0F-C4EA-2242-87F4-2E1E46F1C3C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810984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4">
            <a:extLst>
              <a:ext uri="{FF2B5EF4-FFF2-40B4-BE49-F238E27FC236}">
                <a16:creationId xmlns:a16="http://schemas.microsoft.com/office/drawing/2014/main" id="{C7442A88-E89F-2F46-B962-4BE559E7C26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78843" y="1629522"/>
            <a:ext cx="1906029" cy="132990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o. Icon</a:t>
            </a:r>
          </a:p>
          <a:p>
            <a:endParaRPr lang="de-DE" dirty="0"/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19D66BFC-7DD6-4E4E-B146-0598325222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066539" y="1629522"/>
            <a:ext cx="1906029" cy="1329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 o. Icon</a:t>
            </a:r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B901F2C4-1DC3-8641-83B0-65E290374501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51977" y="1629522"/>
            <a:ext cx="1906029" cy="1329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r>
              <a:rPr lang="de-DE" dirty="0"/>
              <a:t>Bild o. Icon</a:t>
            </a:r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A34FCD6E-1A0F-7C4D-8D22-D1BE1FE5F42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684586" y="1629522"/>
            <a:ext cx="1906029" cy="132990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o. Icon</a:t>
            </a:r>
          </a:p>
          <a:p>
            <a:endParaRPr lang="de-DE" dirty="0"/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F22B3E63-EB7E-FE4C-9D3C-25967EF29EA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96890" y="1629522"/>
            <a:ext cx="1906029" cy="132990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o. Icon</a:t>
            </a:r>
          </a:p>
          <a:p>
            <a:endParaRPr lang="de-DE" dirty="0"/>
          </a:p>
        </p:txBody>
      </p:sp>
      <p:cxnSp>
        <p:nvCxnSpPr>
          <p:cNvPr id="36" name="Straight Connector 18">
            <a:extLst>
              <a:ext uri="{FF2B5EF4-FFF2-40B4-BE49-F238E27FC236}">
                <a16:creationId xmlns:a16="http://schemas.microsoft.com/office/drawing/2014/main" id="{18FDE5A8-B5F4-184E-B1C9-D350C9BCAFCD}"/>
              </a:ext>
            </a:extLst>
          </p:cNvPr>
          <p:cNvCxnSpPr>
            <a:cxnSpLocks/>
          </p:cNvCxnSpPr>
          <p:nvPr userDrawn="1"/>
        </p:nvCxnSpPr>
        <p:spPr>
          <a:xfrm>
            <a:off x="496890" y="3209688"/>
            <a:ext cx="190602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5C2BA375-1EAC-614D-BF5C-513A879657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891" y="3459946"/>
            <a:ext cx="1906028" cy="30638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cxnSp>
        <p:nvCxnSpPr>
          <p:cNvPr id="45" name="Straight Connector 18">
            <a:extLst>
              <a:ext uri="{FF2B5EF4-FFF2-40B4-BE49-F238E27FC236}">
                <a16:creationId xmlns:a16="http://schemas.microsoft.com/office/drawing/2014/main" id="{BDC97A9E-670B-3E4C-9756-601AC83A95CB}"/>
              </a:ext>
            </a:extLst>
          </p:cNvPr>
          <p:cNvCxnSpPr>
            <a:cxnSpLocks/>
          </p:cNvCxnSpPr>
          <p:nvPr userDrawn="1"/>
        </p:nvCxnSpPr>
        <p:spPr>
          <a:xfrm>
            <a:off x="2684585" y="3209688"/>
            <a:ext cx="190602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8">
            <a:extLst>
              <a:ext uri="{FF2B5EF4-FFF2-40B4-BE49-F238E27FC236}">
                <a16:creationId xmlns:a16="http://schemas.microsoft.com/office/drawing/2014/main" id="{1AEE3489-FB69-3547-B727-EE1173DD74AF}"/>
              </a:ext>
            </a:extLst>
          </p:cNvPr>
          <p:cNvCxnSpPr>
            <a:cxnSpLocks/>
          </p:cNvCxnSpPr>
          <p:nvPr userDrawn="1"/>
        </p:nvCxnSpPr>
        <p:spPr>
          <a:xfrm>
            <a:off x="4878842" y="3209688"/>
            <a:ext cx="190602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8">
            <a:extLst>
              <a:ext uri="{FF2B5EF4-FFF2-40B4-BE49-F238E27FC236}">
                <a16:creationId xmlns:a16="http://schemas.microsoft.com/office/drawing/2014/main" id="{7BE0E3EF-5D04-114C-8440-3B1079E23652}"/>
              </a:ext>
            </a:extLst>
          </p:cNvPr>
          <p:cNvCxnSpPr>
            <a:cxnSpLocks/>
          </p:cNvCxnSpPr>
          <p:nvPr userDrawn="1"/>
        </p:nvCxnSpPr>
        <p:spPr>
          <a:xfrm>
            <a:off x="7066538" y="3209688"/>
            <a:ext cx="190602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8">
            <a:extLst>
              <a:ext uri="{FF2B5EF4-FFF2-40B4-BE49-F238E27FC236}">
                <a16:creationId xmlns:a16="http://schemas.microsoft.com/office/drawing/2014/main" id="{2FEA2890-FF80-1040-827D-856475BB6809}"/>
              </a:ext>
            </a:extLst>
          </p:cNvPr>
          <p:cNvCxnSpPr>
            <a:cxnSpLocks/>
          </p:cNvCxnSpPr>
          <p:nvPr userDrawn="1"/>
        </p:nvCxnSpPr>
        <p:spPr>
          <a:xfrm>
            <a:off x="9251976" y="3209688"/>
            <a:ext cx="1906029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BC50FD45-8468-0D46-8666-C62D7D7299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684586" y="3459946"/>
            <a:ext cx="1906028" cy="30638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81C2717C-5FDA-614B-BF0D-24A09C150E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78843" y="3459946"/>
            <a:ext cx="1906028" cy="30638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71B87FDF-E9AC-A44A-AA65-E18EDEFFF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6538" y="3461571"/>
            <a:ext cx="1906028" cy="30638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5913BEBB-00FF-8E4F-97BD-AA2728F06F2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51976" y="3459946"/>
            <a:ext cx="1906028" cy="30638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3" name="Textplatzhalter 3">
            <a:extLst>
              <a:ext uri="{FF2B5EF4-FFF2-40B4-BE49-F238E27FC236}">
                <a16:creationId xmlns:a16="http://schemas.microsoft.com/office/drawing/2014/main" id="{169C511A-4CF4-134C-975B-37EDCB2DCC4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4087399"/>
            <a:ext cx="1906028" cy="1825363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60729769-78F8-AC43-BCE8-9AC6DB766EB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84586" y="4087398"/>
            <a:ext cx="1906028" cy="1825363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B6A3E432-6DE4-8546-8B65-DF052854BC6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878843" y="4087398"/>
            <a:ext cx="1906028" cy="1825363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518F7A19-D758-EC42-8D3D-A0E7C1F6CB4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066538" y="4087398"/>
            <a:ext cx="1906028" cy="1825363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F197E6F2-E96F-704D-B45C-BF7E978D478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51976" y="4087398"/>
            <a:ext cx="1906028" cy="1825363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FFD4302-8D18-A74D-BC9C-B4FCCF51B6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A1715FE-B6E4-8F4A-8C54-76B1D0EE15C6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4CD116-56F1-7848-B32F-B1877F1BC9AF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4D38F1-B685-9047-9B8D-5148B5B4D372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84998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A6FD93C-D4D0-C047-8404-28911E4C1A49}"/>
              </a:ext>
            </a:extLst>
          </p:cNvPr>
          <p:cNvSpPr/>
          <p:nvPr userDrawn="1"/>
        </p:nvSpPr>
        <p:spPr>
          <a:xfrm>
            <a:off x="516880" y="4535127"/>
            <a:ext cx="1908000" cy="6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30FAC3C-A0A2-144A-A5CC-8136D75B2E73}"/>
              </a:ext>
            </a:extLst>
          </p:cNvPr>
          <p:cNvSpPr/>
          <p:nvPr userDrawn="1"/>
        </p:nvSpPr>
        <p:spPr>
          <a:xfrm>
            <a:off x="2704289" y="4535127"/>
            <a:ext cx="1908000" cy="6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F1E5B83-2CFF-9943-802E-04574DF0E2C4}"/>
              </a:ext>
            </a:extLst>
          </p:cNvPr>
          <p:cNvSpPr/>
          <p:nvPr userDrawn="1"/>
        </p:nvSpPr>
        <p:spPr>
          <a:xfrm>
            <a:off x="4891697" y="4535127"/>
            <a:ext cx="1908000" cy="6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D4BE3B9-7485-5047-8B80-C6A10D6A736F}"/>
              </a:ext>
            </a:extLst>
          </p:cNvPr>
          <p:cNvSpPr/>
          <p:nvPr userDrawn="1"/>
        </p:nvSpPr>
        <p:spPr>
          <a:xfrm>
            <a:off x="7086243" y="4535127"/>
            <a:ext cx="1908000" cy="6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B009F3C-2C7F-B04B-A817-1D8CF38BBAF4}"/>
              </a:ext>
            </a:extLst>
          </p:cNvPr>
          <p:cNvSpPr/>
          <p:nvPr userDrawn="1"/>
        </p:nvSpPr>
        <p:spPr>
          <a:xfrm>
            <a:off x="9271968" y="4535127"/>
            <a:ext cx="1908000" cy="6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Bildplatzhalter 4">
            <a:extLst>
              <a:ext uri="{FF2B5EF4-FFF2-40B4-BE49-F238E27FC236}">
                <a16:creationId xmlns:a16="http://schemas.microsoft.com/office/drawing/2014/main" id="{C7442A88-E89F-2F46-B962-4BE559E7C26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900805" y="2050184"/>
            <a:ext cx="1906029" cy="248494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2" name="Bildplatzhalter 4">
            <a:extLst>
              <a:ext uri="{FF2B5EF4-FFF2-40B4-BE49-F238E27FC236}">
                <a16:creationId xmlns:a16="http://schemas.microsoft.com/office/drawing/2014/main" id="{19D66BFC-7DD6-4E4E-B146-05983252229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088501" y="2050184"/>
            <a:ext cx="1906029" cy="248494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</a:t>
            </a:r>
          </a:p>
          <a:p>
            <a:endParaRPr lang="de-DE" dirty="0"/>
          </a:p>
        </p:txBody>
      </p:sp>
      <p:sp>
        <p:nvSpPr>
          <p:cNvPr id="33" name="Bildplatzhalter 4">
            <a:extLst>
              <a:ext uri="{FF2B5EF4-FFF2-40B4-BE49-F238E27FC236}">
                <a16:creationId xmlns:a16="http://schemas.microsoft.com/office/drawing/2014/main" id="{B901F2C4-1DC3-8641-83B0-65E29037450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273939" y="2050184"/>
            <a:ext cx="1906029" cy="248494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</a:t>
            </a:r>
          </a:p>
          <a:p>
            <a:endParaRPr lang="de-DE" dirty="0"/>
          </a:p>
        </p:txBody>
      </p:sp>
      <p:sp>
        <p:nvSpPr>
          <p:cNvPr id="34" name="Bildplatzhalter 4">
            <a:extLst>
              <a:ext uri="{FF2B5EF4-FFF2-40B4-BE49-F238E27FC236}">
                <a16:creationId xmlns:a16="http://schemas.microsoft.com/office/drawing/2014/main" id="{A34FCD6E-1A0F-7C4D-8D22-D1BE1FE5F42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706548" y="2050184"/>
            <a:ext cx="1906029" cy="248494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5" name="Bildplatzhalter 4">
            <a:extLst>
              <a:ext uri="{FF2B5EF4-FFF2-40B4-BE49-F238E27FC236}">
                <a16:creationId xmlns:a16="http://schemas.microsoft.com/office/drawing/2014/main" id="{F22B3E63-EB7E-FE4C-9D3C-25967EF29EA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8852" y="2050184"/>
            <a:ext cx="1906029" cy="248494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 i="0">
                <a:latin typeface="Reso Thin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</a:t>
            </a:r>
          </a:p>
          <a:p>
            <a:endParaRPr lang="de-DE" dirty="0"/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5C2BA375-1EAC-614D-BF5C-513A879657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9537" y="4607316"/>
            <a:ext cx="1482686" cy="5390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9B21AE-D6F2-A74E-A7B7-6C6657B0C968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31D2DA-BA02-A846-A305-00DB796B2EE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8EFF9E-F411-F840-8507-A76EB8D20FB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A40452C2-E9A3-4448-A6DD-3596F4AB03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916946" y="4607316"/>
            <a:ext cx="1482686" cy="5390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956C5DD6-8334-C04B-BC1F-EB038FBDC5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04354" y="4607316"/>
            <a:ext cx="1482686" cy="5390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358628F5-ED56-E847-A4FF-164F84852DE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298900" y="4607316"/>
            <a:ext cx="1482686" cy="5390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3EB5E949-5013-4444-9B6C-1AC51C10C78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84625" y="4607316"/>
            <a:ext cx="1482686" cy="53901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2FB6985E-4E6A-C649-9170-A085AD3D51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02424043-4DC1-C240-94F3-AC98003B0B9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34095804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9020F776-2AE5-9842-B3EA-6FABA994429E}"/>
              </a:ext>
            </a:extLst>
          </p:cNvPr>
          <p:cNvSpPr/>
          <p:nvPr userDrawn="1"/>
        </p:nvSpPr>
        <p:spPr>
          <a:xfrm>
            <a:off x="1166960" y="3595617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3D633269-49C4-A446-BDDF-FB6A0A9AF155}"/>
              </a:ext>
            </a:extLst>
          </p:cNvPr>
          <p:cNvSpPr/>
          <p:nvPr userDrawn="1"/>
        </p:nvSpPr>
        <p:spPr>
          <a:xfrm>
            <a:off x="3730031" y="3595617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rgbClr val="DCE1E6"/>
              </a:solidFill>
              <a:latin typeface="Roboto" panose="02000000000000000000"/>
            </a:endParaRPr>
          </a:p>
        </p:txBody>
      </p:sp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2D4D1833-A28D-474E-8CE1-7CBA4B7D332A}"/>
              </a:ext>
            </a:extLst>
          </p:cNvPr>
          <p:cNvSpPr/>
          <p:nvPr userDrawn="1"/>
        </p:nvSpPr>
        <p:spPr>
          <a:xfrm>
            <a:off x="6293102" y="3596247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" name="Rounded Rectangle 111">
            <a:extLst>
              <a:ext uri="{FF2B5EF4-FFF2-40B4-BE49-F238E27FC236}">
                <a16:creationId xmlns:a16="http://schemas.microsoft.com/office/drawing/2014/main" id="{4F554380-3D21-684F-AC04-34611C61CF81}"/>
              </a:ext>
            </a:extLst>
          </p:cNvPr>
          <p:cNvSpPr/>
          <p:nvPr userDrawn="1"/>
        </p:nvSpPr>
        <p:spPr>
          <a:xfrm>
            <a:off x="8854256" y="3595617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9" name="Connector: Elbow 24">
            <a:extLst>
              <a:ext uri="{FF2B5EF4-FFF2-40B4-BE49-F238E27FC236}">
                <a16:creationId xmlns:a16="http://schemas.microsoft.com/office/drawing/2014/main" id="{C517F451-5B14-7947-88DF-2A26F12E64D3}"/>
              </a:ext>
            </a:extLst>
          </p:cNvPr>
          <p:cNvCxnSpPr>
            <a:cxnSpLocks/>
            <a:stCxn id="63" idx="4"/>
            <a:endCxn id="39" idx="0"/>
          </p:cNvCxnSpPr>
          <p:nvPr userDrawn="1"/>
        </p:nvCxnSpPr>
        <p:spPr>
          <a:xfrm rot="5400000">
            <a:off x="3842082" y="677129"/>
            <a:ext cx="658798" cy="3849039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26">
            <a:extLst>
              <a:ext uri="{FF2B5EF4-FFF2-40B4-BE49-F238E27FC236}">
                <a16:creationId xmlns:a16="http://schemas.microsoft.com/office/drawing/2014/main" id="{A6DB8383-56A5-864E-B96B-2471B261C6C5}"/>
              </a:ext>
            </a:extLst>
          </p:cNvPr>
          <p:cNvCxnSpPr>
            <a:cxnSpLocks/>
            <a:stCxn id="42" idx="0"/>
            <a:endCxn id="63" idx="4"/>
          </p:cNvCxnSpPr>
          <p:nvPr userDrawn="1"/>
        </p:nvCxnSpPr>
        <p:spPr>
          <a:xfrm rot="16200000" flipV="1">
            <a:off x="7689087" y="679163"/>
            <a:ext cx="656199" cy="3842372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F2CE584-BBD8-DE42-B215-E818B4A767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1470" y="4480258"/>
            <a:ext cx="2160000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5A79435D-5E7B-A14A-AFF3-D90BE987E9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33878" y="4480258"/>
            <a:ext cx="2154236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80009B3C-36E5-DF4D-8537-ED253A495B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97229" y="4473834"/>
            <a:ext cx="2155874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C6949E40-EB9D-6A4B-95C5-66A948B6B5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63343" y="4480258"/>
            <a:ext cx="2147828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125C40AA-BC80-524E-992C-2B1A1748CD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30207" y="4094235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8EE12914-8E9C-8E41-80E3-74A5ED353B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63432" y="4094235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F6D5DDC4-1EA9-5849-994D-0C44F1C270F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93278" y="4087811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6CBD0339-1504-E446-A088-F7DB4DD0457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54432" y="4094235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47F0347-3274-C14D-ACE4-C99CCF4A2872}"/>
              </a:ext>
            </a:extLst>
          </p:cNvPr>
          <p:cNvSpPr/>
          <p:nvPr userDrawn="1"/>
        </p:nvSpPr>
        <p:spPr>
          <a:xfrm>
            <a:off x="1790021" y="2931047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7FFE13F-0C6A-A948-B946-F2DF7B888D51}"/>
              </a:ext>
            </a:extLst>
          </p:cNvPr>
          <p:cNvSpPr/>
          <p:nvPr userDrawn="1"/>
        </p:nvSpPr>
        <p:spPr>
          <a:xfrm>
            <a:off x="4352133" y="2931046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18DECF7-A76E-7B49-9854-1A069DCA340A}"/>
              </a:ext>
            </a:extLst>
          </p:cNvPr>
          <p:cNvSpPr/>
          <p:nvPr userDrawn="1"/>
        </p:nvSpPr>
        <p:spPr>
          <a:xfrm>
            <a:off x="6916162" y="2931046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5CD6485-E46A-9A4A-9874-7E683888B173}"/>
              </a:ext>
            </a:extLst>
          </p:cNvPr>
          <p:cNvSpPr/>
          <p:nvPr userDrawn="1"/>
        </p:nvSpPr>
        <p:spPr>
          <a:xfrm>
            <a:off x="9481432" y="2928448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Textplatzhalter 11">
            <a:extLst>
              <a:ext uri="{FF2B5EF4-FFF2-40B4-BE49-F238E27FC236}">
                <a16:creationId xmlns:a16="http://schemas.microsoft.com/office/drawing/2014/main" id="{A555BC02-0CE5-CA42-8D93-E41F02B98C3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992999" y="3277116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1">
            <a:extLst>
              <a:ext uri="{FF2B5EF4-FFF2-40B4-BE49-F238E27FC236}">
                <a16:creationId xmlns:a16="http://schemas.microsoft.com/office/drawing/2014/main" id="{11F0497D-B5DF-984F-8EE1-B10B106987C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558815" y="3277116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5" name="Textplatzhalter 11">
            <a:extLst>
              <a:ext uri="{FF2B5EF4-FFF2-40B4-BE49-F238E27FC236}">
                <a16:creationId xmlns:a16="http://schemas.microsoft.com/office/drawing/2014/main" id="{3D70CA93-2D57-BA41-A89E-51CC790A5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22844" y="3277116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46" name="Textplatzhalter 11">
            <a:extLst>
              <a:ext uri="{FF2B5EF4-FFF2-40B4-BE49-F238E27FC236}">
                <a16:creationId xmlns:a16="http://schemas.microsoft.com/office/drawing/2014/main" id="{21E1596D-87E1-F24C-8430-0F683D34778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683999" y="3283973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cxnSp>
        <p:nvCxnSpPr>
          <p:cNvPr id="51" name="Connector: Elbow 26">
            <a:extLst>
              <a:ext uri="{FF2B5EF4-FFF2-40B4-BE49-F238E27FC236}">
                <a16:creationId xmlns:a16="http://schemas.microsoft.com/office/drawing/2014/main" id="{06B3D41B-D0D7-4346-96FE-8783B675D6D8}"/>
              </a:ext>
            </a:extLst>
          </p:cNvPr>
          <p:cNvCxnSpPr>
            <a:cxnSpLocks/>
            <a:stCxn id="41" idx="0"/>
          </p:cNvCxnSpPr>
          <p:nvPr userDrawn="1"/>
        </p:nvCxnSpPr>
        <p:spPr>
          <a:xfrm rot="16200000" flipV="1">
            <a:off x="6401436" y="1959379"/>
            <a:ext cx="659880" cy="1283453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26">
            <a:extLst>
              <a:ext uri="{FF2B5EF4-FFF2-40B4-BE49-F238E27FC236}">
                <a16:creationId xmlns:a16="http://schemas.microsoft.com/office/drawing/2014/main" id="{67F1E966-AD6A-F948-9CC8-D0460B34D115}"/>
              </a:ext>
            </a:extLst>
          </p:cNvPr>
          <p:cNvCxnSpPr>
            <a:cxnSpLocks/>
            <a:stCxn id="40" idx="0"/>
            <a:endCxn id="63" idx="4"/>
          </p:cNvCxnSpPr>
          <p:nvPr userDrawn="1"/>
        </p:nvCxnSpPr>
        <p:spPr>
          <a:xfrm rot="5400000" flipH="1" flipV="1">
            <a:off x="5123138" y="1958185"/>
            <a:ext cx="658797" cy="1286927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atumsplatzhalter 59">
            <a:extLst>
              <a:ext uri="{FF2B5EF4-FFF2-40B4-BE49-F238E27FC236}">
                <a16:creationId xmlns:a16="http://schemas.microsoft.com/office/drawing/2014/main" id="{61FAE7A2-BFE8-504E-8B24-AED9714F6D61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1" name="Fußzeilenplatzhalter 60">
            <a:extLst>
              <a:ext uri="{FF2B5EF4-FFF2-40B4-BE49-F238E27FC236}">
                <a16:creationId xmlns:a16="http://schemas.microsoft.com/office/drawing/2014/main" id="{8BE24BE0-D0FC-2348-995F-46FC90653B4A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2" name="Foliennummernplatzhalter 61">
            <a:extLst>
              <a:ext uri="{FF2B5EF4-FFF2-40B4-BE49-F238E27FC236}">
                <a16:creationId xmlns:a16="http://schemas.microsoft.com/office/drawing/2014/main" id="{4F6A871F-4E27-CB43-8D77-39214C5DCB63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00F02B8-5CC6-C54B-B8C1-EE5F918CF5CE}"/>
              </a:ext>
            </a:extLst>
          </p:cNvPr>
          <p:cNvSpPr/>
          <p:nvPr userDrawn="1"/>
        </p:nvSpPr>
        <p:spPr>
          <a:xfrm>
            <a:off x="5639060" y="1358370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Textplatzhalter 11">
            <a:extLst>
              <a:ext uri="{FF2B5EF4-FFF2-40B4-BE49-F238E27FC236}">
                <a16:creationId xmlns:a16="http://schemas.microsoft.com/office/drawing/2014/main" id="{9AF9B02B-74CD-5540-8423-AC50B1644CD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845742" y="1709636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27D3DDE8-79C9-E84A-B915-649AB01079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9655A227-B637-FE45-9F89-82C8075C58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3254041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11">
            <a:extLst>
              <a:ext uri="{FF2B5EF4-FFF2-40B4-BE49-F238E27FC236}">
                <a16:creationId xmlns:a16="http://schemas.microsoft.com/office/drawing/2014/main" id="{9020F776-2AE5-9842-B3EA-6FABA994429E}"/>
              </a:ext>
            </a:extLst>
          </p:cNvPr>
          <p:cNvSpPr/>
          <p:nvPr userDrawn="1"/>
        </p:nvSpPr>
        <p:spPr>
          <a:xfrm>
            <a:off x="2453886" y="3717742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chemeClr val="tx1"/>
              </a:solidFill>
              <a:latin typeface="Roboto" panose="02000000000000000000" pitchFamily="2" charset="0"/>
            </a:endParaRPr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3D633269-49C4-A446-BDDF-FB6A0A9AF155}"/>
              </a:ext>
            </a:extLst>
          </p:cNvPr>
          <p:cNvSpPr/>
          <p:nvPr userDrawn="1"/>
        </p:nvSpPr>
        <p:spPr>
          <a:xfrm>
            <a:off x="5016957" y="3717742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endParaRPr lang="en-US" sz="1100" dirty="0">
              <a:solidFill>
                <a:srgbClr val="DCE1E6"/>
              </a:solidFill>
              <a:latin typeface="Roboto" panose="02000000000000000000"/>
            </a:endParaRPr>
          </a:p>
        </p:txBody>
      </p:sp>
      <p:sp>
        <p:nvSpPr>
          <p:cNvPr id="7" name="Rounded Rectangle 111">
            <a:extLst>
              <a:ext uri="{FF2B5EF4-FFF2-40B4-BE49-F238E27FC236}">
                <a16:creationId xmlns:a16="http://schemas.microsoft.com/office/drawing/2014/main" id="{2D4D1833-A28D-474E-8CE1-7CBA4B7D332A}"/>
              </a:ext>
            </a:extLst>
          </p:cNvPr>
          <p:cNvSpPr/>
          <p:nvPr userDrawn="1"/>
        </p:nvSpPr>
        <p:spPr>
          <a:xfrm>
            <a:off x="7580028" y="3718372"/>
            <a:ext cx="2160000" cy="2366580"/>
          </a:xfrm>
          <a:prstGeom prst="roundRect">
            <a:avLst>
              <a:gd name="adj" fmla="val 0"/>
            </a:avLst>
          </a:prstGeom>
          <a:noFill/>
          <a:ln w="25400">
            <a:solidFill>
              <a:schemeClr val="tx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0" rtlCol="0" anchor="t"/>
          <a:lstStyle/>
          <a:p>
            <a:pPr>
              <a:buClr>
                <a:srgbClr val="FFB81C"/>
              </a:buClr>
            </a:pPr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IN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sz="1000" dirty="0">
              <a:solidFill>
                <a:schemeClr val="tx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endParaRPr lang="en-US" b="1" dirty="0">
              <a:solidFill>
                <a:srgbClr val="FFB81C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9" name="Connector: Elbow 24">
            <a:extLst>
              <a:ext uri="{FF2B5EF4-FFF2-40B4-BE49-F238E27FC236}">
                <a16:creationId xmlns:a16="http://schemas.microsoft.com/office/drawing/2014/main" id="{C517F451-5B14-7947-88DF-2A26F12E64D3}"/>
              </a:ext>
            </a:extLst>
          </p:cNvPr>
          <p:cNvCxnSpPr>
            <a:cxnSpLocks/>
            <a:stCxn id="33" idx="4"/>
            <a:endCxn id="39" idx="0"/>
          </p:cNvCxnSpPr>
          <p:nvPr userDrawn="1"/>
        </p:nvCxnSpPr>
        <p:spPr>
          <a:xfrm rot="5400000">
            <a:off x="4428944" y="1386117"/>
            <a:ext cx="771998" cy="2562112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4F2CE584-BBD8-DE42-B215-E818B4A767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1968" y="4602383"/>
            <a:ext cx="2156428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5A79435D-5E7B-A14A-AFF3-D90BE987E9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20804" y="4602383"/>
            <a:ext cx="2154236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80009B3C-36E5-DF4D-8537-ED253A495BB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84155" y="4595959"/>
            <a:ext cx="2155874" cy="1419835"/>
          </a:xfrm>
          <a:prstGeom prst="rect">
            <a:avLst/>
          </a:prstGeom>
        </p:spPr>
        <p:txBody>
          <a:bodyPr lIns="144000" tIns="72000" rIns="14400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9F76125-4A49-1942-8496-B3EC731C4627}"/>
              </a:ext>
            </a:extLst>
          </p:cNvPr>
          <p:cNvSpPr/>
          <p:nvPr userDrawn="1"/>
        </p:nvSpPr>
        <p:spPr>
          <a:xfrm>
            <a:off x="5639059" y="1367295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125C40AA-BC80-524E-992C-2B1A1748CD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17133" y="4216360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8EE12914-8E9C-8E41-80E3-74A5ED353B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550358" y="4216360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F6D5DDC4-1EA9-5849-994D-0C44F1C270F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80204" y="4209936"/>
            <a:ext cx="1959648" cy="253835"/>
          </a:xfrm>
          <a:prstGeom prst="rect">
            <a:avLst/>
          </a:prstGeom>
        </p:spPr>
        <p:txBody>
          <a:bodyPr lIns="14400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47F0347-3274-C14D-ACE4-C99CCF4A2872}"/>
              </a:ext>
            </a:extLst>
          </p:cNvPr>
          <p:cNvSpPr/>
          <p:nvPr userDrawn="1"/>
        </p:nvSpPr>
        <p:spPr>
          <a:xfrm>
            <a:off x="3076947" y="3053172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7FFE13F-0C6A-A948-B946-F2DF7B888D51}"/>
              </a:ext>
            </a:extLst>
          </p:cNvPr>
          <p:cNvSpPr/>
          <p:nvPr userDrawn="1"/>
        </p:nvSpPr>
        <p:spPr>
          <a:xfrm>
            <a:off x="5639059" y="3053171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18DECF7-A76E-7B49-9854-1A069DCA340A}"/>
              </a:ext>
            </a:extLst>
          </p:cNvPr>
          <p:cNvSpPr/>
          <p:nvPr userDrawn="1"/>
        </p:nvSpPr>
        <p:spPr>
          <a:xfrm>
            <a:off x="8203088" y="3053171"/>
            <a:ext cx="913879" cy="9138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Textplatzhalter 11">
            <a:extLst>
              <a:ext uri="{FF2B5EF4-FFF2-40B4-BE49-F238E27FC236}">
                <a16:creationId xmlns:a16="http://schemas.microsoft.com/office/drawing/2014/main" id="{A555BC02-0CE5-CA42-8D93-E41F02B98C3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279925" y="3399241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44" name="Textplatzhalter 11">
            <a:extLst>
              <a:ext uri="{FF2B5EF4-FFF2-40B4-BE49-F238E27FC236}">
                <a16:creationId xmlns:a16="http://schemas.microsoft.com/office/drawing/2014/main" id="{11F0497D-B5DF-984F-8EE1-B10B106987C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845741" y="3399241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45" name="Textplatzhalter 11">
            <a:extLst>
              <a:ext uri="{FF2B5EF4-FFF2-40B4-BE49-F238E27FC236}">
                <a16:creationId xmlns:a16="http://schemas.microsoft.com/office/drawing/2014/main" id="{3D70CA93-2D57-BA41-A89E-51CC790A5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409770" y="3399241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cxnSp>
        <p:nvCxnSpPr>
          <p:cNvPr id="51" name="Connector: Elbow 26">
            <a:extLst>
              <a:ext uri="{FF2B5EF4-FFF2-40B4-BE49-F238E27FC236}">
                <a16:creationId xmlns:a16="http://schemas.microsoft.com/office/drawing/2014/main" id="{06B3D41B-D0D7-4346-96FE-8783B675D6D8}"/>
              </a:ext>
            </a:extLst>
          </p:cNvPr>
          <p:cNvCxnSpPr>
            <a:cxnSpLocks/>
            <a:stCxn id="41" idx="0"/>
            <a:endCxn id="33" idx="4"/>
          </p:cNvCxnSpPr>
          <p:nvPr userDrawn="1"/>
        </p:nvCxnSpPr>
        <p:spPr>
          <a:xfrm rot="16200000" flipV="1">
            <a:off x="6992016" y="1385158"/>
            <a:ext cx="771997" cy="2564029"/>
          </a:xfrm>
          <a:prstGeom prst="bentConnector3">
            <a:avLst>
              <a:gd name="adj1" fmla="val 50000"/>
            </a:avLst>
          </a:prstGeom>
          <a:ln w="25400">
            <a:solidFill>
              <a:srgbClr val="FFB8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11">
            <a:extLst>
              <a:ext uri="{FF2B5EF4-FFF2-40B4-BE49-F238E27FC236}">
                <a16:creationId xmlns:a16="http://schemas.microsoft.com/office/drawing/2014/main" id="{E4EBFA82-0D3C-D449-B020-9EFA65C149D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845741" y="1718561"/>
            <a:ext cx="500514" cy="21654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8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0" name="Datumsplatzhalter 59">
            <a:extLst>
              <a:ext uri="{FF2B5EF4-FFF2-40B4-BE49-F238E27FC236}">
                <a16:creationId xmlns:a16="http://schemas.microsoft.com/office/drawing/2014/main" id="{61FAE7A2-BFE8-504E-8B24-AED9714F6D61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1" name="Fußzeilenplatzhalter 60">
            <a:extLst>
              <a:ext uri="{FF2B5EF4-FFF2-40B4-BE49-F238E27FC236}">
                <a16:creationId xmlns:a16="http://schemas.microsoft.com/office/drawing/2014/main" id="{8BE24BE0-D0FC-2348-995F-46FC90653B4A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2" name="Foliennummernplatzhalter 61">
            <a:extLst>
              <a:ext uri="{FF2B5EF4-FFF2-40B4-BE49-F238E27FC236}">
                <a16:creationId xmlns:a16="http://schemas.microsoft.com/office/drawing/2014/main" id="{4F6A871F-4E27-CB43-8D77-39214C5DCB63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546560B6-F599-7C46-95D8-EE2DF3BC5B11}"/>
              </a:ext>
            </a:extLst>
          </p:cNvPr>
          <p:cNvCxnSpPr>
            <a:cxnSpLocks/>
            <a:endCxn id="40" idx="0"/>
          </p:cNvCxnSpPr>
          <p:nvPr userDrawn="1"/>
        </p:nvCxnSpPr>
        <p:spPr>
          <a:xfrm>
            <a:off x="6095999" y="2666630"/>
            <a:ext cx="0" cy="38654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1C05C5AF-960B-0B4A-9B34-7694DE6001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F0A250BE-B4DC-804D-A69B-DAD7FC909CA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397418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7">
            <a:extLst>
              <a:ext uri="{FF2B5EF4-FFF2-40B4-BE49-F238E27FC236}">
                <a16:creationId xmlns:a16="http://schemas.microsoft.com/office/drawing/2014/main" id="{583622A5-DC63-3148-8299-490221569720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90124680"/>
              </p:ext>
            </p:extLst>
          </p:nvPr>
        </p:nvGraphicFramePr>
        <p:xfrm>
          <a:off x="4184610" y="2086793"/>
          <a:ext cx="3822780" cy="326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0" name="Straight Connector 34">
            <a:extLst>
              <a:ext uri="{FF2B5EF4-FFF2-40B4-BE49-F238E27FC236}">
                <a16:creationId xmlns:a16="http://schemas.microsoft.com/office/drawing/2014/main" id="{523368C6-C02B-B048-BE9A-FB80BDFE5800}"/>
              </a:ext>
            </a:extLst>
          </p:cNvPr>
          <p:cNvCxnSpPr/>
          <p:nvPr userDrawn="1"/>
        </p:nvCxnSpPr>
        <p:spPr>
          <a:xfrm>
            <a:off x="7948653" y="2480428"/>
            <a:ext cx="1109662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E22D56F7-4D52-FB41-8724-B4AE036865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48907" y="2933479"/>
            <a:ext cx="2156428" cy="78829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F8AA6DFF-F2D9-CE4D-BD75-CB70FC9CDC8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48907" y="2480428"/>
            <a:ext cx="1959648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cxnSp>
        <p:nvCxnSpPr>
          <p:cNvPr id="25" name="Straight Connector 34">
            <a:extLst>
              <a:ext uri="{FF2B5EF4-FFF2-40B4-BE49-F238E27FC236}">
                <a16:creationId xmlns:a16="http://schemas.microsoft.com/office/drawing/2014/main" id="{F55CCD77-EC39-8D4F-BBCC-287BAC6E8374}"/>
              </a:ext>
            </a:extLst>
          </p:cNvPr>
          <p:cNvCxnSpPr/>
          <p:nvPr userDrawn="1"/>
        </p:nvCxnSpPr>
        <p:spPr>
          <a:xfrm>
            <a:off x="7948653" y="4364887"/>
            <a:ext cx="110966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FC88EB10-A6CA-FA4D-B85A-5F29C632DC4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348907" y="4817938"/>
            <a:ext cx="2156428" cy="78829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D28D4C01-4811-4E46-B836-565CF6DED5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348907" y="4364887"/>
            <a:ext cx="1959648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cxnSp>
        <p:nvCxnSpPr>
          <p:cNvPr id="28" name="Straight Connector 34">
            <a:extLst>
              <a:ext uri="{FF2B5EF4-FFF2-40B4-BE49-F238E27FC236}">
                <a16:creationId xmlns:a16="http://schemas.microsoft.com/office/drawing/2014/main" id="{D359C043-E7C7-624E-AC4B-C41E1981E75C}"/>
              </a:ext>
            </a:extLst>
          </p:cNvPr>
          <p:cNvCxnSpPr/>
          <p:nvPr userDrawn="1"/>
        </p:nvCxnSpPr>
        <p:spPr>
          <a:xfrm>
            <a:off x="3133684" y="2480428"/>
            <a:ext cx="1109662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4">
            <a:extLst>
              <a:ext uri="{FF2B5EF4-FFF2-40B4-BE49-F238E27FC236}">
                <a16:creationId xmlns:a16="http://schemas.microsoft.com/office/drawing/2014/main" id="{DF0E600E-DE2A-C24D-859A-7FA67C7A2923}"/>
              </a:ext>
            </a:extLst>
          </p:cNvPr>
          <p:cNvCxnSpPr/>
          <p:nvPr userDrawn="1"/>
        </p:nvCxnSpPr>
        <p:spPr>
          <a:xfrm>
            <a:off x="3133684" y="4364887"/>
            <a:ext cx="1109662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65FC6444-D0C1-A64C-B4B1-E1B5BF9DFD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6664" y="2933479"/>
            <a:ext cx="2156428" cy="78829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D8B7B17B-006B-8F4E-83B7-AFCDCA2E4FD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6664" y="2480428"/>
            <a:ext cx="2156428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accent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6EC998BF-CDA9-B84F-92A6-33FA398EDE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6664" y="4817938"/>
            <a:ext cx="2156428" cy="78829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ABE3E260-43F0-6F42-BD75-77518C0FA19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6663" y="4364887"/>
            <a:ext cx="2156427" cy="253835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B0D133A3-DB5A-F844-A78C-104D02AF715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24126" y="3233354"/>
            <a:ext cx="1959648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8D1E7A39-15F3-4D46-86C2-0480BB046AB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24126" y="3607232"/>
            <a:ext cx="1959648" cy="53819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6" name="Datumsplatzhalter 35">
            <a:extLst>
              <a:ext uri="{FF2B5EF4-FFF2-40B4-BE49-F238E27FC236}">
                <a16:creationId xmlns:a16="http://schemas.microsoft.com/office/drawing/2014/main" id="{BFC8E215-5F9A-AE44-A1B5-6029A3FF6E79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7" name="Fußzeilenplatzhalter 36">
            <a:extLst>
              <a:ext uri="{FF2B5EF4-FFF2-40B4-BE49-F238E27FC236}">
                <a16:creationId xmlns:a16="http://schemas.microsoft.com/office/drawing/2014/main" id="{CCE27083-142A-EC43-B4B5-8385BE8CA10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01EEA465-EFF3-7545-A631-3DA542A5DCC6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D4A782C1-B6F9-9D4E-A16B-71BACB42E7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742655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>
            <a:extLst>
              <a:ext uri="{FF2B5EF4-FFF2-40B4-BE49-F238E27FC236}">
                <a16:creationId xmlns:a16="http://schemas.microsoft.com/office/drawing/2014/main" id="{4A57A0ED-AFF8-8A41-B3AE-716B5B98B88C}"/>
              </a:ext>
            </a:extLst>
          </p:cNvPr>
          <p:cNvGrpSpPr/>
          <p:nvPr userDrawn="1"/>
        </p:nvGrpSpPr>
        <p:grpSpPr>
          <a:xfrm>
            <a:off x="1534925" y="1122554"/>
            <a:ext cx="9420473" cy="5205150"/>
            <a:chOff x="4480005" y="1824354"/>
            <a:chExt cx="3928882" cy="2191386"/>
          </a:xfrm>
          <a:solidFill>
            <a:srgbClr val="373A36">
              <a:alpha val="20000"/>
            </a:srgbClr>
          </a:solidFill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0F1C257-D730-3140-B6AB-0EF972A4B0A4}"/>
                </a:ext>
              </a:extLst>
            </p:cNvPr>
            <p:cNvGrpSpPr/>
            <p:nvPr/>
          </p:nvGrpSpPr>
          <p:grpSpPr>
            <a:xfrm>
              <a:off x="6817428" y="2506050"/>
              <a:ext cx="1436274" cy="896476"/>
              <a:chOff x="6817428" y="2506050"/>
              <a:chExt cx="1436274" cy="896476"/>
            </a:xfrm>
            <a:grpFill/>
          </p:grpSpPr>
          <p:sp>
            <p:nvSpPr>
              <p:cNvPr id="200" name="Freeform 5">
                <a:extLst>
                  <a:ext uri="{FF2B5EF4-FFF2-40B4-BE49-F238E27FC236}">
                    <a16:creationId xmlns:a16="http://schemas.microsoft.com/office/drawing/2014/main" id="{5B77061E-D84B-0C4F-8229-46FD96B9A5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12622" y="3110963"/>
                <a:ext cx="27826" cy="81970"/>
              </a:xfrm>
              <a:custGeom>
                <a:avLst/>
                <a:gdLst/>
                <a:ahLst/>
                <a:cxnLst>
                  <a:cxn ang="0">
                    <a:pos x="20" y="25"/>
                  </a:cxn>
                  <a:cxn ang="0">
                    <a:pos x="16" y="17"/>
                  </a:cxn>
                  <a:cxn ang="0">
                    <a:pos x="21" y="7"/>
                  </a:cxn>
                  <a:cxn ang="0">
                    <a:pos x="21" y="2"/>
                  </a:cxn>
                  <a:cxn ang="0">
                    <a:pos x="15" y="5"/>
                  </a:cxn>
                  <a:cxn ang="0">
                    <a:pos x="15" y="15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48"/>
                  </a:cxn>
                  <a:cxn ang="0">
                    <a:pos x="13" y="40"/>
                  </a:cxn>
                  <a:cxn ang="0">
                    <a:pos x="18" y="33"/>
                  </a:cxn>
                  <a:cxn ang="0">
                    <a:pos x="11" y="33"/>
                  </a:cxn>
                  <a:cxn ang="0">
                    <a:pos x="10" y="43"/>
                  </a:cxn>
                  <a:cxn ang="0">
                    <a:pos x="11" y="51"/>
                  </a:cxn>
                  <a:cxn ang="0">
                    <a:pos x="11" y="55"/>
                  </a:cxn>
                  <a:cxn ang="0">
                    <a:pos x="5" y="51"/>
                  </a:cxn>
                  <a:cxn ang="0">
                    <a:pos x="0" y="50"/>
                  </a:cxn>
                  <a:cxn ang="0">
                    <a:pos x="8" y="75"/>
                  </a:cxn>
                  <a:cxn ang="0">
                    <a:pos x="15" y="68"/>
                  </a:cxn>
                  <a:cxn ang="0">
                    <a:pos x="8" y="66"/>
                  </a:cxn>
                  <a:cxn ang="0">
                    <a:pos x="8" y="71"/>
                  </a:cxn>
                  <a:cxn ang="0">
                    <a:pos x="8" y="75"/>
                  </a:cxn>
                  <a:cxn ang="0">
                    <a:pos x="18" y="103"/>
                  </a:cxn>
                  <a:cxn ang="0">
                    <a:pos x="21" y="101"/>
                  </a:cxn>
                  <a:cxn ang="0">
                    <a:pos x="28" y="118"/>
                  </a:cxn>
                  <a:cxn ang="0">
                    <a:pos x="33" y="124"/>
                  </a:cxn>
                  <a:cxn ang="0">
                    <a:pos x="30" y="121"/>
                  </a:cxn>
                  <a:cxn ang="0">
                    <a:pos x="28" y="118"/>
                  </a:cxn>
                  <a:cxn ang="0">
                    <a:pos x="38" y="124"/>
                  </a:cxn>
                  <a:cxn ang="0">
                    <a:pos x="43" y="126"/>
                  </a:cxn>
                  <a:cxn ang="0">
                    <a:pos x="41" y="121"/>
                  </a:cxn>
                  <a:cxn ang="0">
                    <a:pos x="35" y="133"/>
                  </a:cxn>
                  <a:cxn ang="0">
                    <a:pos x="40" y="133"/>
                  </a:cxn>
                  <a:cxn ang="0">
                    <a:pos x="33" y="129"/>
                  </a:cxn>
                  <a:cxn ang="0">
                    <a:pos x="35" y="133"/>
                  </a:cxn>
                  <a:cxn ang="0">
                    <a:pos x="46" y="139"/>
                  </a:cxn>
                  <a:cxn ang="0">
                    <a:pos x="41" y="143"/>
                  </a:cxn>
                  <a:cxn ang="0">
                    <a:pos x="43" y="144"/>
                  </a:cxn>
                  <a:cxn ang="0">
                    <a:pos x="43" y="148"/>
                  </a:cxn>
                  <a:cxn ang="0">
                    <a:pos x="43" y="153"/>
                  </a:cxn>
                  <a:cxn ang="0">
                    <a:pos x="46" y="154"/>
                  </a:cxn>
                  <a:cxn ang="0">
                    <a:pos x="51" y="156"/>
                  </a:cxn>
                  <a:cxn ang="0">
                    <a:pos x="49" y="148"/>
                  </a:cxn>
                </a:cxnLst>
                <a:rect l="0" t="0" r="r" b="b"/>
                <a:pathLst>
                  <a:path w="51" h="158">
                    <a:moveTo>
                      <a:pt x="15" y="28"/>
                    </a:moveTo>
                    <a:lnTo>
                      <a:pt x="20" y="25"/>
                    </a:lnTo>
                    <a:lnTo>
                      <a:pt x="20" y="18"/>
                    </a:lnTo>
                    <a:lnTo>
                      <a:pt x="16" y="17"/>
                    </a:lnTo>
                    <a:lnTo>
                      <a:pt x="21" y="12"/>
                    </a:lnTo>
                    <a:lnTo>
                      <a:pt x="21" y="7"/>
                    </a:lnTo>
                    <a:lnTo>
                      <a:pt x="20" y="7"/>
                    </a:lnTo>
                    <a:lnTo>
                      <a:pt x="21" y="2"/>
                    </a:lnTo>
                    <a:lnTo>
                      <a:pt x="20" y="0"/>
                    </a:lnTo>
                    <a:lnTo>
                      <a:pt x="15" y="5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5" y="28"/>
                    </a:lnTo>
                    <a:close/>
                    <a:moveTo>
                      <a:pt x="11" y="55"/>
                    </a:moveTo>
                    <a:lnTo>
                      <a:pt x="16" y="48"/>
                    </a:lnTo>
                    <a:lnTo>
                      <a:pt x="15" y="43"/>
                    </a:lnTo>
                    <a:lnTo>
                      <a:pt x="13" y="40"/>
                    </a:lnTo>
                    <a:lnTo>
                      <a:pt x="15" y="35"/>
                    </a:lnTo>
                    <a:lnTo>
                      <a:pt x="18" y="33"/>
                    </a:lnTo>
                    <a:lnTo>
                      <a:pt x="18" y="31"/>
                    </a:lnTo>
                    <a:lnTo>
                      <a:pt x="11" y="33"/>
                    </a:lnTo>
                    <a:lnTo>
                      <a:pt x="11" y="40"/>
                    </a:lnTo>
                    <a:lnTo>
                      <a:pt x="10" y="43"/>
                    </a:lnTo>
                    <a:lnTo>
                      <a:pt x="11" y="48"/>
                    </a:lnTo>
                    <a:lnTo>
                      <a:pt x="11" y="51"/>
                    </a:lnTo>
                    <a:lnTo>
                      <a:pt x="11" y="55"/>
                    </a:lnTo>
                    <a:lnTo>
                      <a:pt x="11" y="55"/>
                    </a:lnTo>
                    <a:close/>
                    <a:moveTo>
                      <a:pt x="0" y="50"/>
                    </a:moveTo>
                    <a:lnTo>
                      <a:pt x="5" y="51"/>
                    </a:lnTo>
                    <a:lnTo>
                      <a:pt x="3" y="48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  <a:moveTo>
                      <a:pt x="8" y="75"/>
                    </a:moveTo>
                    <a:lnTo>
                      <a:pt x="13" y="75"/>
                    </a:lnTo>
                    <a:lnTo>
                      <a:pt x="15" y="68"/>
                    </a:lnTo>
                    <a:lnTo>
                      <a:pt x="13" y="63"/>
                    </a:lnTo>
                    <a:lnTo>
                      <a:pt x="8" y="66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8" y="75"/>
                    </a:lnTo>
                    <a:lnTo>
                      <a:pt x="8" y="75"/>
                    </a:lnTo>
                    <a:close/>
                    <a:moveTo>
                      <a:pt x="21" y="101"/>
                    </a:moveTo>
                    <a:lnTo>
                      <a:pt x="18" y="103"/>
                    </a:lnTo>
                    <a:lnTo>
                      <a:pt x="20" y="105"/>
                    </a:lnTo>
                    <a:lnTo>
                      <a:pt x="21" y="101"/>
                    </a:lnTo>
                    <a:lnTo>
                      <a:pt x="21" y="101"/>
                    </a:lnTo>
                    <a:close/>
                    <a:moveTo>
                      <a:pt x="28" y="118"/>
                    </a:moveTo>
                    <a:lnTo>
                      <a:pt x="31" y="120"/>
                    </a:lnTo>
                    <a:lnTo>
                      <a:pt x="33" y="124"/>
                    </a:lnTo>
                    <a:lnTo>
                      <a:pt x="30" y="121"/>
                    </a:lnTo>
                    <a:lnTo>
                      <a:pt x="30" y="121"/>
                    </a:lnTo>
                    <a:lnTo>
                      <a:pt x="28" y="118"/>
                    </a:lnTo>
                    <a:lnTo>
                      <a:pt x="28" y="118"/>
                    </a:lnTo>
                    <a:close/>
                    <a:moveTo>
                      <a:pt x="41" y="121"/>
                    </a:moveTo>
                    <a:lnTo>
                      <a:pt x="38" y="124"/>
                    </a:lnTo>
                    <a:lnTo>
                      <a:pt x="41" y="128"/>
                    </a:lnTo>
                    <a:lnTo>
                      <a:pt x="43" y="126"/>
                    </a:lnTo>
                    <a:lnTo>
                      <a:pt x="43" y="123"/>
                    </a:lnTo>
                    <a:lnTo>
                      <a:pt x="41" y="121"/>
                    </a:lnTo>
                    <a:lnTo>
                      <a:pt x="41" y="121"/>
                    </a:lnTo>
                    <a:close/>
                    <a:moveTo>
                      <a:pt x="35" y="133"/>
                    </a:moveTo>
                    <a:lnTo>
                      <a:pt x="38" y="134"/>
                    </a:lnTo>
                    <a:lnTo>
                      <a:pt x="40" y="133"/>
                    </a:lnTo>
                    <a:lnTo>
                      <a:pt x="38" y="129"/>
                    </a:lnTo>
                    <a:lnTo>
                      <a:pt x="33" y="129"/>
                    </a:lnTo>
                    <a:lnTo>
                      <a:pt x="35" y="133"/>
                    </a:lnTo>
                    <a:lnTo>
                      <a:pt x="35" y="133"/>
                    </a:lnTo>
                    <a:close/>
                    <a:moveTo>
                      <a:pt x="43" y="144"/>
                    </a:moveTo>
                    <a:lnTo>
                      <a:pt x="46" y="139"/>
                    </a:lnTo>
                    <a:lnTo>
                      <a:pt x="45" y="139"/>
                    </a:lnTo>
                    <a:lnTo>
                      <a:pt x="41" y="143"/>
                    </a:lnTo>
                    <a:lnTo>
                      <a:pt x="43" y="144"/>
                    </a:lnTo>
                    <a:lnTo>
                      <a:pt x="43" y="144"/>
                    </a:lnTo>
                    <a:close/>
                    <a:moveTo>
                      <a:pt x="46" y="144"/>
                    </a:moveTo>
                    <a:lnTo>
                      <a:pt x="43" y="148"/>
                    </a:lnTo>
                    <a:lnTo>
                      <a:pt x="43" y="153"/>
                    </a:lnTo>
                    <a:lnTo>
                      <a:pt x="43" y="153"/>
                    </a:lnTo>
                    <a:lnTo>
                      <a:pt x="46" y="154"/>
                    </a:lnTo>
                    <a:lnTo>
                      <a:pt x="46" y="154"/>
                    </a:lnTo>
                    <a:lnTo>
                      <a:pt x="48" y="158"/>
                    </a:lnTo>
                    <a:lnTo>
                      <a:pt x="51" y="156"/>
                    </a:lnTo>
                    <a:lnTo>
                      <a:pt x="49" y="151"/>
                    </a:lnTo>
                    <a:lnTo>
                      <a:pt x="49" y="148"/>
                    </a:lnTo>
                    <a:lnTo>
                      <a:pt x="46" y="1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1" name="Freeform 7">
                <a:extLst>
                  <a:ext uri="{FF2B5EF4-FFF2-40B4-BE49-F238E27FC236}">
                    <a16:creationId xmlns:a16="http://schemas.microsoft.com/office/drawing/2014/main" id="{D0D25A97-53FF-E742-B9B6-9D379D5E6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06474" y="2629522"/>
                <a:ext cx="205488" cy="344479"/>
              </a:xfrm>
              <a:custGeom>
                <a:avLst/>
                <a:gdLst/>
                <a:ahLst/>
                <a:cxnLst>
                  <a:cxn ang="0">
                    <a:pos x="161" y="318"/>
                  </a:cxn>
                  <a:cxn ang="0">
                    <a:pos x="240" y="120"/>
                  </a:cxn>
                  <a:cxn ang="0">
                    <a:pos x="264" y="135"/>
                  </a:cxn>
                  <a:cxn ang="0">
                    <a:pos x="254" y="95"/>
                  </a:cxn>
                  <a:cxn ang="0">
                    <a:pos x="265" y="78"/>
                  </a:cxn>
                  <a:cxn ang="0">
                    <a:pos x="275" y="55"/>
                  </a:cxn>
                  <a:cxn ang="0">
                    <a:pos x="262" y="5"/>
                  </a:cxn>
                  <a:cxn ang="0">
                    <a:pos x="313" y="34"/>
                  </a:cxn>
                  <a:cxn ang="0">
                    <a:pos x="360" y="32"/>
                  </a:cxn>
                  <a:cxn ang="0">
                    <a:pos x="377" y="62"/>
                  </a:cxn>
                  <a:cxn ang="0">
                    <a:pos x="363" y="75"/>
                  </a:cxn>
                  <a:cxn ang="0">
                    <a:pos x="337" y="115"/>
                  </a:cxn>
                  <a:cxn ang="0">
                    <a:pos x="285" y="98"/>
                  </a:cxn>
                  <a:cxn ang="0">
                    <a:pos x="287" y="120"/>
                  </a:cxn>
                  <a:cxn ang="0">
                    <a:pos x="270" y="142"/>
                  </a:cxn>
                  <a:cxn ang="0">
                    <a:pos x="267" y="253"/>
                  </a:cxn>
                  <a:cxn ang="0">
                    <a:pos x="84" y="411"/>
                  </a:cxn>
                  <a:cxn ang="0">
                    <a:pos x="79" y="416"/>
                  </a:cxn>
                  <a:cxn ang="0">
                    <a:pos x="78" y="424"/>
                  </a:cxn>
                  <a:cxn ang="0">
                    <a:pos x="111" y="432"/>
                  </a:cxn>
                  <a:cxn ang="0">
                    <a:pos x="107" y="437"/>
                  </a:cxn>
                  <a:cxn ang="0">
                    <a:pos x="212" y="367"/>
                  </a:cxn>
                  <a:cxn ang="0">
                    <a:pos x="191" y="371"/>
                  </a:cxn>
                  <a:cxn ang="0">
                    <a:pos x="184" y="396"/>
                  </a:cxn>
                  <a:cxn ang="0">
                    <a:pos x="202" y="376"/>
                  </a:cxn>
                  <a:cxn ang="0">
                    <a:pos x="166" y="381"/>
                  </a:cxn>
                  <a:cxn ang="0">
                    <a:pos x="169" y="417"/>
                  </a:cxn>
                  <a:cxn ang="0">
                    <a:pos x="142" y="485"/>
                  </a:cxn>
                  <a:cxn ang="0">
                    <a:pos x="137" y="462"/>
                  </a:cxn>
                  <a:cxn ang="0">
                    <a:pos x="152" y="419"/>
                  </a:cxn>
                  <a:cxn ang="0">
                    <a:pos x="139" y="394"/>
                  </a:cxn>
                  <a:cxn ang="0">
                    <a:pos x="149" y="386"/>
                  </a:cxn>
                  <a:cxn ang="0">
                    <a:pos x="182" y="371"/>
                  </a:cxn>
                  <a:cxn ang="0">
                    <a:pos x="219" y="363"/>
                  </a:cxn>
                  <a:cxn ang="0">
                    <a:pos x="237" y="394"/>
                  </a:cxn>
                  <a:cxn ang="0">
                    <a:pos x="254" y="363"/>
                  </a:cxn>
                  <a:cxn ang="0">
                    <a:pos x="259" y="354"/>
                  </a:cxn>
                  <a:cxn ang="0">
                    <a:pos x="290" y="356"/>
                  </a:cxn>
                  <a:cxn ang="0">
                    <a:pos x="304" y="343"/>
                  </a:cxn>
                  <a:cxn ang="0">
                    <a:pos x="318" y="334"/>
                  </a:cxn>
                  <a:cxn ang="0">
                    <a:pos x="338" y="319"/>
                  </a:cxn>
                  <a:cxn ang="0">
                    <a:pos x="333" y="236"/>
                  </a:cxn>
                  <a:cxn ang="0">
                    <a:pos x="335" y="211"/>
                  </a:cxn>
                  <a:cxn ang="0">
                    <a:pos x="307" y="158"/>
                  </a:cxn>
                  <a:cxn ang="0">
                    <a:pos x="287" y="143"/>
                  </a:cxn>
                  <a:cxn ang="0">
                    <a:pos x="289" y="160"/>
                  </a:cxn>
                  <a:cxn ang="0">
                    <a:pos x="272" y="167"/>
                  </a:cxn>
                  <a:cxn ang="0">
                    <a:pos x="285" y="196"/>
                  </a:cxn>
                  <a:cxn ang="0">
                    <a:pos x="270" y="276"/>
                  </a:cxn>
                  <a:cxn ang="0">
                    <a:pos x="242" y="271"/>
                  </a:cxn>
                  <a:cxn ang="0">
                    <a:pos x="222" y="311"/>
                  </a:cxn>
                  <a:cxn ang="0">
                    <a:pos x="210" y="334"/>
                  </a:cxn>
                  <a:cxn ang="0">
                    <a:pos x="166" y="338"/>
                  </a:cxn>
                  <a:cxn ang="0">
                    <a:pos x="124" y="372"/>
                  </a:cxn>
                  <a:cxn ang="0">
                    <a:pos x="101" y="402"/>
                  </a:cxn>
                  <a:cxn ang="0">
                    <a:pos x="94" y="416"/>
                  </a:cxn>
                  <a:cxn ang="0">
                    <a:pos x="111" y="424"/>
                  </a:cxn>
                  <a:cxn ang="0">
                    <a:pos x="116" y="424"/>
                  </a:cxn>
                  <a:cxn ang="0">
                    <a:pos x="124" y="469"/>
                  </a:cxn>
                  <a:cxn ang="0">
                    <a:pos x="134" y="467"/>
                  </a:cxn>
                </a:cxnLst>
                <a:rect l="0" t="0" r="r" b="b"/>
                <a:pathLst>
                  <a:path w="383" h="665">
                    <a:moveTo>
                      <a:pt x="152" y="319"/>
                    </a:moveTo>
                    <a:lnTo>
                      <a:pt x="156" y="321"/>
                    </a:lnTo>
                    <a:lnTo>
                      <a:pt x="154" y="323"/>
                    </a:lnTo>
                    <a:lnTo>
                      <a:pt x="152" y="323"/>
                    </a:lnTo>
                    <a:lnTo>
                      <a:pt x="152" y="319"/>
                    </a:lnTo>
                    <a:lnTo>
                      <a:pt x="152" y="319"/>
                    </a:lnTo>
                    <a:close/>
                    <a:moveTo>
                      <a:pt x="157" y="319"/>
                    </a:moveTo>
                    <a:lnTo>
                      <a:pt x="156" y="318"/>
                    </a:lnTo>
                    <a:lnTo>
                      <a:pt x="157" y="316"/>
                    </a:lnTo>
                    <a:lnTo>
                      <a:pt x="161" y="314"/>
                    </a:lnTo>
                    <a:lnTo>
                      <a:pt x="161" y="318"/>
                    </a:lnTo>
                    <a:lnTo>
                      <a:pt x="159" y="319"/>
                    </a:lnTo>
                    <a:lnTo>
                      <a:pt x="157" y="319"/>
                    </a:lnTo>
                    <a:lnTo>
                      <a:pt x="157" y="319"/>
                    </a:lnTo>
                    <a:close/>
                    <a:moveTo>
                      <a:pt x="5" y="665"/>
                    </a:moveTo>
                    <a:lnTo>
                      <a:pt x="5" y="661"/>
                    </a:lnTo>
                    <a:lnTo>
                      <a:pt x="1" y="661"/>
                    </a:lnTo>
                    <a:lnTo>
                      <a:pt x="0" y="665"/>
                    </a:lnTo>
                    <a:lnTo>
                      <a:pt x="3" y="665"/>
                    </a:lnTo>
                    <a:lnTo>
                      <a:pt x="5" y="665"/>
                    </a:lnTo>
                    <a:lnTo>
                      <a:pt x="5" y="665"/>
                    </a:lnTo>
                    <a:close/>
                    <a:moveTo>
                      <a:pt x="240" y="120"/>
                    </a:moveTo>
                    <a:lnTo>
                      <a:pt x="239" y="117"/>
                    </a:lnTo>
                    <a:lnTo>
                      <a:pt x="239" y="113"/>
                    </a:lnTo>
                    <a:lnTo>
                      <a:pt x="242" y="112"/>
                    </a:lnTo>
                    <a:lnTo>
                      <a:pt x="245" y="110"/>
                    </a:lnTo>
                    <a:lnTo>
                      <a:pt x="244" y="113"/>
                    </a:lnTo>
                    <a:lnTo>
                      <a:pt x="244" y="118"/>
                    </a:lnTo>
                    <a:lnTo>
                      <a:pt x="240" y="120"/>
                    </a:lnTo>
                    <a:lnTo>
                      <a:pt x="240" y="120"/>
                    </a:lnTo>
                    <a:close/>
                    <a:moveTo>
                      <a:pt x="270" y="142"/>
                    </a:moveTo>
                    <a:lnTo>
                      <a:pt x="267" y="138"/>
                    </a:lnTo>
                    <a:lnTo>
                      <a:pt x="264" y="135"/>
                    </a:lnTo>
                    <a:lnTo>
                      <a:pt x="265" y="135"/>
                    </a:lnTo>
                    <a:lnTo>
                      <a:pt x="264" y="127"/>
                    </a:lnTo>
                    <a:lnTo>
                      <a:pt x="262" y="118"/>
                    </a:lnTo>
                    <a:lnTo>
                      <a:pt x="257" y="117"/>
                    </a:lnTo>
                    <a:lnTo>
                      <a:pt x="254" y="113"/>
                    </a:lnTo>
                    <a:lnTo>
                      <a:pt x="250" y="113"/>
                    </a:lnTo>
                    <a:lnTo>
                      <a:pt x="250" y="110"/>
                    </a:lnTo>
                    <a:lnTo>
                      <a:pt x="250" y="105"/>
                    </a:lnTo>
                    <a:lnTo>
                      <a:pt x="249" y="100"/>
                    </a:lnTo>
                    <a:lnTo>
                      <a:pt x="252" y="97"/>
                    </a:lnTo>
                    <a:lnTo>
                      <a:pt x="254" y="95"/>
                    </a:lnTo>
                    <a:lnTo>
                      <a:pt x="255" y="93"/>
                    </a:lnTo>
                    <a:lnTo>
                      <a:pt x="259" y="92"/>
                    </a:lnTo>
                    <a:lnTo>
                      <a:pt x="260" y="88"/>
                    </a:lnTo>
                    <a:lnTo>
                      <a:pt x="262" y="87"/>
                    </a:lnTo>
                    <a:lnTo>
                      <a:pt x="262" y="83"/>
                    </a:lnTo>
                    <a:lnTo>
                      <a:pt x="257" y="80"/>
                    </a:lnTo>
                    <a:lnTo>
                      <a:pt x="255" y="80"/>
                    </a:lnTo>
                    <a:lnTo>
                      <a:pt x="254" y="78"/>
                    </a:lnTo>
                    <a:lnTo>
                      <a:pt x="255" y="75"/>
                    </a:lnTo>
                    <a:lnTo>
                      <a:pt x="259" y="75"/>
                    </a:lnTo>
                    <a:lnTo>
                      <a:pt x="265" y="78"/>
                    </a:lnTo>
                    <a:lnTo>
                      <a:pt x="274" y="80"/>
                    </a:lnTo>
                    <a:lnTo>
                      <a:pt x="277" y="78"/>
                    </a:lnTo>
                    <a:lnTo>
                      <a:pt x="277" y="75"/>
                    </a:lnTo>
                    <a:lnTo>
                      <a:pt x="279" y="73"/>
                    </a:lnTo>
                    <a:lnTo>
                      <a:pt x="277" y="70"/>
                    </a:lnTo>
                    <a:lnTo>
                      <a:pt x="275" y="69"/>
                    </a:lnTo>
                    <a:lnTo>
                      <a:pt x="274" y="67"/>
                    </a:lnTo>
                    <a:lnTo>
                      <a:pt x="272" y="64"/>
                    </a:lnTo>
                    <a:lnTo>
                      <a:pt x="270" y="59"/>
                    </a:lnTo>
                    <a:lnTo>
                      <a:pt x="274" y="55"/>
                    </a:lnTo>
                    <a:lnTo>
                      <a:pt x="275" y="55"/>
                    </a:lnTo>
                    <a:lnTo>
                      <a:pt x="277" y="54"/>
                    </a:lnTo>
                    <a:lnTo>
                      <a:pt x="275" y="49"/>
                    </a:lnTo>
                    <a:lnTo>
                      <a:pt x="272" y="42"/>
                    </a:lnTo>
                    <a:lnTo>
                      <a:pt x="274" y="39"/>
                    </a:lnTo>
                    <a:lnTo>
                      <a:pt x="272" y="30"/>
                    </a:lnTo>
                    <a:lnTo>
                      <a:pt x="270" y="25"/>
                    </a:lnTo>
                    <a:lnTo>
                      <a:pt x="262" y="14"/>
                    </a:lnTo>
                    <a:lnTo>
                      <a:pt x="260" y="9"/>
                    </a:lnTo>
                    <a:lnTo>
                      <a:pt x="259" y="7"/>
                    </a:lnTo>
                    <a:lnTo>
                      <a:pt x="260" y="5"/>
                    </a:lnTo>
                    <a:lnTo>
                      <a:pt x="262" y="5"/>
                    </a:lnTo>
                    <a:lnTo>
                      <a:pt x="265" y="2"/>
                    </a:lnTo>
                    <a:lnTo>
                      <a:pt x="264" y="0"/>
                    </a:lnTo>
                    <a:lnTo>
                      <a:pt x="269" y="0"/>
                    </a:lnTo>
                    <a:lnTo>
                      <a:pt x="272" y="4"/>
                    </a:lnTo>
                    <a:lnTo>
                      <a:pt x="279" y="9"/>
                    </a:lnTo>
                    <a:lnTo>
                      <a:pt x="285" y="10"/>
                    </a:lnTo>
                    <a:lnTo>
                      <a:pt x="289" y="17"/>
                    </a:lnTo>
                    <a:lnTo>
                      <a:pt x="300" y="27"/>
                    </a:lnTo>
                    <a:lnTo>
                      <a:pt x="307" y="30"/>
                    </a:lnTo>
                    <a:lnTo>
                      <a:pt x="308" y="34"/>
                    </a:lnTo>
                    <a:lnTo>
                      <a:pt x="313" y="34"/>
                    </a:lnTo>
                    <a:lnTo>
                      <a:pt x="317" y="39"/>
                    </a:lnTo>
                    <a:lnTo>
                      <a:pt x="323" y="42"/>
                    </a:lnTo>
                    <a:lnTo>
                      <a:pt x="330" y="42"/>
                    </a:lnTo>
                    <a:lnTo>
                      <a:pt x="335" y="47"/>
                    </a:lnTo>
                    <a:lnTo>
                      <a:pt x="338" y="45"/>
                    </a:lnTo>
                    <a:lnTo>
                      <a:pt x="340" y="47"/>
                    </a:lnTo>
                    <a:lnTo>
                      <a:pt x="347" y="45"/>
                    </a:lnTo>
                    <a:lnTo>
                      <a:pt x="353" y="42"/>
                    </a:lnTo>
                    <a:lnTo>
                      <a:pt x="358" y="37"/>
                    </a:lnTo>
                    <a:lnTo>
                      <a:pt x="358" y="32"/>
                    </a:lnTo>
                    <a:lnTo>
                      <a:pt x="360" y="32"/>
                    </a:lnTo>
                    <a:lnTo>
                      <a:pt x="362" y="34"/>
                    </a:lnTo>
                    <a:lnTo>
                      <a:pt x="362" y="37"/>
                    </a:lnTo>
                    <a:lnTo>
                      <a:pt x="358" y="44"/>
                    </a:lnTo>
                    <a:lnTo>
                      <a:pt x="358" y="49"/>
                    </a:lnTo>
                    <a:lnTo>
                      <a:pt x="360" y="52"/>
                    </a:lnTo>
                    <a:lnTo>
                      <a:pt x="367" y="55"/>
                    </a:lnTo>
                    <a:lnTo>
                      <a:pt x="370" y="59"/>
                    </a:lnTo>
                    <a:lnTo>
                      <a:pt x="370" y="62"/>
                    </a:lnTo>
                    <a:lnTo>
                      <a:pt x="370" y="65"/>
                    </a:lnTo>
                    <a:lnTo>
                      <a:pt x="373" y="65"/>
                    </a:lnTo>
                    <a:lnTo>
                      <a:pt x="377" y="62"/>
                    </a:lnTo>
                    <a:lnTo>
                      <a:pt x="380" y="59"/>
                    </a:lnTo>
                    <a:lnTo>
                      <a:pt x="383" y="59"/>
                    </a:lnTo>
                    <a:lnTo>
                      <a:pt x="382" y="62"/>
                    </a:lnTo>
                    <a:lnTo>
                      <a:pt x="378" y="62"/>
                    </a:lnTo>
                    <a:lnTo>
                      <a:pt x="378" y="67"/>
                    </a:lnTo>
                    <a:lnTo>
                      <a:pt x="375" y="69"/>
                    </a:lnTo>
                    <a:lnTo>
                      <a:pt x="372" y="70"/>
                    </a:lnTo>
                    <a:lnTo>
                      <a:pt x="370" y="73"/>
                    </a:lnTo>
                    <a:lnTo>
                      <a:pt x="368" y="77"/>
                    </a:lnTo>
                    <a:lnTo>
                      <a:pt x="365" y="77"/>
                    </a:lnTo>
                    <a:lnTo>
                      <a:pt x="363" y="75"/>
                    </a:lnTo>
                    <a:lnTo>
                      <a:pt x="360" y="77"/>
                    </a:lnTo>
                    <a:lnTo>
                      <a:pt x="360" y="80"/>
                    </a:lnTo>
                    <a:lnTo>
                      <a:pt x="355" y="80"/>
                    </a:lnTo>
                    <a:lnTo>
                      <a:pt x="350" y="78"/>
                    </a:lnTo>
                    <a:lnTo>
                      <a:pt x="345" y="80"/>
                    </a:lnTo>
                    <a:lnTo>
                      <a:pt x="338" y="88"/>
                    </a:lnTo>
                    <a:lnTo>
                      <a:pt x="337" y="97"/>
                    </a:lnTo>
                    <a:lnTo>
                      <a:pt x="335" y="103"/>
                    </a:lnTo>
                    <a:lnTo>
                      <a:pt x="337" y="108"/>
                    </a:lnTo>
                    <a:lnTo>
                      <a:pt x="337" y="112"/>
                    </a:lnTo>
                    <a:lnTo>
                      <a:pt x="337" y="115"/>
                    </a:lnTo>
                    <a:lnTo>
                      <a:pt x="332" y="113"/>
                    </a:lnTo>
                    <a:lnTo>
                      <a:pt x="330" y="112"/>
                    </a:lnTo>
                    <a:lnTo>
                      <a:pt x="322" y="110"/>
                    </a:lnTo>
                    <a:lnTo>
                      <a:pt x="315" y="107"/>
                    </a:lnTo>
                    <a:lnTo>
                      <a:pt x="308" y="100"/>
                    </a:lnTo>
                    <a:lnTo>
                      <a:pt x="305" y="97"/>
                    </a:lnTo>
                    <a:lnTo>
                      <a:pt x="300" y="97"/>
                    </a:lnTo>
                    <a:lnTo>
                      <a:pt x="297" y="97"/>
                    </a:lnTo>
                    <a:lnTo>
                      <a:pt x="295" y="95"/>
                    </a:lnTo>
                    <a:lnTo>
                      <a:pt x="290" y="95"/>
                    </a:lnTo>
                    <a:lnTo>
                      <a:pt x="285" y="98"/>
                    </a:lnTo>
                    <a:lnTo>
                      <a:pt x="279" y="105"/>
                    </a:lnTo>
                    <a:lnTo>
                      <a:pt x="277" y="103"/>
                    </a:lnTo>
                    <a:lnTo>
                      <a:pt x="270" y="100"/>
                    </a:lnTo>
                    <a:lnTo>
                      <a:pt x="267" y="100"/>
                    </a:lnTo>
                    <a:lnTo>
                      <a:pt x="264" y="103"/>
                    </a:lnTo>
                    <a:lnTo>
                      <a:pt x="264" y="107"/>
                    </a:lnTo>
                    <a:lnTo>
                      <a:pt x="265" y="110"/>
                    </a:lnTo>
                    <a:lnTo>
                      <a:pt x="270" y="113"/>
                    </a:lnTo>
                    <a:lnTo>
                      <a:pt x="275" y="112"/>
                    </a:lnTo>
                    <a:lnTo>
                      <a:pt x="282" y="118"/>
                    </a:lnTo>
                    <a:lnTo>
                      <a:pt x="287" y="120"/>
                    </a:lnTo>
                    <a:lnTo>
                      <a:pt x="292" y="120"/>
                    </a:lnTo>
                    <a:lnTo>
                      <a:pt x="295" y="122"/>
                    </a:lnTo>
                    <a:lnTo>
                      <a:pt x="290" y="127"/>
                    </a:lnTo>
                    <a:lnTo>
                      <a:pt x="290" y="130"/>
                    </a:lnTo>
                    <a:lnTo>
                      <a:pt x="287" y="127"/>
                    </a:lnTo>
                    <a:lnTo>
                      <a:pt x="280" y="127"/>
                    </a:lnTo>
                    <a:lnTo>
                      <a:pt x="277" y="128"/>
                    </a:lnTo>
                    <a:lnTo>
                      <a:pt x="279" y="132"/>
                    </a:lnTo>
                    <a:lnTo>
                      <a:pt x="275" y="135"/>
                    </a:lnTo>
                    <a:lnTo>
                      <a:pt x="270" y="142"/>
                    </a:lnTo>
                    <a:lnTo>
                      <a:pt x="270" y="142"/>
                    </a:lnTo>
                    <a:close/>
                    <a:moveTo>
                      <a:pt x="262" y="263"/>
                    </a:moveTo>
                    <a:lnTo>
                      <a:pt x="262" y="258"/>
                    </a:lnTo>
                    <a:lnTo>
                      <a:pt x="264" y="256"/>
                    </a:lnTo>
                    <a:lnTo>
                      <a:pt x="264" y="255"/>
                    </a:lnTo>
                    <a:lnTo>
                      <a:pt x="260" y="256"/>
                    </a:lnTo>
                    <a:lnTo>
                      <a:pt x="260" y="255"/>
                    </a:lnTo>
                    <a:lnTo>
                      <a:pt x="262" y="246"/>
                    </a:lnTo>
                    <a:lnTo>
                      <a:pt x="264" y="245"/>
                    </a:lnTo>
                    <a:lnTo>
                      <a:pt x="264" y="248"/>
                    </a:lnTo>
                    <a:lnTo>
                      <a:pt x="264" y="251"/>
                    </a:lnTo>
                    <a:lnTo>
                      <a:pt x="267" y="253"/>
                    </a:lnTo>
                    <a:lnTo>
                      <a:pt x="269" y="255"/>
                    </a:lnTo>
                    <a:lnTo>
                      <a:pt x="267" y="260"/>
                    </a:lnTo>
                    <a:lnTo>
                      <a:pt x="264" y="261"/>
                    </a:lnTo>
                    <a:lnTo>
                      <a:pt x="262" y="263"/>
                    </a:lnTo>
                    <a:lnTo>
                      <a:pt x="262" y="263"/>
                    </a:lnTo>
                    <a:close/>
                    <a:moveTo>
                      <a:pt x="84" y="411"/>
                    </a:moveTo>
                    <a:lnTo>
                      <a:pt x="86" y="412"/>
                    </a:lnTo>
                    <a:lnTo>
                      <a:pt x="88" y="412"/>
                    </a:lnTo>
                    <a:lnTo>
                      <a:pt x="86" y="409"/>
                    </a:lnTo>
                    <a:lnTo>
                      <a:pt x="84" y="409"/>
                    </a:lnTo>
                    <a:lnTo>
                      <a:pt x="84" y="411"/>
                    </a:lnTo>
                    <a:lnTo>
                      <a:pt x="84" y="411"/>
                    </a:lnTo>
                    <a:close/>
                    <a:moveTo>
                      <a:pt x="83" y="414"/>
                    </a:moveTo>
                    <a:lnTo>
                      <a:pt x="84" y="414"/>
                    </a:lnTo>
                    <a:lnTo>
                      <a:pt x="84" y="414"/>
                    </a:lnTo>
                    <a:lnTo>
                      <a:pt x="83" y="414"/>
                    </a:lnTo>
                    <a:lnTo>
                      <a:pt x="83" y="414"/>
                    </a:lnTo>
                    <a:close/>
                    <a:moveTo>
                      <a:pt x="79" y="416"/>
                    </a:moveTo>
                    <a:lnTo>
                      <a:pt x="83" y="417"/>
                    </a:lnTo>
                    <a:lnTo>
                      <a:pt x="83" y="416"/>
                    </a:lnTo>
                    <a:lnTo>
                      <a:pt x="79" y="416"/>
                    </a:lnTo>
                    <a:lnTo>
                      <a:pt x="79" y="416"/>
                    </a:lnTo>
                    <a:close/>
                    <a:moveTo>
                      <a:pt x="78" y="419"/>
                    </a:moveTo>
                    <a:lnTo>
                      <a:pt x="78" y="421"/>
                    </a:lnTo>
                    <a:lnTo>
                      <a:pt x="81" y="419"/>
                    </a:lnTo>
                    <a:lnTo>
                      <a:pt x="78" y="419"/>
                    </a:lnTo>
                    <a:lnTo>
                      <a:pt x="78" y="419"/>
                    </a:lnTo>
                    <a:close/>
                    <a:moveTo>
                      <a:pt x="73" y="429"/>
                    </a:moveTo>
                    <a:lnTo>
                      <a:pt x="71" y="424"/>
                    </a:lnTo>
                    <a:lnTo>
                      <a:pt x="73" y="422"/>
                    </a:lnTo>
                    <a:lnTo>
                      <a:pt x="74" y="421"/>
                    </a:lnTo>
                    <a:lnTo>
                      <a:pt x="74" y="424"/>
                    </a:lnTo>
                    <a:lnTo>
                      <a:pt x="78" y="424"/>
                    </a:lnTo>
                    <a:lnTo>
                      <a:pt x="79" y="427"/>
                    </a:lnTo>
                    <a:lnTo>
                      <a:pt x="76" y="429"/>
                    </a:lnTo>
                    <a:lnTo>
                      <a:pt x="73" y="429"/>
                    </a:lnTo>
                    <a:lnTo>
                      <a:pt x="73" y="429"/>
                    </a:lnTo>
                    <a:close/>
                    <a:moveTo>
                      <a:pt x="111" y="432"/>
                    </a:moveTo>
                    <a:lnTo>
                      <a:pt x="109" y="429"/>
                    </a:lnTo>
                    <a:lnTo>
                      <a:pt x="111" y="429"/>
                    </a:lnTo>
                    <a:lnTo>
                      <a:pt x="112" y="429"/>
                    </a:lnTo>
                    <a:lnTo>
                      <a:pt x="112" y="432"/>
                    </a:lnTo>
                    <a:lnTo>
                      <a:pt x="111" y="432"/>
                    </a:lnTo>
                    <a:lnTo>
                      <a:pt x="111" y="432"/>
                    </a:lnTo>
                    <a:close/>
                    <a:moveTo>
                      <a:pt x="106" y="439"/>
                    </a:moveTo>
                    <a:lnTo>
                      <a:pt x="107" y="437"/>
                    </a:lnTo>
                    <a:lnTo>
                      <a:pt x="109" y="437"/>
                    </a:lnTo>
                    <a:lnTo>
                      <a:pt x="107" y="441"/>
                    </a:lnTo>
                    <a:lnTo>
                      <a:pt x="106" y="439"/>
                    </a:lnTo>
                    <a:lnTo>
                      <a:pt x="106" y="439"/>
                    </a:lnTo>
                    <a:close/>
                    <a:moveTo>
                      <a:pt x="104" y="427"/>
                    </a:moveTo>
                    <a:lnTo>
                      <a:pt x="103" y="429"/>
                    </a:lnTo>
                    <a:lnTo>
                      <a:pt x="103" y="434"/>
                    </a:lnTo>
                    <a:lnTo>
                      <a:pt x="104" y="437"/>
                    </a:lnTo>
                    <a:lnTo>
                      <a:pt x="107" y="437"/>
                    </a:lnTo>
                    <a:lnTo>
                      <a:pt x="107" y="434"/>
                    </a:lnTo>
                    <a:lnTo>
                      <a:pt x="106" y="429"/>
                    </a:lnTo>
                    <a:lnTo>
                      <a:pt x="106" y="427"/>
                    </a:lnTo>
                    <a:lnTo>
                      <a:pt x="104" y="427"/>
                    </a:lnTo>
                    <a:lnTo>
                      <a:pt x="104" y="427"/>
                    </a:lnTo>
                    <a:close/>
                    <a:moveTo>
                      <a:pt x="209" y="374"/>
                    </a:moveTo>
                    <a:lnTo>
                      <a:pt x="206" y="371"/>
                    </a:lnTo>
                    <a:lnTo>
                      <a:pt x="207" y="367"/>
                    </a:lnTo>
                    <a:lnTo>
                      <a:pt x="209" y="364"/>
                    </a:lnTo>
                    <a:lnTo>
                      <a:pt x="210" y="364"/>
                    </a:lnTo>
                    <a:lnTo>
                      <a:pt x="212" y="367"/>
                    </a:lnTo>
                    <a:lnTo>
                      <a:pt x="210" y="369"/>
                    </a:lnTo>
                    <a:lnTo>
                      <a:pt x="212" y="372"/>
                    </a:lnTo>
                    <a:lnTo>
                      <a:pt x="210" y="374"/>
                    </a:lnTo>
                    <a:lnTo>
                      <a:pt x="209" y="374"/>
                    </a:lnTo>
                    <a:lnTo>
                      <a:pt x="209" y="374"/>
                    </a:lnTo>
                    <a:close/>
                    <a:moveTo>
                      <a:pt x="191" y="371"/>
                    </a:moveTo>
                    <a:lnTo>
                      <a:pt x="196" y="367"/>
                    </a:lnTo>
                    <a:lnTo>
                      <a:pt x="199" y="367"/>
                    </a:lnTo>
                    <a:lnTo>
                      <a:pt x="197" y="371"/>
                    </a:lnTo>
                    <a:lnTo>
                      <a:pt x="196" y="371"/>
                    </a:lnTo>
                    <a:lnTo>
                      <a:pt x="191" y="371"/>
                    </a:lnTo>
                    <a:lnTo>
                      <a:pt x="191" y="371"/>
                    </a:lnTo>
                    <a:close/>
                    <a:moveTo>
                      <a:pt x="169" y="417"/>
                    </a:moveTo>
                    <a:lnTo>
                      <a:pt x="171" y="417"/>
                    </a:lnTo>
                    <a:lnTo>
                      <a:pt x="172" y="416"/>
                    </a:lnTo>
                    <a:lnTo>
                      <a:pt x="176" y="417"/>
                    </a:lnTo>
                    <a:lnTo>
                      <a:pt x="177" y="416"/>
                    </a:lnTo>
                    <a:lnTo>
                      <a:pt x="177" y="414"/>
                    </a:lnTo>
                    <a:lnTo>
                      <a:pt x="174" y="409"/>
                    </a:lnTo>
                    <a:lnTo>
                      <a:pt x="176" y="406"/>
                    </a:lnTo>
                    <a:lnTo>
                      <a:pt x="177" y="399"/>
                    </a:lnTo>
                    <a:lnTo>
                      <a:pt x="184" y="396"/>
                    </a:lnTo>
                    <a:lnTo>
                      <a:pt x="186" y="394"/>
                    </a:lnTo>
                    <a:lnTo>
                      <a:pt x="191" y="394"/>
                    </a:lnTo>
                    <a:lnTo>
                      <a:pt x="197" y="399"/>
                    </a:lnTo>
                    <a:lnTo>
                      <a:pt x="199" y="401"/>
                    </a:lnTo>
                    <a:lnTo>
                      <a:pt x="202" y="401"/>
                    </a:lnTo>
                    <a:lnTo>
                      <a:pt x="204" y="392"/>
                    </a:lnTo>
                    <a:lnTo>
                      <a:pt x="209" y="387"/>
                    </a:lnTo>
                    <a:lnTo>
                      <a:pt x="210" y="384"/>
                    </a:lnTo>
                    <a:lnTo>
                      <a:pt x="209" y="384"/>
                    </a:lnTo>
                    <a:lnTo>
                      <a:pt x="207" y="381"/>
                    </a:lnTo>
                    <a:lnTo>
                      <a:pt x="202" y="376"/>
                    </a:lnTo>
                    <a:lnTo>
                      <a:pt x="199" y="376"/>
                    </a:lnTo>
                    <a:lnTo>
                      <a:pt x="196" y="374"/>
                    </a:lnTo>
                    <a:lnTo>
                      <a:pt x="189" y="374"/>
                    </a:lnTo>
                    <a:lnTo>
                      <a:pt x="182" y="377"/>
                    </a:lnTo>
                    <a:lnTo>
                      <a:pt x="182" y="381"/>
                    </a:lnTo>
                    <a:lnTo>
                      <a:pt x="181" y="384"/>
                    </a:lnTo>
                    <a:lnTo>
                      <a:pt x="176" y="386"/>
                    </a:lnTo>
                    <a:lnTo>
                      <a:pt x="172" y="387"/>
                    </a:lnTo>
                    <a:lnTo>
                      <a:pt x="171" y="387"/>
                    </a:lnTo>
                    <a:lnTo>
                      <a:pt x="167" y="381"/>
                    </a:lnTo>
                    <a:lnTo>
                      <a:pt x="166" y="381"/>
                    </a:lnTo>
                    <a:lnTo>
                      <a:pt x="159" y="387"/>
                    </a:lnTo>
                    <a:lnTo>
                      <a:pt x="159" y="392"/>
                    </a:lnTo>
                    <a:lnTo>
                      <a:pt x="154" y="394"/>
                    </a:lnTo>
                    <a:lnTo>
                      <a:pt x="154" y="399"/>
                    </a:lnTo>
                    <a:lnTo>
                      <a:pt x="161" y="401"/>
                    </a:lnTo>
                    <a:lnTo>
                      <a:pt x="161" y="404"/>
                    </a:lnTo>
                    <a:lnTo>
                      <a:pt x="159" y="406"/>
                    </a:lnTo>
                    <a:lnTo>
                      <a:pt x="159" y="409"/>
                    </a:lnTo>
                    <a:lnTo>
                      <a:pt x="164" y="414"/>
                    </a:lnTo>
                    <a:lnTo>
                      <a:pt x="169" y="414"/>
                    </a:lnTo>
                    <a:lnTo>
                      <a:pt x="169" y="417"/>
                    </a:lnTo>
                    <a:lnTo>
                      <a:pt x="169" y="417"/>
                    </a:lnTo>
                    <a:close/>
                    <a:moveTo>
                      <a:pt x="137" y="490"/>
                    </a:moveTo>
                    <a:lnTo>
                      <a:pt x="134" y="487"/>
                    </a:lnTo>
                    <a:lnTo>
                      <a:pt x="132" y="489"/>
                    </a:lnTo>
                    <a:lnTo>
                      <a:pt x="131" y="490"/>
                    </a:lnTo>
                    <a:lnTo>
                      <a:pt x="134" y="495"/>
                    </a:lnTo>
                    <a:lnTo>
                      <a:pt x="137" y="495"/>
                    </a:lnTo>
                    <a:lnTo>
                      <a:pt x="139" y="494"/>
                    </a:lnTo>
                    <a:lnTo>
                      <a:pt x="137" y="490"/>
                    </a:lnTo>
                    <a:lnTo>
                      <a:pt x="137" y="490"/>
                    </a:lnTo>
                    <a:close/>
                    <a:moveTo>
                      <a:pt x="142" y="485"/>
                    </a:moveTo>
                    <a:lnTo>
                      <a:pt x="141" y="479"/>
                    </a:lnTo>
                    <a:lnTo>
                      <a:pt x="141" y="475"/>
                    </a:lnTo>
                    <a:lnTo>
                      <a:pt x="144" y="479"/>
                    </a:lnTo>
                    <a:lnTo>
                      <a:pt x="144" y="482"/>
                    </a:lnTo>
                    <a:lnTo>
                      <a:pt x="142" y="485"/>
                    </a:lnTo>
                    <a:lnTo>
                      <a:pt x="142" y="485"/>
                    </a:lnTo>
                    <a:lnTo>
                      <a:pt x="142" y="485"/>
                    </a:lnTo>
                    <a:close/>
                    <a:moveTo>
                      <a:pt x="132" y="474"/>
                    </a:moveTo>
                    <a:lnTo>
                      <a:pt x="137" y="470"/>
                    </a:lnTo>
                    <a:lnTo>
                      <a:pt x="142" y="465"/>
                    </a:lnTo>
                    <a:lnTo>
                      <a:pt x="137" y="462"/>
                    </a:lnTo>
                    <a:lnTo>
                      <a:pt x="137" y="459"/>
                    </a:lnTo>
                    <a:lnTo>
                      <a:pt x="141" y="459"/>
                    </a:lnTo>
                    <a:lnTo>
                      <a:pt x="144" y="459"/>
                    </a:lnTo>
                    <a:lnTo>
                      <a:pt x="146" y="461"/>
                    </a:lnTo>
                    <a:lnTo>
                      <a:pt x="147" y="456"/>
                    </a:lnTo>
                    <a:lnTo>
                      <a:pt x="147" y="449"/>
                    </a:lnTo>
                    <a:lnTo>
                      <a:pt x="146" y="446"/>
                    </a:lnTo>
                    <a:lnTo>
                      <a:pt x="146" y="434"/>
                    </a:lnTo>
                    <a:lnTo>
                      <a:pt x="146" y="427"/>
                    </a:lnTo>
                    <a:lnTo>
                      <a:pt x="147" y="422"/>
                    </a:lnTo>
                    <a:lnTo>
                      <a:pt x="152" y="419"/>
                    </a:lnTo>
                    <a:lnTo>
                      <a:pt x="151" y="416"/>
                    </a:lnTo>
                    <a:lnTo>
                      <a:pt x="149" y="414"/>
                    </a:lnTo>
                    <a:lnTo>
                      <a:pt x="149" y="411"/>
                    </a:lnTo>
                    <a:lnTo>
                      <a:pt x="146" y="411"/>
                    </a:lnTo>
                    <a:lnTo>
                      <a:pt x="147" y="407"/>
                    </a:lnTo>
                    <a:lnTo>
                      <a:pt x="139" y="407"/>
                    </a:lnTo>
                    <a:lnTo>
                      <a:pt x="137" y="406"/>
                    </a:lnTo>
                    <a:lnTo>
                      <a:pt x="142" y="404"/>
                    </a:lnTo>
                    <a:lnTo>
                      <a:pt x="142" y="401"/>
                    </a:lnTo>
                    <a:lnTo>
                      <a:pt x="142" y="396"/>
                    </a:lnTo>
                    <a:lnTo>
                      <a:pt x="139" y="394"/>
                    </a:lnTo>
                    <a:lnTo>
                      <a:pt x="134" y="394"/>
                    </a:lnTo>
                    <a:lnTo>
                      <a:pt x="134" y="396"/>
                    </a:lnTo>
                    <a:lnTo>
                      <a:pt x="131" y="397"/>
                    </a:lnTo>
                    <a:lnTo>
                      <a:pt x="127" y="397"/>
                    </a:lnTo>
                    <a:lnTo>
                      <a:pt x="122" y="392"/>
                    </a:lnTo>
                    <a:lnTo>
                      <a:pt x="124" y="389"/>
                    </a:lnTo>
                    <a:lnTo>
                      <a:pt x="131" y="386"/>
                    </a:lnTo>
                    <a:lnTo>
                      <a:pt x="137" y="384"/>
                    </a:lnTo>
                    <a:lnTo>
                      <a:pt x="144" y="386"/>
                    </a:lnTo>
                    <a:lnTo>
                      <a:pt x="149" y="387"/>
                    </a:lnTo>
                    <a:lnTo>
                      <a:pt x="149" y="386"/>
                    </a:lnTo>
                    <a:lnTo>
                      <a:pt x="149" y="382"/>
                    </a:lnTo>
                    <a:lnTo>
                      <a:pt x="149" y="379"/>
                    </a:lnTo>
                    <a:lnTo>
                      <a:pt x="149" y="376"/>
                    </a:lnTo>
                    <a:lnTo>
                      <a:pt x="151" y="374"/>
                    </a:lnTo>
                    <a:lnTo>
                      <a:pt x="154" y="372"/>
                    </a:lnTo>
                    <a:lnTo>
                      <a:pt x="156" y="376"/>
                    </a:lnTo>
                    <a:lnTo>
                      <a:pt x="159" y="376"/>
                    </a:lnTo>
                    <a:lnTo>
                      <a:pt x="162" y="374"/>
                    </a:lnTo>
                    <a:lnTo>
                      <a:pt x="171" y="372"/>
                    </a:lnTo>
                    <a:lnTo>
                      <a:pt x="177" y="371"/>
                    </a:lnTo>
                    <a:lnTo>
                      <a:pt x="182" y="371"/>
                    </a:lnTo>
                    <a:lnTo>
                      <a:pt x="186" y="371"/>
                    </a:lnTo>
                    <a:lnTo>
                      <a:pt x="187" y="369"/>
                    </a:lnTo>
                    <a:lnTo>
                      <a:pt x="187" y="369"/>
                    </a:lnTo>
                    <a:lnTo>
                      <a:pt x="192" y="366"/>
                    </a:lnTo>
                    <a:lnTo>
                      <a:pt x="194" y="364"/>
                    </a:lnTo>
                    <a:lnTo>
                      <a:pt x="199" y="359"/>
                    </a:lnTo>
                    <a:lnTo>
                      <a:pt x="206" y="358"/>
                    </a:lnTo>
                    <a:lnTo>
                      <a:pt x="212" y="359"/>
                    </a:lnTo>
                    <a:lnTo>
                      <a:pt x="217" y="358"/>
                    </a:lnTo>
                    <a:lnTo>
                      <a:pt x="219" y="359"/>
                    </a:lnTo>
                    <a:lnTo>
                      <a:pt x="219" y="363"/>
                    </a:lnTo>
                    <a:lnTo>
                      <a:pt x="215" y="367"/>
                    </a:lnTo>
                    <a:lnTo>
                      <a:pt x="214" y="371"/>
                    </a:lnTo>
                    <a:lnTo>
                      <a:pt x="215" y="372"/>
                    </a:lnTo>
                    <a:lnTo>
                      <a:pt x="217" y="376"/>
                    </a:lnTo>
                    <a:lnTo>
                      <a:pt x="217" y="381"/>
                    </a:lnTo>
                    <a:lnTo>
                      <a:pt x="217" y="382"/>
                    </a:lnTo>
                    <a:lnTo>
                      <a:pt x="217" y="386"/>
                    </a:lnTo>
                    <a:lnTo>
                      <a:pt x="222" y="389"/>
                    </a:lnTo>
                    <a:lnTo>
                      <a:pt x="229" y="394"/>
                    </a:lnTo>
                    <a:lnTo>
                      <a:pt x="234" y="396"/>
                    </a:lnTo>
                    <a:lnTo>
                      <a:pt x="237" y="394"/>
                    </a:lnTo>
                    <a:lnTo>
                      <a:pt x="242" y="387"/>
                    </a:lnTo>
                    <a:lnTo>
                      <a:pt x="242" y="384"/>
                    </a:lnTo>
                    <a:lnTo>
                      <a:pt x="244" y="382"/>
                    </a:lnTo>
                    <a:lnTo>
                      <a:pt x="245" y="379"/>
                    </a:lnTo>
                    <a:lnTo>
                      <a:pt x="244" y="377"/>
                    </a:lnTo>
                    <a:lnTo>
                      <a:pt x="247" y="371"/>
                    </a:lnTo>
                    <a:lnTo>
                      <a:pt x="252" y="371"/>
                    </a:lnTo>
                    <a:lnTo>
                      <a:pt x="255" y="371"/>
                    </a:lnTo>
                    <a:lnTo>
                      <a:pt x="257" y="369"/>
                    </a:lnTo>
                    <a:lnTo>
                      <a:pt x="255" y="367"/>
                    </a:lnTo>
                    <a:lnTo>
                      <a:pt x="254" y="363"/>
                    </a:lnTo>
                    <a:lnTo>
                      <a:pt x="245" y="359"/>
                    </a:lnTo>
                    <a:lnTo>
                      <a:pt x="245" y="358"/>
                    </a:lnTo>
                    <a:lnTo>
                      <a:pt x="247" y="351"/>
                    </a:lnTo>
                    <a:lnTo>
                      <a:pt x="249" y="349"/>
                    </a:lnTo>
                    <a:lnTo>
                      <a:pt x="252" y="348"/>
                    </a:lnTo>
                    <a:lnTo>
                      <a:pt x="250" y="351"/>
                    </a:lnTo>
                    <a:lnTo>
                      <a:pt x="250" y="354"/>
                    </a:lnTo>
                    <a:lnTo>
                      <a:pt x="252" y="356"/>
                    </a:lnTo>
                    <a:lnTo>
                      <a:pt x="255" y="354"/>
                    </a:lnTo>
                    <a:lnTo>
                      <a:pt x="255" y="354"/>
                    </a:lnTo>
                    <a:lnTo>
                      <a:pt x="259" y="354"/>
                    </a:lnTo>
                    <a:lnTo>
                      <a:pt x="262" y="356"/>
                    </a:lnTo>
                    <a:lnTo>
                      <a:pt x="264" y="356"/>
                    </a:lnTo>
                    <a:lnTo>
                      <a:pt x="265" y="356"/>
                    </a:lnTo>
                    <a:lnTo>
                      <a:pt x="265" y="358"/>
                    </a:lnTo>
                    <a:lnTo>
                      <a:pt x="260" y="358"/>
                    </a:lnTo>
                    <a:lnTo>
                      <a:pt x="260" y="359"/>
                    </a:lnTo>
                    <a:lnTo>
                      <a:pt x="262" y="361"/>
                    </a:lnTo>
                    <a:lnTo>
                      <a:pt x="265" y="359"/>
                    </a:lnTo>
                    <a:lnTo>
                      <a:pt x="270" y="356"/>
                    </a:lnTo>
                    <a:lnTo>
                      <a:pt x="284" y="358"/>
                    </a:lnTo>
                    <a:lnTo>
                      <a:pt x="290" y="356"/>
                    </a:lnTo>
                    <a:lnTo>
                      <a:pt x="289" y="356"/>
                    </a:lnTo>
                    <a:lnTo>
                      <a:pt x="287" y="351"/>
                    </a:lnTo>
                    <a:lnTo>
                      <a:pt x="289" y="346"/>
                    </a:lnTo>
                    <a:lnTo>
                      <a:pt x="294" y="343"/>
                    </a:lnTo>
                    <a:lnTo>
                      <a:pt x="297" y="344"/>
                    </a:lnTo>
                    <a:lnTo>
                      <a:pt x="299" y="349"/>
                    </a:lnTo>
                    <a:lnTo>
                      <a:pt x="297" y="353"/>
                    </a:lnTo>
                    <a:lnTo>
                      <a:pt x="299" y="356"/>
                    </a:lnTo>
                    <a:lnTo>
                      <a:pt x="302" y="356"/>
                    </a:lnTo>
                    <a:lnTo>
                      <a:pt x="305" y="351"/>
                    </a:lnTo>
                    <a:lnTo>
                      <a:pt x="304" y="343"/>
                    </a:lnTo>
                    <a:lnTo>
                      <a:pt x="304" y="339"/>
                    </a:lnTo>
                    <a:lnTo>
                      <a:pt x="310" y="334"/>
                    </a:lnTo>
                    <a:lnTo>
                      <a:pt x="313" y="334"/>
                    </a:lnTo>
                    <a:lnTo>
                      <a:pt x="315" y="333"/>
                    </a:lnTo>
                    <a:lnTo>
                      <a:pt x="312" y="329"/>
                    </a:lnTo>
                    <a:lnTo>
                      <a:pt x="313" y="324"/>
                    </a:lnTo>
                    <a:lnTo>
                      <a:pt x="317" y="323"/>
                    </a:lnTo>
                    <a:lnTo>
                      <a:pt x="322" y="324"/>
                    </a:lnTo>
                    <a:lnTo>
                      <a:pt x="322" y="326"/>
                    </a:lnTo>
                    <a:lnTo>
                      <a:pt x="320" y="329"/>
                    </a:lnTo>
                    <a:lnTo>
                      <a:pt x="318" y="334"/>
                    </a:lnTo>
                    <a:lnTo>
                      <a:pt x="320" y="348"/>
                    </a:lnTo>
                    <a:lnTo>
                      <a:pt x="322" y="348"/>
                    </a:lnTo>
                    <a:lnTo>
                      <a:pt x="325" y="346"/>
                    </a:lnTo>
                    <a:lnTo>
                      <a:pt x="327" y="343"/>
                    </a:lnTo>
                    <a:lnTo>
                      <a:pt x="332" y="343"/>
                    </a:lnTo>
                    <a:lnTo>
                      <a:pt x="337" y="338"/>
                    </a:lnTo>
                    <a:lnTo>
                      <a:pt x="338" y="333"/>
                    </a:lnTo>
                    <a:lnTo>
                      <a:pt x="337" y="328"/>
                    </a:lnTo>
                    <a:lnTo>
                      <a:pt x="342" y="324"/>
                    </a:lnTo>
                    <a:lnTo>
                      <a:pt x="342" y="321"/>
                    </a:lnTo>
                    <a:lnTo>
                      <a:pt x="338" y="319"/>
                    </a:lnTo>
                    <a:lnTo>
                      <a:pt x="333" y="311"/>
                    </a:lnTo>
                    <a:lnTo>
                      <a:pt x="332" y="306"/>
                    </a:lnTo>
                    <a:lnTo>
                      <a:pt x="330" y="296"/>
                    </a:lnTo>
                    <a:lnTo>
                      <a:pt x="332" y="284"/>
                    </a:lnTo>
                    <a:lnTo>
                      <a:pt x="332" y="276"/>
                    </a:lnTo>
                    <a:lnTo>
                      <a:pt x="327" y="260"/>
                    </a:lnTo>
                    <a:lnTo>
                      <a:pt x="322" y="253"/>
                    </a:lnTo>
                    <a:lnTo>
                      <a:pt x="322" y="248"/>
                    </a:lnTo>
                    <a:lnTo>
                      <a:pt x="322" y="240"/>
                    </a:lnTo>
                    <a:lnTo>
                      <a:pt x="330" y="236"/>
                    </a:lnTo>
                    <a:lnTo>
                      <a:pt x="333" y="236"/>
                    </a:lnTo>
                    <a:lnTo>
                      <a:pt x="335" y="240"/>
                    </a:lnTo>
                    <a:lnTo>
                      <a:pt x="337" y="238"/>
                    </a:lnTo>
                    <a:lnTo>
                      <a:pt x="335" y="233"/>
                    </a:lnTo>
                    <a:lnTo>
                      <a:pt x="335" y="230"/>
                    </a:lnTo>
                    <a:lnTo>
                      <a:pt x="333" y="228"/>
                    </a:lnTo>
                    <a:lnTo>
                      <a:pt x="332" y="225"/>
                    </a:lnTo>
                    <a:lnTo>
                      <a:pt x="332" y="221"/>
                    </a:lnTo>
                    <a:lnTo>
                      <a:pt x="332" y="218"/>
                    </a:lnTo>
                    <a:lnTo>
                      <a:pt x="333" y="216"/>
                    </a:lnTo>
                    <a:lnTo>
                      <a:pt x="333" y="215"/>
                    </a:lnTo>
                    <a:lnTo>
                      <a:pt x="335" y="211"/>
                    </a:lnTo>
                    <a:lnTo>
                      <a:pt x="333" y="210"/>
                    </a:lnTo>
                    <a:lnTo>
                      <a:pt x="333" y="203"/>
                    </a:lnTo>
                    <a:lnTo>
                      <a:pt x="333" y="201"/>
                    </a:lnTo>
                    <a:lnTo>
                      <a:pt x="332" y="198"/>
                    </a:lnTo>
                    <a:lnTo>
                      <a:pt x="330" y="190"/>
                    </a:lnTo>
                    <a:lnTo>
                      <a:pt x="327" y="181"/>
                    </a:lnTo>
                    <a:lnTo>
                      <a:pt x="323" y="181"/>
                    </a:lnTo>
                    <a:lnTo>
                      <a:pt x="322" y="181"/>
                    </a:lnTo>
                    <a:lnTo>
                      <a:pt x="320" y="171"/>
                    </a:lnTo>
                    <a:lnTo>
                      <a:pt x="317" y="168"/>
                    </a:lnTo>
                    <a:lnTo>
                      <a:pt x="307" y="158"/>
                    </a:lnTo>
                    <a:lnTo>
                      <a:pt x="304" y="153"/>
                    </a:lnTo>
                    <a:lnTo>
                      <a:pt x="302" y="147"/>
                    </a:lnTo>
                    <a:lnTo>
                      <a:pt x="302" y="140"/>
                    </a:lnTo>
                    <a:lnTo>
                      <a:pt x="302" y="138"/>
                    </a:lnTo>
                    <a:lnTo>
                      <a:pt x="299" y="140"/>
                    </a:lnTo>
                    <a:lnTo>
                      <a:pt x="297" y="140"/>
                    </a:lnTo>
                    <a:lnTo>
                      <a:pt x="295" y="138"/>
                    </a:lnTo>
                    <a:lnTo>
                      <a:pt x="290" y="137"/>
                    </a:lnTo>
                    <a:lnTo>
                      <a:pt x="289" y="137"/>
                    </a:lnTo>
                    <a:lnTo>
                      <a:pt x="289" y="138"/>
                    </a:lnTo>
                    <a:lnTo>
                      <a:pt x="287" y="143"/>
                    </a:lnTo>
                    <a:lnTo>
                      <a:pt x="287" y="147"/>
                    </a:lnTo>
                    <a:lnTo>
                      <a:pt x="289" y="148"/>
                    </a:lnTo>
                    <a:lnTo>
                      <a:pt x="292" y="148"/>
                    </a:lnTo>
                    <a:lnTo>
                      <a:pt x="297" y="143"/>
                    </a:lnTo>
                    <a:lnTo>
                      <a:pt x="299" y="148"/>
                    </a:lnTo>
                    <a:lnTo>
                      <a:pt x="297" y="153"/>
                    </a:lnTo>
                    <a:lnTo>
                      <a:pt x="294" y="155"/>
                    </a:lnTo>
                    <a:lnTo>
                      <a:pt x="292" y="152"/>
                    </a:lnTo>
                    <a:lnTo>
                      <a:pt x="290" y="152"/>
                    </a:lnTo>
                    <a:lnTo>
                      <a:pt x="292" y="158"/>
                    </a:lnTo>
                    <a:lnTo>
                      <a:pt x="289" y="160"/>
                    </a:lnTo>
                    <a:lnTo>
                      <a:pt x="285" y="158"/>
                    </a:lnTo>
                    <a:lnTo>
                      <a:pt x="285" y="155"/>
                    </a:lnTo>
                    <a:lnTo>
                      <a:pt x="284" y="150"/>
                    </a:lnTo>
                    <a:lnTo>
                      <a:pt x="284" y="148"/>
                    </a:lnTo>
                    <a:lnTo>
                      <a:pt x="280" y="148"/>
                    </a:lnTo>
                    <a:lnTo>
                      <a:pt x="277" y="148"/>
                    </a:lnTo>
                    <a:lnTo>
                      <a:pt x="277" y="152"/>
                    </a:lnTo>
                    <a:lnTo>
                      <a:pt x="279" y="157"/>
                    </a:lnTo>
                    <a:lnTo>
                      <a:pt x="279" y="162"/>
                    </a:lnTo>
                    <a:lnTo>
                      <a:pt x="275" y="163"/>
                    </a:lnTo>
                    <a:lnTo>
                      <a:pt x="272" y="167"/>
                    </a:lnTo>
                    <a:lnTo>
                      <a:pt x="272" y="170"/>
                    </a:lnTo>
                    <a:lnTo>
                      <a:pt x="279" y="175"/>
                    </a:lnTo>
                    <a:lnTo>
                      <a:pt x="280" y="178"/>
                    </a:lnTo>
                    <a:lnTo>
                      <a:pt x="279" y="183"/>
                    </a:lnTo>
                    <a:lnTo>
                      <a:pt x="275" y="186"/>
                    </a:lnTo>
                    <a:lnTo>
                      <a:pt x="272" y="185"/>
                    </a:lnTo>
                    <a:lnTo>
                      <a:pt x="270" y="188"/>
                    </a:lnTo>
                    <a:lnTo>
                      <a:pt x="274" y="191"/>
                    </a:lnTo>
                    <a:lnTo>
                      <a:pt x="279" y="191"/>
                    </a:lnTo>
                    <a:lnTo>
                      <a:pt x="280" y="188"/>
                    </a:lnTo>
                    <a:lnTo>
                      <a:pt x="285" y="196"/>
                    </a:lnTo>
                    <a:lnTo>
                      <a:pt x="287" y="208"/>
                    </a:lnTo>
                    <a:lnTo>
                      <a:pt x="287" y="213"/>
                    </a:lnTo>
                    <a:lnTo>
                      <a:pt x="287" y="225"/>
                    </a:lnTo>
                    <a:lnTo>
                      <a:pt x="282" y="240"/>
                    </a:lnTo>
                    <a:lnTo>
                      <a:pt x="284" y="245"/>
                    </a:lnTo>
                    <a:lnTo>
                      <a:pt x="282" y="251"/>
                    </a:lnTo>
                    <a:lnTo>
                      <a:pt x="275" y="255"/>
                    </a:lnTo>
                    <a:lnTo>
                      <a:pt x="274" y="261"/>
                    </a:lnTo>
                    <a:lnTo>
                      <a:pt x="274" y="268"/>
                    </a:lnTo>
                    <a:lnTo>
                      <a:pt x="270" y="273"/>
                    </a:lnTo>
                    <a:lnTo>
                      <a:pt x="270" y="276"/>
                    </a:lnTo>
                    <a:lnTo>
                      <a:pt x="264" y="281"/>
                    </a:lnTo>
                    <a:lnTo>
                      <a:pt x="252" y="288"/>
                    </a:lnTo>
                    <a:lnTo>
                      <a:pt x="249" y="289"/>
                    </a:lnTo>
                    <a:lnTo>
                      <a:pt x="245" y="293"/>
                    </a:lnTo>
                    <a:lnTo>
                      <a:pt x="240" y="291"/>
                    </a:lnTo>
                    <a:lnTo>
                      <a:pt x="234" y="284"/>
                    </a:lnTo>
                    <a:lnTo>
                      <a:pt x="234" y="281"/>
                    </a:lnTo>
                    <a:lnTo>
                      <a:pt x="237" y="281"/>
                    </a:lnTo>
                    <a:lnTo>
                      <a:pt x="239" y="276"/>
                    </a:lnTo>
                    <a:lnTo>
                      <a:pt x="239" y="274"/>
                    </a:lnTo>
                    <a:lnTo>
                      <a:pt x="242" y="271"/>
                    </a:lnTo>
                    <a:lnTo>
                      <a:pt x="242" y="269"/>
                    </a:lnTo>
                    <a:lnTo>
                      <a:pt x="235" y="271"/>
                    </a:lnTo>
                    <a:lnTo>
                      <a:pt x="232" y="274"/>
                    </a:lnTo>
                    <a:lnTo>
                      <a:pt x="227" y="276"/>
                    </a:lnTo>
                    <a:lnTo>
                      <a:pt x="225" y="281"/>
                    </a:lnTo>
                    <a:lnTo>
                      <a:pt x="229" y="286"/>
                    </a:lnTo>
                    <a:lnTo>
                      <a:pt x="230" y="296"/>
                    </a:lnTo>
                    <a:lnTo>
                      <a:pt x="229" y="301"/>
                    </a:lnTo>
                    <a:lnTo>
                      <a:pt x="224" y="306"/>
                    </a:lnTo>
                    <a:lnTo>
                      <a:pt x="224" y="309"/>
                    </a:lnTo>
                    <a:lnTo>
                      <a:pt x="222" y="311"/>
                    </a:lnTo>
                    <a:lnTo>
                      <a:pt x="220" y="319"/>
                    </a:lnTo>
                    <a:lnTo>
                      <a:pt x="224" y="321"/>
                    </a:lnTo>
                    <a:lnTo>
                      <a:pt x="224" y="324"/>
                    </a:lnTo>
                    <a:lnTo>
                      <a:pt x="222" y="326"/>
                    </a:lnTo>
                    <a:lnTo>
                      <a:pt x="222" y="328"/>
                    </a:lnTo>
                    <a:lnTo>
                      <a:pt x="222" y="329"/>
                    </a:lnTo>
                    <a:lnTo>
                      <a:pt x="219" y="331"/>
                    </a:lnTo>
                    <a:lnTo>
                      <a:pt x="220" y="333"/>
                    </a:lnTo>
                    <a:lnTo>
                      <a:pt x="217" y="333"/>
                    </a:lnTo>
                    <a:lnTo>
                      <a:pt x="215" y="331"/>
                    </a:lnTo>
                    <a:lnTo>
                      <a:pt x="210" y="334"/>
                    </a:lnTo>
                    <a:lnTo>
                      <a:pt x="209" y="333"/>
                    </a:lnTo>
                    <a:lnTo>
                      <a:pt x="209" y="329"/>
                    </a:lnTo>
                    <a:lnTo>
                      <a:pt x="207" y="328"/>
                    </a:lnTo>
                    <a:lnTo>
                      <a:pt x="204" y="331"/>
                    </a:lnTo>
                    <a:lnTo>
                      <a:pt x="201" y="331"/>
                    </a:lnTo>
                    <a:lnTo>
                      <a:pt x="199" y="329"/>
                    </a:lnTo>
                    <a:lnTo>
                      <a:pt x="189" y="333"/>
                    </a:lnTo>
                    <a:lnTo>
                      <a:pt x="184" y="334"/>
                    </a:lnTo>
                    <a:lnTo>
                      <a:pt x="177" y="336"/>
                    </a:lnTo>
                    <a:lnTo>
                      <a:pt x="172" y="336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59" y="338"/>
                    </a:lnTo>
                    <a:lnTo>
                      <a:pt x="149" y="344"/>
                    </a:lnTo>
                    <a:lnTo>
                      <a:pt x="147" y="349"/>
                    </a:lnTo>
                    <a:lnTo>
                      <a:pt x="144" y="351"/>
                    </a:lnTo>
                    <a:lnTo>
                      <a:pt x="144" y="354"/>
                    </a:lnTo>
                    <a:lnTo>
                      <a:pt x="137" y="361"/>
                    </a:lnTo>
                    <a:lnTo>
                      <a:pt x="132" y="363"/>
                    </a:lnTo>
                    <a:lnTo>
                      <a:pt x="129" y="366"/>
                    </a:lnTo>
                    <a:lnTo>
                      <a:pt x="127" y="369"/>
                    </a:lnTo>
                    <a:lnTo>
                      <a:pt x="124" y="372"/>
                    </a:lnTo>
                    <a:lnTo>
                      <a:pt x="117" y="374"/>
                    </a:lnTo>
                    <a:lnTo>
                      <a:pt x="116" y="377"/>
                    </a:lnTo>
                    <a:lnTo>
                      <a:pt x="117" y="384"/>
                    </a:lnTo>
                    <a:lnTo>
                      <a:pt x="119" y="384"/>
                    </a:lnTo>
                    <a:lnTo>
                      <a:pt x="121" y="387"/>
                    </a:lnTo>
                    <a:lnTo>
                      <a:pt x="119" y="389"/>
                    </a:lnTo>
                    <a:lnTo>
                      <a:pt x="116" y="389"/>
                    </a:lnTo>
                    <a:lnTo>
                      <a:pt x="111" y="394"/>
                    </a:lnTo>
                    <a:lnTo>
                      <a:pt x="109" y="396"/>
                    </a:lnTo>
                    <a:lnTo>
                      <a:pt x="106" y="397"/>
                    </a:lnTo>
                    <a:lnTo>
                      <a:pt x="101" y="402"/>
                    </a:lnTo>
                    <a:lnTo>
                      <a:pt x="99" y="406"/>
                    </a:lnTo>
                    <a:lnTo>
                      <a:pt x="96" y="406"/>
                    </a:lnTo>
                    <a:lnTo>
                      <a:pt x="91" y="409"/>
                    </a:lnTo>
                    <a:lnTo>
                      <a:pt x="93" y="409"/>
                    </a:lnTo>
                    <a:lnTo>
                      <a:pt x="96" y="409"/>
                    </a:lnTo>
                    <a:lnTo>
                      <a:pt x="98" y="412"/>
                    </a:lnTo>
                    <a:lnTo>
                      <a:pt x="99" y="417"/>
                    </a:lnTo>
                    <a:lnTo>
                      <a:pt x="98" y="419"/>
                    </a:lnTo>
                    <a:lnTo>
                      <a:pt x="98" y="416"/>
                    </a:lnTo>
                    <a:lnTo>
                      <a:pt x="94" y="412"/>
                    </a:lnTo>
                    <a:lnTo>
                      <a:pt x="94" y="416"/>
                    </a:lnTo>
                    <a:lnTo>
                      <a:pt x="94" y="421"/>
                    </a:lnTo>
                    <a:lnTo>
                      <a:pt x="98" y="422"/>
                    </a:lnTo>
                    <a:lnTo>
                      <a:pt x="99" y="424"/>
                    </a:lnTo>
                    <a:lnTo>
                      <a:pt x="98" y="427"/>
                    </a:lnTo>
                    <a:lnTo>
                      <a:pt x="99" y="426"/>
                    </a:lnTo>
                    <a:lnTo>
                      <a:pt x="101" y="422"/>
                    </a:lnTo>
                    <a:lnTo>
                      <a:pt x="104" y="422"/>
                    </a:lnTo>
                    <a:lnTo>
                      <a:pt x="107" y="422"/>
                    </a:lnTo>
                    <a:lnTo>
                      <a:pt x="106" y="424"/>
                    </a:lnTo>
                    <a:lnTo>
                      <a:pt x="107" y="426"/>
                    </a:lnTo>
                    <a:lnTo>
                      <a:pt x="111" y="424"/>
                    </a:lnTo>
                    <a:lnTo>
                      <a:pt x="111" y="421"/>
                    </a:lnTo>
                    <a:lnTo>
                      <a:pt x="107" y="417"/>
                    </a:lnTo>
                    <a:lnTo>
                      <a:pt x="103" y="419"/>
                    </a:lnTo>
                    <a:lnTo>
                      <a:pt x="104" y="417"/>
                    </a:lnTo>
                    <a:lnTo>
                      <a:pt x="104" y="416"/>
                    </a:lnTo>
                    <a:lnTo>
                      <a:pt x="104" y="412"/>
                    </a:lnTo>
                    <a:lnTo>
                      <a:pt x="106" y="409"/>
                    </a:lnTo>
                    <a:lnTo>
                      <a:pt x="109" y="411"/>
                    </a:lnTo>
                    <a:lnTo>
                      <a:pt x="114" y="417"/>
                    </a:lnTo>
                    <a:lnTo>
                      <a:pt x="114" y="422"/>
                    </a:lnTo>
                    <a:lnTo>
                      <a:pt x="116" y="424"/>
                    </a:lnTo>
                    <a:lnTo>
                      <a:pt x="117" y="432"/>
                    </a:lnTo>
                    <a:lnTo>
                      <a:pt x="114" y="439"/>
                    </a:lnTo>
                    <a:lnTo>
                      <a:pt x="109" y="439"/>
                    </a:lnTo>
                    <a:lnTo>
                      <a:pt x="111" y="442"/>
                    </a:lnTo>
                    <a:lnTo>
                      <a:pt x="114" y="447"/>
                    </a:lnTo>
                    <a:lnTo>
                      <a:pt x="116" y="456"/>
                    </a:lnTo>
                    <a:lnTo>
                      <a:pt x="119" y="459"/>
                    </a:lnTo>
                    <a:lnTo>
                      <a:pt x="119" y="464"/>
                    </a:lnTo>
                    <a:lnTo>
                      <a:pt x="117" y="465"/>
                    </a:lnTo>
                    <a:lnTo>
                      <a:pt x="121" y="469"/>
                    </a:lnTo>
                    <a:lnTo>
                      <a:pt x="124" y="469"/>
                    </a:lnTo>
                    <a:lnTo>
                      <a:pt x="127" y="470"/>
                    </a:lnTo>
                    <a:lnTo>
                      <a:pt x="129" y="469"/>
                    </a:lnTo>
                    <a:lnTo>
                      <a:pt x="129" y="467"/>
                    </a:lnTo>
                    <a:lnTo>
                      <a:pt x="126" y="462"/>
                    </a:lnTo>
                    <a:lnTo>
                      <a:pt x="126" y="454"/>
                    </a:lnTo>
                    <a:lnTo>
                      <a:pt x="127" y="452"/>
                    </a:lnTo>
                    <a:lnTo>
                      <a:pt x="131" y="454"/>
                    </a:lnTo>
                    <a:lnTo>
                      <a:pt x="129" y="456"/>
                    </a:lnTo>
                    <a:lnTo>
                      <a:pt x="129" y="457"/>
                    </a:lnTo>
                    <a:lnTo>
                      <a:pt x="132" y="462"/>
                    </a:lnTo>
                    <a:lnTo>
                      <a:pt x="134" y="467"/>
                    </a:lnTo>
                    <a:lnTo>
                      <a:pt x="132" y="470"/>
                    </a:lnTo>
                    <a:lnTo>
                      <a:pt x="132" y="4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2" name="Freeform 8">
                <a:extLst>
                  <a:ext uri="{FF2B5EF4-FFF2-40B4-BE49-F238E27FC236}">
                    <a16:creationId xmlns:a16="http://schemas.microsoft.com/office/drawing/2014/main" id="{606C1F43-A3DE-034E-A47D-C21EEA706C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90420" y="2760258"/>
                <a:ext cx="58863" cy="81970"/>
              </a:xfrm>
              <a:custGeom>
                <a:avLst/>
                <a:gdLst/>
                <a:ahLst/>
                <a:cxnLst>
                  <a:cxn ang="0">
                    <a:pos x="69" y="111"/>
                  </a:cxn>
                  <a:cxn ang="0">
                    <a:pos x="68" y="114"/>
                  </a:cxn>
                  <a:cxn ang="0">
                    <a:pos x="68" y="113"/>
                  </a:cxn>
                  <a:cxn ang="0">
                    <a:pos x="31" y="126"/>
                  </a:cxn>
                  <a:cxn ang="0">
                    <a:pos x="33" y="124"/>
                  </a:cxn>
                  <a:cxn ang="0">
                    <a:pos x="36" y="124"/>
                  </a:cxn>
                  <a:cxn ang="0">
                    <a:pos x="35" y="128"/>
                  </a:cxn>
                  <a:cxn ang="0">
                    <a:pos x="33" y="129"/>
                  </a:cxn>
                  <a:cxn ang="0">
                    <a:pos x="84" y="108"/>
                  </a:cxn>
                  <a:cxn ang="0">
                    <a:pos x="86" y="113"/>
                  </a:cxn>
                  <a:cxn ang="0">
                    <a:pos x="89" y="111"/>
                  </a:cxn>
                  <a:cxn ang="0">
                    <a:pos x="88" y="106"/>
                  </a:cxn>
                  <a:cxn ang="0">
                    <a:pos x="104" y="134"/>
                  </a:cxn>
                  <a:cxn ang="0">
                    <a:pos x="106" y="129"/>
                  </a:cxn>
                  <a:cxn ang="0">
                    <a:pos x="108" y="133"/>
                  </a:cxn>
                  <a:cxn ang="0">
                    <a:pos x="104" y="134"/>
                  </a:cxn>
                  <a:cxn ang="0">
                    <a:pos x="108" y="124"/>
                  </a:cxn>
                  <a:cxn ang="0">
                    <a:pos x="106" y="123"/>
                  </a:cxn>
                  <a:cxn ang="0">
                    <a:pos x="106" y="118"/>
                  </a:cxn>
                  <a:cxn ang="0">
                    <a:pos x="109" y="118"/>
                  </a:cxn>
                  <a:cxn ang="0">
                    <a:pos x="108" y="124"/>
                  </a:cxn>
                  <a:cxn ang="0">
                    <a:pos x="39" y="158"/>
                  </a:cxn>
                  <a:cxn ang="0">
                    <a:pos x="39" y="151"/>
                  </a:cxn>
                  <a:cxn ang="0">
                    <a:pos x="56" y="149"/>
                  </a:cxn>
                  <a:cxn ang="0">
                    <a:pos x="53" y="158"/>
                  </a:cxn>
                  <a:cxn ang="0">
                    <a:pos x="39" y="158"/>
                  </a:cxn>
                  <a:cxn ang="0">
                    <a:pos x="0" y="26"/>
                  </a:cxn>
                  <a:cxn ang="0">
                    <a:pos x="5" y="25"/>
                  </a:cxn>
                  <a:cxn ang="0">
                    <a:pos x="10" y="26"/>
                  </a:cxn>
                  <a:cxn ang="0">
                    <a:pos x="25" y="41"/>
                  </a:cxn>
                  <a:cxn ang="0">
                    <a:pos x="26" y="45"/>
                  </a:cxn>
                  <a:cxn ang="0">
                    <a:pos x="31" y="53"/>
                  </a:cxn>
                  <a:cxn ang="0">
                    <a:pos x="21" y="48"/>
                  </a:cxn>
                  <a:cxn ang="0">
                    <a:pos x="16" y="51"/>
                  </a:cxn>
                  <a:cxn ang="0">
                    <a:pos x="23" y="61"/>
                  </a:cxn>
                  <a:cxn ang="0">
                    <a:pos x="28" y="66"/>
                  </a:cxn>
                  <a:cxn ang="0">
                    <a:pos x="31" y="76"/>
                  </a:cxn>
                  <a:cxn ang="0">
                    <a:pos x="36" y="83"/>
                  </a:cxn>
                  <a:cxn ang="0">
                    <a:pos x="28" y="90"/>
                  </a:cxn>
                  <a:cxn ang="0">
                    <a:pos x="33" y="96"/>
                  </a:cxn>
                  <a:cxn ang="0">
                    <a:pos x="30" y="101"/>
                  </a:cxn>
                  <a:cxn ang="0">
                    <a:pos x="28" y="106"/>
                  </a:cxn>
                  <a:cxn ang="0">
                    <a:pos x="38" y="116"/>
                  </a:cxn>
                  <a:cxn ang="0">
                    <a:pos x="41" y="123"/>
                  </a:cxn>
                  <a:cxn ang="0">
                    <a:pos x="44" y="124"/>
                  </a:cxn>
                  <a:cxn ang="0">
                    <a:pos x="46" y="121"/>
                  </a:cxn>
                  <a:cxn ang="0">
                    <a:pos x="61" y="110"/>
                  </a:cxn>
                  <a:cxn ang="0">
                    <a:pos x="66" y="110"/>
                  </a:cxn>
                  <a:cxn ang="0">
                    <a:pos x="73" y="106"/>
                  </a:cxn>
                  <a:cxn ang="0">
                    <a:pos x="79" y="110"/>
                  </a:cxn>
                  <a:cxn ang="0">
                    <a:pos x="83" y="110"/>
                  </a:cxn>
                  <a:cxn ang="0">
                    <a:pos x="88" y="103"/>
                  </a:cxn>
                  <a:cxn ang="0">
                    <a:pos x="99" y="96"/>
                  </a:cxn>
                  <a:cxn ang="0">
                    <a:pos x="101" y="91"/>
                  </a:cxn>
                  <a:cxn ang="0">
                    <a:pos x="98" y="75"/>
                  </a:cxn>
                  <a:cxn ang="0">
                    <a:pos x="96" y="71"/>
                  </a:cxn>
                  <a:cxn ang="0">
                    <a:pos x="89" y="51"/>
                  </a:cxn>
                  <a:cxn ang="0">
                    <a:pos x="74" y="26"/>
                  </a:cxn>
                  <a:cxn ang="0">
                    <a:pos x="53" y="0"/>
                  </a:cxn>
                  <a:cxn ang="0">
                    <a:pos x="26" y="7"/>
                  </a:cxn>
                  <a:cxn ang="0">
                    <a:pos x="10" y="15"/>
                  </a:cxn>
                  <a:cxn ang="0">
                    <a:pos x="0" y="26"/>
                  </a:cxn>
                </a:cxnLst>
                <a:rect l="0" t="0" r="r" b="b"/>
                <a:pathLst>
                  <a:path w="111" h="158">
                    <a:moveTo>
                      <a:pt x="68" y="113"/>
                    </a:moveTo>
                    <a:lnTo>
                      <a:pt x="69" y="111"/>
                    </a:lnTo>
                    <a:lnTo>
                      <a:pt x="73" y="113"/>
                    </a:lnTo>
                    <a:lnTo>
                      <a:pt x="68" y="114"/>
                    </a:lnTo>
                    <a:lnTo>
                      <a:pt x="68" y="113"/>
                    </a:lnTo>
                    <a:lnTo>
                      <a:pt x="68" y="113"/>
                    </a:lnTo>
                    <a:close/>
                    <a:moveTo>
                      <a:pt x="33" y="129"/>
                    </a:moveTo>
                    <a:lnTo>
                      <a:pt x="31" y="126"/>
                    </a:lnTo>
                    <a:lnTo>
                      <a:pt x="31" y="124"/>
                    </a:lnTo>
                    <a:lnTo>
                      <a:pt x="33" y="124"/>
                    </a:lnTo>
                    <a:lnTo>
                      <a:pt x="35" y="121"/>
                    </a:lnTo>
                    <a:lnTo>
                      <a:pt x="36" y="124"/>
                    </a:lnTo>
                    <a:lnTo>
                      <a:pt x="36" y="128"/>
                    </a:lnTo>
                    <a:lnTo>
                      <a:pt x="35" y="128"/>
                    </a:lnTo>
                    <a:lnTo>
                      <a:pt x="33" y="129"/>
                    </a:lnTo>
                    <a:lnTo>
                      <a:pt x="33" y="129"/>
                    </a:lnTo>
                    <a:close/>
                    <a:moveTo>
                      <a:pt x="88" y="106"/>
                    </a:moveTo>
                    <a:lnTo>
                      <a:pt x="84" y="108"/>
                    </a:lnTo>
                    <a:lnTo>
                      <a:pt x="84" y="111"/>
                    </a:lnTo>
                    <a:lnTo>
                      <a:pt x="86" y="113"/>
                    </a:lnTo>
                    <a:lnTo>
                      <a:pt x="89" y="113"/>
                    </a:lnTo>
                    <a:lnTo>
                      <a:pt x="89" y="111"/>
                    </a:lnTo>
                    <a:lnTo>
                      <a:pt x="89" y="106"/>
                    </a:lnTo>
                    <a:lnTo>
                      <a:pt x="88" y="106"/>
                    </a:lnTo>
                    <a:lnTo>
                      <a:pt x="88" y="106"/>
                    </a:lnTo>
                    <a:close/>
                    <a:moveTo>
                      <a:pt x="104" y="134"/>
                    </a:moveTo>
                    <a:lnTo>
                      <a:pt x="104" y="131"/>
                    </a:lnTo>
                    <a:lnTo>
                      <a:pt x="106" y="129"/>
                    </a:lnTo>
                    <a:lnTo>
                      <a:pt x="109" y="129"/>
                    </a:lnTo>
                    <a:lnTo>
                      <a:pt x="108" y="133"/>
                    </a:lnTo>
                    <a:lnTo>
                      <a:pt x="106" y="134"/>
                    </a:lnTo>
                    <a:lnTo>
                      <a:pt x="104" y="134"/>
                    </a:lnTo>
                    <a:lnTo>
                      <a:pt x="104" y="134"/>
                    </a:lnTo>
                    <a:close/>
                    <a:moveTo>
                      <a:pt x="108" y="124"/>
                    </a:moveTo>
                    <a:lnTo>
                      <a:pt x="106" y="126"/>
                    </a:lnTo>
                    <a:lnTo>
                      <a:pt x="106" y="123"/>
                    </a:lnTo>
                    <a:lnTo>
                      <a:pt x="106" y="119"/>
                    </a:lnTo>
                    <a:lnTo>
                      <a:pt x="106" y="118"/>
                    </a:lnTo>
                    <a:lnTo>
                      <a:pt x="109" y="116"/>
                    </a:lnTo>
                    <a:lnTo>
                      <a:pt x="109" y="118"/>
                    </a:lnTo>
                    <a:lnTo>
                      <a:pt x="111" y="121"/>
                    </a:lnTo>
                    <a:lnTo>
                      <a:pt x="108" y="124"/>
                    </a:lnTo>
                    <a:lnTo>
                      <a:pt x="108" y="124"/>
                    </a:lnTo>
                    <a:close/>
                    <a:moveTo>
                      <a:pt x="39" y="158"/>
                    </a:moveTo>
                    <a:lnTo>
                      <a:pt x="38" y="154"/>
                    </a:lnTo>
                    <a:lnTo>
                      <a:pt x="39" y="151"/>
                    </a:lnTo>
                    <a:lnTo>
                      <a:pt x="51" y="148"/>
                    </a:lnTo>
                    <a:lnTo>
                      <a:pt x="56" y="149"/>
                    </a:lnTo>
                    <a:lnTo>
                      <a:pt x="56" y="153"/>
                    </a:lnTo>
                    <a:lnTo>
                      <a:pt x="53" y="158"/>
                    </a:lnTo>
                    <a:lnTo>
                      <a:pt x="44" y="158"/>
                    </a:lnTo>
                    <a:lnTo>
                      <a:pt x="39" y="158"/>
                    </a:lnTo>
                    <a:lnTo>
                      <a:pt x="39" y="158"/>
                    </a:lnTo>
                    <a:close/>
                    <a:moveTo>
                      <a:pt x="0" y="26"/>
                    </a:moveTo>
                    <a:lnTo>
                      <a:pt x="1" y="26"/>
                    </a:lnTo>
                    <a:lnTo>
                      <a:pt x="5" y="25"/>
                    </a:lnTo>
                    <a:lnTo>
                      <a:pt x="13" y="25"/>
                    </a:lnTo>
                    <a:lnTo>
                      <a:pt x="10" y="26"/>
                    </a:lnTo>
                    <a:lnTo>
                      <a:pt x="18" y="33"/>
                    </a:lnTo>
                    <a:lnTo>
                      <a:pt x="25" y="41"/>
                    </a:lnTo>
                    <a:lnTo>
                      <a:pt x="28" y="43"/>
                    </a:lnTo>
                    <a:lnTo>
                      <a:pt x="26" y="45"/>
                    </a:lnTo>
                    <a:lnTo>
                      <a:pt x="30" y="50"/>
                    </a:lnTo>
                    <a:lnTo>
                      <a:pt x="31" y="53"/>
                    </a:lnTo>
                    <a:lnTo>
                      <a:pt x="23" y="50"/>
                    </a:lnTo>
                    <a:lnTo>
                      <a:pt x="21" y="48"/>
                    </a:lnTo>
                    <a:lnTo>
                      <a:pt x="20" y="51"/>
                    </a:lnTo>
                    <a:lnTo>
                      <a:pt x="16" y="51"/>
                    </a:lnTo>
                    <a:lnTo>
                      <a:pt x="11" y="58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8" y="66"/>
                    </a:lnTo>
                    <a:lnTo>
                      <a:pt x="28" y="75"/>
                    </a:lnTo>
                    <a:lnTo>
                      <a:pt x="31" y="76"/>
                    </a:lnTo>
                    <a:lnTo>
                      <a:pt x="33" y="75"/>
                    </a:lnTo>
                    <a:lnTo>
                      <a:pt x="36" y="83"/>
                    </a:lnTo>
                    <a:lnTo>
                      <a:pt x="30" y="88"/>
                    </a:lnTo>
                    <a:lnTo>
                      <a:pt x="28" y="90"/>
                    </a:lnTo>
                    <a:lnTo>
                      <a:pt x="31" y="93"/>
                    </a:lnTo>
                    <a:lnTo>
                      <a:pt x="33" y="96"/>
                    </a:lnTo>
                    <a:lnTo>
                      <a:pt x="30" y="98"/>
                    </a:lnTo>
                    <a:lnTo>
                      <a:pt x="30" y="101"/>
                    </a:lnTo>
                    <a:lnTo>
                      <a:pt x="31" y="106"/>
                    </a:lnTo>
                    <a:lnTo>
                      <a:pt x="28" y="106"/>
                    </a:lnTo>
                    <a:lnTo>
                      <a:pt x="35" y="116"/>
                    </a:lnTo>
                    <a:lnTo>
                      <a:pt x="38" y="116"/>
                    </a:lnTo>
                    <a:lnTo>
                      <a:pt x="39" y="121"/>
                    </a:lnTo>
                    <a:lnTo>
                      <a:pt x="41" y="123"/>
                    </a:lnTo>
                    <a:lnTo>
                      <a:pt x="41" y="126"/>
                    </a:lnTo>
                    <a:lnTo>
                      <a:pt x="44" y="124"/>
                    </a:lnTo>
                    <a:lnTo>
                      <a:pt x="44" y="119"/>
                    </a:lnTo>
                    <a:lnTo>
                      <a:pt x="46" y="121"/>
                    </a:lnTo>
                    <a:lnTo>
                      <a:pt x="49" y="118"/>
                    </a:lnTo>
                    <a:lnTo>
                      <a:pt x="61" y="110"/>
                    </a:lnTo>
                    <a:lnTo>
                      <a:pt x="66" y="108"/>
                    </a:lnTo>
                    <a:lnTo>
                      <a:pt x="66" y="110"/>
                    </a:lnTo>
                    <a:lnTo>
                      <a:pt x="69" y="106"/>
                    </a:lnTo>
                    <a:lnTo>
                      <a:pt x="73" y="106"/>
                    </a:lnTo>
                    <a:lnTo>
                      <a:pt x="74" y="111"/>
                    </a:lnTo>
                    <a:lnTo>
                      <a:pt x="79" y="110"/>
                    </a:lnTo>
                    <a:lnTo>
                      <a:pt x="81" y="111"/>
                    </a:lnTo>
                    <a:lnTo>
                      <a:pt x="83" y="110"/>
                    </a:lnTo>
                    <a:lnTo>
                      <a:pt x="81" y="106"/>
                    </a:lnTo>
                    <a:lnTo>
                      <a:pt x="88" y="103"/>
                    </a:lnTo>
                    <a:lnTo>
                      <a:pt x="93" y="103"/>
                    </a:lnTo>
                    <a:lnTo>
                      <a:pt x="99" y="96"/>
                    </a:lnTo>
                    <a:lnTo>
                      <a:pt x="98" y="93"/>
                    </a:lnTo>
                    <a:lnTo>
                      <a:pt x="101" y="91"/>
                    </a:lnTo>
                    <a:lnTo>
                      <a:pt x="99" y="75"/>
                    </a:lnTo>
                    <a:lnTo>
                      <a:pt x="98" y="75"/>
                    </a:lnTo>
                    <a:lnTo>
                      <a:pt x="96" y="76"/>
                    </a:lnTo>
                    <a:lnTo>
                      <a:pt x="96" y="71"/>
                    </a:lnTo>
                    <a:lnTo>
                      <a:pt x="93" y="56"/>
                    </a:lnTo>
                    <a:lnTo>
                      <a:pt x="89" y="51"/>
                    </a:lnTo>
                    <a:lnTo>
                      <a:pt x="89" y="43"/>
                    </a:lnTo>
                    <a:lnTo>
                      <a:pt x="74" y="26"/>
                    </a:lnTo>
                    <a:lnTo>
                      <a:pt x="61" y="13"/>
                    </a:lnTo>
                    <a:lnTo>
                      <a:pt x="53" y="0"/>
                    </a:lnTo>
                    <a:lnTo>
                      <a:pt x="43" y="5"/>
                    </a:lnTo>
                    <a:lnTo>
                      <a:pt x="26" y="7"/>
                    </a:lnTo>
                    <a:lnTo>
                      <a:pt x="18" y="13"/>
                    </a:lnTo>
                    <a:lnTo>
                      <a:pt x="10" y="15"/>
                    </a:lnTo>
                    <a:lnTo>
                      <a:pt x="1" y="21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3" name="Freeform 9">
                <a:extLst>
                  <a:ext uri="{FF2B5EF4-FFF2-40B4-BE49-F238E27FC236}">
                    <a16:creationId xmlns:a16="http://schemas.microsoft.com/office/drawing/2014/main" id="{5C3B6D14-DFCF-7C4F-8644-F615FBDC9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4734" y="2684515"/>
                <a:ext cx="61004" cy="92346"/>
              </a:xfrm>
              <a:custGeom>
                <a:avLst/>
                <a:gdLst/>
                <a:ahLst/>
                <a:cxnLst>
                  <a:cxn ang="0">
                    <a:pos x="0" y="99"/>
                  </a:cxn>
                  <a:cxn ang="0">
                    <a:pos x="9" y="88"/>
                  </a:cxn>
                  <a:cxn ang="0">
                    <a:pos x="15" y="81"/>
                  </a:cxn>
                  <a:cxn ang="0">
                    <a:pos x="24" y="71"/>
                  </a:cxn>
                  <a:cxn ang="0">
                    <a:pos x="30" y="58"/>
                  </a:cxn>
                  <a:cxn ang="0">
                    <a:pos x="30" y="48"/>
                  </a:cxn>
                  <a:cxn ang="0">
                    <a:pos x="39" y="50"/>
                  </a:cxn>
                  <a:cxn ang="0">
                    <a:pos x="47" y="55"/>
                  </a:cxn>
                  <a:cxn ang="0">
                    <a:pos x="55" y="55"/>
                  </a:cxn>
                  <a:cxn ang="0">
                    <a:pos x="72" y="55"/>
                  </a:cxn>
                  <a:cxn ang="0">
                    <a:pos x="75" y="45"/>
                  </a:cxn>
                  <a:cxn ang="0">
                    <a:pos x="64" y="36"/>
                  </a:cxn>
                  <a:cxn ang="0">
                    <a:pos x="74" y="35"/>
                  </a:cxn>
                  <a:cxn ang="0">
                    <a:pos x="84" y="23"/>
                  </a:cxn>
                  <a:cxn ang="0">
                    <a:pos x="92" y="16"/>
                  </a:cxn>
                  <a:cxn ang="0">
                    <a:pos x="92" y="10"/>
                  </a:cxn>
                  <a:cxn ang="0">
                    <a:pos x="92" y="0"/>
                  </a:cxn>
                  <a:cxn ang="0">
                    <a:pos x="100" y="3"/>
                  </a:cxn>
                  <a:cxn ang="0">
                    <a:pos x="102" y="10"/>
                  </a:cxn>
                  <a:cxn ang="0">
                    <a:pos x="115" y="18"/>
                  </a:cxn>
                  <a:cxn ang="0">
                    <a:pos x="107" y="25"/>
                  </a:cxn>
                  <a:cxn ang="0">
                    <a:pos x="103" y="30"/>
                  </a:cxn>
                  <a:cxn ang="0">
                    <a:pos x="100" y="48"/>
                  </a:cxn>
                  <a:cxn ang="0">
                    <a:pos x="105" y="63"/>
                  </a:cxn>
                  <a:cxn ang="0">
                    <a:pos x="107" y="69"/>
                  </a:cxn>
                  <a:cxn ang="0">
                    <a:pos x="102" y="76"/>
                  </a:cxn>
                  <a:cxn ang="0">
                    <a:pos x="92" y="91"/>
                  </a:cxn>
                  <a:cxn ang="0">
                    <a:pos x="87" y="96"/>
                  </a:cxn>
                  <a:cxn ang="0">
                    <a:pos x="77" y="99"/>
                  </a:cxn>
                  <a:cxn ang="0">
                    <a:pos x="69" y="108"/>
                  </a:cxn>
                  <a:cxn ang="0">
                    <a:pos x="70" y="118"/>
                  </a:cxn>
                  <a:cxn ang="0">
                    <a:pos x="70" y="126"/>
                  </a:cxn>
                  <a:cxn ang="0">
                    <a:pos x="82" y="131"/>
                  </a:cxn>
                  <a:cxn ang="0">
                    <a:pos x="102" y="146"/>
                  </a:cxn>
                  <a:cxn ang="0">
                    <a:pos x="75" y="153"/>
                  </a:cxn>
                  <a:cxn ang="0">
                    <a:pos x="59" y="161"/>
                  </a:cxn>
                  <a:cxn ang="0">
                    <a:pos x="49" y="172"/>
                  </a:cxn>
                  <a:cxn ang="0">
                    <a:pos x="40" y="169"/>
                  </a:cxn>
                  <a:cxn ang="0">
                    <a:pos x="39" y="176"/>
                  </a:cxn>
                  <a:cxn ang="0">
                    <a:pos x="30" y="177"/>
                  </a:cxn>
                  <a:cxn ang="0">
                    <a:pos x="32" y="169"/>
                  </a:cxn>
                  <a:cxn ang="0">
                    <a:pos x="24" y="169"/>
                  </a:cxn>
                  <a:cxn ang="0">
                    <a:pos x="22" y="164"/>
                  </a:cxn>
                  <a:cxn ang="0">
                    <a:pos x="25" y="149"/>
                  </a:cxn>
                  <a:cxn ang="0">
                    <a:pos x="37" y="144"/>
                  </a:cxn>
                  <a:cxn ang="0">
                    <a:pos x="24" y="148"/>
                  </a:cxn>
                  <a:cxn ang="0">
                    <a:pos x="22" y="134"/>
                  </a:cxn>
                  <a:cxn ang="0">
                    <a:pos x="24" y="123"/>
                  </a:cxn>
                  <a:cxn ang="0">
                    <a:pos x="29" y="116"/>
                  </a:cxn>
                  <a:cxn ang="0">
                    <a:pos x="24" y="119"/>
                  </a:cxn>
                  <a:cxn ang="0">
                    <a:pos x="14" y="118"/>
                  </a:cxn>
                  <a:cxn ang="0">
                    <a:pos x="7" y="118"/>
                  </a:cxn>
                  <a:cxn ang="0">
                    <a:pos x="2" y="113"/>
                  </a:cxn>
                  <a:cxn ang="0">
                    <a:pos x="0" y="111"/>
                  </a:cxn>
                </a:cxnLst>
                <a:rect l="0" t="0" r="r" b="b"/>
                <a:pathLst>
                  <a:path w="115" h="177">
                    <a:moveTo>
                      <a:pt x="0" y="111"/>
                    </a:moveTo>
                    <a:lnTo>
                      <a:pt x="0" y="99"/>
                    </a:lnTo>
                    <a:lnTo>
                      <a:pt x="5" y="94"/>
                    </a:lnTo>
                    <a:lnTo>
                      <a:pt x="9" y="88"/>
                    </a:lnTo>
                    <a:lnTo>
                      <a:pt x="9" y="84"/>
                    </a:lnTo>
                    <a:lnTo>
                      <a:pt x="15" y="81"/>
                    </a:lnTo>
                    <a:lnTo>
                      <a:pt x="19" y="74"/>
                    </a:lnTo>
                    <a:lnTo>
                      <a:pt x="24" y="71"/>
                    </a:lnTo>
                    <a:lnTo>
                      <a:pt x="29" y="61"/>
                    </a:lnTo>
                    <a:lnTo>
                      <a:pt x="30" y="58"/>
                    </a:lnTo>
                    <a:lnTo>
                      <a:pt x="30" y="55"/>
                    </a:lnTo>
                    <a:lnTo>
                      <a:pt x="30" y="48"/>
                    </a:lnTo>
                    <a:lnTo>
                      <a:pt x="35" y="43"/>
                    </a:lnTo>
                    <a:lnTo>
                      <a:pt x="39" y="50"/>
                    </a:lnTo>
                    <a:lnTo>
                      <a:pt x="44" y="51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5" y="55"/>
                    </a:lnTo>
                    <a:lnTo>
                      <a:pt x="65" y="53"/>
                    </a:lnTo>
                    <a:lnTo>
                      <a:pt x="72" y="55"/>
                    </a:lnTo>
                    <a:lnTo>
                      <a:pt x="75" y="48"/>
                    </a:lnTo>
                    <a:lnTo>
                      <a:pt x="75" y="45"/>
                    </a:lnTo>
                    <a:lnTo>
                      <a:pt x="70" y="40"/>
                    </a:lnTo>
                    <a:lnTo>
                      <a:pt x="64" y="36"/>
                    </a:lnTo>
                    <a:lnTo>
                      <a:pt x="69" y="35"/>
                    </a:lnTo>
                    <a:lnTo>
                      <a:pt x="74" y="35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7" y="18"/>
                    </a:lnTo>
                    <a:lnTo>
                      <a:pt x="92" y="16"/>
                    </a:lnTo>
                    <a:lnTo>
                      <a:pt x="93" y="13"/>
                    </a:lnTo>
                    <a:lnTo>
                      <a:pt x="92" y="10"/>
                    </a:lnTo>
                    <a:lnTo>
                      <a:pt x="92" y="5"/>
                    </a:lnTo>
                    <a:lnTo>
                      <a:pt x="92" y="0"/>
                    </a:lnTo>
                    <a:lnTo>
                      <a:pt x="95" y="0"/>
                    </a:lnTo>
                    <a:lnTo>
                      <a:pt x="100" y="3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10" y="10"/>
                    </a:lnTo>
                    <a:lnTo>
                      <a:pt x="115" y="18"/>
                    </a:lnTo>
                    <a:lnTo>
                      <a:pt x="113" y="18"/>
                    </a:lnTo>
                    <a:lnTo>
                      <a:pt x="107" y="25"/>
                    </a:lnTo>
                    <a:lnTo>
                      <a:pt x="103" y="25"/>
                    </a:lnTo>
                    <a:lnTo>
                      <a:pt x="103" y="30"/>
                    </a:lnTo>
                    <a:lnTo>
                      <a:pt x="100" y="41"/>
                    </a:lnTo>
                    <a:lnTo>
                      <a:pt x="100" y="48"/>
                    </a:lnTo>
                    <a:lnTo>
                      <a:pt x="105" y="51"/>
                    </a:lnTo>
                    <a:lnTo>
                      <a:pt x="105" y="63"/>
                    </a:lnTo>
                    <a:lnTo>
                      <a:pt x="108" y="64"/>
                    </a:lnTo>
                    <a:lnTo>
                      <a:pt x="107" y="69"/>
                    </a:lnTo>
                    <a:lnTo>
                      <a:pt x="102" y="74"/>
                    </a:lnTo>
                    <a:lnTo>
                      <a:pt x="102" y="76"/>
                    </a:lnTo>
                    <a:lnTo>
                      <a:pt x="90" y="88"/>
                    </a:lnTo>
                    <a:lnTo>
                      <a:pt x="92" y="91"/>
                    </a:lnTo>
                    <a:lnTo>
                      <a:pt x="88" y="94"/>
                    </a:lnTo>
                    <a:lnTo>
                      <a:pt x="87" y="96"/>
                    </a:lnTo>
                    <a:lnTo>
                      <a:pt x="82" y="96"/>
                    </a:lnTo>
                    <a:lnTo>
                      <a:pt x="77" y="99"/>
                    </a:lnTo>
                    <a:lnTo>
                      <a:pt x="75" y="104"/>
                    </a:lnTo>
                    <a:lnTo>
                      <a:pt x="69" y="108"/>
                    </a:lnTo>
                    <a:lnTo>
                      <a:pt x="69" y="113"/>
                    </a:lnTo>
                    <a:lnTo>
                      <a:pt x="70" y="118"/>
                    </a:lnTo>
                    <a:lnTo>
                      <a:pt x="69" y="121"/>
                    </a:lnTo>
                    <a:lnTo>
                      <a:pt x="70" y="126"/>
                    </a:lnTo>
                    <a:lnTo>
                      <a:pt x="79" y="128"/>
                    </a:lnTo>
                    <a:lnTo>
                      <a:pt x="82" y="131"/>
                    </a:lnTo>
                    <a:lnTo>
                      <a:pt x="98" y="141"/>
                    </a:lnTo>
                    <a:lnTo>
                      <a:pt x="102" y="146"/>
                    </a:lnTo>
                    <a:lnTo>
                      <a:pt x="92" y="151"/>
                    </a:lnTo>
                    <a:lnTo>
                      <a:pt x="75" y="153"/>
                    </a:lnTo>
                    <a:lnTo>
                      <a:pt x="67" y="159"/>
                    </a:lnTo>
                    <a:lnTo>
                      <a:pt x="59" y="161"/>
                    </a:lnTo>
                    <a:lnTo>
                      <a:pt x="50" y="167"/>
                    </a:lnTo>
                    <a:lnTo>
                      <a:pt x="49" y="172"/>
                    </a:lnTo>
                    <a:lnTo>
                      <a:pt x="44" y="167"/>
                    </a:lnTo>
                    <a:lnTo>
                      <a:pt x="40" y="169"/>
                    </a:lnTo>
                    <a:lnTo>
                      <a:pt x="42" y="171"/>
                    </a:lnTo>
                    <a:lnTo>
                      <a:pt x="39" y="176"/>
                    </a:lnTo>
                    <a:lnTo>
                      <a:pt x="35" y="174"/>
                    </a:lnTo>
                    <a:lnTo>
                      <a:pt x="30" y="177"/>
                    </a:lnTo>
                    <a:lnTo>
                      <a:pt x="29" y="176"/>
                    </a:lnTo>
                    <a:lnTo>
                      <a:pt x="32" y="169"/>
                    </a:lnTo>
                    <a:lnTo>
                      <a:pt x="27" y="167"/>
                    </a:lnTo>
                    <a:lnTo>
                      <a:pt x="24" y="169"/>
                    </a:lnTo>
                    <a:lnTo>
                      <a:pt x="20" y="169"/>
                    </a:lnTo>
                    <a:lnTo>
                      <a:pt x="22" y="164"/>
                    </a:lnTo>
                    <a:lnTo>
                      <a:pt x="22" y="156"/>
                    </a:lnTo>
                    <a:lnTo>
                      <a:pt x="25" y="149"/>
                    </a:lnTo>
                    <a:lnTo>
                      <a:pt x="32" y="149"/>
                    </a:lnTo>
                    <a:lnTo>
                      <a:pt x="37" y="144"/>
                    </a:lnTo>
                    <a:lnTo>
                      <a:pt x="32" y="148"/>
                    </a:lnTo>
                    <a:lnTo>
                      <a:pt x="24" y="148"/>
                    </a:lnTo>
                    <a:lnTo>
                      <a:pt x="22" y="144"/>
                    </a:lnTo>
                    <a:lnTo>
                      <a:pt x="22" y="134"/>
                    </a:lnTo>
                    <a:lnTo>
                      <a:pt x="27" y="126"/>
                    </a:lnTo>
                    <a:lnTo>
                      <a:pt x="24" y="123"/>
                    </a:lnTo>
                    <a:lnTo>
                      <a:pt x="27" y="119"/>
                    </a:lnTo>
                    <a:lnTo>
                      <a:pt x="29" y="116"/>
                    </a:lnTo>
                    <a:lnTo>
                      <a:pt x="25" y="116"/>
                    </a:lnTo>
                    <a:lnTo>
                      <a:pt x="24" y="119"/>
                    </a:lnTo>
                    <a:lnTo>
                      <a:pt x="15" y="121"/>
                    </a:lnTo>
                    <a:lnTo>
                      <a:pt x="14" y="118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4" y="121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0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4" name="Freeform 10">
                <a:extLst>
                  <a:ext uri="{FF2B5EF4-FFF2-40B4-BE49-F238E27FC236}">
                    <a16:creationId xmlns:a16="http://schemas.microsoft.com/office/drawing/2014/main" id="{A2F4A49F-94DA-604C-B513-BAFA75890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64928" y="2564155"/>
                <a:ext cx="400273" cy="164977"/>
              </a:xfrm>
              <a:custGeom>
                <a:avLst/>
                <a:gdLst/>
                <a:ahLst/>
                <a:cxnLst>
                  <a:cxn ang="0">
                    <a:pos x="25" y="98"/>
                  </a:cxn>
                  <a:cxn ang="0">
                    <a:pos x="45" y="77"/>
                  </a:cxn>
                  <a:cxn ang="0">
                    <a:pos x="53" y="63"/>
                  </a:cxn>
                  <a:cxn ang="0">
                    <a:pos x="85" y="55"/>
                  </a:cxn>
                  <a:cxn ang="0">
                    <a:pos x="103" y="58"/>
                  </a:cxn>
                  <a:cxn ang="0">
                    <a:pos x="129" y="58"/>
                  </a:cxn>
                  <a:cxn ang="0">
                    <a:pos x="158" y="82"/>
                  </a:cxn>
                  <a:cxn ang="0">
                    <a:pos x="183" y="78"/>
                  </a:cxn>
                  <a:cxn ang="0">
                    <a:pos x="213" y="78"/>
                  </a:cxn>
                  <a:cxn ang="0">
                    <a:pos x="219" y="50"/>
                  </a:cxn>
                  <a:cxn ang="0">
                    <a:pos x="203" y="25"/>
                  </a:cxn>
                  <a:cxn ang="0">
                    <a:pos x="218" y="10"/>
                  </a:cxn>
                  <a:cxn ang="0">
                    <a:pos x="234" y="3"/>
                  </a:cxn>
                  <a:cxn ang="0">
                    <a:pos x="266" y="12"/>
                  </a:cxn>
                  <a:cxn ang="0">
                    <a:pos x="296" y="18"/>
                  </a:cxn>
                  <a:cxn ang="0">
                    <a:pos x="304" y="37"/>
                  </a:cxn>
                  <a:cxn ang="0">
                    <a:pos x="324" y="52"/>
                  </a:cxn>
                  <a:cxn ang="0">
                    <a:pos x="350" y="52"/>
                  </a:cxn>
                  <a:cxn ang="0">
                    <a:pos x="382" y="43"/>
                  </a:cxn>
                  <a:cxn ang="0">
                    <a:pos x="422" y="52"/>
                  </a:cxn>
                  <a:cxn ang="0">
                    <a:pos x="452" y="65"/>
                  </a:cxn>
                  <a:cxn ang="0">
                    <a:pos x="487" y="73"/>
                  </a:cxn>
                  <a:cxn ang="0">
                    <a:pos x="522" y="72"/>
                  </a:cxn>
                  <a:cxn ang="0">
                    <a:pos x="560" y="57"/>
                  </a:cxn>
                  <a:cxn ang="0">
                    <a:pos x="578" y="38"/>
                  </a:cxn>
                  <a:cxn ang="0">
                    <a:pos x="601" y="30"/>
                  </a:cxn>
                  <a:cxn ang="0">
                    <a:pos x="624" y="38"/>
                  </a:cxn>
                  <a:cxn ang="0">
                    <a:pos x="644" y="70"/>
                  </a:cxn>
                  <a:cxn ang="0">
                    <a:pos x="656" y="110"/>
                  </a:cxn>
                  <a:cxn ang="0">
                    <a:pos x="694" y="98"/>
                  </a:cxn>
                  <a:cxn ang="0">
                    <a:pos x="729" y="106"/>
                  </a:cxn>
                  <a:cxn ang="0">
                    <a:pos x="746" y="133"/>
                  </a:cxn>
                  <a:cxn ang="0">
                    <a:pos x="729" y="138"/>
                  </a:cxn>
                  <a:cxn ang="0">
                    <a:pos x="699" y="146"/>
                  </a:cxn>
                  <a:cxn ang="0">
                    <a:pos x="688" y="156"/>
                  </a:cxn>
                  <a:cxn ang="0">
                    <a:pos x="664" y="183"/>
                  </a:cxn>
                  <a:cxn ang="0">
                    <a:pos x="636" y="199"/>
                  </a:cxn>
                  <a:cxn ang="0">
                    <a:pos x="610" y="201"/>
                  </a:cxn>
                  <a:cxn ang="0">
                    <a:pos x="580" y="216"/>
                  </a:cxn>
                  <a:cxn ang="0">
                    <a:pos x="598" y="243"/>
                  </a:cxn>
                  <a:cxn ang="0">
                    <a:pos x="563" y="278"/>
                  </a:cxn>
                  <a:cxn ang="0">
                    <a:pos x="520" y="289"/>
                  </a:cxn>
                  <a:cxn ang="0">
                    <a:pos x="460" y="319"/>
                  </a:cxn>
                  <a:cxn ang="0">
                    <a:pos x="427" y="314"/>
                  </a:cxn>
                  <a:cxn ang="0">
                    <a:pos x="367" y="291"/>
                  </a:cxn>
                  <a:cxn ang="0">
                    <a:pos x="319" y="296"/>
                  </a:cxn>
                  <a:cxn ang="0">
                    <a:pos x="246" y="297"/>
                  </a:cxn>
                  <a:cxn ang="0">
                    <a:pos x="223" y="264"/>
                  </a:cxn>
                  <a:cxn ang="0">
                    <a:pos x="211" y="249"/>
                  </a:cxn>
                  <a:cxn ang="0">
                    <a:pos x="183" y="239"/>
                  </a:cxn>
                  <a:cxn ang="0">
                    <a:pos x="149" y="229"/>
                  </a:cxn>
                  <a:cxn ang="0">
                    <a:pos x="95" y="218"/>
                  </a:cxn>
                  <a:cxn ang="0">
                    <a:pos x="98" y="199"/>
                  </a:cxn>
                  <a:cxn ang="0">
                    <a:pos x="90" y="178"/>
                  </a:cxn>
                  <a:cxn ang="0">
                    <a:pos x="76" y="156"/>
                  </a:cxn>
                  <a:cxn ang="0">
                    <a:pos x="56" y="151"/>
                  </a:cxn>
                  <a:cxn ang="0">
                    <a:pos x="38" y="148"/>
                  </a:cxn>
                  <a:cxn ang="0">
                    <a:pos x="27" y="145"/>
                  </a:cxn>
                  <a:cxn ang="0">
                    <a:pos x="8" y="128"/>
                  </a:cxn>
                  <a:cxn ang="0">
                    <a:pos x="2" y="121"/>
                  </a:cxn>
                </a:cxnLst>
                <a:rect l="0" t="0" r="r" b="b"/>
                <a:pathLst>
                  <a:path w="747" h="319">
                    <a:moveTo>
                      <a:pt x="0" y="113"/>
                    </a:moveTo>
                    <a:lnTo>
                      <a:pt x="3" y="105"/>
                    </a:lnTo>
                    <a:lnTo>
                      <a:pt x="8" y="103"/>
                    </a:lnTo>
                    <a:lnTo>
                      <a:pt x="20" y="103"/>
                    </a:lnTo>
                    <a:lnTo>
                      <a:pt x="22" y="101"/>
                    </a:lnTo>
                    <a:lnTo>
                      <a:pt x="25" y="98"/>
                    </a:lnTo>
                    <a:lnTo>
                      <a:pt x="33" y="95"/>
                    </a:lnTo>
                    <a:lnTo>
                      <a:pt x="33" y="90"/>
                    </a:lnTo>
                    <a:lnTo>
                      <a:pt x="35" y="87"/>
                    </a:lnTo>
                    <a:lnTo>
                      <a:pt x="41" y="83"/>
                    </a:lnTo>
                    <a:lnTo>
                      <a:pt x="41" y="80"/>
                    </a:lnTo>
                    <a:lnTo>
                      <a:pt x="45" y="77"/>
                    </a:lnTo>
                    <a:lnTo>
                      <a:pt x="50" y="77"/>
                    </a:lnTo>
                    <a:lnTo>
                      <a:pt x="53" y="72"/>
                    </a:lnTo>
                    <a:lnTo>
                      <a:pt x="55" y="70"/>
                    </a:lnTo>
                    <a:lnTo>
                      <a:pt x="53" y="68"/>
                    </a:lnTo>
                    <a:lnTo>
                      <a:pt x="51" y="65"/>
                    </a:lnTo>
                    <a:lnTo>
                      <a:pt x="53" y="63"/>
                    </a:lnTo>
                    <a:lnTo>
                      <a:pt x="61" y="65"/>
                    </a:lnTo>
                    <a:lnTo>
                      <a:pt x="65" y="63"/>
                    </a:lnTo>
                    <a:lnTo>
                      <a:pt x="68" y="58"/>
                    </a:lnTo>
                    <a:lnTo>
                      <a:pt x="71" y="57"/>
                    </a:lnTo>
                    <a:lnTo>
                      <a:pt x="80" y="55"/>
                    </a:lnTo>
                    <a:lnTo>
                      <a:pt x="85" y="55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8" y="53"/>
                    </a:lnTo>
                    <a:lnTo>
                      <a:pt x="100" y="53"/>
                    </a:lnTo>
                    <a:lnTo>
                      <a:pt x="101" y="57"/>
                    </a:lnTo>
                    <a:lnTo>
                      <a:pt x="103" y="58"/>
                    </a:lnTo>
                    <a:lnTo>
                      <a:pt x="105" y="62"/>
                    </a:lnTo>
                    <a:lnTo>
                      <a:pt x="111" y="62"/>
                    </a:lnTo>
                    <a:lnTo>
                      <a:pt x="113" y="60"/>
                    </a:lnTo>
                    <a:lnTo>
                      <a:pt x="118" y="60"/>
                    </a:lnTo>
                    <a:lnTo>
                      <a:pt x="121" y="58"/>
                    </a:lnTo>
                    <a:lnTo>
                      <a:pt x="129" y="58"/>
                    </a:lnTo>
                    <a:lnTo>
                      <a:pt x="129" y="62"/>
                    </a:lnTo>
                    <a:lnTo>
                      <a:pt x="131" y="65"/>
                    </a:lnTo>
                    <a:lnTo>
                      <a:pt x="133" y="68"/>
                    </a:lnTo>
                    <a:lnTo>
                      <a:pt x="144" y="75"/>
                    </a:lnTo>
                    <a:lnTo>
                      <a:pt x="149" y="78"/>
                    </a:lnTo>
                    <a:lnTo>
                      <a:pt x="158" y="82"/>
                    </a:lnTo>
                    <a:lnTo>
                      <a:pt x="161" y="80"/>
                    </a:lnTo>
                    <a:lnTo>
                      <a:pt x="166" y="78"/>
                    </a:lnTo>
                    <a:lnTo>
                      <a:pt x="171" y="75"/>
                    </a:lnTo>
                    <a:lnTo>
                      <a:pt x="176" y="73"/>
                    </a:lnTo>
                    <a:lnTo>
                      <a:pt x="179" y="75"/>
                    </a:lnTo>
                    <a:lnTo>
                      <a:pt x="183" y="78"/>
                    </a:lnTo>
                    <a:lnTo>
                      <a:pt x="188" y="77"/>
                    </a:lnTo>
                    <a:lnTo>
                      <a:pt x="198" y="77"/>
                    </a:lnTo>
                    <a:lnTo>
                      <a:pt x="201" y="78"/>
                    </a:lnTo>
                    <a:lnTo>
                      <a:pt x="206" y="78"/>
                    </a:lnTo>
                    <a:lnTo>
                      <a:pt x="208" y="77"/>
                    </a:lnTo>
                    <a:lnTo>
                      <a:pt x="213" y="78"/>
                    </a:lnTo>
                    <a:lnTo>
                      <a:pt x="219" y="77"/>
                    </a:lnTo>
                    <a:lnTo>
                      <a:pt x="224" y="70"/>
                    </a:lnTo>
                    <a:lnTo>
                      <a:pt x="223" y="67"/>
                    </a:lnTo>
                    <a:lnTo>
                      <a:pt x="218" y="65"/>
                    </a:lnTo>
                    <a:lnTo>
                      <a:pt x="218" y="58"/>
                    </a:lnTo>
                    <a:lnTo>
                      <a:pt x="219" y="50"/>
                    </a:lnTo>
                    <a:lnTo>
                      <a:pt x="218" y="48"/>
                    </a:lnTo>
                    <a:lnTo>
                      <a:pt x="213" y="47"/>
                    </a:lnTo>
                    <a:lnTo>
                      <a:pt x="211" y="43"/>
                    </a:lnTo>
                    <a:lnTo>
                      <a:pt x="204" y="42"/>
                    </a:lnTo>
                    <a:lnTo>
                      <a:pt x="203" y="37"/>
                    </a:lnTo>
                    <a:lnTo>
                      <a:pt x="203" y="25"/>
                    </a:lnTo>
                    <a:lnTo>
                      <a:pt x="208" y="20"/>
                    </a:lnTo>
                    <a:lnTo>
                      <a:pt x="208" y="17"/>
                    </a:lnTo>
                    <a:lnTo>
                      <a:pt x="209" y="13"/>
                    </a:lnTo>
                    <a:lnTo>
                      <a:pt x="214" y="12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16" y="5"/>
                    </a:lnTo>
                    <a:lnTo>
                      <a:pt x="218" y="2"/>
                    </a:lnTo>
                    <a:lnTo>
                      <a:pt x="219" y="0"/>
                    </a:lnTo>
                    <a:lnTo>
                      <a:pt x="224" y="0"/>
                    </a:lnTo>
                    <a:lnTo>
                      <a:pt x="227" y="2"/>
                    </a:lnTo>
                    <a:lnTo>
                      <a:pt x="234" y="3"/>
                    </a:lnTo>
                    <a:lnTo>
                      <a:pt x="241" y="7"/>
                    </a:lnTo>
                    <a:lnTo>
                      <a:pt x="241" y="8"/>
                    </a:lnTo>
                    <a:lnTo>
                      <a:pt x="247" y="10"/>
                    </a:lnTo>
                    <a:lnTo>
                      <a:pt x="252" y="10"/>
                    </a:lnTo>
                    <a:lnTo>
                      <a:pt x="262" y="10"/>
                    </a:lnTo>
                    <a:lnTo>
                      <a:pt x="266" y="12"/>
                    </a:lnTo>
                    <a:lnTo>
                      <a:pt x="267" y="13"/>
                    </a:lnTo>
                    <a:lnTo>
                      <a:pt x="274" y="15"/>
                    </a:lnTo>
                    <a:lnTo>
                      <a:pt x="277" y="17"/>
                    </a:lnTo>
                    <a:lnTo>
                      <a:pt x="281" y="17"/>
                    </a:lnTo>
                    <a:lnTo>
                      <a:pt x="292" y="17"/>
                    </a:lnTo>
                    <a:lnTo>
                      <a:pt x="296" y="18"/>
                    </a:lnTo>
                    <a:lnTo>
                      <a:pt x="297" y="22"/>
                    </a:lnTo>
                    <a:lnTo>
                      <a:pt x="297" y="23"/>
                    </a:lnTo>
                    <a:lnTo>
                      <a:pt x="299" y="27"/>
                    </a:lnTo>
                    <a:lnTo>
                      <a:pt x="299" y="30"/>
                    </a:lnTo>
                    <a:lnTo>
                      <a:pt x="302" y="32"/>
                    </a:lnTo>
                    <a:lnTo>
                      <a:pt x="304" y="37"/>
                    </a:lnTo>
                    <a:lnTo>
                      <a:pt x="304" y="42"/>
                    </a:lnTo>
                    <a:lnTo>
                      <a:pt x="307" y="43"/>
                    </a:lnTo>
                    <a:lnTo>
                      <a:pt x="311" y="43"/>
                    </a:lnTo>
                    <a:lnTo>
                      <a:pt x="316" y="48"/>
                    </a:lnTo>
                    <a:lnTo>
                      <a:pt x="316" y="50"/>
                    </a:lnTo>
                    <a:lnTo>
                      <a:pt x="324" y="52"/>
                    </a:lnTo>
                    <a:lnTo>
                      <a:pt x="330" y="55"/>
                    </a:lnTo>
                    <a:lnTo>
                      <a:pt x="334" y="55"/>
                    </a:lnTo>
                    <a:lnTo>
                      <a:pt x="335" y="53"/>
                    </a:lnTo>
                    <a:lnTo>
                      <a:pt x="344" y="55"/>
                    </a:lnTo>
                    <a:lnTo>
                      <a:pt x="347" y="52"/>
                    </a:lnTo>
                    <a:lnTo>
                      <a:pt x="350" y="52"/>
                    </a:lnTo>
                    <a:lnTo>
                      <a:pt x="354" y="53"/>
                    </a:lnTo>
                    <a:lnTo>
                      <a:pt x="357" y="53"/>
                    </a:lnTo>
                    <a:lnTo>
                      <a:pt x="360" y="48"/>
                    </a:lnTo>
                    <a:lnTo>
                      <a:pt x="367" y="47"/>
                    </a:lnTo>
                    <a:lnTo>
                      <a:pt x="377" y="45"/>
                    </a:lnTo>
                    <a:lnTo>
                      <a:pt x="382" y="43"/>
                    </a:lnTo>
                    <a:lnTo>
                      <a:pt x="389" y="43"/>
                    </a:lnTo>
                    <a:lnTo>
                      <a:pt x="395" y="42"/>
                    </a:lnTo>
                    <a:lnTo>
                      <a:pt x="400" y="43"/>
                    </a:lnTo>
                    <a:lnTo>
                      <a:pt x="407" y="45"/>
                    </a:lnTo>
                    <a:lnTo>
                      <a:pt x="417" y="45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7" y="53"/>
                    </a:lnTo>
                    <a:lnTo>
                      <a:pt x="442" y="53"/>
                    </a:lnTo>
                    <a:lnTo>
                      <a:pt x="445" y="55"/>
                    </a:lnTo>
                    <a:lnTo>
                      <a:pt x="447" y="62"/>
                    </a:lnTo>
                    <a:lnTo>
                      <a:pt x="452" y="65"/>
                    </a:lnTo>
                    <a:lnTo>
                      <a:pt x="455" y="67"/>
                    </a:lnTo>
                    <a:lnTo>
                      <a:pt x="458" y="67"/>
                    </a:lnTo>
                    <a:lnTo>
                      <a:pt x="462" y="72"/>
                    </a:lnTo>
                    <a:lnTo>
                      <a:pt x="467" y="72"/>
                    </a:lnTo>
                    <a:lnTo>
                      <a:pt x="477" y="70"/>
                    </a:lnTo>
                    <a:lnTo>
                      <a:pt x="487" y="73"/>
                    </a:lnTo>
                    <a:lnTo>
                      <a:pt x="502" y="73"/>
                    </a:lnTo>
                    <a:lnTo>
                      <a:pt x="507" y="72"/>
                    </a:lnTo>
                    <a:lnTo>
                      <a:pt x="510" y="70"/>
                    </a:lnTo>
                    <a:lnTo>
                      <a:pt x="515" y="70"/>
                    </a:lnTo>
                    <a:lnTo>
                      <a:pt x="520" y="72"/>
                    </a:lnTo>
                    <a:lnTo>
                      <a:pt x="522" y="72"/>
                    </a:lnTo>
                    <a:lnTo>
                      <a:pt x="526" y="67"/>
                    </a:lnTo>
                    <a:lnTo>
                      <a:pt x="535" y="62"/>
                    </a:lnTo>
                    <a:lnTo>
                      <a:pt x="541" y="62"/>
                    </a:lnTo>
                    <a:lnTo>
                      <a:pt x="545" y="58"/>
                    </a:lnTo>
                    <a:lnTo>
                      <a:pt x="548" y="57"/>
                    </a:lnTo>
                    <a:lnTo>
                      <a:pt x="560" y="57"/>
                    </a:lnTo>
                    <a:lnTo>
                      <a:pt x="565" y="53"/>
                    </a:lnTo>
                    <a:lnTo>
                      <a:pt x="566" y="50"/>
                    </a:lnTo>
                    <a:lnTo>
                      <a:pt x="566" y="47"/>
                    </a:lnTo>
                    <a:lnTo>
                      <a:pt x="570" y="43"/>
                    </a:lnTo>
                    <a:lnTo>
                      <a:pt x="575" y="42"/>
                    </a:lnTo>
                    <a:lnTo>
                      <a:pt x="578" y="38"/>
                    </a:lnTo>
                    <a:lnTo>
                      <a:pt x="580" y="33"/>
                    </a:lnTo>
                    <a:lnTo>
                      <a:pt x="583" y="30"/>
                    </a:lnTo>
                    <a:lnTo>
                      <a:pt x="588" y="30"/>
                    </a:lnTo>
                    <a:lnTo>
                      <a:pt x="590" y="32"/>
                    </a:lnTo>
                    <a:lnTo>
                      <a:pt x="596" y="30"/>
                    </a:lnTo>
                    <a:lnTo>
                      <a:pt x="601" y="30"/>
                    </a:lnTo>
                    <a:lnTo>
                      <a:pt x="606" y="33"/>
                    </a:lnTo>
                    <a:lnTo>
                      <a:pt x="610" y="37"/>
                    </a:lnTo>
                    <a:lnTo>
                      <a:pt x="613" y="38"/>
                    </a:lnTo>
                    <a:lnTo>
                      <a:pt x="618" y="37"/>
                    </a:lnTo>
                    <a:lnTo>
                      <a:pt x="620" y="38"/>
                    </a:lnTo>
                    <a:lnTo>
                      <a:pt x="624" y="38"/>
                    </a:lnTo>
                    <a:lnTo>
                      <a:pt x="629" y="35"/>
                    </a:lnTo>
                    <a:lnTo>
                      <a:pt x="629" y="32"/>
                    </a:lnTo>
                    <a:lnTo>
                      <a:pt x="638" y="32"/>
                    </a:lnTo>
                    <a:lnTo>
                      <a:pt x="646" y="33"/>
                    </a:lnTo>
                    <a:lnTo>
                      <a:pt x="649" y="37"/>
                    </a:lnTo>
                    <a:lnTo>
                      <a:pt x="644" y="70"/>
                    </a:lnTo>
                    <a:lnTo>
                      <a:pt x="646" y="78"/>
                    </a:lnTo>
                    <a:lnTo>
                      <a:pt x="643" y="83"/>
                    </a:lnTo>
                    <a:lnTo>
                      <a:pt x="644" y="88"/>
                    </a:lnTo>
                    <a:lnTo>
                      <a:pt x="641" y="98"/>
                    </a:lnTo>
                    <a:lnTo>
                      <a:pt x="644" y="105"/>
                    </a:lnTo>
                    <a:lnTo>
                      <a:pt x="656" y="110"/>
                    </a:lnTo>
                    <a:lnTo>
                      <a:pt x="664" y="105"/>
                    </a:lnTo>
                    <a:lnTo>
                      <a:pt x="674" y="105"/>
                    </a:lnTo>
                    <a:lnTo>
                      <a:pt x="684" y="106"/>
                    </a:lnTo>
                    <a:lnTo>
                      <a:pt x="689" y="110"/>
                    </a:lnTo>
                    <a:lnTo>
                      <a:pt x="694" y="101"/>
                    </a:lnTo>
                    <a:lnTo>
                      <a:pt x="694" y="98"/>
                    </a:lnTo>
                    <a:lnTo>
                      <a:pt x="694" y="93"/>
                    </a:lnTo>
                    <a:lnTo>
                      <a:pt x="701" y="92"/>
                    </a:lnTo>
                    <a:lnTo>
                      <a:pt x="704" y="90"/>
                    </a:lnTo>
                    <a:lnTo>
                      <a:pt x="714" y="92"/>
                    </a:lnTo>
                    <a:lnTo>
                      <a:pt x="721" y="100"/>
                    </a:lnTo>
                    <a:lnTo>
                      <a:pt x="729" y="106"/>
                    </a:lnTo>
                    <a:lnTo>
                      <a:pt x="736" y="115"/>
                    </a:lnTo>
                    <a:lnTo>
                      <a:pt x="746" y="120"/>
                    </a:lnTo>
                    <a:lnTo>
                      <a:pt x="746" y="123"/>
                    </a:lnTo>
                    <a:lnTo>
                      <a:pt x="747" y="126"/>
                    </a:lnTo>
                    <a:lnTo>
                      <a:pt x="747" y="131"/>
                    </a:lnTo>
                    <a:lnTo>
                      <a:pt x="746" y="133"/>
                    </a:lnTo>
                    <a:lnTo>
                      <a:pt x="746" y="136"/>
                    </a:lnTo>
                    <a:lnTo>
                      <a:pt x="744" y="138"/>
                    </a:lnTo>
                    <a:lnTo>
                      <a:pt x="739" y="138"/>
                    </a:lnTo>
                    <a:lnTo>
                      <a:pt x="737" y="136"/>
                    </a:lnTo>
                    <a:lnTo>
                      <a:pt x="732" y="136"/>
                    </a:lnTo>
                    <a:lnTo>
                      <a:pt x="729" y="138"/>
                    </a:lnTo>
                    <a:lnTo>
                      <a:pt x="722" y="136"/>
                    </a:lnTo>
                    <a:lnTo>
                      <a:pt x="719" y="136"/>
                    </a:lnTo>
                    <a:lnTo>
                      <a:pt x="714" y="141"/>
                    </a:lnTo>
                    <a:lnTo>
                      <a:pt x="708" y="146"/>
                    </a:lnTo>
                    <a:lnTo>
                      <a:pt x="704" y="150"/>
                    </a:lnTo>
                    <a:lnTo>
                      <a:pt x="699" y="146"/>
                    </a:lnTo>
                    <a:lnTo>
                      <a:pt x="698" y="146"/>
                    </a:lnTo>
                    <a:lnTo>
                      <a:pt x="698" y="151"/>
                    </a:lnTo>
                    <a:lnTo>
                      <a:pt x="696" y="153"/>
                    </a:lnTo>
                    <a:lnTo>
                      <a:pt x="693" y="153"/>
                    </a:lnTo>
                    <a:lnTo>
                      <a:pt x="689" y="153"/>
                    </a:lnTo>
                    <a:lnTo>
                      <a:pt x="688" y="156"/>
                    </a:lnTo>
                    <a:lnTo>
                      <a:pt x="684" y="161"/>
                    </a:lnTo>
                    <a:lnTo>
                      <a:pt x="683" y="168"/>
                    </a:lnTo>
                    <a:lnTo>
                      <a:pt x="683" y="173"/>
                    </a:lnTo>
                    <a:lnTo>
                      <a:pt x="681" y="176"/>
                    </a:lnTo>
                    <a:lnTo>
                      <a:pt x="674" y="176"/>
                    </a:lnTo>
                    <a:lnTo>
                      <a:pt x="664" y="183"/>
                    </a:lnTo>
                    <a:lnTo>
                      <a:pt x="659" y="183"/>
                    </a:lnTo>
                    <a:lnTo>
                      <a:pt x="653" y="183"/>
                    </a:lnTo>
                    <a:lnTo>
                      <a:pt x="649" y="185"/>
                    </a:lnTo>
                    <a:lnTo>
                      <a:pt x="646" y="193"/>
                    </a:lnTo>
                    <a:lnTo>
                      <a:pt x="641" y="196"/>
                    </a:lnTo>
                    <a:lnTo>
                      <a:pt x="636" y="199"/>
                    </a:lnTo>
                    <a:lnTo>
                      <a:pt x="633" y="203"/>
                    </a:lnTo>
                    <a:lnTo>
                      <a:pt x="631" y="206"/>
                    </a:lnTo>
                    <a:lnTo>
                      <a:pt x="628" y="206"/>
                    </a:lnTo>
                    <a:lnTo>
                      <a:pt x="623" y="204"/>
                    </a:lnTo>
                    <a:lnTo>
                      <a:pt x="618" y="203"/>
                    </a:lnTo>
                    <a:lnTo>
                      <a:pt x="610" y="201"/>
                    </a:lnTo>
                    <a:lnTo>
                      <a:pt x="605" y="198"/>
                    </a:lnTo>
                    <a:lnTo>
                      <a:pt x="598" y="196"/>
                    </a:lnTo>
                    <a:lnTo>
                      <a:pt x="588" y="199"/>
                    </a:lnTo>
                    <a:lnTo>
                      <a:pt x="583" y="203"/>
                    </a:lnTo>
                    <a:lnTo>
                      <a:pt x="580" y="208"/>
                    </a:lnTo>
                    <a:lnTo>
                      <a:pt x="580" y="216"/>
                    </a:lnTo>
                    <a:lnTo>
                      <a:pt x="580" y="221"/>
                    </a:lnTo>
                    <a:lnTo>
                      <a:pt x="580" y="224"/>
                    </a:lnTo>
                    <a:lnTo>
                      <a:pt x="590" y="231"/>
                    </a:lnTo>
                    <a:lnTo>
                      <a:pt x="600" y="236"/>
                    </a:lnTo>
                    <a:lnTo>
                      <a:pt x="600" y="239"/>
                    </a:lnTo>
                    <a:lnTo>
                      <a:pt x="598" y="243"/>
                    </a:lnTo>
                    <a:lnTo>
                      <a:pt x="595" y="248"/>
                    </a:lnTo>
                    <a:lnTo>
                      <a:pt x="585" y="258"/>
                    </a:lnTo>
                    <a:lnTo>
                      <a:pt x="578" y="268"/>
                    </a:lnTo>
                    <a:lnTo>
                      <a:pt x="575" y="274"/>
                    </a:lnTo>
                    <a:lnTo>
                      <a:pt x="570" y="274"/>
                    </a:lnTo>
                    <a:lnTo>
                      <a:pt x="563" y="278"/>
                    </a:lnTo>
                    <a:lnTo>
                      <a:pt x="556" y="278"/>
                    </a:lnTo>
                    <a:lnTo>
                      <a:pt x="550" y="281"/>
                    </a:lnTo>
                    <a:lnTo>
                      <a:pt x="543" y="286"/>
                    </a:lnTo>
                    <a:lnTo>
                      <a:pt x="536" y="286"/>
                    </a:lnTo>
                    <a:lnTo>
                      <a:pt x="526" y="288"/>
                    </a:lnTo>
                    <a:lnTo>
                      <a:pt x="520" y="289"/>
                    </a:lnTo>
                    <a:lnTo>
                      <a:pt x="512" y="291"/>
                    </a:lnTo>
                    <a:lnTo>
                      <a:pt x="495" y="296"/>
                    </a:lnTo>
                    <a:lnTo>
                      <a:pt x="482" y="301"/>
                    </a:lnTo>
                    <a:lnTo>
                      <a:pt x="475" y="307"/>
                    </a:lnTo>
                    <a:lnTo>
                      <a:pt x="463" y="316"/>
                    </a:lnTo>
                    <a:lnTo>
                      <a:pt x="460" y="319"/>
                    </a:lnTo>
                    <a:lnTo>
                      <a:pt x="453" y="319"/>
                    </a:lnTo>
                    <a:lnTo>
                      <a:pt x="447" y="317"/>
                    </a:lnTo>
                    <a:lnTo>
                      <a:pt x="447" y="314"/>
                    </a:lnTo>
                    <a:lnTo>
                      <a:pt x="445" y="311"/>
                    </a:lnTo>
                    <a:lnTo>
                      <a:pt x="435" y="314"/>
                    </a:lnTo>
                    <a:lnTo>
                      <a:pt x="427" y="314"/>
                    </a:lnTo>
                    <a:lnTo>
                      <a:pt x="419" y="311"/>
                    </a:lnTo>
                    <a:lnTo>
                      <a:pt x="412" y="311"/>
                    </a:lnTo>
                    <a:lnTo>
                      <a:pt x="397" y="304"/>
                    </a:lnTo>
                    <a:lnTo>
                      <a:pt x="380" y="299"/>
                    </a:lnTo>
                    <a:lnTo>
                      <a:pt x="374" y="291"/>
                    </a:lnTo>
                    <a:lnTo>
                      <a:pt x="367" y="291"/>
                    </a:lnTo>
                    <a:lnTo>
                      <a:pt x="349" y="289"/>
                    </a:lnTo>
                    <a:lnTo>
                      <a:pt x="334" y="289"/>
                    </a:lnTo>
                    <a:lnTo>
                      <a:pt x="330" y="289"/>
                    </a:lnTo>
                    <a:lnTo>
                      <a:pt x="327" y="291"/>
                    </a:lnTo>
                    <a:lnTo>
                      <a:pt x="327" y="293"/>
                    </a:lnTo>
                    <a:lnTo>
                      <a:pt x="319" y="296"/>
                    </a:lnTo>
                    <a:lnTo>
                      <a:pt x="307" y="297"/>
                    </a:lnTo>
                    <a:lnTo>
                      <a:pt x="287" y="296"/>
                    </a:lnTo>
                    <a:lnTo>
                      <a:pt x="272" y="296"/>
                    </a:lnTo>
                    <a:lnTo>
                      <a:pt x="261" y="296"/>
                    </a:lnTo>
                    <a:lnTo>
                      <a:pt x="251" y="296"/>
                    </a:lnTo>
                    <a:lnTo>
                      <a:pt x="246" y="297"/>
                    </a:lnTo>
                    <a:lnTo>
                      <a:pt x="242" y="296"/>
                    </a:lnTo>
                    <a:lnTo>
                      <a:pt x="237" y="286"/>
                    </a:lnTo>
                    <a:lnTo>
                      <a:pt x="234" y="281"/>
                    </a:lnTo>
                    <a:lnTo>
                      <a:pt x="229" y="274"/>
                    </a:lnTo>
                    <a:lnTo>
                      <a:pt x="226" y="269"/>
                    </a:lnTo>
                    <a:lnTo>
                      <a:pt x="223" y="264"/>
                    </a:lnTo>
                    <a:lnTo>
                      <a:pt x="223" y="261"/>
                    </a:lnTo>
                    <a:lnTo>
                      <a:pt x="219" y="258"/>
                    </a:lnTo>
                    <a:lnTo>
                      <a:pt x="216" y="256"/>
                    </a:lnTo>
                    <a:lnTo>
                      <a:pt x="213" y="256"/>
                    </a:lnTo>
                    <a:lnTo>
                      <a:pt x="213" y="254"/>
                    </a:lnTo>
                    <a:lnTo>
                      <a:pt x="211" y="249"/>
                    </a:lnTo>
                    <a:lnTo>
                      <a:pt x="209" y="249"/>
                    </a:lnTo>
                    <a:lnTo>
                      <a:pt x="208" y="249"/>
                    </a:lnTo>
                    <a:lnTo>
                      <a:pt x="201" y="249"/>
                    </a:lnTo>
                    <a:lnTo>
                      <a:pt x="194" y="246"/>
                    </a:lnTo>
                    <a:lnTo>
                      <a:pt x="186" y="241"/>
                    </a:lnTo>
                    <a:lnTo>
                      <a:pt x="183" y="239"/>
                    </a:lnTo>
                    <a:lnTo>
                      <a:pt x="181" y="239"/>
                    </a:lnTo>
                    <a:lnTo>
                      <a:pt x="176" y="239"/>
                    </a:lnTo>
                    <a:lnTo>
                      <a:pt x="174" y="238"/>
                    </a:lnTo>
                    <a:lnTo>
                      <a:pt x="166" y="233"/>
                    </a:lnTo>
                    <a:lnTo>
                      <a:pt x="151" y="229"/>
                    </a:lnTo>
                    <a:lnTo>
                      <a:pt x="149" y="229"/>
                    </a:lnTo>
                    <a:lnTo>
                      <a:pt x="146" y="231"/>
                    </a:lnTo>
                    <a:lnTo>
                      <a:pt x="139" y="231"/>
                    </a:lnTo>
                    <a:lnTo>
                      <a:pt x="129" y="233"/>
                    </a:lnTo>
                    <a:lnTo>
                      <a:pt x="106" y="228"/>
                    </a:lnTo>
                    <a:lnTo>
                      <a:pt x="101" y="224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5" y="211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1" y="201"/>
                    </a:lnTo>
                    <a:lnTo>
                      <a:pt x="98" y="199"/>
                    </a:lnTo>
                    <a:lnTo>
                      <a:pt x="96" y="193"/>
                    </a:lnTo>
                    <a:lnTo>
                      <a:pt x="98" y="191"/>
                    </a:lnTo>
                    <a:lnTo>
                      <a:pt x="98" y="186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0" y="178"/>
                    </a:lnTo>
                    <a:lnTo>
                      <a:pt x="85" y="175"/>
                    </a:lnTo>
                    <a:lnTo>
                      <a:pt x="83" y="171"/>
                    </a:lnTo>
                    <a:lnTo>
                      <a:pt x="81" y="168"/>
                    </a:lnTo>
                    <a:lnTo>
                      <a:pt x="80" y="163"/>
                    </a:lnTo>
                    <a:lnTo>
                      <a:pt x="80" y="160"/>
                    </a:lnTo>
                    <a:lnTo>
                      <a:pt x="76" y="156"/>
                    </a:lnTo>
                    <a:lnTo>
                      <a:pt x="73" y="153"/>
                    </a:lnTo>
                    <a:lnTo>
                      <a:pt x="70" y="153"/>
                    </a:lnTo>
                    <a:lnTo>
                      <a:pt x="66" y="150"/>
                    </a:lnTo>
                    <a:lnTo>
                      <a:pt x="63" y="148"/>
                    </a:lnTo>
                    <a:lnTo>
                      <a:pt x="60" y="148"/>
                    </a:lnTo>
                    <a:lnTo>
                      <a:pt x="56" y="151"/>
                    </a:lnTo>
                    <a:lnTo>
                      <a:pt x="55" y="151"/>
                    </a:lnTo>
                    <a:lnTo>
                      <a:pt x="51" y="151"/>
                    </a:lnTo>
                    <a:lnTo>
                      <a:pt x="48" y="146"/>
                    </a:lnTo>
                    <a:lnTo>
                      <a:pt x="46" y="145"/>
                    </a:lnTo>
                    <a:lnTo>
                      <a:pt x="41" y="145"/>
                    </a:lnTo>
                    <a:lnTo>
                      <a:pt x="38" y="148"/>
                    </a:lnTo>
                    <a:lnTo>
                      <a:pt x="35" y="150"/>
                    </a:lnTo>
                    <a:lnTo>
                      <a:pt x="35" y="151"/>
                    </a:lnTo>
                    <a:lnTo>
                      <a:pt x="33" y="151"/>
                    </a:lnTo>
                    <a:lnTo>
                      <a:pt x="28" y="150"/>
                    </a:lnTo>
                    <a:lnTo>
                      <a:pt x="27" y="146"/>
                    </a:lnTo>
                    <a:lnTo>
                      <a:pt x="27" y="145"/>
                    </a:lnTo>
                    <a:lnTo>
                      <a:pt x="23" y="140"/>
                    </a:lnTo>
                    <a:lnTo>
                      <a:pt x="18" y="138"/>
                    </a:lnTo>
                    <a:lnTo>
                      <a:pt x="15" y="135"/>
                    </a:lnTo>
                    <a:lnTo>
                      <a:pt x="12" y="133"/>
                    </a:lnTo>
                    <a:lnTo>
                      <a:pt x="10" y="131"/>
                    </a:lnTo>
                    <a:lnTo>
                      <a:pt x="8" y="128"/>
                    </a:lnTo>
                    <a:lnTo>
                      <a:pt x="8" y="125"/>
                    </a:lnTo>
                    <a:lnTo>
                      <a:pt x="7" y="123"/>
                    </a:lnTo>
                    <a:lnTo>
                      <a:pt x="5" y="123"/>
                    </a:lnTo>
                    <a:lnTo>
                      <a:pt x="5" y="125"/>
                    </a:lnTo>
                    <a:lnTo>
                      <a:pt x="3" y="125"/>
                    </a:lnTo>
                    <a:lnTo>
                      <a:pt x="2" y="121"/>
                    </a:lnTo>
                    <a:lnTo>
                      <a:pt x="0" y="121"/>
                    </a:lnTo>
                    <a:lnTo>
                      <a:pt x="0" y="116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5" name="Freeform 11">
                <a:extLst>
                  <a:ext uri="{FF2B5EF4-FFF2-40B4-BE49-F238E27FC236}">
                    <a16:creationId xmlns:a16="http://schemas.microsoft.com/office/drawing/2014/main" id="{8DD7401F-9C25-ED41-A1CE-B0AAFCC7B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263" y="2534064"/>
                <a:ext cx="493384" cy="226194"/>
              </a:xfrm>
              <a:custGeom>
                <a:avLst/>
                <a:gdLst/>
                <a:ahLst/>
                <a:cxnLst>
                  <a:cxn ang="0">
                    <a:pos x="23" y="254"/>
                  </a:cxn>
                  <a:cxn ang="0">
                    <a:pos x="1" y="203"/>
                  </a:cxn>
                  <a:cxn ang="0">
                    <a:pos x="45" y="196"/>
                  </a:cxn>
                  <a:cxn ang="0">
                    <a:pos x="66" y="156"/>
                  </a:cxn>
                  <a:cxn ang="0">
                    <a:pos x="89" y="148"/>
                  </a:cxn>
                  <a:cxn ang="0">
                    <a:pos x="106" y="145"/>
                  </a:cxn>
                  <a:cxn ang="0">
                    <a:pos x="146" y="156"/>
                  </a:cxn>
                  <a:cxn ang="0">
                    <a:pos x="174" y="164"/>
                  </a:cxn>
                  <a:cxn ang="0">
                    <a:pos x="209" y="156"/>
                  </a:cxn>
                  <a:cxn ang="0">
                    <a:pos x="242" y="156"/>
                  </a:cxn>
                  <a:cxn ang="0">
                    <a:pos x="265" y="168"/>
                  </a:cxn>
                  <a:cxn ang="0">
                    <a:pos x="310" y="166"/>
                  </a:cxn>
                  <a:cxn ang="0">
                    <a:pos x="295" y="131"/>
                  </a:cxn>
                  <a:cxn ang="0">
                    <a:pos x="292" y="110"/>
                  </a:cxn>
                  <a:cxn ang="0">
                    <a:pos x="312" y="81"/>
                  </a:cxn>
                  <a:cxn ang="0">
                    <a:pos x="294" y="73"/>
                  </a:cxn>
                  <a:cxn ang="0">
                    <a:pos x="309" y="61"/>
                  </a:cxn>
                  <a:cxn ang="0">
                    <a:pos x="339" y="53"/>
                  </a:cxn>
                  <a:cxn ang="0">
                    <a:pos x="380" y="43"/>
                  </a:cxn>
                  <a:cxn ang="0">
                    <a:pos x="405" y="30"/>
                  </a:cxn>
                  <a:cxn ang="0">
                    <a:pos x="443" y="12"/>
                  </a:cxn>
                  <a:cxn ang="0">
                    <a:pos x="475" y="2"/>
                  </a:cxn>
                  <a:cxn ang="0">
                    <a:pos x="510" y="20"/>
                  </a:cxn>
                  <a:cxn ang="0">
                    <a:pos x="520" y="38"/>
                  </a:cxn>
                  <a:cxn ang="0">
                    <a:pos x="540" y="33"/>
                  </a:cxn>
                  <a:cxn ang="0">
                    <a:pos x="563" y="42"/>
                  </a:cxn>
                  <a:cxn ang="0">
                    <a:pos x="579" y="52"/>
                  </a:cxn>
                  <a:cxn ang="0">
                    <a:pos x="616" y="37"/>
                  </a:cxn>
                  <a:cxn ang="0">
                    <a:pos x="639" y="32"/>
                  </a:cxn>
                  <a:cxn ang="0">
                    <a:pos x="749" y="120"/>
                  </a:cxn>
                  <a:cxn ang="0">
                    <a:pos x="780" y="130"/>
                  </a:cxn>
                  <a:cxn ang="0">
                    <a:pos x="819" y="121"/>
                  </a:cxn>
                  <a:cxn ang="0">
                    <a:pos x="857" y="146"/>
                  </a:cxn>
                  <a:cxn ang="0">
                    <a:pos x="872" y="164"/>
                  </a:cxn>
                  <a:cxn ang="0">
                    <a:pos x="903" y="161"/>
                  </a:cxn>
                  <a:cxn ang="0">
                    <a:pos x="907" y="189"/>
                  </a:cxn>
                  <a:cxn ang="0">
                    <a:pos x="895" y="236"/>
                  </a:cxn>
                  <a:cxn ang="0">
                    <a:pos x="849" y="239"/>
                  </a:cxn>
                  <a:cxn ang="0">
                    <a:pos x="835" y="287"/>
                  </a:cxn>
                  <a:cxn ang="0">
                    <a:pos x="817" y="299"/>
                  </a:cxn>
                  <a:cxn ang="0">
                    <a:pos x="794" y="314"/>
                  </a:cxn>
                  <a:cxn ang="0">
                    <a:pos x="807" y="347"/>
                  </a:cxn>
                  <a:cxn ang="0">
                    <a:pos x="807" y="382"/>
                  </a:cxn>
                  <a:cxn ang="0">
                    <a:pos x="721" y="369"/>
                  </a:cxn>
                  <a:cxn ang="0">
                    <a:pos x="662" y="369"/>
                  </a:cxn>
                  <a:cxn ang="0">
                    <a:pos x="611" y="384"/>
                  </a:cxn>
                  <a:cxn ang="0">
                    <a:pos x="579" y="400"/>
                  </a:cxn>
                  <a:cxn ang="0">
                    <a:pos x="520" y="429"/>
                  </a:cxn>
                  <a:cxn ang="0">
                    <a:pos x="410" y="357"/>
                  </a:cxn>
                  <a:cxn ang="0">
                    <a:pos x="226" y="420"/>
                  </a:cxn>
                  <a:cxn ang="0">
                    <a:pos x="167" y="400"/>
                  </a:cxn>
                  <a:cxn ang="0">
                    <a:pos x="144" y="390"/>
                  </a:cxn>
                  <a:cxn ang="0">
                    <a:pos x="124" y="369"/>
                  </a:cxn>
                  <a:cxn ang="0">
                    <a:pos x="108" y="349"/>
                  </a:cxn>
                  <a:cxn ang="0">
                    <a:pos x="134" y="349"/>
                  </a:cxn>
                  <a:cxn ang="0">
                    <a:pos x="123" y="329"/>
                  </a:cxn>
                  <a:cxn ang="0">
                    <a:pos x="154" y="324"/>
                  </a:cxn>
                  <a:cxn ang="0">
                    <a:pos x="161" y="309"/>
                  </a:cxn>
                  <a:cxn ang="0">
                    <a:pos x="159" y="286"/>
                  </a:cxn>
                  <a:cxn ang="0">
                    <a:pos x="136" y="281"/>
                  </a:cxn>
                  <a:cxn ang="0">
                    <a:pos x="123" y="276"/>
                  </a:cxn>
                  <a:cxn ang="0">
                    <a:pos x="99" y="282"/>
                  </a:cxn>
                  <a:cxn ang="0">
                    <a:pos x="78" y="292"/>
                  </a:cxn>
                </a:cxnLst>
                <a:rect l="0" t="0" r="r" b="b"/>
                <a:pathLst>
                  <a:path w="922" h="437">
                    <a:moveTo>
                      <a:pt x="71" y="294"/>
                    </a:moveTo>
                    <a:lnTo>
                      <a:pt x="65" y="289"/>
                    </a:lnTo>
                    <a:lnTo>
                      <a:pt x="58" y="291"/>
                    </a:lnTo>
                    <a:lnTo>
                      <a:pt x="50" y="286"/>
                    </a:lnTo>
                    <a:lnTo>
                      <a:pt x="50" y="282"/>
                    </a:lnTo>
                    <a:lnTo>
                      <a:pt x="60" y="282"/>
                    </a:lnTo>
                    <a:lnTo>
                      <a:pt x="50" y="267"/>
                    </a:lnTo>
                    <a:lnTo>
                      <a:pt x="38" y="257"/>
                    </a:lnTo>
                    <a:lnTo>
                      <a:pt x="23" y="254"/>
                    </a:lnTo>
                    <a:lnTo>
                      <a:pt x="21" y="257"/>
                    </a:lnTo>
                    <a:lnTo>
                      <a:pt x="13" y="251"/>
                    </a:lnTo>
                    <a:lnTo>
                      <a:pt x="15" y="248"/>
                    </a:lnTo>
                    <a:lnTo>
                      <a:pt x="10" y="243"/>
                    </a:lnTo>
                    <a:lnTo>
                      <a:pt x="0" y="239"/>
                    </a:lnTo>
                    <a:lnTo>
                      <a:pt x="3" y="231"/>
                    </a:lnTo>
                    <a:lnTo>
                      <a:pt x="6" y="218"/>
                    </a:lnTo>
                    <a:lnTo>
                      <a:pt x="3" y="214"/>
                    </a:lnTo>
                    <a:lnTo>
                      <a:pt x="1" y="203"/>
                    </a:lnTo>
                    <a:lnTo>
                      <a:pt x="6" y="201"/>
                    </a:lnTo>
                    <a:lnTo>
                      <a:pt x="11" y="194"/>
                    </a:lnTo>
                    <a:lnTo>
                      <a:pt x="11" y="189"/>
                    </a:lnTo>
                    <a:lnTo>
                      <a:pt x="16" y="184"/>
                    </a:lnTo>
                    <a:lnTo>
                      <a:pt x="28" y="194"/>
                    </a:lnTo>
                    <a:lnTo>
                      <a:pt x="30" y="199"/>
                    </a:lnTo>
                    <a:lnTo>
                      <a:pt x="38" y="203"/>
                    </a:lnTo>
                    <a:lnTo>
                      <a:pt x="45" y="203"/>
                    </a:lnTo>
                    <a:lnTo>
                      <a:pt x="45" y="196"/>
                    </a:lnTo>
                    <a:lnTo>
                      <a:pt x="48" y="194"/>
                    </a:lnTo>
                    <a:lnTo>
                      <a:pt x="41" y="176"/>
                    </a:lnTo>
                    <a:lnTo>
                      <a:pt x="50" y="176"/>
                    </a:lnTo>
                    <a:lnTo>
                      <a:pt x="56" y="176"/>
                    </a:lnTo>
                    <a:lnTo>
                      <a:pt x="56" y="169"/>
                    </a:lnTo>
                    <a:lnTo>
                      <a:pt x="53" y="166"/>
                    </a:lnTo>
                    <a:lnTo>
                      <a:pt x="55" y="161"/>
                    </a:lnTo>
                    <a:lnTo>
                      <a:pt x="63" y="158"/>
                    </a:lnTo>
                    <a:lnTo>
                      <a:pt x="66" y="156"/>
                    </a:lnTo>
                    <a:lnTo>
                      <a:pt x="68" y="151"/>
                    </a:lnTo>
                    <a:lnTo>
                      <a:pt x="71" y="148"/>
                    </a:lnTo>
                    <a:lnTo>
                      <a:pt x="76" y="150"/>
                    </a:lnTo>
                    <a:lnTo>
                      <a:pt x="78" y="146"/>
                    </a:lnTo>
                    <a:lnTo>
                      <a:pt x="76" y="141"/>
                    </a:lnTo>
                    <a:lnTo>
                      <a:pt x="78" y="140"/>
                    </a:lnTo>
                    <a:lnTo>
                      <a:pt x="84" y="143"/>
                    </a:lnTo>
                    <a:lnTo>
                      <a:pt x="89" y="145"/>
                    </a:lnTo>
                    <a:lnTo>
                      <a:pt x="89" y="148"/>
                    </a:lnTo>
                    <a:lnTo>
                      <a:pt x="86" y="151"/>
                    </a:lnTo>
                    <a:lnTo>
                      <a:pt x="88" y="155"/>
                    </a:lnTo>
                    <a:lnTo>
                      <a:pt x="93" y="151"/>
                    </a:lnTo>
                    <a:lnTo>
                      <a:pt x="94" y="148"/>
                    </a:lnTo>
                    <a:lnTo>
                      <a:pt x="98" y="146"/>
                    </a:lnTo>
                    <a:lnTo>
                      <a:pt x="98" y="150"/>
                    </a:lnTo>
                    <a:lnTo>
                      <a:pt x="101" y="146"/>
                    </a:lnTo>
                    <a:lnTo>
                      <a:pt x="101" y="145"/>
                    </a:lnTo>
                    <a:lnTo>
                      <a:pt x="106" y="145"/>
                    </a:lnTo>
                    <a:lnTo>
                      <a:pt x="111" y="141"/>
                    </a:lnTo>
                    <a:lnTo>
                      <a:pt x="116" y="141"/>
                    </a:lnTo>
                    <a:lnTo>
                      <a:pt x="118" y="146"/>
                    </a:lnTo>
                    <a:lnTo>
                      <a:pt x="124" y="150"/>
                    </a:lnTo>
                    <a:lnTo>
                      <a:pt x="133" y="148"/>
                    </a:lnTo>
                    <a:lnTo>
                      <a:pt x="136" y="148"/>
                    </a:lnTo>
                    <a:lnTo>
                      <a:pt x="139" y="151"/>
                    </a:lnTo>
                    <a:lnTo>
                      <a:pt x="141" y="151"/>
                    </a:lnTo>
                    <a:lnTo>
                      <a:pt x="146" y="156"/>
                    </a:lnTo>
                    <a:lnTo>
                      <a:pt x="153" y="156"/>
                    </a:lnTo>
                    <a:lnTo>
                      <a:pt x="156" y="161"/>
                    </a:lnTo>
                    <a:lnTo>
                      <a:pt x="163" y="166"/>
                    </a:lnTo>
                    <a:lnTo>
                      <a:pt x="166" y="166"/>
                    </a:lnTo>
                    <a:lnTo>
                      <a:pt x="167" y="169"/>
                    </a:lnTo>
                    <a:lnTo>
                      <a:pt x="169" y="174"/>
                    </a:lnTo>
                    <a:lnTo>
                      <a:pt x="171" y="174"/>
                    </a:lnTo>
                    <a:lnTo>
                      <a:pt x="174" y="171"/>
                    </a:lnTo>
                    <a:lnTo>
                      <a:pt x="174" y="164"/>
                    </a:lnTo>
                    <a:lnTo>
                      <a:pt x="179" y="163"/>
                    </a:lnTo>
                    <a:lnTo>
                      <a:pt x="182" y="166"/>
                    </a:lnTo>
                    <a:lnTo>
                      <a:pt x="191" y="168"/>
                    </a:lnTo>
                    <a:lnTo>
                      <a:pt x="194" y="173"/>
                    </a:lnTo>
                    <a:lnTo>
                      <a:pt x="197" y="173"/>
                    </a:lnTo>
                    <a:lnTo>
                      <a:pt x="204" y="169"/>
                    </a:lnTo>
                    <a:lnTo>
                      <a:pt x="204" y="161"/>
                    </a:lnTo>
                    <a:lnTo>
                      <a:pt x="209" y="161"/>
                    </a:lnTo>
                    <a:lnTo>
                      <a:pt x="209" y="156"/>
                    </a:lnTo>
                    <a:lnTo>
                      <a:pt x="214" y="156"/>
                    </a:lnTo>
                    <a:lnTo>
                      <a:pt x="216" y="159"/>
                    </a:lnTo>
                    <a:lnTo>
                      <a:pt x="219" y="155"/>
                    </a:lnTo>
                    <a:lnTo>
                      <a:pt x="224" y="155"/>
                    </a:lnTo>
                    <a:lnTo>
                      <a:pt x="231" y="159"/>
                    </a:lnTo>
                    <a:lnTo>
                      <a:pt x="232" y="163"/>
                    </a:lnTo>
                    <a:lnTo>
                      <a:pt x="239" y="163"/>
                    </a:lnTo>
                    <a:lnTo>
                      <a:pt x="239" y="156"/>
                    </a:lnTo>
                    <a:lnTo>
                      <a:pt x="242" y="156"/>
                    </a:lnTo>
                    <a:lnTo>
                      <a:pt x="247" y="156"/>
                    </a:lnTo>
                    <a:lnTo>
                      <a:pt x="251" y="153"/>
                    </a:lnTo>
                    <a:lnTo>
                      <a:pt x="256" y="156"/>
                    </a:lnTo>
                    <a:lnTo>
                      <a:pt x="259" y="158"/>
                    </a:lnTo>
                    <a:lnTo>
                      <a:pt x="257" y="161"/>
                    </a:lnTo>
                    <a:lnTo>
                      <a:pt x="254" y="163"/>
                    </a:lnTo>
                    <a:lnTo>
                      <a:pt x="259" y="168"/>
                    </a:lnTo>
                    <a:lnTo>
                      <a:pt x="264" y="168"/>
                    </a:lnTo>
                    <a:lnTo>
                      <a:pt x="265" y="168"/>
                    </a:lnTo>
                    <a:lnTo>
                      <a:pt x="269" y="169"/>
                    </a:lnTo>
                    <a:lnTo>
                      <a:pt x="275" y="168"/>
                    </a:lnTo>
                    <a:lnTo>
                      <a:pt x="284" y="173"/>
                    </a:lnTo>
                    <a:lnTo>
                      <a:pt x="290" y="173"/>
                    </a:lnTo>
                    <a:lnTo>
                      <a:pt x="292" y="168"/>
                    </a:lnTo>
                    <a:lnTo>
                      <a:pt x="292" y="163"/>
                    </a:lnTo>
                    <a:lnTo>
                      <a:pt x="295" y="161"/>
                    </a:lnTo>
                    <a:lnTo>
                      <a:pt x="302" y="164"/>
                    </a:lnTo>
                    <a:lnTo>
                      <a:pt x="310" y="166"/>
                    </a:lnTo>
                    <a:lnTo>
                      <a:pt x="317" y="163"/>
                    </a:lnTo>
                    <a:lnTo>
                      <a:pt x="320" y="159"/>
                    </a:lnTo>
                    <a:lnTo>
                      <a:pt x="319" y="143"/>
                    </a:lnTo>
                    <a:lnTo>
                      <a:pt x="317" y="141"/>
                    </a:lnTo>
                    <a:lnTo>
                      <a:pt x="309" y="141"/>
                    </a:lnTo>
                    <a:lnTo>
                      <a:pt x="305" y="138"/>
                    </a:lnTo>
                    <a:lnTo>
                      <a:pt x="304" y="135"/>
                    </a:lnTo>
                    <a:lnTo>
                      <a:pt x="299" y="135"/>
                    </a:lnTo>
                    <a:lnTo>
                      <a:pt x="295" y="131"/>
                    </a:lnTo>
                    <a:lnTo>
                      <a:pt x="289" y="131"/>
                    </a:lnTo>
                    <a:lnTo>
                      <a:pt x="289" y="128"/>
                    </a:lnTo>
                    <a:lnTo>
                      <a:pt x="287" y="126"/>
                    </a:lnTo>
                    <a:lnTo>
                      <a:pt x="289" y="123"/>
                    </a:lnTo>
                    <a:lnTo>
                      <a:pt x="292" y="123"/>
                    </a:lnTo>
                    <a:lnTo>
                      <a:pt x="294" y="118"/>
                    </a:lnTo>
                    <a:lnTo>
                      <a:pt x="297" y="115"/>
                    </a:lnTo>
                    <a:lnTo>
                      <a:pt x="295" y="110"/>
                    </a:lnTo>
                    <a:lnTo>
                      <a:pt x="292" y="110"/>
                    </a:lnTo>
                    <a:lnTo>
                      <a:pt x="292" y="105"/>
                    </a:lnTo>
                    <a:lnTo>
                      <a:pt x="297" y="96"/>
                    </a:lnTo>
                    <a:lnTo>
                      <a:pt x="304" y="93"/>
                    </a:lnTo>
                    <a:lnTo>
                      <a:pt x="314" y="91"/>
                    </a:lnTo>
                    <a:lnTo>
                      <a:pt x="317" y="93"/>
                    </a:lnTo>
                    <a:lnTo>
                      <a:pt x="320" y="91"/>
                    </a:lnTo>
                    <a:lnTo>
                      <a:pt x="320" y="86"/>
                    </a:lnTo>
                    <a:lnTo>
                      <a:pt x="315" y="85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5" y="85"/>
                    </a:lnTo>
                    <a:lnTo>
                      <a:pt x="300" y="81"/>
                    </a:lnTo>
                    <a:lnTo>
                      <a:pt x="294" y="81"/>
                    </a:lnTo>
                    <a:lnTo>
                      <a:pt x="294" y="80"/>
                    </a:lnTo>
                    <a:lnTo>
                      <a:pt x="295" y="78"/>
                    </a:lnTo>
                    <a:lnTo>
                      <a:pt x="302" y="78"/>
                    </a:lnTo>
                    <a:lnTo>
                      <a:pt x="300" y="73"/>
                    </a:lnTo>
                    <a:lnTo>
                      <a:pt x="294" y="73"/>
                    </a:lnTo>
                    <a:lnTo>
                      <a:pt x="289" y="71"/>
                    </a:lnTo>
                    <a:lnTo>
                      <a:pt x="292" y="70"/>
                    </a:lnTo>
                    <a:lnTo>
                      <a:pt x="289" y="65"/>
                    </a:lnTo>
                    <a:lnTo>
                      <a:pt x="290" y="63"/>
                    </a:lnTo>
                    <a:lnTo>
                      <a:pt x="295" y="63"/>
                    </a:lnTo>
                    <a:lnTo>
                      <a:pt x="299" y="60"/>
                    </a:lnTo>
                    <a:lnTo>
                      <a:pt x="302" y="60"/>
                    </a:lnTo>
                    <a:lnTo>
                      <a:pt x="304" y="63"/>
                    </a:lnTo>
                    <a:lnTo>
                      <a:pt x="309" y="61"/>
                    </a:lnTo>
                    <a:lnTo>
                      <a:pt x="314" y="65"/>
                    </a:lnTo>
                    <a:lnTo>
                      <a:pt x="315" y="63"/>
                    </a:lnTo>
                    <a:lnTo>
                      <a:pt x="315" y="60"/>
                    </a:lnTo>
                    <a:lnTo>
                      <a:pt x="320" y="58"/>
                    </a:lnTo>
                    <a:lnTo>
                      <a:pt x="324" y="58"/>
                    </a:lnTo>
                    <a:lnTo>
                      <a:pt x="327" y="61"/>
                    </a:lnTo>
                    <a:lnTo>
                      <a:pt x="329" y="60"/>
                    </a:lnTo>
                    <a:lnTo>
                      <a:pt x="330" y="57"/>
                    </a:lnTo>
                    <a:lnTo>
                      <a:pt x="339" y="53"/>
                    </a:lnTo>
                    <a:lnTo>
                      <a:pt x="344" y="53"/>
                    </a:lnTo>
                    <a:lnTo>
                      <a:pt x="350" y="50"/>
                    </a:lnTo>
                    <a:lnTo>
                      <a:pt x="355" y="50"/>
                    </a:lnTo>
                    <a:lnTo>
                      <a:pt x="357" y="48"/>
                    </a:lnTo>
                    <a:lnTo>
                      <a:pt x="363" y="45"/>
                    </a:lnTo>
                    <a:lnTo>
                      <a:pt x="370" y="45"/>
                    </a:lnTo>
                    <a:lnTo>
                      <a:pt x="373" y="42"/>
                    </a:lnTo>
                    <a:lnTo>
                      <a:pt x="377" y="42"/>
                    </a:lnTo>
                    <a:lnTo>
                      <a:pt x="380" y="43"/>
                    </a:lnTo>
                    <a:lnTo>
                      <a:pt x="382" y="42"/>
                    </a:lnTo>
                    <a:lnTo>
                      <a:pt x="382" y="37"/>
                    </a:lnTo>
                    <a:lnTo>
                      <a:pt x="385" y="35"/>
                    </a:lnTo>
                    <a:lnTo>
                      <a:pt x="390" y="35"/>
                    </a:lnTo>
                    <a:lnTo>
                      <a:pt x="390" y="32"/>
                    </a:lnTo>
                    <a:lnTo>
                      <a:pt x="393" y="30"/>
                    </a:lnTo>
                    <a:lnTo>
                      <a:pt x="397" y="32"/>
                    </a:lnTo>
                    <a:lnTo>
                      <a:pt x="400" y="32"/>
                    </a:lnTo>
                    <a:lnTo>
                      <a:pt x="405" y="30"/>
                    </a:lnTo>
                    <a:lnTo>
                      <a:pt x="410" y="28"/>
                    </a:lnTo>
                    <a:lnTo>
                      <a:pt x="420" y="22"/>
                    </a:lnTo>
                    <a:lnTo>
                      <a:pt x="423" y="22"/>
                    </a:lnTo>
                    <a:lnTo>
                      <a:pt x="425" y="20"/>
                    </a:lnTo>
                    <a:lnTo>
                      <a:pt x="430" y="20"/>
                    </a:lnTo>
                    <a:lnTo>
                      <a:pt x="433" y="15"/>
                    </a:lnTo>
                    <a:lnTo>
                      <a:pt x="437" y="17"/>
                    </a:lnTo>
                    <a:lnTo>
                      <a:pt x="443" y="15"/>
                    </a:lnTo>
                    <a:lnTo>
                      <a:pt x="443" y="12"/>
                    </a:lnTo>
                    <a:lnTo>
                      <a:pt x="442" y="8"/>
                    </a:lnTo>
                    <a:lnTo>
                      <a:pt x="443" y="7"/>
                    </a:lnTo>
                    <a:lnTo>
                      <a:pt x="450" y="7"/>
                    </a:lnTo>
                    <a:lnTo>
                      <a:pt x="452" y="3"/>
                    </a:lnTo>
                    <a:lnTo>
                      <a:pt x="457" y="0"/>
                    </a:lnTo>
                    <a:lnTo>
                      <a:pt x="458" y="2"/>
                    </a:lnTo>
                    <a:lnTo>
                      <a:pt x="463" y="0"/>
                    </a:lnTo>
                    <a:lnTo>
                      <a:pt x="468" y="2"/>
                    </a:lnTo>
                    <a:lnTo>
                      <a:pt x="475" y="2"/>
                    </a:lnTo>
                    <a:lnTo>
                      <a:pt x="481" y="5"/>
                    </a:lnTo>
                    <a:lnTo>
                      <a:pt x="486" y="5"/>
                    </a:lnTo>
                    <a:lnTo>
                      <a:pt x="491" y="3"/>
                    </a:lnTo>
                    <a:lnTo>
                      <a:pt x="496" y="3"/>
                    </a:lnTo>
                    <a:lnTo>
                      <a:pt x="500" y="8"/>
                    </a:lnTo>
                    <a:lnTo>
                      <a:pt x="501" y="10"/>
                    </a:lnTo>
                    <a:lnTo>
                      <a:pt x="503" y="15"/>
                    </a:lnTo>
                    <a:lnTo>
                      <a:pt x="506" y="18"/>
                    </a:lnTo>
                    <a:lnTo>
                      <a:pt x="510" y="20"/>
                    </a:lnTo>
                    <a:lnTo>
                      <a:pt x="510" y="22"/>
                    </a:lnTo>
                    <a:lnTo>
                      <a:pt x="508" y="27"/>
                    </a:lnTo>
                    <a:lnTo>
                      <a:pt x="510" y="30"/>
                    </a:lnTo>
                    <a:lnTo>
                      <a:pt x="510" y="32"/>
                    </a:lnTo>
                    <a:lnTo>
                      <a:pt x="505" y="33"/>
                    </a:lnTo>
                    <a:lnTo>
                      <a:pt x="508" y="37"/>
                    </a:lnTo>
                    <a:lnTo>
                      <a:pt x="510" y="38"/>
                    </a:lnTo>
                    <a:lnTo>
                      <a:pt x="516" y="37"/>
                    </a:lnTo>
                    <a:lnTo>
                      <a:pt x="520" y="38"/>
                    </a:lnTo>
                    <a:lnTo>
                      <a:pt x="523" y="38"/>
                    </a:lnTo>
                    <a:lnTo>
                      <a:pt x="523" y="33"/>
                    </a:lnTo>
                    <a:lnTo>
                      <a:pt x="526" y="33"/>
                    </a:lnTo>
                    <a:lnTo>
                      <a:pt x="528" y="37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0" y="30"/>
                    </a:lnTo>
                    <a:lnTo>
                      <a:pt x="531" y="28"/>
                    </a:lnTo>
                    <a:lnTo>
                      <a:pt x="540" y="33"/>
                    </a:lnTo>
                    <a:lnTo>
                      <a:pt x="540" y="42"/>
                    </a:lnTo>
                    <a:lnTo>
                      <a:pt x="543" y="47"/>
                    </a:lnTo>
                    <a:lnTo>
                      <a:pt x="546" y="47"/>
                    </a:lnTo>
                    <a:lnTo>
                      <a:pt x="550" y="43"/>
                    </a:lnTo>
                    <a:lnTo>
                      <a:pt x="548" y="42"/>
                    </a:lnTo>
                    <a:lnTo>
                      <a:pt x="546" y="38"/>
                    </a:lnTo>
                    <a:lnTo>
                      <a:pt x="551" y="38"/>
                    </a:lnTo>
                    <a:lnTo>
                      <a:pt x="560" y="42"/>
                    </a:lnTo>
                    <a:lnTo>
                      <a:pt x="563" y="42"/>
                    </a:lnTo>
                    <a:lnTo>
                      <a:pt x="566" y="40"/>
                    </a:lnTo>
                    <a:lnTo>
                      <a:pt x="569" y="40"/>
                    </a:lnTo>
                    <a:lnTo>
                      <a:pt x="568" y="45"/>
                    </a:lnTo>
                    <a:lnTo>
                      <a:pt x="564" y="47"/>
                    </a:lnTo>
                    <a:lnTo>
                      <a:pt x="564" y="53"/>
                    </a:lnTo>
                    <a:lnTo>
                      <a:pt x="568" y="57"/>
                    </a:lnTo>
                    <a:lnTo>
                      <a:pt x="571" y="57"/>
                    </a:lnTo>
                    <a:lnTo>
                      <a:pt x="574" y="53"/>
                    </a:lnTo>
                    <a:lnTo>
                      <a:pt x="579" y="52"/>
                    </a:lnTo>
                    <a:lnTo>
                      <a:pt x="589" y="55"/>
                    </a:lnTo>
                    <a:lnTo>
                      <a:pt x="591" y="57"/>
                    </a:lnTo>
                    <a:lnTo>
                      <a:pt x="594" y="53"/>
                    </a:lnTo>
                    <a:lnTo>
                      <a:pt x="594" y="48"/>
                    </a:lnTo>
                    <a:lnTo>
                      <a:pt x="598" y="47"/>
                    </a:lnTo>
                    <a:lnTo>
                      <a:pt x="606" y="47"/>
                    </a:lnTo>
                    <a:lnTo>
                      <a:pt x="609" y="43"/>
                    </a:lnTo>
                    <a:lnTo>
                      <a:pt x="611" y="40"/>
                    </a:lnTo>
                    <a:lnTo>
                      <a:pt x="616" y="37"/>
                    </a:lnTo>
                    <a:lnTo>
                      <a:pt x="616" y="33"/>
                    </a:lnTo>
                    <a:lnTo>
                      <a:pt x="621" y="30"/>
                    </a:lnTo>
                    <a:lnTo>
                      <a:pt x="624" y="28"/>
                    </a:lnTo>
                    <a:lnTo>
                      <a:pt x="629" y="25"/>
                    </a:lnTo>
                    <a:lnTo>
                      <a:pt x="634" y="23"/>
                    </a:lnTo>
                    <a:lnTo>
                      <a:pt x="641" y="22"/>
                    </a:lnTo>
                    <a:lnTo>
                      <a:pt x="643" y="23"/>
                    </a:lnTo>
                    <a:lnTo>
                      <a:pt x="643" y="27"/>
                    </a:lnTo>
                    <a:lnTo>
                      <a:pt x="639" y="32"/>
                    </a:lnTo>
                    <a:lnTo>
                      <a:pt x="634" y="32"/>
                    </a:lnTo>
                    <a:lnTo>
                      <a:pt x="638" y="35"/>
                    </a:lnTo>
                    <a:lnTo>
                      <a:pt x="681" y="65"/>
                    </a:lnTo>
                    <a:lnTo>
                      <a:pt x="741" y="131"/>
                    </a:lnTo>
                    <a:lnTo>
                      <a:pt x="746" y="131"/>
                    </a:lnTo>
                    <a:lnTo>
                      <a:pt x="751" y="128"/>
                    </a:lnTo>
                    <a:lnTo>
                      <a:pt x="751" y="126"/>
                    </a:lnTo>
                    <a:lnTo>
                      <a:pt x="749" y="125"/>
                    </a:lnTo>
                    <a:lnTo>
                      <a:pt x="749" y="120"/>
                    </a:lnTo>
                    <a:lnTo>
                      <a:pt x="754" y="118"/>
                    </a:lnTo>
                    <a:lnTo>
                      <a:pt x="760" y="121"/>
                    </a:lnTo>
                    <a:lnTo>
                      <a:pt x="759" y="125"/>
                    </a:lnTo>
                    <a:lnTo>
                      <a:pt x="760" y="128"/>
                    </a:lnTo>
                    <a:lnTo>
                      <a:pt x="765" y="130"/>
                    </a:lnTo>
                    <a:lnTo>
                      <a:pt x="769" y="133"/>
                    </a:lnTo>
                    <a:lnTo>
                      <a:pt x="774" y="133"/>
                    </a:lnTo>
                    <a:lnTo>
                      <a:pt x="777" y="130"/>
                    </a:lnTo>
                    <a:lnTo>
                      <a:pt x="780" y="130"/>
                    </a:lnTo>
                    <a:lnTo>
                      <a:pt x="787" y="133"/>
                    </a:lnTo>
                    <a:lnTo>
                      <a:pt x="792" y="131"/>
                    </a:lnTo>
                    <a:lnTo>
                      <a:pt x="795" y="131"/>
                    </a:lnTo>
                    <a:lnTo>
                      <a:pt x="800" y="130"/>
                    </a:lnTo>
                    <a:lnTo>
                      <a:pt x="802" y="128"/>
                    </a:lnTo>
                    <a:lnTo>
                      <a:pt x="800" y="125"/>
                    </a:lnTo>
                    <a:lnTo>
                      <a:pt x="802" y="123"/>
                    </a:lnTo>
                    <a:lnTo>
                      <a:pt x="809" y="121"/>
                    </a:lnTo>
                    <a:lnTo>
                      <a:pt x="819" y="121"/>
                    </a:lnTo>
                    <a:lnTo>
                      <a:pt x="825" y="125"/>
                    </a:lnTo>
                    <a:lnTo>
                      <a:pt x="832" y="128"/>
                    </a:lnTo>
                    <a:lnTo>
                      <a:pt x="837" y="135"/>
                    </a:lnTo>
                    <a:lnTo>
                      <a:pt x="839" y="140"/>
                    </a:lnTo>
                    <a:lnTo>
                      <a:pt x="842" y="140"/>
                    </a:lnTo>
                    <a:lnTo>
                      <a:pt x="847" y="141"/>
                    </a:lnTo>
                    <a:lnTo>
                      <a:pt x="852" y="145"/>
                    </a:lnTo>
                    <a:lnTo>
                      <a:pt x="854" y="145"/>
                    </a:lnTo>
                    <a:lnTo>
                      <a:pt x="857" y="146"/>
                    </a:lnTo>
                    <a:lnTo>
                      <a:pt x="857" y="150"/>
                    </a:lnTo>
                    <a:lnTo>
                      <a:pt x="857" y="151"/>
                    </a:lnTo>
                    <a:lnTo>
                      <a:pt x="857" y="155"/>
                    </a:lnTo>
                    <a:lnTo>
                      <a:pt x="859" y="158"/>
                    </a:lnTo>
                    <a:lnTo>
                      <a:pt x="860" y="159"/>
                    </a:lnTo>
                    <a:lnTo>
                      <a:pt x="862" y="161"/>
                    </a:lnTo>
                    <a:lnTo>
                      <a:pt x="863" y="161"/>
                    </a:lnTo>
                    <a:lnTo>
                      <a:pt x="868" y="163"/>
                    </a:lnTo>
                    <a:lnTo>
                      <a:pt x="872" y="164"/>
                    </a:lnTo>
                    <a:lnTo>
                      <a:pt x="873" y="161"/>
                    </a:lnTo>
                    <a:lnTo>
                      <a:pt x="877" y="159"/>
                    </a:lnTo>
                    <a:lnTo>
                      <a:pt x="888" y="159"/>
                    </a:lnTo>
                    <a:lnTo>
                      <a:pt x="893" y="158"/>
                    </a:lnTo>
                    <a:lnTo>
                      <a:pt x="897" y="155"/>
                    </a:lnTo>
                    <a:lnTo>
                      <a:pt x="902" y="151"/>
                    </a:lnTo>
                    <a:lnTo>
                      <a:pt x="903" y="153"/>
                    </a:lnTo>
                    <a:lnTo>
                      <a:pt x="902" y="158"/>
                    </a:lnTo>
                    <a:lnTo>
                      <a:pt x="903" y="161"/>
                    </a:lnTo>
                    <a:lnTo>
                      <a:pt x="907" y="163"/>
                    </a:lnTo>
                    <a:lnTo>
                      <a:pt x="912" y="166"/>
                    </a:lnTo>
                    <a:lnTo>
                      <a:pt x="918" y="169"/>
                    </a:lnTo>
                    <a:lnTo>
                      <a:pt x="922" y="171"/>
                    </a:lnTo>
                    <a:lnTo>
                      <a:pt x="917" y="174"/>
                    </a:lnTo>
                    <a:lnTo>
                      <a:pt x="913" y="178"/>
                    </a:lnTo>
                    <a:lnTo>
                      <a:pt x="907" y="183"/>
                    </a:lnTo>
                    <a:lnTo>
                      <a:pt x="907" y="186"/>
                    </a:lnTo>
                    <a:lnTo>
                      <a:pt x="907" y="189"/>
                    </a:lnTo>
                    <a:lnTo>
                      <a:pt x="905" y="194"/>
                    </a:lnTo>
                    <a:lnTo>
                      <a:pt x="897" y="196"/>
                    </a:lnTo>
                    <a:lnTo>
                      <a:pt x="893" y="199"/>
                    </a:lnTo>
                    <a:lnTo>
                      <a:pt x="892" y="204"/>
                    </a:lnTo>
                    <a:lnTo>
                      <a:pt x="892" y="213"/>
                    </a:lnTo>
                    <a:lnTo>
                      <a:pt x="897" y="223"/>
                    </a:lnTo>
                    <a:lnTo>
                      <a:pt x="902" y="228"/>
                    </a:lnTo>
                    <a:lnTo>
                      <a:pt x="902" y="231"/>
                    </a:lnTo>
                    <a:lnTo>
                      <a:pt x="895" y="236"/>
                    </a:lnTo>
                    <a:lnTo>
                      <a:pt x="890" y="238"/>
                    </a:lnTo>
                    <a:lnTo>
                      <a:pt x="885" y="243"/>
                    </a:lnTo>
                    <a:lnTo>
                      <a:pt x="882" y="244"/>
                    </a:lnTo>
                    <a:lnTo>
                      <a:pt x="880" y="243"/>
                    </a:lnTo>
                    <a:lnTo>
                      <a:pt x="878" y="241"/>
                    </a:lnTo>
                    <a:lnTo>
                      <a:pt x="875" y="241"/>
                    </a:lnTo>
                    <a:lnTo>
                      <a:pt x="865" y="243"/>
                    </a:lnTo>
                    <a:lnTo>
                      <a:pt x="859" y="243"/>
                    </a:lnTo>
                    <a:lnTo>
                      <a:pt x="849" y="239"/>
                    </a:lnTo>
                    <a:lnTo>
                      <a:pt x="844" y="238"/>
                    </a:lnTo>
                    <a:lnTo>
                      <a:pt x="840" y="239"/>
                    </a:lnTo>
                    <a:lnTo>
                      <a:pt x="839" y="249"/>
                    </a:lnTo>
                    <a:lnTo>
                      <a:pt x="837" y="254"/>
                    </a:lnTo>
                    <a:lnTo>
                      <a:pt x="835" y="259"/>
                    </a:lnTo>
                    <a:lnTo>
                      <a:pt x="834" y="272"/>
                    </a:lnTo>
                    <a:lnTo>
                      <a:pt x="834" y="282"/>
                    </a:lnTo>
                    <a:lnTo>
                      <a:pt x="832" y="286"/>
                    </a:lnTo>
                    <a:lnTo>
                      <a:pt x="835" y="287"/>
                    </a:lnTo>
                    <a:lnTo>
                      <a:pt x="840" y="289"/>
                    </a:lnTo>
                    <a:lnTo>
                      <a:pt x="839" y="294"/>
                    </a:lnTo>
                    <a:lnTo>
                      <a:pt x="839" y="297"/>
                    </a:lnTo>
                    <a:lnTo>
                      <a:pt x="835" y="297"/>
                    </a:lnTo>
                    <a:lnTo>
                      <a:pt x="832" y="299"/>
                    </a:lnTo>
                    <a:lnTo>
                      <a:pt x="829" y="299"/>
                    </a:lnTo>
                    <a:lnTo>
                      <a:pt x="825" y="297"/>
                    </a:lnTo>
                    <a:lnTo>
                      <a:pt x="822" y="297"/>
                    </a:lnTo>
                    <a:lnTo>
                      <a:pt x="817" y="299"/>
                    </a:lnTo>
                    <a:lnTo>
                      <a:pt x="805" y="301"/>
                    </a:lnTo>
                    <a:lnTo>
                      <a:pt x="799" y="304"/>
                    </a:lnTo>
                    <a:lnTo>
                      <a:pt x="795" y="304"/>
                    </a:lnTo>
                    <a:lnTo>
                      <a:pt x="792" y="302"/>
                    </a:lnTo>
                    <a:lnTo>
                      <a:pt x="789" y="304"/>
                    </a:lnTo>
                    <a:lnTo>
                      <a:pt x="784" y="307"/>
                    </a:lnTo>
                    <a:lnTo>
                      <a:pt x="784" y="311"/>
                    </a:lnTo>
                    <a:lnTo>
                      <a:pt x="787" y="314"/>
                    </a:lnTo>
                    <a:lnTo>
                      <a:pt x="794" y="314"/>
                    </a:lnTo>
                    <a:lnTo>
                      <a:pt x="800" y="314"/>
                    </a:lnTo>
                    <a:lnTo>
                      <a:pt x="800" y="316"/>
                    </a:lnTo>
                    <a:lnTo>
                      <a:pt x="797" y="319"/>
                    </a:lnTo>
                    <a:lnTo>
                      <a:pt x="799" y="326"/>
                    </a:lnTo>
                    <a:lnTo>
                      <a:pt x="799" y="329"/>
                    </a:lnTo>
                    <a:lnTo>
                      <a:pt x="802" y="332"/>
                    </a:lnTo>
                    <a:lnTo>
                      <a:pt x="802" y="336"/>
                    </a:lnTo>
                    <a:lnTo>
                      <a:pt x="807" y="342"/>
                    </a:lnTo>
                    <a:lnTo>
                      <a:pt x="807" y="347"/>
                    </a:lnTo>
                    <a:lnTo>
                      <a:pt x="814" y="351"/>
                    </a:lnTo>
                    <a:lnTo>
                      <a:pt x="815" y="359"/>
                    </a:lnTo>
                    <a:lnTo>
                      <a:pt x="812" y="362"/>
                    </a:lnTo>
                    <a:lnTo>
                      <a:pt x="810" y="365"/>
                    </a:lnTo>
                    <a:lnTo>
                      <a:pt x="815" y="370"/>
                    </a:lnTo>
                    <a:lnTo>
                      <a:pt x="812" y="370"/>
                    </a:lnTo>
                    <a:lnTo>
                      <a:pt x="812" y="374"/>
                    </a:lnTo>
                    <a:lnTo>
                      <a:pt x="807" y="375"/>
                    </a:lnTo>
                    <a:lnTo>
                      <a:pt x="807" y="382"/>
                    </a:lnTo>
                    <a:lnTo>
                      <a:pt x="802" y="384"/>
                    </a:lnTo>
                    <a:lnTo>
                      <a:pt x="792" y="382"/>
                    </a:lnTo>
                    <a:lnTo>
                      <a:pt x="782" y="370"/>
                    </a:lnTo>
                    <a:lnTo>
                      <a:pt x="777" y="372"/>
                    </a:lnTo>
                    <a:lnTo>
                      <a:pt x="767" y="369"/>
                    </a:lnTo>
                    <a:lnTo>
                      <a:pt x="752" y="367"/>
                    </a:lnTo>
                    <a:lnTo>
                      <a:pt x="746" y="370"/>
                    </a:lnTo>
                    <a:lnTo>
                      <a:pt x="732" y="367"/>
                    </a:lnTo>
                    <a:lnTo>
                      <a:pt x="721" y="369"/>
                    </a:lnTo>
                    <a:lnTo>
                      <a:pt x="716" y="370"/>
                    </a:lnTo>
                    <a:lnTo>
                      <a:pt x="709" y="369"/>
                    </a:lnTo>
                    <a:lnTo>
                      <a:pt x="706" y="372"/>
                    </a:lnTo>
                    <a:lnTo>
                      <a:pt x="701" y="374"/>
                    </a:lnTo>
                    <a:lnTo>
                      <a:pt x="687" y="372"/>
                    </a:lnTo>
                    <a:lnTo>
                      <a:pt x="677" y="370"/>
                    </a:lnTo>
                    <a:lnTo>
                      <a:pt x="672" y="367"/>
                    </a:lnTo>
                    <a:lnTo>
                      <a:pt x="664" y="367"/>
                    </a:lnTo>
                    <a:lnTo>
                      <a:pt x="662" y="369"/>
                    </a:lnTo>
                    <a:lnTo>
                      <a:pt x="656" y="369"/>
                    </a:lnTo>
                    <a:lnTo>
                      <a:pt x="653" y="367"/>
                    </a:lnTo>
                    <a:lnTo>
                      <a:pt x="649" y="369"/>
                    </a:lnTo>
                    <a:lnTo>
                      <a:pt x="649" y="374"/>
                    </a:lnTo>
                    <a:lnTo>
                      <a:pt x="651" y="379"/>
                    </a:lnTo>
                    <a:lnTo>
                      <a:pt x="651" y="384"/>
                    </a:lnTo>
                    <a:lnTo>
                      <a:pt x="644" y="385"/>
                    </a:lnTo>
                    <a:lnTo>
                      <a:pt x="629" y="385"/>
                    </a:lnTo>
                    <a:lnTo>
                      <a:pt x="611" y="384"/>
                    </a:lnTo>
                    <a:lnTo>
                      <a:pt x="606" y="382"/>
                    </a:lnTo>
                    <a:lnTo>
                      <a:pt x="599" y="380"/>
                    </a:lnTo>
                    <a:lnTo>
                      <a:pt x="594" y="385"/>
                    </a:lnTo>
                    <a:lnTo>
                      <a:pt x="596" y="387"/>
                    </a:lnTo>
                    <a:lnTo>
                      <a:pt x="591" y="390"/>
                    </a:lnTo>
                    <a:lnTo>
                      <a:pt x="589" y="392"/>
                    </a:lnTo>
                    <a:lnTo>
                      <a:pt x="588" y="392"/>
                    </a:lnTo>
                    <a:lnTo>
                      <a:pt x="583" y="399"/>
                    </a:lnTo>
                    <a:lnTo>
                      <a:pt x="579" y="400"/>
                    </a:lnTo>
                    <a:lnTo>
                      <a:pt x="569" y="410"/>
                    </a:lnTo>
                    <a:lnTo>
                      <a:pt x="566" y="417"/>
                    </a:lnTo>
                    <a:lnTo>
                      <a:pt x="563" y="419"/>
                    </a:lnTo>
                    <a:lnTo>
                      <a:pt x="560" y="427"/>
                    </a:lnTo>
                    <a:lnTo>
                      <a:pt x="550" y="435"/>
                    </a:lnTo>
                    <a:lnTo>
                      <a:pt x="546" y="434"/>
                    </a:lnTo>
                    <a:lnTo>
                      <a:pt x="536" y="429"/>
                    </a:lnTo>
                    <a:lnTo>
                      <a:pt x="528" y="429"/>
                    </a:lnTo>
                    <a:lnTo>
                      <a:pt x="520" y="429"/>
                    </a:lnTo>
                    <a:lnTo>
                      <a:pt x="510" y="435"/>
                    </a:lnTo>
                    <a:lnTo>
                      <a:pt x="505" y="434"/>
                    </a:lnTo>
                    <a:lnTo>
                      <a:pt x="495" y="409"/>
                    </a:lnTo>
                    <a:lnTo>
                      <a:pt x="476" y="407"/>
                    </a:lnTo>
                    <a:lnTo>
                      <a:pt x="476" y="375"/>
                    </a:lnTo>
                    <a:lnTo>
                      <a:pt x="468" y="379"/>
                    </a:lnTo>
                    <a:lnTo>
                      <a:pt x="462" y="365"/>
                    </a:lnTo>
                    <a:lnTo>
                      <a:pt x="450" y="357"/>
                    </a:lnTo>
                    <a:lnTo>
                      <a:pt x="410" y="357"/>
                    </a:lnTo>
                    <a:lnTo>
                      <a:pt x="373" y="360"/>
                    </a:lnTo>
                    <a:lnTo>
                      <a:pt x="354" y="349"/>
                    </a:lnTo>
                    <a:lnTo>
                      <a:pt x="339" y="344"/>
                    </a:lnTo>
                    <a:lnTo>
                      <a:pt x="300" y="319"/>
                    </a:lnTo>
                    <a:lnTo>
                      <a:pt x="236" y="331"/>
                    </a:lnTo>
                    <a:lnTo>
                      <a:pt x="256" y="435"/>
                    </a:lnTo>
                    <a:lnTo>
                      <a:pt x="252" y="435"/>
                    </a:lnTo>
                    <a:lnTo>
                      <a:pt x="242" y="437"/>
                    </a:lnTo>
                    <a:lnTo>
                      <a:pt x="226" y="420"/>
                    </a:lnTo>
                    <a:lnTo>
                      <a:pt x="209" y="412"/>
                    </a:lnTo>
                    <a:lnTo>
                      <a:pt x="194" y="410"/>
                    </a:lnTo>
                    <a:lnTo>
                      <a:pt x="182" y="414"/>
                    </a:lnTo>
                    <a:lnTo>
                      <a:pt x="167" y="425"/>
                    </a:lnTo>
                    <a:lnTo>
                      <a:pt x="166" y="420"/>
                    </a:lnTo>
                    <a:lnTo>
                      <a:pt x="164" y="415"/>
                    </a:lnTo>
                    <a:lnTo>
                      <a:pt x="167" y="409"/>
                    </a:lnTo>
                    <a:lnTo>
                      <a:pt x="169" y="402"/>
                    </a:lnTo>
                    <a:lnTo>
                      <a:pt x="167" y="400"/>
                    </a:lnTo>
                    <a:lnTo>
                      <a:pt x="169" y="399"/>
                    </a:lnTo>
                    <a:lnTo>
                      <a:pt x="167" y="397"/>
                    </a:lnTo>
                    <a:lnTo>
                      <a:pt x="163" y="399"/>
                    </a:lnTo>
                    <a:lnTo>
                      <a:pt x="158" y="397"/>
                    </a:lnTo>
                    <a:lnTo>
                      <a:pt x="154" y="395"/>
                    </a:lnTo>
                    <a:lnTo>
                      <a:pt x="151" y="397"/>
                    </a:lnTo>
                    <a:lnTo>
                      <a:pt x="148" y="397"/>
                    </a:lnTo>
                    <a:lnTo>
                      <a:pt x="146" y="392"/>
                    </a:lnTo>
                    <a:lnTo>
                      <a:pt x="144" y="390"/>
                    </a:lnTo>
                    <a:lnTo>
                      <a:pt x="143" y="387"/>
                    </a:lnTo>
                    <a:lnTo>
                      <a:pt x="139" y="385"/>
                    </a:lnTo>
                    <a:lnTo>
                      <a:pt x="138" y="387"/>
                    </a:lnTo>
                    <a:lnTo>
                      <a:pt x="134" y="389"/>
                    </a:lnTo>
                    <a:lnTo>
                      <a:pt x="131" y="387"/>
                    </a:lnTo>
                    <a:lnTo>
                      <a:pt x="133" y="382"/>
                    </a:lnTo>
                    <a:lnTo>
                      <a:pt x="131" y="379"/>
                    </a:lnTo>
                    <a:lnTo>
                      <a:pt x="124" y="370"/>
                    </a:lnTo>
                    <a:lnTo>
                      <a:pt x="124" y="369"/>
                    </a:lnTo>
                    <a:lnTo>
                      <a:pt x="121" y="367"/>
                    </a:lnTo>
                    <a:lnTo>
                      <a:pt x="119" y="364"/>
                    </a:lnTo>
                    <a:lnTo>
                      <a:pt x="118" y="362"/>
                    </a:lnTo>
                    <a:lnTo>
                      <a:pt x="116" y="359"/>
                    </a:lnTo>
                    <a:lnTo>
                      <a:pt x="111" y="357"/>
                    </a:lnTo>
                    <a:lnTo>
                      <a:pt x="108" y="357"/>
                    </a:lnTo>
                    <a:lnTo>
                      <a:pt x="104" y="354"/>
                    </a:lnTo>
                    <a:lnTo>
                      <a:pt x="104" y="351"/>
                    </a:lnTo>
                    <a:lnTo>
                      <a:pt x="108" y="349"/>
                    </a:lnTo>
                    <a:lnTo>
                      <a:pt x="109" y="351"/>
                    </a:lnTo>
                    <a:lnTo>
                      <a:pt x="116" y="349"/>
                    </a:lnTo>
                    <a:lnTo>
                      <a:pt x="119" y="351"/>
                    </a:lnTo>
                    <a:lnTo>
                      <a:pt x="121" y="351"/>
                    </a:lnTo>
                    <a:lnTo>
                      <a:pt x="123" y="351"/>
                    </a:lnTo>
                    <a:lnTo>
                      <a:pt x="126" y="349"/>
                    </a:lnTo>
                    <a:lnTo>
                      <a:pt x="128" y="349"/>
                    </a:lnTo>
                    <a:lnTo>
                      <a:pt x="133" y="349"/>
                    </a:lnTo>
                    <a:lnTo>
                      <a:pt x="134" y="349"/>
                    </a:lnTo>
                    <a:lnTo>
                      <a:pt x="133" y="347"/>
                    </a:lnTo>
                    <a:lnTo>
                      <a:pt x="128" y="347"/>
                    </a:lnTo>
                    <a:lnTo>
                      <a:pt x="126" y="346"/>
                    </a:lnTo>
                    <a:lnTo>
                      <a:pt x="126" y="342"/>
                    </a:lnTo>
                    <a:lnTo>
                      <a:pt x="121" y="337"/>
                    </a:lnTo>
                    <a:lnTo>
                      <a:pt x="121" y="336"/>
                    </a:lnTo>
                    <a:lnTo>
                      <a:pt x="123" y="334"/>
                    </a:lnTo>
                    <a:lnTo>
                      <a:pt x="123" y="331"/>
                    </a:lnTo>
                    <a:lnTo>
                      <a:pt x="123" y="329"/>
                    </a:lnTo>
                    <a:lnTo>
                      <a:pt x="126" y="326"/>
                    </a:lnTo>
                    <a:lnTo>
                      <a:pt x="131" y="324"/>
                    </a:lnTo>
                    <a:lnTo>
                      <a:pt x="134" y="322"/>
                    </a:lnTo>
                    <a:lnTo>
                      <a:pt x="139" y="324"/>
                    </a:lnTo>
                    <a:lnTo>
                      <a:pt x="144" y="324"/>
                    </a:lnTo>
                    <a:lnTo>
                      <a:pt x="148" y="322"/>
                    </a:lnTo>
                    <a:lnTo>
                      <a:pt x="149" y="324"/>
                    </a:lnTo>
                    <a:lnTo>
                      <a:pt x="151" y="324"/>
                    </a:lnTo>
                    <a:lnTo>
                      <a:pt x="154" y="324"/>
                    </a:lnTo>
                    <a:lnTo>
                      <a:pt x="159" y="327"/>
                    </a:lnTo>
                    <a:lnTo>
                      <a:pt x="163" y="327"/>
                    </a:lnTo>
                    <a:lnTo>
                      <a:pt x="167" y="326"/>
                    </a:lnTo>
                    <a:lnTo>
                      <a:pt x="169" y="324"/>
                    </a:lnTo>
                    <a:lnTo>
                      <a:pt x="166" y="322"/>
                    </a:lnTo>
                    <a:lnTo>
                      <a:pt x="161" y="321"/>
                    </a:lnTo>
                    <a:lnTo>
                      <a:pt x="158" y="316"/>
                    </a:lnTo>
                    <a:lnTo>
                      <a:pt x="158" y="311"/>
                    </a:lnTo>
                    <a:lnTo>
                      <a:pt x="161" y="309"/>
                    </a:lnTo>
                    <a:lnTo>
                      <a:pt x="163" y="307"/>
                    </a:lnTo>
                    <a:lnTo>
                      <a:pt x="161" y="306"/>
                    </a:lnTo>
                    <a:lnTo>
                      <a:pt x="159" y="304"/>
                    </a:lnTo>
                    <a:lnTo>
                      <a:pt x="159" y="302"/>
                    </a:lnTo>
                    <a:lnTo>
                      <a:pt x="163" y="297"/>
                    </a:lnTo>
                    <a:lnTo>
                      <a:pt x="163" y="294"/>
                    </a:lnTo>
                    <a:lnTo>
                      <a:pt x="159" y="291"/>
                    </a:lnTo>
                    <a:lnTo>
                      <a:pt x="158" y="287"/>
                    </a:lnTo>
                    <a:lnTo>
                      <a:pt x="159" y="286"/>
                    </a:lnTo>
                    <a:lnTo>
                      <a:pt x="159" y="284"/>
                    </a:lnTo>
                    <a:lnTo>
                      <a:pt x="156" y="284"/>
                    </a:lnTo>
                    <a:lnTo>
                      <a:pt x="154" y="281"/>
                    </a:lnTo>
                    <a:lnTo>
                      <a:pt x="154" y="279"/>
                    </a:lnTo>
                    <a:lnTo>
                      <a:pt x="146" y="279"/>
                    </a:lnTo>
                    <a:lnTo>
                      <a:pt x="143" y="277"/>
                    </a:lnTo>
                    <a:lnTo>
                      <a:pt x="139" y="279"/>
                    </a:lnTo>
                    <a:lnTo>
                      <a:pt x="138" y="281"/>
                    </a:lnTo>
                    <a:lnTo>
                      <a:pt x="136" y="281"/>
                    </a:lnTo>
                    <a:lnTo>
                      <a:pt x="136" y="284"/>
                    </a:lnTo>
                    <a:lnTo>
                      <a:pt x="133" y="284"/>
                    </a:lnTo>
                    <a:lnTo>
                      <a:pt x="129" y="284"/>
                    </a:lnTo>
                    <a:lnTo>
                      <a:pt x="129" y="282"/>
                    </a:lnTo>
                    <a:lnTo>
                      <a:pt x="126" y="282"/>
                    </a:lnTo>
                    <a:lnTo>
                      <a:pt x="124" y="282"/>
                    </a:lnTo>
                    <a:lnTo>
                      <a:pt x="123" y="281"/>
                    </a:lnTo>
                    <a:lnTo>
                      <a:pt x="123" y="277"/>
                    </a:lnTo>
                    <a:lnTo>
                      <a:pt x="123" y="276"/>
                    </a:lnTo>
                    <a:lnTo>
                      <a:pt x="119" y="277"/>
                    </a:lnTo>
                    <a:lnTo>
                      <a:pt x="118" y="277"/>
                    </a:lnTo>
                    <a:lnTo>
                      <a:pt x="114" y="276"/>
                    </a:lnTo>
                    <a:lnTo>
                      <a:pt x="108" y="276"/>
                    </a:lnTo>
                    <a:lnTo>
                      <a:pt x="104" y="279"/>
                    </a:lnTo>
                    <a:lnTo>
                      <a:pt x="104" y="282"/>
                    </a:lnTo>
                    <a:lnTo>
                      <a:pt x="103" y="284"/>
                    </a:lnTo>
                    <a:lnTo>
                      <a:pt x="101" y="282"/>
                    </a:lnTo>
                    <a:lnTo>
                      <a:pt x="99" y="282"/>
                    </a:lnTo>
                    <a:lnTo>
                      <a:pt x="96" y="286"/>
                    </a:lnTo>
                    <a:lnTo>
                      <a:pt x="93" y="286"/>
                    </a:lnTo>
                    <a:lnTo>
                      <a:pt x="91" y="287"/>
                    </a:lnTo>
                    <a:lnTo>
                      <a:pt x="88" y="291"/>
                    </a:lnTo>
                    <a:lnTo>
                      <a:pt x="84" y="291"/>
                    </a:lnTo>
                    <a:lnTo>
                      <a:pt x="84" y="294"/>
                    </a:lnTo>
                    <a:lnTo>
                      <a:pt x="83" y="296"/>
                    </a:lnTo>
                    <a:lnTo>
                      <a:pt x="81" y="294"/>
                    </a:lnTo>
                    <a:lnTo>
                      <a:pt x="78" y="292"/>
                    </a:lnTo>
                    <a:lnTo>
                      <a:pt x="76" y="296"/>
                    </a:lnTo>
                    <a:lnTo>
                      <a:pt x="73" y="296"/>
                    </a:lnTo>
                    <a:lnTo>
                      <a:pt x="73" y="292"/>
                    </a:lnTo>
                    <a:lnTo>
                      <a:pt x="71" y="2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6" name="Freeform 12">
                <a:extLst>
                  <a:ext uri="{FF2B5EF4-FFF2-40B4-BE49-F238E27FC236}">
                    <a16:creationId xmlns:a16="http://schemas.microsoft.com/office/drawing/2014/main" id="{5470111D-D329-7247-BBD3-5C31F68CC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93552" y="2699041"/>
                <a:ext cx="208698" cy="114135"/>
              </a:xfrm>
              <a:custGeom>
                <a:avLst/>
                <a:gdLst/>
                <a:ahLst/>
                <a:cxnLst>
                  <a:cxn ang="0">
                    <a:pos x="310" y="206"/>
                  </a:cxn>
                  <a:cxn ang="0">
                    <a:pos x="317" y="193"/>
                  </a:cxn>
                  <a:cxn ang="0">
                    <a:pos x="312" y="184"/>
                  </a:cxn>
                  <a:cxn ang="0">
                    <a:pos x="312" y="174"/>
                  </a:cxn>
                  <a:cxn ang="0">
                    <a:pos x="304" y="169"/>
                  </a:cxn>
                  <a:cxn ang="0">
                    <a:pos x="294" y="163"/>
                  </a:cxn>
                  <a:cxn ang="0">
                    <a:pos x="299" y="153"/>
                  </a:cxn>
                  <a:cxn ang="0">
                    <a:pos x="314" y="153"/>
                  </a:cxn>
                  <a:cxn ang="0">
                    <a:pos x="324" y="146"/>
                  </a:cxn>
                  <a:cxn ang="0">
                    <a:pos x="320" y="139"/>
                  </a:cxn>
                  <a:cxn ang="0">
                    <a:pos x="338" y="134"/>
                  </a:cxn>
                  <a:cxn ang="0">
                    <a:pos x="330" y="128"/>
                  </a:cxn>
                  <a:cxn ang="0">
                    <a:pos x="337" y="120"/>
                  </a:cxn>
                  <a:cxn ang="0">
                    <a:pos x="348" y="116"/>
                  </a:cxn>
                  <a:cxn ang="0">
                    <a:pos x="362" y="115"/>
                  </a:cxn>
                  <a:cxn ang="0">
                    <a:pos x="375" y="115"/>
                  </a:cxn>
                  <a:cxn ang="0">
                    <a:pos x="390" y="108"/>
                  </a:cxn>
                  <a:cxn ang="0">
                    <a:pos x="377" y="96"/>
                  </a:cxn>
                  <a:cxn ang="0">
                    <a:pos x="373" y="101"/>
                  </a:cxn>
                  <a:cxn ang="0">
                    <a:pos x="365" y="105"/>
                  </a:cxn>
                  <a:cxn ang="0">
                    <a:pos x="350" y="98"/>
                  </a:cxn>
                  <a:cxn ang="0">
                    <a:pos x="348" y="90"/>
                  </a:cxn>
                  <a:cxn ang="0">
                    <a:pos x="357" y="75"/>
                  </a:cxn>
                  <a:cxn ang="0">
                    <a:pos x="347" y="80"/>
                  </a:cxn>
                  <a:cxn ang="0">
                    <a:pos x="333" y="91"/>
                  </a:cxn>
                  <a:cxn ang="0">
                    <a:pos x="327" y="100"/>
                  </a:cxn>
                  <a:cxn ang="0">
                    <a:pos x="314" y="116"/>
                  </a:cxn>
                  <a:cxn ang="0">
                    <a:pos x="300" y="110"/>
                  </a:cxn>
                  <a:cxn ang="0">
                    <a:pos x="284" y="110"/>
                  </a:cxn>
                  <a:cxn ang="0">
                    <a:pos x="269" y="115"/>
                  </a:cxn>
                  <a:cxn ang="0">
                    <a:pos x="240" y="88"/>
                  </a:cxn>
                  <a:cxn ang="0">
                    <a:pos x="232" y="60"/>
                  </a:cxn>
                  <a:cxn ang="0">
                    <a:pos x="214" y="38"/>
                  </a:cxn>
                  <a:cxn ang="0">
                    <a:pos x="137" y="41"/>
                  </a:cxn>
                  <a:cxn ang="0">
                    <a:pos x="103" y="25"/>
                  </a:cxn>
                  <a:cxn ang="0">
                    <a:pos x="0" y="12"/>
                  </a:cxn>
                  <a:cxn ang="0">
                    <a:pos x="31" y="115"/>
                  </a:cxn>
                  <a:cxn ang="0">
                    <a:pos x="43" y="111"/>
                  </a:cxn>
                  <a:cxn ang="0">
                    <a:pos x="38" y="100"/>
                  </a:cxn>
                  <a:cxn ang="0">
                    <a:pos x="49" y="90"/>
                  </a:cxn>
                  <a:cxn ang="0">
                    <a:pos x="59" y="81"/>
                  </a:cxn>
                  <a:cxn ang="0">
                    <a:pos x="68" y="83"/>
                  </a:cxn>
                  <a:cxn ang="0">
                    <a:pos x="74" y="78"/>
                  </a:cxn>
                  <a:cxn ang="0">
                    <a:pos x="106" y="93"/>
                  </a:cxn>
                  <a:cxn ang="0">
                    <a:pos x="126" y="106"/>
                  </a:cxn>
                  <a:cxn ang="0">
                    <a:pos x="144" y="111"/>
                  </a:cxn>
                  <a:cxn ang="0">
                    <a:pos x="159" y="118"/>
                  </a:cxn>
                  <a:cxn ang="0">
                    <a:pos x="167" y="134"/>
                  </a:cxn>
                  <a:cxn ang="0">
                    <a:pos x="176" y="149"/>
                  </a:cxn>
                  <a:cxn ang="0">
                    <a:pos x="199" y="163"/>
                  </a:cxn>
                  <a:cxn ang="0">
                    <a:pos x="234" y="181"/>
                  </a:cxn>
                  <a:cxn ang="0">
                    <a:pos x="264" y="193"/>
                  </a:cxn>
                  <a:cxn ang="0">
                    <a:pos x="270" y="194"/>
                  </a:cxn>
                  <a:cxn ang="0">
                    <a:pos x="279" y="206"/>
                  </a:cxn>
                  <a:cxn ang="0">
                    <a:pos x="287" y="214"/>
                  </a:cxn>
                  <a:cxn ang="0">
                    <a:pos x="295" y="221"/>
                  </a:cxn>
                  <a:cxn ang="0">
                    <a:pos x="302" y="218"/>
                  </a:cxn>
                  <a:cxn ang="0">
                    <a:pos x="309" y="219"/>
                  </a:cxn>
                </a:cxnLst>
                <a:rect l="0" t="0" r="r" b="b"/>
                <a:pathLst>
                  <a:path w="390" h="221">
                    <a:moveTo>
                      <a:pt x="309" y="219"/>
                    </a:moveTo>
                    <a:lnTo>
                      <a:pt x="310" y="206"/>
                    </a:lnTo>
                    <a:lnTo>
                      <a:pt x="315" y="196"/>
                    </a:lnTo>
                    <a:lnTo>
                      <a:pt x="317" y="193"/>
                    </a:lnTo>
                    <a:lnTo>
                      <a:pt x="317" y="186"/>
                    </a:lnTo>
                    <a:lnTo>
                      <a:pt x="312" y="184"/>
                    </a:lnTo>
                    <a:lnTo>
                      <a:pt x="309" y="179"/>
                    </a:lnTo>
                    <a:lnTo>
                      <a:pt x="312" y="174"/>
                    </a:lnTo>
                    <a:lnTo>
                      <a:pt x="310" y="169"/>
                    </a:lnTo>
                    <a:lnTo>
                      <a:pt x="304" y="169"/>
                    </a:lnTo>
                    <a:lnTo>
                      <a:pt x="299" y="171"/>
                    </a:lnTo>
                    <a:lnTo>
                      <a:pt x="294" y="163"/>
                    </a:lnTo>
                    <a:lnTo>
                      <a:pt x="294" y="156"/>
                    </a:lnTo>
                    <a:lnTo>
                      <a:pt x="299" y="153"/>
                    </a:lnTo>
                    <a:lnTo>
                      <a:pt x="309" y="154"/>
                    </a:lnTo>
                    <a:lnTo>
                      <a:pt x="314" y="153"/>
                    </a:lnTo>
                    <a:lnTo>
                      <a:pt x="314" y="148"/>
                    </a:lnTo>
                    <a:lnTo>
                      <a:pt x="324" y="146"/>
                    </a:lnTo>
                    <a:lnTo>
                      <a:pt x="322" y="143"/>
                    </a:lnTo>
                    <a:lnTo>
                      <a:pt x="320" y="139"/>
                    </a:lnTo>
                    <a:lnTo>
                      <a:pt x="330" y="138"/>
                    </a:lnTo>
                    <a:lnTo>
                      <a:pt x="338" y="134"/>
                    </a:lnTo>
                    <a:lnTo>
                      <a:pt x="338" y="131"/>
                    </a:lnTo>
                    <a:lnTo>
                      <a:pt x="330" y="128"/>
                    </a:lnTo>
                    <a:lnTo>
                      <a:pt x="332" y="121"/>
                    </a:lnTo>
                    <a:lnTo>
                      <a:pt x="337" y="120"/>
                    </a:lnTo>
                    <a:lnTo>
                      <a:pt x="343" y="116"/>
                    </a:lnTo>
                    <a:lnTo>
                      <a:pt x="348" y="116"/>
                    </a:lnTo>
                    <a:lnTo>
                      <a:pt x="357" y="110"/>
                    </a:lnTo>
                    <a:lnTo>
                      <a:pt x="362" y="115"/>
                    </a:lnTo>
                    <a:lnTo>
                      <a:pt x="363" y="116"/>
                    </a:lnTo>
                    <a:lnTo>
                      <a:pt x="375" y="115"/>
                    </a:lnTo>
                    <a:lnTo>
                      <a:pt x="383" y="116"/>
                    </a:lnTo>
                    <a:lnTo>
                      <a:pt x="390" y="108"/>
                    </a:lnTo>
                    <a:lnTo>
                      <a:pt x="390" y="105"/>
                    </a:lnTo>
                    <a:lnTo>
                      <a:pt x="377" y="96"/>
                    </a:lnTo>
                    <a:lnTo>
                      <a:pt x="375" y="95"/>
                    </a:lnTo>
                    <a:lnTo>
                      <a:pt x="373" y="101"/>
                    </a:lnTo>
                    <a:lnTo>
                      <a:pt x="370" y="106"/>
                    </a:lnTo>
                    <a:lnTo>
                      <a:pt x="365" y="105"/>
                    </a:lnTo>
                    <a:lnTo>
                      <a:pt x="360" y="100"/>
                    </a:lnTo>
                    <a:lnTo>
                      <a:pt x="350" y="98"/>
                    </a:lnTo>
                    <a:lnTo>
                      <a:pt x="345" y="95"/>
                    </a:lnTo>
                    <a:lnTo>
                      <a:pt x="348" y="90"/>
                    </a:lnTo>
                    <a:lnTo>
                      <a:pt x="357" y="78"/>
                    </a:lnTo>
                    <a:lnTo>
                      <a:pt x="357" y="75"/>
                    </a:lnTo>
                    <a:lnTo>
                      <a:pt x="352" y="73"/>
                    </a:lnTo>
                    <a:lnTo>
                      <a:pt x="347" y="80"/>
                    </a:lnTo>
                    <a:lnTo>
                      <a:pt x="343" y="81"/>
                    </a:lnTo>
                    <a:lnTo>
                      <a:pt x="333" y="91"/>
                    </a:lnTo>
                    <a:lnTo>
                      <a:pt x="330" y="98"/>
                    </a:lnTo>
                    <a:lnTo>
                      <a:pt x="327" y="100"/>
                    </a:lnTo>
                    <a:lnTo>
                      <a:pt x="324" y="108"/>
                    </a:lnTo>
                    <a:lnTo>
                      <a:pt x="314" y="116"/>
                    </a:lnTo>
                    <a:lnTo>
                      <a:pt x="310" y="115"/>
                    </a:lnTo>
                    <a:lnTo>
                      <a:pt x="300" y="110"/>
                    </a:lnTo>
                    <a:lnTo>
                      <a:pt x="292" y="110"/>
                    </a:lnTo>
                    <a:lnTo>
                      <a:pt x="284" y="110"/>
                    </a:lnTo>
                    <a:lnTo>
                      <a:pt x="274" y="116"/>
                    </a:lnTo>
                    <a:lnTo>
                      <a:pt x="269" y="115"/>
                    </a:lnTo>
                    <a:lnTo>
                      <a:pt x="259" y="90"/>
                    </a:lnTo>
                    <a:lnTo>
                      <a:pt x="240" y="88"/>
                    </a:lnTo>
                    <a:lnTo>
                      <a:pt x="240" y="56"/>
                    </a:lnTo>
                    <a:lnTo>
                      <a:pt x="232" y="60"/>
                    </a:lnTo>
                    <a:lnTo>
                      <a:pt x="226" y="46"/>
                    </a:lnTo>
                    <a:lnTo>
                      <a:pt x="214" y="38"/>
                    </a:lnTo>
                    <a:lnTo>
                      <a:pt x="174" y="38"/>
                    </a:lnTo>
                    <a:lnTo>
                      <a:pt x="137" y="41"/>
                    </a:lnTo>
                    <a:lnTo>
                      <a:pt x="118" y="30"/>
                    </a:lnTo>
                    <a:lnTo>
                      <a:pt x="103" y="25"/>
                    </a:lnTo>
                    <a:lnTo>
                      <a:pt x="64" y="0"/>
                    </a:lnTo>
                    <a:lnTo>
                      <a:pt x="0" y="12"/>
                    </a:lnTo>
                    <a:lnTo>
                      <a:pt x="20" y="116"/>
                    </a:lnTo>
                    <a:lnTo>
                      <a:pt x="31" y="115"/>
                    </a:lnTo>
                    <a:lnTo>
                      <a:pt x="41" y="116"/>
                    </a:lnTo>
                    <a:lnTo>
                      <a:pt x="43" y="111"/>
                    </a:lnTo>
                    <a:lnTo>
                      <a:pt x="39" y="108"/>
                    </a:lnTo>
                    <a:lnTo>
                      <a:pt x="38" y="100"/>
                    </a:lnTo>
                    <a:lnTo>
                      <a:pt x="43" y="90"/>
                    </a:lnTo>
                    <a:lnTo>
                      <a:pt x="49" y="90"/>
                    </a:lnTo>
                    <a:lnTo>
                      <a:pt x="54" y="85"/>
                    </a:lnTo>
                    <a:lnTo>
                      <a:pt x="59" y="81"/>
                    </a:lnTo>
                    <a:lnTo>
                      <a:pt x="64" y="85"/>
                    </a:lnTo>
                    <a:lnTo>
                      <a:pt x="68" y="83"/>
                    </a:lnTo>
                    <a:lnTo>
                      <a:pt x="64" y="78"/>
                    </a:lnTo>
                    <a:lnTo>
                      <a:pt x="74" y="78"/>
                    </a:lnTo>
                    <a:lnTo>
                      <a:pt x="91" y="86"/>
                    </a:lnTo>
                    <a:lnTo>
                      <a:pt x="106" y="93"/>
                    </a:lnTo>
                    <a:lnTo>
                      <a:pt x="108" y="98"/>
                    </a:lnTo>
                    <a:lnTo>
                      <a:pt x="126" y="106"/>
                    </a:lnTo>
                    <a:lnTo>
                      <a:pt x="139" y="113"/>
                    </a:lnTo>
                    <a:lnTo>
                      <a:pt x="144" y="111"/>
                    </a:lnTo>
                    <a:lnTo>
                      <a:pt x="149" y="111"/>
                    </a:lnTo>
                    <a:lnTo>
                      <a:pt x="159" y="118"/>
                    </a:lnTo>
                    <a:lnTo>
                      <a:pt x="162" y="131"/>
                    </a:lnTo>
                    <a:lnTo>
                      <a:pt x="167" y="134"/>
                    </a:lnTo>
                    <a:lnTo>
                      <a:pt x="169" y="141"/>
                    </a:lnTo>
                    <a:lnTo>
                      <a:pt x="176" y="149"/>
                    </a:lnTo>
                    <a:lnTo>
                      <a:pt x="184" y="153"/>
                    </a:lnTo>
                    <a:lnTo>
                      <a:pt x="199" y="163"/>
                    </a:lnTo>
                    <a:lnTo>
                      <a:pt x="216" y="173"/>
                    </a:lnTo>
                    <a:lnTo>
                      <a:pt x="234" y="181"/>
                    </a:lnTo>
                    <a:lnTo>
                      <a:pt x="250" y="191"/>
                    </a:lnTo>
                    <a:lnTo>
                      <a:pt x="264" y="193"/>
                    </a:lnTo>
                    <a:lnTo>
                      <a:pt x="265" y="196"/>
                    </a:lnTo>
                    <a:lnTo>
                      <a:pt x="270" y="194"/>
                    </a:lnTo>
                    <a:lnTo>
                      <a:pt x="279" y="201"/>
                    </a:lnTo>
                    <a:lnTo>
                      <a:pt x="279" y="206"/>
                    </a:lnTo>
                    <a:lnTo>
                      <a:pt x="280" y="216"/>
                    </a:lnTo>
                    <a:lnTo>
                      <a:pt x="287" y="214"/>
                    </a:lnTo>
                    <a:lnTo>
                      <a:pt x="292" y="216"/>
                    </a:lnTo>
                    <a:lnTo>
                      <a:pt x="295" y="221"/>
                    </a:lnTo>
                    <a:lnTo>
                      <a:pt x="299" y="221"/>
                    </a:lnTo>
                    <a:lnTo>
                      <a:pt x="302" y="218"/>
                    </a:lnTo>
                    <a:lnTo>
                      <a:pt x="307" y="218"/>
                    </a:lnTo>
                    <a:lnTo>
                      <a:pt x="309" y="2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7" name="Freeform 13">
                <a:extLst>
                  <a:ext uri="{FF2B5EF4-FFF2-40B4-BE49-F238E27FC236}">
                    <a16:creationId xmlns:a16="http://schemas.microsoft.com/office/drawing/2014/main" id="{B82B7E40-4286-A64D-ABB4-97FA37B33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7163" y="2739507"/>
                <a:ext cx="186223" cy="102722"/>
              </a:xfrm>
              <a:custGeom>
                <a:avLst/>
                <a:gdLst/>
                <a:ahLst/>
                <a:cxnLst>
                  <a:cxn ang="0">
                    <a:pos x="348" y="123"/>
                  </a:cxn>
                  <a:cxn ang="0">
                    <a:pos x="333" y="115"/>
                  </a:cxn>
                  <a:cxn ang="0">
                    <a:pos x="285" y="95"/>
                  </a:cxn>
                  <a:cxn ang="0">
                    <a:pos x="245" y="71"/>
                  </a:cxn>
                  <a:cxn ang="0">
                    <a:pos x="231" y="53"/>
                  </a:cxn>
                  <a:cxn ang="0">
                    <a:pos x="213" y="33"/>
                  </a:cxn>
                  <a:cxn ang="0">
                    <a:pos x="177" y="20"/>
                  </a:cxn>
                  <a:cxn ang="0">
                    <a:pos x="143" y="0"/>
                  </a:cxn>
                  <a:cxn ang="0">
                    <a:pos x="133" y="7"/>
                  </a:cxn>
                  <a:cxn ang="0">
                    <a:pos x="118" y="12"/>
                  </a:cxn>
                  <a:cxn ang="0">
                    <a:pos x="108" y="30"/>
                  </a:cxn>
                  <a:cxn ang="0">
                    <a:pos x="100" y="37"/>
                  </a:cxn>
                  <a:cxn ang="0">
                    <a:pos x="59" y="23"/>
                  </a:cxn>
                  <a:cxn ang="0">
                    <a:pos x="15" y="17"/>
                  </a:cxn>
                  <a:cxn ang="0">
                    <a:pos x="4" y="33"/>
                  </a:cxn>
                  <a:cxn ang="0">
                    <a:pos x="10" y="43"/>
                  </a:cxn>
                  <a:cxn ang="0">
                    <a:pos x="12" y="61"/>
                  </a:cxn>
                  <a:cxn ang="0">
                    <a:pos x="17" y="80"/>
                  </a:cxn>
                  <a:cxn ang="0">
                    <a:pos x="22" y="81"/>
                  </a:cxn>
                  <a:cxn ang="0">
                    <a:pos x="34" y="78"/>
                  </a:cxn>
                  <a:cxn ang="0">
                    <a:pos x="35" y="90"/>
                  </a:cxn>
                  <a:cxn ang="0">
                    <a:pos x="40" y="93"/>
                  </a:cxn>
                  <a:cxn ang="0">
                    <a:pos x="32" y="91"/>
                  </a:cxn>
                  <a:cxn ang="0">
                    <a:pos x="30" y="103"/>
                  </a:cxn>
                  <a:cxn ang="0">
                    <a:pos x="35" y="98"/>
                  </a:cxn>
                  <a:cxn ang="0">
                    <a:pos x="47" y="106"/>
                  </a:cxn>
                  <a:cxn ang="0">
                    <a:pos x="50" y="120"/>
                  </a:cxn>
                  <a:cxn ang="0">
                    <a:pos x="55" y="150"/>
                  </a:cxn>
                  <a:cxn ang="0">
                    <a:pos x="75" y="141"/>
                  </a:cxn>
                  <a:cxn ang="0">
                    <a:pos x="92" y="130"/>
                  </a:cxn>
                  <a:cxn ang="0">
                    <a:pos x="113" y="125"/>
                  </a:cxn>
                  <a:cxn ang="0">
                    <a:pos x="128" y="125"/>
                  </a:cxn>
                  <a:cxn ang="0">
                    <a:pos x="158" y="141"/>
                  </a:cxn>
                  <a:cxn ang="0">
                    <a:pos x="177" y="141"/>
                  </a:cxn>
                  <a:cxn ang="0">
                    <a:pos x="185" y="151"/>
                  </a:cxn>
                  <a:cxn ang="0">
                    <a:pos x="208" y="163"/>
                  </a:cxn>
                  <a:cxn ang="0">
                    <a:pos x="230" y="173"/>
                  </a:cxn>
                  <a:cxn ang="0">
                    <a:pos x="230" y="184"/>
                  </a:cxn>
                  <a:cxn ang="0">
                    <a:pos x="240" y="189"/>
                  </a:cxn>
                  <a:cxn ang="0">
                    <a:pos x="250" y="189"/>
                  </a:cxn>
                  <a:cxn ang="0">
                    <a:pos x="261" y="196"/>
                  </a:cxn>
                  <a:cxn ang="0">
                    <a:pos x="273" y="194"/>
                  </a:cxn>
                  <a:cxn ang="0">
                    <a:pos x="280" y="184"/>
                  </a:cxn>
                  <a:cxn ang="0">
                    <a:pos x="296" y="176"/>
                  </a:cxn>
                  <a:cxn ang="0">
                    <a:pos x="304" y="171"/>
                  </a:cxn>
                  <a:cxn ang="0">
                    <a:pos x="311" y="154"/>
                  </a:cxn>
                  <a:cxn ang="0">
                    <a:pos x="309" y="145"/>
                  </a:cxn>
                  <a:cxn ang="0">
                    <a:pos x="321" y="141"/>
                  </a:cxn>
                  <a:cxn ang="0">
                    <a:pos x="336" y="135"/>
                  </a:cxn>
                  <a:cxn ang="0">
                    <a:pos x="348" y="138"/>
                  </a:cxn>
                </a:cxnLst>
                <a:rect l="0" t="0" r="r" b="b"/>
                <a:pathLst>
                  <a:path w="349" h="198">
                    <a:moveTo>
                      <a:pt x="349" y="138"/>
                    </a:moveTo>
                    <a:lnTo>
                      <a:pt x="348" y="128"/>
                    </a:lnTo>
                    <a:lnTo>
                      <a:pt x="348" y="123"/>
                    </a:lnTo>
                    <a:lnTo>
                      <a:pt x="339" y="116"/>
                    </a:lnTo>
                    <a:lnTo>
                      <a:pt x="334" y="118"/>
                    </a:lnTo>
                    <a:lnTo>
                      <a:pt x="333" y="115"/>
                    </a:lnTo>
                    <a:lnTo>
                      <a:pt x="319" y="113"/>
                    </a:lnTo>
                    <a:lnTo>
                      <a:pt x="303" y="103"/>
                    </a:lnTo>
                    <a:lnTo>
                      <a:pt x="285" y="95"/>
                    </a:lnTo>
                    <a:lnTo>
                      <a:pt x="268" y="85"/>
                    </a:lnTo>
                    <a:lnTo>
                      <a:pt x="253" y="75"/>
                    </a:lnTo>
                    <a:lnTo>
                      <a:pt x="245" y="71"/>
                    </a:lnTo>
                    <a:lnTo>
                      <a:pt x="238" y="63"/>
                    </a:lnTo>
                    <a:lnTo>
                      <a:pt x="236" y="56"/>
                    </a:lnTo>
                    <a:lnTo>
                      <a:pt x="231" y="53"/>
                    </a:lnTo>
                    <a:lnTo>
                      <a:pt x="228" y="40"/>
                    </a:lnTo>
                    <a:lnTo>
                      <a:pt x="218" y="33"/>
                    </a:lnTo>
                    <a:lnTo>
                      <a:pt x="213" y="33"/>
                    </a:lnTo>
                    <a:lnTo>
                      <a:pt x="208" y="35"/>
                    </a:lnTo>
                    <a:lnTo>
                      <a:pt x="195" y="28"/>
                    </a:lnTo>
                    <a:lnTo>
                      <a:pt x="177" y="20"/>
                    </a:lnTo>
                    <a:lnTo>
                      <a:pt x="175" y="15"/>
                    </a:lnTo>
                    <a:lnTo>
                      <a:pt x="160" y="8"/>
                    </a:lnTo>
                    <a:lnTo>
                      <a:pt x="143" y="0"/>
                    </a:lnTo>
                    <a:lnTo>
                      <a:pt x="133" y="0"/>
                    </a:lnTo>
                    <a:lnTo>
                      <a:pt x="137" y="5"/>
                    </a:lnTo>
                    <a:lnTo>
                      <a:pt x="133" y="7"/>
                    </a:lnTo>
                    <a:lnTo>
                      <a:pt x="128" y="3"/>
                    </a:lnTo>
                    <a:lnTo>
                      <a:pt x="123" y="7"/>
                    </a:lnTo>
                    <a:lnTo>
                      <a:pt x="118" y="12"/>
                    </a:lnTo>
                    <a:lnTo>
                      <a:pt x="112" y="12"/>
                    </a:lnTo>
                    <a:lnTo>
                      <a:pt x="107" y="22"/>
                    </a:lnTo>
                    <a:lnTo>
                      <a:pt x="108" y="30"/>
                    </a:lnTo>
                    <a:lnTo>
                      <a:pt x="112" y="33"/>
                    </a:lnTo>
                    <a:lnTo>
                      <a:pt x="110" y="38"/>
                    </a:lnTo>
                    <a:lnTo>
                      <a:pt x="100" y="37"/>
                    </a:lnTo>
                    <a:lnTo>
                      <a:pt x="85" y="38"/>
                    </a:lnTo>
                    <a:lnTo>
                      <a:pt x="75" y="40"/>
                    </a:lnTo>
                    <a:lnTo>
                      <a:pt x="59" y="23"/>
                    </a:lnTo>
                    <a:lnTo>
                      <a:pt x="42" y="15"/>
                    </a:lnTo>
                    <a:lnTo>
                      <a:pt x="27" y="13"/>
                    </a:lnTo>
                    <a:lnTo>
                      <a:pt x="15" y="17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4" y="33"/>
                    </a:lnTo>
                    <a:lnTo>
                      <a:pt x="5" y="37"/>
                    </a:lnTo>
                    <a:lnTo>
                      <a:pt x="9" y="40"/>
                    </a:lnTo>
                    <a:lnTo>
                      <a:pt x="10" y="43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2" y="61"/>
                    </a:lnTo>
                    <a:lnTo>
                      <a:pt x="12" y="73"/>
                    </a:lnTo>
                    <a:lnTo>
                      <a:pt x="15" y="76"/>
                    </a:lnTo>
                    <a:lnTo>
                      <a:pt x="17" y="80"/>
                    </a:lnTo>
                    <a:lnTo>
                      <a:pt x="25" y="86"/>
                    </a:lnTo>
                    <a:lnTo>
                      <a:pt x="25" y="83"/>
                    </a:lnTo>
                    <a:lnTo>
                      <a:pt x="22" y="81"/>
                    </a:lnTo>
                    <a:lnTo>
                      <a:pt x="24" y="80"/>
                    </a:lnTo>
                    <a:lnTo>
                      <a:pt x="30" y="81"/>
                    </a:lnTo>
                    <a:lnTo>
                      <a:pt x="34" y="78"/>
                    </a:lnTo>
                    <a:lnTo>
                      <a:pt x="35" y="80"/>
                    </a:lnTo>
                    <a:lnTo>
                      <a:pt x="35" y="85"/>
                    </a:lnTo>
                    <a:lnTo>
                      <a:pt x="35" y="90"/>
                    </a:lnTo>
                    <a:lnTo>
                      <a:pt x="39" y="88"/>
                    </a:lnTo>
                    <a:lnTo>
                      <a:pt x="42" y="91"/>
                    </a:lnTo>
                    <a:lnTo>
                      <a:pt x="40" y="93"/>
                    </a:lnTo>
                    <a:lnTo>
                      <a:pt x="37" y="93"/>
                    </a:lnTo>
                    <a:lnTo>
                      <a:pt x="34" y="93"/>
                    </a:lnTo>
                    <a:lnTo>
                      <a:pt x="32" y="91"/>
                    </a:lnTo>
                    <a:lnTo>
                      <a:pt x="27" y="95"/>
                    </a:lnTo>
                    <a:lnTo>
                      <a:pt x="27" y="98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32" y="96"/>
                    </a:lnTo>
                    <a:lnTo>
                      <a:pt x="35" y="98"/>
                    </a:lnTo>
                    <a:lnTo>
                      <a:pt x="39" y="98"/>
                    </a:lnTo>
                    <a:lnTo>
                      <a:pt x="40" y="103"/>
                    </a:lnTo>
                    <a:lnTo>
                      <a:pt x="47" y="106"/>
                    </a:lnTo>
                    <a:lnTo>
                      <a:pt x="49" y="110"/>
                    </a:lnTo>
                    <a:lnTo>
                      <a:pt x="49" y="116"/>
                    </a:lnTo>
                    <a:lnTo>
                      <a:pt x="50" y="120"/>
                    </a:lnTo>
                    <a:lnTo>
                      <a:pt x="49" y="131"/>
                    </a:lnTo>
                    <a:lnTo>
                      <a:pt x="52" y="140"/>
                    </a:lnTo>
                    <a:lnTo>
                      <a:pt x="55" y="150"/>
                    </a:lnTo>
                    <a:lnTo>
                      <a:pt x="60" y="148"/>
                    </a:lnTo>
                    <a:lnTo>
                      <a:pt x="72" y="146"/>
                    </a:lnTo>
                    <a:lnTo>
                      <a:pt x="75" y="141"/>
                    </a:lnTo>
                    <a:lnTo>
                      <a:pt x="79" y="136"/>
                    </a:lnTo>
                    <a:lnTo>
                      <a:pt x="82" y="136"/>
                    </a:lnTo>
                    <a:lnTo>
                      <a:pt x="92" y="130"/>
                    </a:lnTo>
                    <a:lnTo>
                      <a:pt x="102" y="128"/>
                    </a:lnTo>
                    <a:lnTo>
                      <a:pt x="112" y="130"/>
                    </a:lnTo>
                    <a:lnTo>
                      <a:pt x="113" y="125"/>
                    </a:lnTo>
                    <a:lnTo>
                      <a:pt x="118" y="123"/>
                    </a:lnTo>
                    <a:lnTo>
                      <a:pt x="123" y="125"/>
                    </a:lnTo>
                    <a:lnTo>
                      <a:pt x="128" y="125"/>
                    </a:lnTo>
                    <a:lnTo>
                      <a:pt x="137" y="131"/>
                    </a:lnTo>
                    <a:lnTo>
                      <a:pt x="145" y="133"/>
                    </a:lnTo>
                    <a:lnTo>
                      <a:pt x="158" y="141"/>
                    </a:lnTo>
                    <a:lnTo>
                      <a:pt x="163" y="140"/>
                    </a:lnTo>
                    <a:lnTo>
                      <a:pt x="167" y="138"/>
                    </a:lnTo>
                    <a:lnTo>
                      <a:pt x="177" y="141"/>
                    </a:lnTo>
                    <a:lnTo>
                      <a:pt x="182" y="143"/>
                    </a:lnTo>
                    <a:lnTo>
                      <a:pt x="183" y="150"/>
                    </a:lnTo>
                    <a:lnTo>
                      <a:pt x="185" y="151"/>
                    </a:lnTo>
                    <a:lnTo>
                      <a:pt x="190" y="150"/>
                    </a:lnTo>
                    <a:lnTo>
                      <a:pt x="198" y="151"/>
                    </a:lnTo>
                    <a:lnTo>
                      <a:pt x="208" y="163"/>
                    </a:lnTo>
                    <a:lnTo>
                      <a:pt x="220" y="164"/>
                    </a:lnTo>
                    <a:lnTo>
                      <a:pt x="225" y="166"/>
                    </a:lnTo>
                    <a:lnTo>
                      <a:pt x="230" y="173"/>
                    </a:lnTo>
                    <a:lnTo>
                      <a:pt x="228" y="176"/>
                    </a:lnTo>
                    <a:lnTo>
                      <a:pt x="230" y="181"/>
                    </a:lnTo>
                    <a:lnTo>
                      <a:pt x="230" y="184"/>
                    </a:lnTo>
                    <a:lnTo>
                      <a:pt x="231" y="188"/>
                    </a:lnTo>
                    <a:lnTo>
                      <a:pt x="233" y="188"/>
                    </a:lnTo>
                    <a:lnTo>
                      <a:pt x="240" y="189"/>
                    </a:lnTo>
                    <a:lnTo>
                      <a:pt x="243" y="191"/>
                    </a:lnTo>
                    <a:lnTo>
                      <a:pt x="246" y="191"/>
                    </a:lnTo>
                    <a:lnTo>
                      <a:pt x="250" y="189"/>
                    </a:lnTo>
                    <a:lnTo>
                      <a:pt x="255" y="189"/>
                    </a:lnTo>
                    <a:lnTo>
                      <a:pt x="260" y="193"/>
                    </a:lnTo>
                    <a:lnTo>
                      <a:pt x="261" y="196"/>
                    </a:lnTo>
                    <a:lnTo>
                      <a:pt x="263" y="198"/>
                    </a:lnTo>
                    <a:lnTo>
                      <a:pt x="266" y="194"/>
                    </a:lnTo>
                    <a:lnTo>
                      <a:pt x="273" y="194"/>
                    </a:lnTo>
                    <a:lnTo>
                      <a:pt x="276" y="191"/>
                    </a:lnTo>
                    <a:lnTo>
                      <a:pt x="276" y="188"/>
                    </a:lnTo>
                    <a:lnTo>
                      <a:pt x="280" y="184"/>
                    </a:lnTo>
                    <a:lnTo>
                      <a:pt x="280" y="183"/>
                    </a:lnTo>
                    <a:lnTo>
                      <a:pt x="286" y="178"/>
                    </a:lnTo>
                    <a:lnTo>
                      <a:pt x="296" y="176"/>
                    </a:lnTo>
                    <a:lnTo>
                      <a:pt x="296" y="174"/>
                    </a:lnTo>
                    <a:lnTo>
                      <a:pt x="301" y="171"/>
                    </a:lnTo>
                    <a:lnTo>
                      <a:pt x="304" y="171"/>
                    </a:lnTo>
                    <a:lnTo>
                      <a:pt x="306" y="164"/>
                    </a:lnTo>
                    <a:lnTo>
                      <a:pt x="306" y="159"/>
                    </a:lnTo>
                    <a:lnTo>
                      <a:pt x="311" y="154"/>
                    </a:lnTo>
                    <a:lnTo>
                      <a:pt x="311" y="150"/>
                    </a:lnTo>
                    <a:lnTo>
                      <a:pt x="309" y="148"/>
                    </a:lnTo>
                    <a:lnTo>
                      <a:pt x="309" y="145"/>
                    </a:lnTo>
                    <a:lnTo>
                      <a:pt x="313" y="145"/>
                    </a:lnTo>
                    <a:lnTo>
                      <a:pt x="314" y="143"/>
                    </a:lnTo>
                    <a:lnTo>
                      <a:pt x="321" y="141"/>
                    </a:lnTo>
                    <a:lnTo>
                      <a:pt x="323" y="141"/>
                    </a:lnTo>
                    <a:lnTo>
                      <a:pt x="331" y="136"/>
                    </a:lnTo>
                    <a:lnTo>
                      <a:pt x="336" y="135"/>
                    </a:lnTo>
                    <a:lnTo>
                      <a:pt x="341" y="138"/>
                    </a:lnTo>
                    <a:lnTo>
                      <a:pt x="346" y="136"/>
                    </a:lnTo>
                    <a:lnTo>
                      <a:pt x="348" y="138"/>
                    </a:lnTo>
                    <a:lnTo>
                      <a:pt x="349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8" name="Freeform 14">
                <a:extLst>
                  <a:ext uri="{FF2B5EF4-FFF2-40B4-BE49-F238E27FC236}">
                    <a16:creationId xmlns:a16="http://schemas.microsoft.com/office/drawing/2014/main" id="{1A74C2D6-E2DD-554E-A2F4-53F1659D66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6908" y="3036257"/>
                <a:ext cx="128430" cy="170164"/>
              </a:xfrm>
              <a:custGeom>
                <a:avLst/>
                <a:gdLst/>
                <a:ahLst/>
                <a:cxnLst>
                  <a:cxn ang="0">
                    <a:pos x="90" y="2"/>
                  </a:cxn>
                  <a:cxn ang="0">
                    <a:pos x="110" y="125"/>
                  </a:cxn>
                  <a:cxn ang="0">
                    <a:pos x="148" y="132"/>
                  </a:cxn>
                  <a:cxn ang="0">
                    <a:pos x="164" y="153"/>
                  </a:cxn>
                  <a:cxn ang="0">
                    <a:pos x="163" y="160"/>
                  </a:cxn>
                  <a:cxn ang="0">
                    <a:pos x="133" y="143"/>
                  </a:cxn>
                  <a:cxn ang="0">
                    <a:pos x="91" y="140"/>
                  </a:cxn>
                  <a:cxn ang="0">
                    <a:pos x="78" y="113"/>
                  </a:cxn>
                  <a:cxn ang="0">
                    <a:pos x="58" y="90"/>
                  </a:cxn>
                  <a:cxn ang="0">
                    <a:pos x="68" y="52"/>
                  </a:cxn>
                  <a:cxn ang="0">
                    <a:pos x="108" y="24"/>
                  </a:cxn>
                  <a:cxn ang="0">
                    <a:pos x="116" y="78"/>
                  </a:cxn>
                  <a:cxn ang="0">
                    <a:pos x="106" y="115"/>
                  </a:cxn>
                  <a:cxn ang="0">
                    <a:pos x="111" y="115"/>
                  </a:cxn>
                  <a:cxn ang="0">
                    <a:pos x="70" y="135"/>
                  </a:cxn>
                  <a:cxn ang="0">
                    <a:pos x="96" y="175"/>
                  </a:cxn>
                  <a:cxn ang="0">
                    <a:pos x="80" y="143"/>
                  </a:cxn>
                  <a:cxn ang="0">
                    <a:pos x="171" y="130"/>
                  </a:cxn>
                  <a:cxn ang="0">
                    <a:pos x="120" y="168"/>
                  </a:cxn>
                  <a:cxn ang="0">
                    <a:pos x="136" y="171"/>
                  </a:cxn>
                  <a:cxn ang="0">
                    <a:pos x="158" y="165"/>
                  </a:cxn>
                  <a:cxn ang="0">
                    <a:pos x="173" y="181"/>
                  </a:cxn>
                  <a:cxn ang="0">
                    <a:pos x="148" y="178"/>
                  </a:cxn>
                  <a:cxn ang="0">
                    <a:pos x="116" y="185"/>
                  </a:cxn>
                  <a:cxn ang="0">
                    <a:pos x="151" y="190"/>
                  </a:cxn>
                  <a:cxn ang="0">
                    <a:pos x="135" y="211"/>
                  </a:cxn>
                  <a:cxn ang="0">
                    <a:pos x="158" y="238"/>
                  </a:cxn>
                  <a:cxn ang="0">
                    <a:pos x="161" y="225"/>
                  </a:cxn>
                  <a:cxn ang="0">
                    <a:pos x="151" y="205"/>
                  </a:cxn>
                  <a:cxn ang="0">
                    <a:pos x="148" y="246"/>
                  </a:cxn>
                  <a:cxn ang="0">
                    <a:pos x="164" y="243"/>
                  </a:cxn>
                  <a:cxn ang="0">
                    <a:pos x="179" y="223"/>
                  </a:cxn>
                  <a:cxn ang="0">
                    <a:pos x="188" y="243"/>
                  </a:cxn>
                  <a:cxn ang="0">
                    <a:pos x="201" y="200"/>
                  </a:cxn>
                  <a:cxn ang="0">
                    <a:pos x="201" y="168"/>
                  </a:cxn>
                  <a:cxn ang="0">
                    <a:pos x="186" y="180"/>
                  </a:cxn>
                  <a:cxn ang="0">
                    <a:pos x="181" y="195"/>
                  </a:cxn>
                  <a:cxn ang="0">
                    <a:pos x="198" y="221"/>
                  </a:cxn>
                  <a:cxn ang="0">
                    <a:pos x="214" y="205"/>
                  </a:cxn>
                  <a:cxn ang="0">
                    <a:pos x="213" y="218"/>
                  </a:cxn>
                  <a:cxn ang="0">
                    <a:pos x="221" y="236"/>
                  </a:cxn>
                  <a:cxn ang="0">
                    <a:pos x="130" y="299"/>
                  </a:cxn>
                  <a:cxn ang="0">
                    <a:pos x="156" y="260"/>
                  </a:cxn>
                  <a:cxn ang="0">
                    <a:pos x="193" y="261"/>
                  </a:cxn>
                  <a:cxn ang="0">
                    <a:pos x="208" y="231"/>
                  </a:cxn>
                  <a:cxn ang="0">
                    <a:pos x="229" y="261"/>
                  </a:cxn>
                  <a:cxn ang="0">
                    <a:pos x="236" y="299"/>
                  </a:cxn>
                  <a:cxn ang="0">
                    <a:pos x="221" y="288"/>
                  </a:cxn>
                  <a:cxn ang="0">
                    <a:pos x="209" y="321"/>
                  </a:cxn>
                  <a:cxn ang="0">
                    <a:pos x="178" y="301"/>
                  </a:cxn>
                  <a:cxn ang="0">
                    <a:pos x="161" y="281"/>
                  </a:cxn>
                  <a:cxn ang="0">
                    <a:pos x="146" y="288"/>
                  </a:cxn>
                  <a:cxn ang="0">
                    <a:pos x="125" y="311"/>
                  </a:cxn>
                  <a:cxn ang="0">
                    <a:pos x="65" y="171"/>
                  </a:cxn>
                  <a:cxn ang="0">
                    <a:pos x="68" y="186"/>
                  </a:cxn>
                  <a:cxn ang="0">
                    <a:pos x="68" y="216"/>
                  </a:cxn>
                  <a:cxn ang="0">
                    <a:pos x="38" y="240"/>
                  </a:cxn>
                  <a:cxn ang="0">
                    <a:pos x="56" y="195"/>
                  </a:cxn>
                  <a:cxn ang="0">
                    <a:pos x="32" y="238"/>
                  </a:cxn>
                  <a:cxn ang="0">
                    <a:pos x="8" y="265"/>
                  </a:cxn>
                  <a:cxn ang="0">
                    <a:pos x="5" y="273"/>
                  </a:cxn>
                </a:cxnLst>
                <a:rect l="0" t="0" r="r" b="b"/>
                <a:pathLst>
                  <a:path w="241" h="329">
                    <a:moveTo>
                      <a:pt x="85" y="15"/>
                    </a:moveTo>
                    <a:lnTo>
                      <a:pt x="91" y="15"/>
                    </a:lnTo>
                    <a:lnTo>
                      <a:pt x="88" y="17"/>
                    </a:lnTo>
                    <a:lnTo>
                      <a:pt x="85" y="15"/>
                    </a:lnTo>
                    <a:lnTo>
                      <a:pt x="85" y="15"/>
                    </a:lnTo>
                    <a:close/>
                    <a:moveTo>
                      <a:pt x="83" y="5"/>
                    </a:moveTo>
                    <a:lnTo>
                      <a:pt x="86" y="9"/>
                    </a:lnTo>
                    <a:lnTo>
                      <a:pt x="81" y="10"/>
                    </a:lnTo>
                    <a:lnTo>
                      <a:pt x="83" y="5"/>
                    </a:lnTo>
                    <a:lnTo>
                      <a:pt x="83" y="5"/>
                    </a:lnTo>
                    <a:close/>
                    <a:moveTo>
                      <a:pt x="93" y="0"/>
                    </a:moveTo>
                    <a:lnTo>
                      <a:pt x="90" y="2"/>
                    </a:lnTo>
                    <a:lnTo>
                      <a:pt x="91" y="5"/>
                    </a:lnTo>
                    <a:lnTo>
                      <a:pt x="93" y="0"/>
                    </a:lnTo>
                    <a:lnTo>
                      <a:pt x="93" y="0"/>
                    </a:lnTo>
                    <a:close/>
                    <a:moveTo>
                      <a:pt x="103" y="10"/>
                    </a:moveTo>
                    <a:lnTo>
                      <a:pt x="100" y="14"/>
                    </a:lnTo>
                    <a:lnTo>
                      <a:pt x="103" y="17"/>
                    </a:lnTo>
                    <a:lnTo>
                      <a:pt x="105" y="14"/>
                    </a:lnTo>
                    <a:lnTo>
                      <a:pt x="105" y="14"/>
                    </a:lnTo>
                    <a:lnTo>
                      <a:pt x="103" y="10"/>
                    </a:lnTo>
                    <a:lnTo>
                      <a:pt x="103" y="10"/>
                    </a:lnTo>
                    <a:close/>
                    <a:moveTo>
                      <a:pt x="105" y="122"/>
                    </a:moveTo>
                    <a:lnTo>
                      <a:pt x="110" y="125"/>
                    </a:lnTo>
                    <a:lnTo>
                      <a:pt x="111" y="130"/>
                    </a:lnTo>
                    <a:lnTo>
                      <a:pt x="116" y="132"/>
                    </a:lnTo>
                    <a:lnTo>
                      <a:pt x="121" y="130"/>
                    </a:lnTo>
                    <a:lnTo>
                      <a:pt x="121" y="127"/>
                    </a:lnTo>
                    <a:lnTo>
                      <a:pt x="128" y="122"/>
                    </a:lnTo>
                    <a:lnTo>
                      <a:pt x="133" y="122"/>
                    </a:lnTo>
                    <a:lnTo>
                      <a:pt x="139" y="125"/>
                    </a:lnTo>
                    <a:lnTo>
                      <a:pt x="143" y="132"/>
                    </a:lnTo>
                    <a:lnTo>
                      <a:pt x="143" y="135"/>
                    </a:lnTo>
                    <a:lnTo>
                      <a:pt x="144" y="138"/>
                    </a:lnTo>
                    <a:lnTo>
                      <a:pt x="148" y="135"/>
                    </a:lnTo>
                    <a:lnTo>
                      <a:pt x="148" y="132"/>
                    </a:lnTo>
                    <a:lnTo>
                      <a:pt x="149" y="130"/>
                    </a:lnTo>
                    <a:lnTo>
                      <a:pt x="153" y="133"/>
                    </a:lnTo>
                    <a:lnTo>
                      <a:pt x="158" y="135"/>
                    </a:lnTo>
                    <a:lnTo>
                      <a:pt x="163" y="137"/>
                    </a:lnTo>
                    <a:lnTo>
                      <a:pt x="164" y="138"/>
                    </a:lnTo>
                    <a:lnTo>
                      <a:pt x="161" y="138"/>
                    </a:lnTo>
                    <a:lnTo>
                      <a:pt x="158" y="138"/>
                    </a:lnTo>
                    <a:lnTo>
                      <a:pt x="156" y="140"/>
                    </a:lnTo>
                    <a:lnTo>
                      <a:pt x="156" y="143"/>
                    </a:lnTo>
                    <a:lnTo>
                      <a:pt x="159" y="150"/>
                    </a:lnTo>
                    <a:lnTo>
                      <a:pt x="159" y="153"/>
                    </a:lnTo>
                    <a:lnTo>
                      <a:pt x="164" y="153"/>
                    </a:lnTo>
                    <a:lnTo>
                      <a:pt x="168" y="155"/>
                    </a:lnTo>
                    <a:lnTo>
                      <a:pt x="173" y="155"/>
                    </a:lnTo>
                    <a:lnTo>
                      <a:pt x="174" y="158"/>
                    </a:lnTo>
                    <a:lnTo>
                      <a:pt x="171" y="160"/>
                    </a:lnTo>
                    <a:lnTo>
                      <a:pt x="173" y="162"/>
                    </a:lnTo>
                    <a:lnTo>
                      <a:pt x="171" y="168"/>
                    </a:lnTo>
                    <a:lnTo>
                      <a:pt x="166" y="167"/>
                    </a:lnTo>
                    <a:lnTo>
                      <a:pt x="163" y="163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3" y="158"/>
                    </a:lnTo>
                    <a:lnTo>
                      <a:pt x="163" y="160"/>
                    </a:lnTo>
                    <a:lnTo>
                      <a:pt x="158" y="160"/>
                    </a:lnTo>
                    <a:lnTo>
                      <a:pt x="153" y="155"/>
                    </a:lnTo>
                    <a:lnTo>
                      <a:pt x="149" y="153"/>
                    </a:lnTo>
                    <a:lnTo>
                      <a:pt x="149" y="148"/>
                    </a:lnTo>
                    <a:lnTo>
                      <a:pt x="148" y="145"/>
                    </a:lnTo>
                    <a:lnTo>
                      <a:pt x="141" y="142"/>
                    </a:lnTo>
                    <a:lnTo>
                      <a:pt x="138" y="137"/>
                    </a:lnTo>
                    <a:lnTo>
                      <a:pt x="135" y="137"/>
                    </a:lnTo>
                    <a:lnTo>
                      <a:pt x="131" y="133"/>
                    </a:lnTo>
                    <a:lnTo>
                      <a:pt x="130" y="133"/>
                    </a:lnTo>
                    <a:lnTo>
                      <a:pt x="128" y="135"/>
                    </a:lnTo>
                    <a:lnTo>
                      <a:pt x="133" y="143"/>
                    </a:lnTo>
                    <a:lnTo>
                      <a:pt x="135" y="150"/>
                    </a:lnTo>
                    <a:lnTo>
                      <a:pt x="133" y="150"/>
                    </a:lnTo>
                    <a:lnTo>
                      <a:pt x="128" y="143"/>
                    </a:lnTo>
                    <a:lnTo>
                      <a:pt x="123" y="140"/>
                    </a:lnTo>
                    <a:lnTo>
                      <a:pt x="121" y="137"/>
                    </a:lnTo>
                    <a:lnTo>
                      <a:pt x="111" y="133"/>
                    </a:lnTo>
                    <a:lnTo>
                      <a:pt x="105" y="133"/>
                    </a:lnTo>
                    <a:lnTo>
                      <a:pt x="103" y="137"/>
                    </a:lnTo>
                    <a:lnTo>
                      <a:pt x="105" y="140"/>
                    </a:lnTo>
                    <a:lnTo>
                      <a:pt x="100" y="142"/>
                    </a:lnTo>
                    <a:lnTo>
                      <a:pt x="95" y="137"/>
                    </a:lnTo>
                    <a:lnTo>
                      <a:pt x="91" y="140"/>
                    </a:lnTo>
                    <a:lnTo>
                      <a:pt x="86" y="140"/>
                    </a:lnTo>
                    <a:lnTo>
                      <a:pt x="90" y="137"/>
                    </a:lnTo>
                    <a:lnTo>
                      <a:pt x="88" y="133"/>
                    </a:lnTo>
                    <a:lnTo>
                      <a:pt x="85" y="133"/>
                    </a:lnTo>
                    <a:lnTo>
                      <a:pt x="83" y="138"/>
                    </a:lnTo>
                    <a:lnTo>
                      <a:pt x="80" y="133"/>
                    </a:lnTo>
                    <a:lnTo>
                      <a:pt x="80" y="128"/>
                    </a:lnTo>
                    <a:lnTo>
                      <a:pt x="80" y="125"/>
                    </a:lnTo>
                    <a:lnTo>
                      <a:pt x="83" y="123"/>
                    </a:lnTo>
                    <a:lnTo>
                      <a:pt x="88" y="117"/>
                    </a:lnTo>
                    <a:lnTo>
                      <a:pt x="83" y="113"/>
                    </a:lnTo>
                    <a:lnTo>
                      <a:pt x="78" y="113"/>
                    </a:lnTo>
                    <a:lnTo>
                      <a:pt x="78" y="117"/>
                    </a:lnTo>
                    <a:lnTo>
                      <a:pt x="81" y="118"/>
                    </a:lnTo>
                    <a:lnTo>
                      <a:pt x="78" y="122"/>
                    </a:lnTo>
                    <a:lnTo>
                      <a:pt x="75" y="122"/>
                    </a:lnTo>
                    <a:lnTo>
                      <a:pt x="70" y="117"/>
                    </a:lnTo>
                    <a:lnTo>
                      <a:pt x="70" y="112"/>
                    </a:lnTo>
                    <a:lnTo>
                      <a:pt x="68" y="112"/>
                    </a:lnTo>
                    <a:lnTo>
                      <a:pt x="66" y="112"/>
                    </a:lnTo>
                    <a:lnTo>
                      <a:pt x="65" y="112"/>
                    </a:lnTo>
                    <a:lnTo>
                      <a:pt x="65" y="103"/>
                    </a:lnTo>
                    <a:lnTo>
                      <a:pt x="60" y="97"/>
                    </a:lnTo>
                    <a:lnTo>
                      <a:pt x="58" y="90"/>
                    </a:lnTo>
                    <a:lnTo>
                      <a:pt x="60" y="88"/>
                    </a:lnTo>
                    <a:lnTo>
                      <a:pt x="60" y="87"/>
                    </a:lnTo>
                    <a:lnTo>
                      <a:pt x="56" y="87"/>
                    </a:lnTo>
                    <a:lnTo>
                      <a:pt x="55" y="82"/>
                    </a:lnTo>
                    <a:lnTo>
                      <a:pt x="56" y="75"/>
                    </a:lnTo>
                    <a:lnTo>
                      <a:pt x="60" y="80"/>
                    </a:lnTo>
                    <a:lnTo>
                      <a:pt x="63" y="80"/>
                    </a:lnTo>
                    <a:lnTo>
                      <a:pt x="66" y="78"/>
                    </a:lnTo>
                    <a:lnTo>
                      <a:pt x="66" y="75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8" y="52"/>
                    </a:lnTo>
                    <a:lnTo>
                      <a:pt x="68" y="44"/>
                    </a:lnTo>
                    <a:lnTo>
                      <a:pt x="66" y="39"/>
                    </a:lnTo>
                    <a:lnTo>
                      <a:pt x="71" y="29"/>
                    </a:lnTo>
                    <a:lnTo>
                      <a:pt x="73" y="24"/>
                    </a:lnTo>
                    <a:lnTo>
                      <a:pt x="80" y="22"/>
                    </a:lnTo>
                    <a:lnTo>
                      <a:pt x="90" y="24"/>
                    </a:lnTo>
                    <a:lnTo>
                      <a:pt x="93" y="27"/>
                    </a:lnTo>
                    <a:lnTo>
                      <a:pt x="96" y="30"/>
                    </a:lnTo>
                    <a:lnTo>
                      <a:pt x="98" y="27"/>
                    </a:lnTo>
                    <a:lnTo>
                      <a:pt x="105" y="27"/>
                    </a:lnTo>
                    <a:lnTo>
                      <a:pt x="108" y="25"/>
                    </a:lnTo>
                    <a:lnTo>
                      <a:pt x="108" y="24"/>
                    </a:lnTo>
                    <a:lnTo>
                      <a:pt x="110" y="22"/>
                    </a:lnTo>
                    <a:lnTo>
                      <a:pt x="113" y="25"/>
                    </a:lnTo>
                    <a:lnTo>
                      <a:pt x="113" y="29"/>
                    </a:lnTo>
                    <a:lnTo>
                      <a:pt x="110" y="32"/>
                    </a:lnTo>
                    <a:lnTo>
                      <a:pt x="110" y="40"/>
                    </a:lnTo>
                    <a:lnTo>
                      <a:pt x="113" y="47"/>
                    </a:lnTo>
                    <a:lnTo>
                      <a:pt x="116" y="49"/>
                    </a:lnTo>
                    <a:lnTo>
                      <a:pt x="118" y="54"/>
                    </a:lnTo>
                    <a:lnTo>
                      <a:pt x="121" y="57"/>
                    </a:lnTo>
                    <a:lnTo>
                      <a:pt x="118" y="67"/>
                    </a:lnTo>
                    <a:lnTo>
                      <a:pt x="115" y="73"/>
                    </a:lnTo>
                    <a:lnTo>
                      <a:pt x="116" y="78"/>
                    </a:lnTo>
                    <a:lnTo>
                      <a:pt x="113" y="83"/>
                    </a:lnTo>
                    <a:lnTo>
                      <a:pt x="113" y="82"/>
                    </a:lnTo>
                    <a:lnTo>
                      <a:pt x="115" y="78"/>
                    </a:lnTo>
                    <a:lnTo>
                      <a:pt x="111" y="80"/>
                    </a:lnTo>
                    <a:lnTo>
                      <a:pt x="103" y="87"/>
                    </a:lnTo>
                    <a:lnTo>
                      <a:pt x="101" y="90"/>
                    </a:lnTo>
                    <a:lnTo>
                      <a:pt x="103" y="95"/>
                    </a:lnTo>
                    <a:lnTo>
                      <a:pt x="100" y="98"/>
                    </a:lnTo>
                    <a:lnTo>
                      <a:pt x="100" y="105"/>
                    </a:lnTo>
                    <a:lnTo>
                      <a:pt x="101" y="107"/>
                    </a:lnTo>
                    <a:lnTo>
                      <a:pt x="105" y="112"/>
                    </a:lnTo>
                    <a:lnTo>
                      <a:pt x="106" y="115"/>
                    </a:lnTo>
                    <a:lnTo>
                      <a:pt x="105" y="118"/>
                    </a:lnTo>
                    <a:lnTo>
                      <a:pt x="105" y="122"/>
                    </a:lnTo>
                    <a:lnTo>
                      <a:pt x="105" y="122"/>
                    </a:lnTo>
                    <a:close/>
                    <a:moveTo>
                      <a:pt x="115" y="123"/>
                    </a:moveTo>
                    <a:lnTo>
                      <a:pt x="115" y="128"/>
                    </a:lnTo>
                    <a:lnTo>
                      <a:pt x="118" y="130"/>
                    </a:lnTo>
                    <a:lnTo>
                      <a:pt x="118" y="127"/>
                    </a:lnTo>
                    <a:lnTo>
                      <a:pt x="115" y="123"/>
                    </a:lnTo>
                    <a:lnTo>
                      <a:pt x="115" y="123"/>
                    </a:lnTo>
                    <a:close/>
                    <a:moveTo>
                      <a:pt x="110" y="107"/>
                    </a:moveTo>
                    <a:lnTo>
                      <a:pt x="113" y="113"/>
                    </a:lnTo>
                    <a:lnTo>
                      <a:pt x="111" y="115"/>
                    </a:lnTo>
                    <a:lnTo>
                      <a:pt x="113" y="118"/>
                    </a:lnTo>
                    <a:lnTo>
                      <a:pt x="116" y="115"/>
                    </a:lnTo>
                    <a:lnTo>
                      <a:pt x="116" y="108"/>
                    </a:lnTo>
                    <a:lnTo>
                      <a:pt x="120" y="107"/>
                    </a:lnTo>
                    <a:lnTo>
                      <a:pt x="116" y="105"/>
                    </a:lnTo>
                    <a:lnTo>
                      <a:pt x="110" y="107"/>
                    </a:lnTo>
                    <a:lnTo>
                      <a:pt x="110" y="107"/>
                    </a:lnTo>
                    <a:close/>
                    <a:moveTo>
                      <a:pt x="66" y="135"/>
                    </a:moveTo>
                    <a:lnTo>
                      <a:pt x="68" y="138"/>
                    </a:lnTo>
                    <a:lnTo>
                      <a:pt x="73" y="140"/>
                    </a:lnTo>
                    <a:lnTo>
                      <a:pt x="75" y="140"/>
                    </a:lnTo>
                    <a:lnTo>
                      <a:pt x="70" y="135"/>
                    </a:lnTo>
                    <a:lnTo>
                      <a:pt x="66" y="135"/>
                    </a:lnTo>
                    <a:lnTo>
                      <a:pt x="66" y="135"/>
                    </a:lnTo>
                    <a:close/>
                    <a:moveTo>
                      <a:pt x="75" y="145"/>
                    </a:moveTo>
                    <a:lnTo>
                      <a:pt x="76" y="147"/>
                    </a:lnTo>
                    <a:lnTo>
                      <a:pt x="80" y="147"/>
                    </a:lnTo>
                    <a:lnTo>
                      <a:pt x="81" y="152"/>
                    </a:lnTo>
                    <a:lnTo>
                      <a:pt x="85" y="153"/>
                    </a:lnTo>
                    <a:lnTo>
                      <a:pt x="88" y="157"/>
                    </a:lnTo>
                    <a:lnTo>
                      <a:pt x="88" y="163"/>
                    </a:lnTo>
                    <a:lnTo>
                      <a:pt x="91" y="165"/>
                    </a:lnTo>
                    <a:lnTo>
                      <a:pt x="91" y="170"/>
                    </a:lnTo>
                    <a:lnTo>
                      <a:pt x="96" y="175"/>
                    </a:lnTo>
                    <a:lnTo>
                      <a:pt x="100" y="175"/>
                    </a:lnTo>
                    <a:lnTo>
                      <a:pt x="105" y="171"/>
                    </a:lnTo>
                    <a:lnTo>
                      <a:pt x="105" y="168"/>
                    </a:lnTo>
                    <a:lnTo>
                      <a:pt x="106" y="167"/>
                    </a:lnTo>
                    <a:lnTo>
                      <a:pt x="106" y="163"/>
                    </a:lnTo>
                    <a:lnTo>
                      <a:pt x="105" y="160"/>
                    </a:lnTo>
                    <a:lnTo>
                      <a:pt x="106" y="157"/>
                    </a:lnTo>
                    <a:lnTo>
                      <a:pt x="106" y="153"/>
                    </a:lnTo>
                    <a:lnTo>
                      <a:pt x="101" y="152"/>
                    </a:lnTo>
                    <a:lnTo>
                      <a:pt x="91" y="143"/>
                    </a:lnTo>
                    <a:lnTo>
                      <a:pt x="85" y="145"/>
                    </a:lnTo>
                    <a:lnTo>
                      <a:pt x="80" y="143"/>
                    </a:lnTo>
                    <a:lnTo>
                      <a:pt x="75" y="145"/>
                    </a:lnTo>
                    <a:lnTo>
                      <a:pt x="75" y="145"/>
                    </a:lnTo>
                    <a:close/>
                    <a:moveTo>
                      <a:pt x="171" y="130"/>
                    </a:moveTo>
                    <a:lnTo>
                      <a:pt x="169" y="132"/>
                    </a:lnTo>
                    <a:lnTo>
                      <a:pt x="169" y="137"/>
                    </a:lnTo>
                    <a:lnTo>
                      <a:pt x="168" y="140"/>
                    </a:lnTo>
                    <a:lnTo>
                      <a:pt x="166" y="140"/>
                    </a:lnTo>
                    <a:lnTo>
                      <a:pt x="169" y="143"/>
                    </a:lnTo>
                    <a:lnTo>
                      <a:pt x="176" y="142"/>
                    </a:lnTo>
                    <a:lnTo>
                      <a:pt x="178" y="137"/>
                    </a:lnTo>
                    <a:lnTo>
                      <a:pt x="174" y="133"/>
                    </a:lnTo>
                    <a:lnTo>
                      <a:pt x="171" y="130"/>
                    </a:lnTo>
                    <a:lnTo>
                      <a:pt x="171" y="130"/>
                    </a:lnTo>
                    <a:close/>
                    <a:moveTo>
                      <a:pt x="113" y="147"/>
                    </a:moveTo>
                    <a:lnTo>
                      <a:pt x="118" y="150"/>
                    </a:lnTo>
                    <a:lnTo>
                      <a:pt x="120" y="148"/>
                    </a:lnTo>
                    <a:lnTo>
                      <a:pt x="121" y="147"/>
                    </a:lnTo>
                    <a:lnTo>
                      <a:pt x="120" y="142"/>
                    </a:lnTo>
                    <a:lnTo>
                      <a:pt x="115" y="140"/>
                    </a:lnTo>
                    <a:lnTo>
                      <a:pt x="111" y="143"/>
                    </a:lnTo>
                    <a:lnTo>
                      <a:pt x="113" y="147"/>
                    </a:lnTo>
                    <a:lnTo>
                      <a:pt x="113" y="147"/>
                    </a:lnTo>
                    <a:close/>
                    <a:moveTo>
                      <a:pt x="123" y="163"/>
                    </a:moveTo>
                    <a:lnTo>
                      <a:pt x="120" y="168"/>
                    </a:lnTo>
                    <a:lnTo>
                      <a:pt x="118" y="171"/>
                    </a:lnTo>
                    <a:lnTo>
                      <a:pt x="120" y="178"/>
                    </a:lnTo>
                    <a:lnTo>
                      <a:pt x="123" y="176"/>
                    </a:lnTo>
                    <a:lnTo>
                      <a:pt x="125" y="171"/>
                    </a:lnTo>
                    <a:lnTo>
                      <a:pt x="123" y="167"/>
                    </a:lnTo>
                    <a:lnTo>
                      <a:pt x="125" y="162"/>
                    </a:lnTo>
                    <a:lnTo>
                      <a:pt x="123" y="163"/>
                    </a:lnTo>
                    <a:lnTo>
                      <a:pt x="123" y="163"/>
                    </a:lnTo>
                    <a:close/>
                    <a:moveTo>
                      <a:pt x="133" y="167"/>
                    </a:moveTo>
                    <a:lnTo>
                      <a:pt x="131" y="168"/>
                    </a:lnTo>
                    <a:lnTo>
                      <a:pt x="131" y="171"/>
                    </a:lnTo>
                    <a:lnTo>
                      <a:pt x="136" y="171"/>
                    </a:lnTo>
                    <a:lnTo>
                      <a:pt x="136" y="168"/>
                    </a:lnTo>
                    <a:lnTo>
                      <a:pt x="133" y="167"/>
                    </a:lnTo>
                    <a:lnTo>
                      <a:pt x="133" y="167"/>
                    </a:lnTo>
                    <a:close/>
                    <a:moveTo>
                      <a:pt x="148" y="157"/>
                    </a:moveTo>
                    <a:lnTo>
                      <a:pt x="143" y="152"/>
                    </a:lnTo>
                    <a:lnTo>
                      <a:pt x="141" y="152"/>
                    </a:lnTo>
                    <a:lnTo>
                      <a:pt x="141" y="155"/>
                    </a:lnTo>
                    <a:lnTo>
                      <a:pt x="148" y="162"/>
                    </a:lnTo>
                    <a:lnTo>
                      <a:pt x="149" y="158"/>
                    </a:lnTo>
                    <a:lnTo>
                      <a:pt x="148" y="157"/>
                    </a:lnTo>
                    <a:lnTo>
                      <a:pt x="148" y="157"/>
                    </a:lnTo>
                    <a:close/>
                    <a:moveTo>
                      <a:pt x="158" y="165"/>
                    </a:moveTo>
                    <a:lnTo>
                      <a:pt x="159" y="167"/>
                    </a:lnTo>
                    <a:lnTo>
                      <a:pt x="163" y="170"/>
                    </a:lnTo>
                    <a:lnTo>
                      <a:pt x="164" y="170"/>
                    </a:lnTo>
                    <a:lnTo>
                      <a:pt x="161" y="167"/>
                    </a:lnTo>
                    <a:lnTo>
                      <a:pt x="158" y="165"/>
                    </a:lnTo>
                    <a:lnTo>
                      <a:pt x="158" y="165"/>
                    </a:lnTo>
                    <a:close/>
                    <a:moveTo>
                      <a:pt x="149" y="180"/>
                    </a:moveTo>
                    <a:lnTo>
                      <a:pt x="153" y="175"/>
                    </a:lnTo>
                    <a:lnTo>
                      <a:pt x="158" y="175"/>
                    </a:lnTo>
                    <a:lnTo>
                      <a:pt x="163" y="180"/>
                    </a:lnTo>
                    <a:lnTo>
                      <a:pt x="168" y="183"/>
                    </a:lnTo>
                    <a:lnTo>
                      <a:pt x="173" y="181"/>
                    </a:lnTo>
                    <a:lnTo>
                      <a:pt x="173" y="180"/>
                    </a:lnTo>
                    <a:lnTo>
                      <a:pt x="169" y="176"/>
                    </a:lnTo>
                    <a:lnTo>
                      <a:pt x="161" y="171"/>
                    </a:lnTo>
                    <a:lnTo>
                      <a:pt x="158" y="171"/>
                    </a:lnTo>
                    <a:lnTo>
                      <a:pt x="154" y="168"/>
                    </a:lnTo>
                    <a:lnTo>
                      <a:pt x="153" y="168"/>
                    </a:lnTo>
                    <a:lnTo>
                      <a:pt x="153" y="167"/>
                    </a:lnTo>
                    <a:lnTo>
                      <a:pt x="149" y="165"/>
                    </a:lnTo>
                    <a:lnTo>
                      <a:pt x="149" y="170"/>
                    </a:lnTo>
                    <a:lnTo>
                      <a:pt x="151" y="173"/>
                    </a:lnTo>
                    <a:lnTo>
                      <a:pt x="149" y="175"/>
                    </a:lnTo>
                    <a:lnTo>
                      <a:pt x="148" y="178"/>
                    </a:lnTo>
                    <a:lnTo>
                      <a:pt x="149" y="180"/>
                    </a:lnTo>
                    <a:lnTo>
                      <a:pt x="149" y="180"/>
                    </a:lnTo>
                    <a:close/>
                    <a:moveTo>
                      <a:pt x="126" y="213"/>
                    </a:moveTo>
                    <a:lnTo>
                      <a:pt x="125" y="215"/>
                    </a:lnTo>
                    <a:lnTo>
                      <a:pt x="123" y="215"/>
                    </a:lnTo>
                    <a:lnTo>
                      <a:pt x="120" y="208"/>
                    </a:lnTo>
                    <a:lnTo>
                      <a:pt x="123" y="203"/>
                    </a:lnTo>
                    <a:lnTo>
                      <a:pt x="121" y="195"/>
                    </a:lnTo>
                    <a:lnTo>
                      <a:pt x="123" y="191"/>
                    </a:lnTo>
                    <a:lnTo>
                      <a:pt x="123" y="186"/>
                    </a:lnTo>
                    <a:lnTo>
                      <a:pt x="121" y="186"/>
                    </a:lnTo>
                    <a:lnTo>
                      <a:pt x="116" y="185"/>
                    </a:lnTo>
                    <a:lnTo>
                      <a:pt x="116" y="181"/>
                    </a:lnTo>
                    <a:lnTo>
                      <a:pt x="121" y="180"/>
                    </a:lnTo>
                    <a:lnTo>
                      <a:pt x="126" y="185"/>
                    </a:lnTo>
                    <a:lnTo>
                      <a:pt x="130" y="186"/>
                    </a:lnTo>
                    <a:lnTo>
                      <a:pt x="130" y="188"/>
                    </a:lnTo>
                    <a:lnTo>
                      <a:pt x="131" y="188"/>
                    </a:lnTo>
                    <a:lnTo>
                      <a:pt x="136" y="188"/>
                    </a:lnTo>
                    <a:lnTo>
                      <a:pt x="139" y="188"/>
                    </a:lnTo>
                    <a:lnTo>
                      <a:pt x="143" y="193"/>
                    </a:lnTo>
                    <a:lnTo>
                      <a:pt x="146" y="190"/>
                    </a:lnTo>
                    <a:lnTo>
                      <a:pt x="149" y="188"/>
                    </a:lnTo>
                    <a:lnTo>
                      <a:pt x="151" y="190"/>
                    </a:lnTo>
                    <a:lnTo>
                      <a:pt x="151" y="195"/>
                    </a:lnTo>
                    <a:lnTo>
                      <a:pt x="148" y="196"/>
                    </a:lnTo>
                    <a:lnTo>
                      <a:pt x="146" y="201"/>
                    </a:lnTo>
                    <a:lnTo>
                      <a:pt x="139" y="205"/>
                    </a:lnTo>
                    <a:lnTo>
                      <a:pt x="138" y="208"/>
                    </a:lnTo>
                    <a:lnTo>
                      <a:pt x="135" y="208"/>
                    </a:lnTo>
                    <a:lnTo>
                      <a:pt x="135" y="210"/>
                    </a:lnTo>
                    <a:lnTo>
                      <a:pt x="131" y="210"/>
                    </a:lnTo>
                    <a:lnTo>
                      <a:pt x="126" y="213"/>
                    </a:lnTo>
                    <a:lnTo>
                      <a:pt x="126" y="213"/>
                    </a:lnTo>
                    <a:close/>
                    <a:moveTo>
                      <a:pt x="138" y="210"/>
                    </a:moveTo>
                    <a:lnTo>
                      <a:pt x="135" y="211"/>
                    </a:lnTo>
                    <a:lnTo>
                      <a:pt x="133" y="215"/>
                    </a:lnTo>
                    <a:lnTo>
                      <a:pt x="136" y="218"/>
                    </a:lnTo>
                    <a:lnTo>
                      <a:pt x="139" y="213"/>
                    </a:lnTo>
                    <a:lnTo>
                      <a:pt x="139" y="210"/>
                    </a:lnTo>
                    <a:lnTo>
                      <a:pt x="138" y="210"/>
                    </a:lnTo>
                    <a:lnTo>
                      <a:pt x="138" y="210"/>
                    </a:lnTo>
                    <a:close/>
                    <a:moveTo>
                      <a:pt x="179" y="208"/>
                    </a:moveTo>
                    <a:lnTo>
                      <a:pt x="179" y="213"/>
                    </a:lnTo>
                    <a:lnTo>
                      <a:pt x="178" y="210"/>
                    </a:lnTo>
                    <a:lnTo>
                      <a:pt x="179" y="208"/>
                    </a:lnTo>
                    <a:lnTo>
                      <a:pt x="179" y="208"/>
                    </a:lnTo>
                    <a:close/>
                    <a:moveTo>
                      <a:pt x="158" y="238"/>
                    </a:moveTo>
                    <a:lnTo>
                      <a:pt x="161" y="235"/>
                    </a:lnTo>
                    <a:lnTo>
                      <a:pt x="163" y="225"/>
                    </a:lnTo>
                    <a:lnTo>
                      <a:pt x="169" y="218"/>
                    </a:lnTo>
                    <a:lnTo>
                      <a:pt x="171" y="213"/>
                    </a:lnTo>
                    <a:lnTo>
                      <a:pt x="171" y="210"/>
                    </a:lnTo>
                    <a:lnTo>
                      <a:pt x="173" y="206"/>
                    </a:lnTo>
                    <a:lnTo>
                      <a:pt x="173" y="198"/>
                    </a:lnTo>
                    <a:lnTo>
                      <a:pt x="169" y="200"/>
                    </a:lnTo>
                    <a:lnTo>
                      <a:pt x="168" y="208"/>
                    </a:lnTo>
                    <a:lnTo>
                      <a:pt x="163" y="215"/>
                    </a:lnTo>
                    <a:lnTo>
                      <a:pt x="163" y="220"/>
                    </a:lnTo>
                    <a:lnTo>
                      <a:pt x="161" y="225"/>
                    </a:lnTo>
                    <a:lnTo>
                      <a:pt x="158" y="230"/>
                    </a:lnTo>
                    <a:lnTo>
                      <a:pt x="156" y="235"/>
                    </a:lnTo>
                    <a:lnTo>
                      <a:pt x="158" y="238"/>
                    </a:lnTo>
                    <a:lnTo>
                      <a:pt x="158" y="238"/>
                    </a:lnTo>
                    <a:close/>
                    <a:moveTo>
                      <a:pt x="153" y="236"/>
                    </a:moveTo>
                    <a:lnTo>
                      <a:pt x="153" y="226"/>
                    </a:lnTo>
                    <a:lnTo>
                      <a:pt x="154" y="215"/>
                    </a:lnTo>
                    <a:lnTo>
                      <a:pt x="159" y="210"/>
                    </a:lnTo>
                    <a:lnTo>
                      <a:pt x="159" y="206"/>
                    </a:lnTo>
                    <a:lnTo>
                      <a:pt x="156" y="205"/>
                    </a:lnTo>
                    <a:lnTo>
                      <a:pt x="153" y="206"/>
                    </a:lnTo>
                    <a:lnTo>
                      <a:pt x="151" y="205"/>
                    </a:lnTo>
                    <a:lnTo>
                      <a:pt x="146" y="206"/>
                    </a:lnTo>
                    <a:lnTo>
                      <a:pt x="146" y="211"/>
                    </a:lnTo>
                    <a:lnTo>
                      <a:pt x="144" y="215"/>
                    </a:lnTo>
                    <a:lnTo>
                      <a:pt x="144" y="220"/>
                    </a:lnTo>
                    <a:lnTo>
                      <a:pt x="143" y="225"/>
                    </a:lnTo>
                    <a:lnTo>
                      <a:pt x="135" y="228"/>
                    </a:lnTo>
                    <a:lnTo>
                      <a:pt x="133" y="230"/>
                    </a:lnTo>
                    <a:lnTo>
                      <a:pt x="135" y="236"/>
                    </a:lnTo>
                    <a:lnTo>
                      <a:pt x="138" y="238"/>
                    </a:lnTo>
                    <a:lnTo>
                      <a:pt x="143" y="240"/>
                    </a:lnTo>
                    <a:lnTo>
                      <a:pt x="148" y="241"/>
                    </a:lnTo>
                    <a:lnTo>
                      <a:pt x="148" y="246"/>
                    </a:lnTo>
                    <a:lnTo>
                      <a:pt x="151" y="248"/>
                    </a:lnTo>
                    <a:lnTo>
                      <a:pt x="156" y="245"/>
                    </a:lnTo>
                    <a:lnTo>
                      <a:pt x="156" y="241"/>
                    </a:lnTo>
                    <a:lnTo>
                      <a:pt x="153" y="236"/>
                    </a:lnTo>
                    <a:lnTo>
                      <a:pt x="153" y="236"/>
                    </a:lnTo>
                    <a:close/>
                    <a:moveTo>
                      <a:pt x="164" y="243"/>
                    </a:moveTo>
                    <a:lnTo>
                      <a:pt x="166" y="243"/>
                    </a:lnTo>
                    <a:lnTo>
                      <a:pt x="166" y="246"/>
                    </a:lnTo>
                    <a:lnTo>
                      <a:pt x="163" y="248"/>
                    </a:lnTo>
                    <a:lnTo>
                      <a:pt x="159" y="246"/>
                    </a:lnTo>
                    <a:lnTo>
                      <a:pt x="161" y="243"/>
                    </a:lnTo>
                    <a:lnTo>
                      <a:pt x="164" y="243"/>
                    </a:lnTo>
                    <a:lnTo>
                      <a:pt x="164" y="243"/>
                    </a:lnTo>
                    <a:close/>
                    <a:moveTo>
                      <a:pt x="179" y="223"/>
                    </a:moveTo>
                    <a:lnTo>
                      <a:pt x="183" y="223"/>
                    </a:lnTo>
                    <a:lnTo>
                      <a:pt x="186" y="225"/>
                    </a:lnTo>
                    <a:lnTo>
                      <a:pt x="186" y="230"/>
                    </a:lnTo>
                    <a:lnTo>
                      <a:pt x="184" y="233"/>
                    </a:lnTo>
                    <a:lnTo>
                      <a:pt x="176" y="235"/>
                    </a:lnTo>
                    <a:lnTo>
                      <a:pt x="171" y="236"/>
                    </a:lnTo>
                    <a:lnTo>
                      <a:pt x="171" y="233"/>
                    </a:lnTo>
                    <a:lnTo>
                      <a:pt x="169" y="231"/>
                    </a:lnTo>
                    <a:lnTo>
                      <a:pt x="171" y="226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03" y="223"/>
                    </a:moveTo>
                    <a:lnTo>
                      <a:pt x="204" y="226"/>
                    </a:lnTo>
                    <a:lnTo>
                      <a:pt x="204" y="230"/>
                    </a:lnTo>
                    <a:lnTo>
                      <a:pt x="201" y="226"/>
                    </a:lnTo>
                    <a:lnTo>
                      <a:pt x="203" y="223"/>
                    </a:lnTo>
                    <a:lnTo>
                      <a:pt x="203" y="223"/>
                    </a:lnTo>
                    <a:close/>
                    <a:moveTo>
                      <a:pt x="188" y="241"/>
                    </a:moveTo>
                    <a:lnTo>
                      <a:pt x="193" y="243"/>
                    </a:lnTo>
                    <a:lnTo>
                      <a:pt x="193" y="248"/>
                    </a:lnTo>
                    <a:lnTo>
                      <a:pt x="188" y="245"/>
                    </a:lnTo>
                    <a:lnTo>
                      <a:pt x="188" y="243"/>
                    </a:lnTo>
                    <a:lnTo>
                      <a:pt x="188" y="241"/>
                    </a:lnTo>
                    <a:lnTo>
                      <a:pt x="188" y="241"/>
                    </a:lnTo>
                    <a:close/>
                    <a:moveTo>
                      <a:pt x="184" y="188"/>
                    </a:moveTo>
                    <a:lnTo>
                      <a:pt x="184" y="193"/>
                    </a:lnTo>
                    <a:lnTo>
                      <a:pt x="181" y="193"/>
                    </a:lnTo>
                    <a:lnTo>
                      <a:pt x="176" y="190"/>
                    </a:lnTo>
                    <a:lnTo>
                      <a:pt x="179" y="188"/>
                    </a:lnTo>
                    <a:lnTo>
                      <a:pt x="184" y="188"/>
                    </a:lnTo>
                    <a:lnTo>
                      <a:pt x="184" y="188"/>
                    </a:lnTo>
                    <a:close/>
                    <a:moveTo>
                      <a:pt x="194" y="195"/>
                    </a:moveTo>
                    <a:lnTo>
                      <a:pt x="199" y="196"/>
                    </a:lnTo>
                    <a:lnTo>
                      <a:pt x="201" y="200"/>
                    </a:lnTo>
                    <a:lnTo>
                      <a:pt x="208" y="200"/>
                    </a:lnTo>
                    <a:lnTo>
                      <a:pt x="209" y="200"/>
                    </a:lnTo>
                    <a:lnTo>
                      <a:pt x="211" y="200"/>
                    </a:lnTo>
                    <a:lnTo>
                      <a:pt x="213" y="200"/>
                    </a:lnTo>
                    <a:lnTo>
                      <a:pt x="211" y="198"/>
                    </a:lnTo>
                    <a:lnTo>
                      <a:pt x="209" y="193"/>
                    </a:lnTo>
                    <a:lnTo>
                      <a:pt x="206" y="191"/>
                    </a:lnTo>
                    <a:lnTo>
                      <a:pt x="206" y="185"/>
                    </a:lnTo>
                    <a:lnTo>
                      <a:pt x="206" y="178"/>
                    </a:lnTo>
                    <a:lnTo>
                      <a:pt x="206" y="175"/>
                    </a:lnTo>
                    <a:lnTo>
                      <a:pt x="204" y="173"/>
                    </a:lnTo>
                    <a:lnTo>
                      <a:pt x="201" y="168"/>
                    </a:lnTo>
                    <a:lnTo>
                      <a:pt x="198" y="165"/>
                    </a:lnTo>
                    <a:lnTo>
                      <a:pt x="194" y="165"/>
                    </a:lnTo>
                    <a:lnTo>
                      <a:pt x="193" y="165"/>
                    </a:lnTo>
                    <a:lnTo>
                      <a:pt x="191" y="165"/>
                    </a:lnTo>
                    <a:lnTo>
                      <a:pt x="188" y="165"/>
                    </a:lnTo>
                    <a:lnTo>
                      <a:pt x="186" y="167"/>
                    </a:lnTo>
                    <a:lnTo>
                      <a:pt x="183" y="167"/>
                    </a:lnTo>
                    <a:lnTo>
                      <a:pt x="178" y="167"/>
                    </a:lnTo>
                    <a:lnTo>
                      <a:pt x="176" y="165"/>
                    </a:lnTo>
                    <a:lnTo>
                      <a:pt x="176" y="168"/>
                    </a:lnTo>
                    <a:lnTo>
                      <a:pt x="179" y="175"/>
                    </a:lnTo>
                    <a:lnTo>
                      <a:pt x="186" y="180"/>
                    </a:lnTo>
                    <a:lnTo>
                      <a:pt x="191" y="185"/>
                    </a:lnTo>
                    <a:lnTo>
                      <a:pt x="194" y="186"/>
                    </a:lnTo>
                    <a:lnTo>
                      <a:pt x="193" y="190"/>
                    </a:lnTo>
                    <a:lnTo>
                      <a:pt x="191" y="191"/>
                    </a:lnTo>
                    <a:lnTo>
                      <a:pt x="191" y="193"/>
                    </a:lnTo>
                    <a:lnTo>
                      <a:pt x="193" y="191"/>
                    </a:lnTo>
                    <a:lnTo>
                      <a:pt x="193" y="193"/>
                    </a:lnTo>
                    <a:lnTo>
                      <a:pt x="194" y="195"/>
                    </a:lnTo>
                    <a:lnTo>
                      <a:pt x="194" y="195"/>
                    </a:lnTo>
                    <a:close/>
                    <a:moveTo>
                      <a:pt x="191" y="195"/>
                    </a:moveTo>
                    <a:lnTo>
                      <a:pt x="186" y="196"/>
                    </a:lnTo>
                    <a:lnTo>
                      <a:pt x="181" y="195"/>
                    </a:lnTo>
                    <a:lnTo>
                      <a:pt x="178" y="195"/>
                    </a:lnTo>
                    <a:lnTo>
                      <a:pt x="181" y="200"/>
                    </a:lnTo>
                    <a:lnTo>
                      <a:pt x="181" y="203"/>
                    </a:lnTo>
                    <a:lnTo>
                      <a:pt x="183" y="206"/>
                    </a:lnTo>
                    <a:lnTo>
                      <a:pt x="186" y="203"/>
                    </a:lnTo>
                    <a:lnTo>
                      <a:pt x="189" y="206"/>
                    </a:lnTo>
                    <a:lnTo>
                      <a:pt x="188" y="211"/>
                    </a:lnTo>
                    <a:lnTo>
                      <a:pt x="191" y="216"/>
                    </a:lnTo>
                    <a:lnTo>
                      <a:pt x="191" y="223"/>
                    </a:lnTo>
                    <a:lnTo>
                      <a:pt x="196" y="225"/>
                    </a:lnTo>
                    <a:lnTo>
                      <a:pt x="196" y="218"/>
                    </a:lnTo>
                    <a:lnTo>
                      <a:pt x="198" y="221"/>
                    </a:lnTo>
                    <a:lnTo>
                      <a:pt x="203" y="221"/>
                    </a:lnTo>
                    <a:lnTo>
                      <a:pt x="203" y="218"/>
                    </a:lnTo>
                    <a:lnTo>
                      <a:pt x="199" y="211"/>
                    </a:lnTo>
                    <a:lnTo>
                      <a:pt x="196" y="208"/>
                    </a:lnTo>
                    <a:lnTo>
                      <a:pt x="194" y="201"/>
                    </a:lnTo>
                    <a:lnTo>
                      <a:pt x="193" y="196"/>
                    </a:lnTo>
                    <a:lnTo>
                      <a:pt x="191" y="195"/>
                    </a:lnTo>
                    <a:lnTo>
                      <a:pt x="191" y="195"/>
                    </a:lnTo>
                    <a:close/>
                    <a:moveTo>
                      <a:pt x="214" y="206"/>
                    </a:moveTo>
                    <a:lnTo>
                      <a:pt x="218" y="205"/>
                    </a:lnTo>
                    <a:lnTo>
                      <a:pt x="216" y="203"/>
                    </a:lnTo>
                    <a:lnTo>
                      <a:pt x="214" y="205"/>
                    </a:lnTo>
                    <a:lnTo>
                      <a:pt x="214" y="206"/>
                    </a:lnTo>
                    <a:lnTo>
                      <a:pt x="214" y="206"/>
                    </a:lnTo>
                    <a:close/>
                    <a:moveTo>
                      <a:pt x="216" y="210"/>
                    </a:moveTo>
                    <a:lnTo>
                      <a:pt x="213" y="208"/>
                    </a:lnTo>
                    <a:lnTo>
                      <a:pt x="213" y="211"/>
                    </a:lnTo>
                    <a:lnTo>
                      <a:pt x="214" y="211"/>
                    </a:lnTo>
                    <a:lnTo>
                      <a:pt x="216" y="210"/>
                    </a:lnTo>
                    <a:lnTo>
                      <a:pt x="216" y="210"/>
                    </a:lnTo>
                    <a:close/>
                    <a:moveTo>
                      <a:pt x="214" y="231"/>
                    </a:moveTo>
                    <a:lnTo>
                      <a:pt x="216" y="226"/>
                    </a:lnTo>
                    <a:lnTo>
                      <a:pt x="213" y="223"/>
                    </a:lnTo>
                    <a:lnTo>
                      <a:pt x="213" y="218"/>
                    </a:lnTo>
                    <a:lnTo>
                      <a:pt x="214" y="218"/>
                    </a:lnTo>
                    <a:lnTo>
                      <a:pt x="213" y="215"/>
                    </a:lnTo>
                    <a:lnTo>
                      <a:pt x="211" y="216"/>
                    </a:lnTo>
                    <a:lnTo>
                      <a:pt x="209" y="221"/>
                    </a:lnTo>
                    <a:lnTo>
                      <a:pt x="213" y="226"/>
                    </a:lnTo>
                    <a:lnTo>
                      <a:pt x="213" y="228"/>
                    </a:lnTo>
                    <a:lnTo>
                      <a:pt x="213" y="231"/>
                    </a:lnTo>
                    <a:lnTo>
                      <a:pt x="214" y="231"/>
                    </a:lnTo>
                    <a:lnTo>
                      <a:pt x="214" y="231"/>
                    </a:lnTo>
                    <a:close/>
                    <a:moveTo>
                      <a:pt x="219" y="233"/>
                    </a:moveTo>
                    <a:lnTo>
                      <a:pt x="219" y="235"/>
                    </a:lnTo>
                    <a:lnTo>
                      <a:pt x="221" y="236"/>
                    </a:lnTo>
                    <a:lnTo>
                      <a:pt x="223" y="235"/>
                    </a:lnTo>
                    <a:lnTo>
                      <a:pt x="219" y="233"/>
                    </a:lnTo>
                    <a:lnTo>
                      <a:pt x="219" y="233"/>
                    </a:lnTo>
                    <a:close/>
                    <a:moveTo>
                      <a:pt x="224" y="223"/>
                    </a:moveTo>
                    <a:lnTo>
                      <a:pt x="223" y="228"/>
                    </a:lnTo>
                    <a:lnTo>
                      <a:pt x="221" y="230"/>
                    </a:lnTo>
                    <a:lnTo>
                      <a:pt x="224" y="233"/>
                    </a:lnTo>
                    <a:lnTo>
                      <a:pt x="228" y="231"/>
                    </a:lnTo>
                    <a:lnTo>
                      <a:pt x="226" y="226"/>
                    </a:lnTo>
                    <a:lnTo>
                      <a:pt x="224" y="223"/>
                    </a:lnTo>
                    <a:lnTo>
                      <a:pt x="224" y="223"/>
                    </a:lnTo>
                    <a:close/>
                    <a:moveTo>
                      <a:pt x="130" y="299"/>
                    </a:moveTo>
                    <a:lnTo>
                      <a:pt x="125" y="294"/>
                    </a:lnTo>
                    <a:lnTo>
                      <a:pt x="128" y="288"/>
                    </a:lnTo>
                    <a:lnTo>
                      <a:pt x="128" y="283"/>
                    </a:lnTo>
                    <a:lnTo>
                      <a:pt x="128" y="279"/>
                    </a:lnTo>
                    <a:lnTo>
                      <a:pt x="131" y="274"/>
                    </a:lnTo>
                    <a:lnTo>
                      <a:pt x="136" y="273"/>
                    </a:lnTo>
                    <a:lnTo>
                      <a:pt x="139" y="269"/>
                    </a:lnTo>
                    <a:lnTo>
                      <a:pt x="144" y="271"/>
                    </a:lnTo>
                    <a:lnTo>
                      <a:pt x="151" y="269"/>
                    </a:lnTo>
                    <a:lnTo>
                      <a:pt x="149" y="266"/>
                    </a:lnTo>
                    <a:lnTo>
                      <a:pt x="151" y="263"/>
                    </a:lnTo>
                    <a:lnTo>
                      <a:pt x="156" y="260"/>
                    </a:lnTo>
                    <a:lnTo>
                      <a:pt x="159" y="256"/>
                    </a:lnTo>
                    <a:lnTo>
                      <a:pt x="163" y="256"/>
                    </a:lnTo>
                    <a:lnTo>
                      <a:pt x="169" y="261"/>
                    </a:lnTo>
                    <a:lnTo>
                      <a:pt x="169" y="268"/>
                    </a:lnTo>
                    <a:lnTo>
                      <a:pt x="164" y="274"/>
                    </a:lnTo>
                    <a:lnTo>
                      <a:pt x="169" y="271"/>
                    </a:lnTo>
                    <a:lnTo>
                      <a:pt x="174" y="269"/>
                    </a:lnTo>
                    <a:lnTo>
                      <a:pt x="179" y="268"/>
                    </a:lnTo>
                    <a:lnTo>
                      <a:pt x="183" y="260"/>
                    </a:lnTo>
                    <a:lnTo>
                      <a:pt x="188" y="258"/>
                    </a:lnTo>
                    <a:lnTo>
                      <a:pt x="189" y="263"/>
                    </a:lnTo>
                    <a:lnTo>
                      <a:pt x="193" y="261"/>
                    </a:lnTo>
                    <a:lnTo>
                      <a:pt x="193" y="258"/>
                    </a:lnTo>
                    <a:lnTo>
                      <a:pt x="191" y="258"/>
                    </a:lnTo>
                    <a:lnTo>
                      <a:pt x="194" y="248"/>
                    </a:lnTo>
                    <a:lnTo>
                      <a:pt x="199" y="251"/>
                    </a:lnTo>
                    <a:lnTo>
                      <a:pt x="203" y="253"/>
                    </a:lnTo>
                    <a:lnTo>
                      <a:pt x="203" y="251"/>
                    </a:lnTo>
                    <a:lnTo>
                      <a:pt x="203" y="245"/>
                    </a:lnTo>
                    <a:lnTo>
                      <a:pt x="204" y="245"/>
                    </a:lnTo>
                    <a:lnTo>
                      <a:pt x="209" y="248"/>
                    </a:lnTo>
                    <a:lnTo>
                      <a:pt x="209" y="245"/>
                    </a:lnTo>
                    <a:lnTo>
                      <a:pt x="206" y="236"/>
                    </a:lnTo>
                    <a:lnTo>
                      <a:pt x="208" y="231"/>
                    </a:lnTo>
                    <a:lnTo>
                      <a:pt x="211" y="233"/>
                    </a:lnTo>
                    <a:lnTo>
                      <a:pt x="213" y="231"/>
                    </a:lnTo>
                    <a:lnTo>
                      <a:pt x="213" y="236"/>
                    </a:lnTo>
                    <a:lnTo>
                      <a:pt x="219" y="241"/>
                    </a:lnTo>
                    <a:lnTo>
                      <a:pt x="224" y="245"/>
                    </a:lnTo>
                    <a:lnTo>
                      <a:pt x="228" y="243"/>
                    </a:lnTo>
                    <a:lnTo>
                      <a:pt x="228" y="246"/>
                    </a:lnTo>
                    <a:lnTo>
                      <a:pt x="231" y="250"/>
                    </a:lnTo>
                    <a:lnTo>
                      <a:pt x="231" y="256"/>
                    </a:lnTo>
                    <a:lnTo>
                      <a:pt x="228" y="255"/>
                    </a:lnTo>
                    <a:lnTo>
                      <a:pt x="228" y="258"/>
                    </a:lnTo>
                    <a:lnTo>
                      <a:pt x="229" y="261"/>
                    </a:lnTo>
                    <a:lnTo>
                      <a:pt x="233" y="261"/>
                    </a:lnTo>
                    <a:lnTo>
                      <a:pt x="231" y="263"/>
                    </a:lnTo>
                    <a:lnTo>
                      <a:pt x="231" y="269"/>
                    </a:lnTo>
                    <a:lnTo>
                      <a:pt x="233" y="266"/>
                    </a:lnTo>
                    <a:lnTo>
                      <a:pt x="234" y="271"/>
                    </a:lnTo>
                    <a:lnTo>
                      <a:pt x="234" y="276"/>
                    </a:lnTo>
                    <a:lnTo>
                      <a:pt x="237" y="279"/>
                    </a:lnTo>
                    <a:lnTo>
                      <a:pt x="239" y="284"/>
                    </a:lnTo>
                    <a:lnTo>
                      <a:pt x="241" y="291"/>
                    </a:lnTo>
                    <a:lnTo>
                      <a:pt x="237" y="296"/>
                    </a:lnTo>
                    <a:lnTo>
                      <a:pt x="236" y="296"/>
                    </a:lnTo>
                    <a:lnTo>
                      <a:pt x="236" y="299"/>
                    </a:lnTo>
                    <a:lnTo>
                      <a:pt x="234" y="296"/>
                    </a:lnTo>
                    <a:lnTo>
                      <a:pt x="231" y="298"/>
                    </a:lnTo>
                    <a:lnTo>
                      <a:pt x="231" y="299"/>
                    </a:lnTo>
                    <a:lnTo>
                      <a:pt x="233" y="306"/>
                    </a:lnTo>
                    <a:lnTo>
                      <a:pt x="233" y="311"/>
                    </a:lnTo>
                    <a:lnTo>
                      <a:pt x="233" y="314"/>
                    </a:lnTo>
                    <a:lnTo>
                      <a:pt x="231" y="311"/>
                    </a:lnTo>
                    <a:lnTo>
                      <a:pt x="228" y="304"/>
                    </a:lnTo>
                    <a:lnTo>
                      <a:pt x="228" y="301"/>
                    </a:lnTo>
                    <a:lnTo>
                      <a:pt x="226" y="298"/>
                    </a:lnTo>
                    <a:lnTo>
                      <a:pt x="224" y="293"/>
                    </a:lnTo>
                    <a:lnTo>
                      <a:pt x="221" y="288"/>
                    </a:lnTo>
                    <a:lnTo>
                      <a:pt x="218" y="289"/>
                    </a:lnTo>
                    <a:lnTo>
                      <a:pt x="213" y="299"/>
                    </a:lnTo>
                    <a:lnTo>
                      <a:pt x="211" y="303"/>
                    </a:lnTo>
                    <a:lnTo>
                      <a:pt x="216" y="306"/>
                    </a:lnTo>
                    <a:lnTo>
                      <a:pt x="218" y="311"/>
                    </a:lnTo>
                    <a:lnTo>
                      <a:pt x="221" y="314"/>
                    </a:lnTo>
                    <a:lnTo>
                      <a:pt x="219" y="319"/>
                    </a:lnTo>
                    <a:lnTo>
                      <a:pt x="213" y="326"/>
                    </a:lnTo>
                    <a:lnTo>
                      <a:pt x="209" y="329"/>
                    </a:lnTo>
                    <a:lnTo>
                      <a:pt x="208" y="328"/>
                    </a:lnTo>
                    <a:lnTo>
                      <a:pt x="206" y="323"/>
                    </a:lnTo>
                    <a:lnTo>
                      <a:pt x="209" y="321"/>
                    </a:lnTo>
                    <a:lnTo>
                      <a:pt x="208" y="319"/>
                    </a:lnTo>
                    <a:lnTo>
                      <a:pt x="204" y="321"/>
                    </a:lnTo>
                    <a:lnTo>
                      <a:pt x="204" y="323"/>
                    </a:lnTo>
                    <a:lnTo>
                      <a:pt x="199" y="324"/>
                    </a:lnTo>
                    <a:lnTo>
                      <a:pt x="194" y="323"/>
                    </a:lnTo>
                    <a:lnTo>
                      <a:pt x="191" y="319"/>
                    </a:lnTo>
                    <a:lnTo>
                      <a:pt x="186" y="319"/>
                    </a:lnTo>
                    <a:lnTo>
                      <a:pt x="181" y="314"/>
                    </a:lnTo>
                    <a:lnTo>
                      <a:pt x="179" y="311"/>
                    </a:lnTo>
                    <a:lnTo>
                      <a:pt x="176" y="308"/>
                    </a:lnTo>
                    <a:lnTo>
                      <a:pt x="178" y="304"/>
                    </a:lnTo>
                    <a:lnTo>
                      <a:pt x="178" y="301"/>
                    </a:lnTo>
                    <a:lnTo>
                      <a:pt x="174" y="298"/>
                    </a:lnTo>
                    <a:lnTo>
                      <a:pt x="178" y="296"/>
                    </a:lnTo>
                    <a:lnTo>
                      <a:pt x="176" y="293"/>
                    </a:lnTo>
                    <a:lnTo>
                      <a:pt x="179" y="293"/>
                    </a:lnTo>
                    <a:lnTo>
                      <a:pt x="183" y="294"/>
                    </a:lnTo>
                    <a:lnTo>
                      <a:pt x="179" y="291"/>
                    </a:lnTo>
                    <a:lnTo>
                      <a:pt x="178" y="288"/>
                    </a:lnTo>
                    <a:lnTo>
                      <a:pt x="173" y="283"/>
                    </a:lnTo>
                    <a:lnTo>
                      <a:pt x="169" y="283"/>
                    </a:lnTo>
                    <a:lnTo>
                      <a:pt x="164" y="279"/>
                    </a:lnTo>
                    <a:lnTo>
                      <a:pt x="163" y="279"/>
                    </a:lnTo>
                    <a:lnTo>
                      <a:pt x="161" y="281"/>
                    </a:lnTo>
                    <a:lnTo>
                      <a:pt x="161" y="283"/>
                    </a:lnTo>
                    <a:lnTo>
                      <a:pt x="159" y="284"/>
                    </a:lnTo>
                    <a:lnTo>
                      <a:pt x="163" y="288"/>
                    </a:lnTo>
                    <a:lnTo>
                      <a:pt x="161" y="288"/>
                    </a:lnTo>
                    <a:lnTo>
                      <a:pt x="156" y="286"/>
                    </a:lnTo>
                    <a:lnTo>
                      <a:pt x="154" y="286"/>
                    </a:lnTo>
                    <a:lnTo>
                      <a:pt x="156" y="283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1" y="288"/>
                    </a:lnTo>
                    <a:lnTo>
                      <a:pt x="148" y="286"/>
                    </a:lnTo>
                    <a:lnTo>
                      <a:pt x="146" y="288"/>
                    </a:lnTo>
                    <a:lnTo>
                      <a:pt x="144" y="286"/>
                    </a:lnTo>
                    <a:lnTo>
                      <a:pt x="146" y="281"/>
                    </a:lnTo>
                    <a:lnTo>
                      <a:pt x="143" y="279"/>
                    </a:lnTo>
                    <a:lnTo>
                      <a:pt x="139" y="279"/>
                    </a:lnTo>
                    <a:lnTo>
                      <a:pt x="138" y="284"/>
                    </a:lnTo>
                    <a:lnTo>
                      <a:pt x="135" y="288"/>
                    </a:lnTo>
                    <a:lnTo>
                      <a:pt x="131" y="296"/>
                    </a:lnTo>
                    <a:lnTo>
                      <a:pt x="130" y="299"/>
                    </a:lnTo>
                    <a:lnTo>
                      <a:pt x="130" y="299"/>
                    </a:lnTo>
                    <a:close/>
                    <a:moveTo>
                      <a:pt x="121" y="304"/>
                    </a:moveTo>
                    <a:lnTo>
                      <a:pt x="121" y="308"/>
                    </a:lnTo>
                    <a:lnTo>
                      <a:pt x="125" y="311"/>
                    </a:lnTo>
                    <a:lnTo>
                      <a:pt x="128" y="311"/>
                    </a:lnTo>
                    <a:lnTo>
                      <a:pt x="133" y="306"/>
                    </a:lnTo>
                    <a:lnTo>
                      <a:pt x="135" y="306"/>
                    </a:lnTo>
                    <a:lnTo>
                      <a:pt x="131" y="304"/>
                    </a:lnTo>
                    <a:lnTo>
                      <a:pt x="128" y="303"/>
                    </a:lnTo>
                    <a:lnTo>
                      <a:pt x="126" y="304"/>
                    </a:lnTo>
                    <a:lnTo>
                      <a:pt x="121" y="304"/>
                    </a:lnTo>
                    <a:lnTo>
                      <a:pt x="121" y="304"/>
                    </a:lnTo>
                    <a:close/>
                    <a:moveTo>
                      <a:pt x="66" y="178"/>
                    </a:moveTo>
                    <a:lnTo>
                      <a:pt x="65" y="176"/>
                    </a:lnTo>
                    <a:lnTo>
                      <a:pt x="63" y="173"/>
                    </a:lnTo>
                    <a:lnTo>
                      <a:pt x="65" y="171"/>
                    </a:lnTo>
                    <a:lnTo>
                      <a:pt x="68" y="171"/>
                    </a:lnTo>
                    <a:lnTo>
                      <a:pt x="71" y="175"/>
                    </a:lnTo>
                    <a:lnTo>
                      <a:pt x="76" y="176"/>
                    </a:lnTo>
                    <a:lnTo>
                      <a:pt x="76" y="178"/>
                    </a:lnTo>
                    <a:lnTo>
                      <a:pt x="75" y="180"/>
                    </a:lnTo>
                    <a:lnTo>
                      <a:pt x="71" y="180"/>
                    </a:lnTo>
                    <a:lnTo>
                      <a:pt x="66" y="178"/>
                    </a:lnTo>
                    <a:lnTo>
                      <a:pt x="66" y="178"/>
                    </a:lnTo>
                    <a:close/>
                    <a:moveTo>
                      <a:pt x="63" y="181"/>
                    </a:moveTo>
                    <a:lnTo>
                      <a:pt x="68" y="181"/>
                    </a:lnTo>
                    <a:lnTo>
                      <a:pt x="70" y="185"/>
                    </a:lnTo>
                    <a:lnTo>
                      <a:pt x="68" y="186"/>
                    </a:lnTo>
                    <a:lnTo>
                      <a:pt x="66" y="188"/>
                    </a:lnTo>
                    <a:lnTo>
                      <a:pt x="65" y="188"/>
                    </a:lnTo>
                    <a:lnTo>
                      <a:pt x="63" y="183"/>
                    </a:lnTo>
                    <a:lnTo>
                      <a:pt x="63" y="181"/>
                    </a:lnTo>
                    <a:lnTo>
                      <a:pt x="63" y="181"/>
                    </a:lnTo>
                    <a:close/>
                    <a:moveTo>
                      <a:pt x="66" y="213"/>
                    </a:moveTo>
                    <a:lnTo>
                      <a:pt x="68" y="213"/>
                    </a:lnTo>
                    <a:lnTo>
                      <a:pt x="70" y="211"/>
                    </a:lnTo>
                    <a:lnTo>
                      <a:pt x="70" y="213"/>
                    </a:lnTo>
                    <a:lnTo>
                      <a:pt x="73" y="215"/>
                    </a:lnTo>
                    <a:lnTo>
                      <a:pt x="71" y="216"/>
                    </a:lnTo>
                    <a:lnTo>
                      <a:pt x="68" y="216"/>
                    </a:lnTo>
                    <a:lnTo>
                      <a:pt x="65" y="216"/>
                    </a:lnTo>
                    <a:lnTo>
                      <a:pt x="66" y="213"/>
                    </a:lnTo>
                    <a:lnTo>
                      <a:pt x="66" y="213"/>
                    </a:lnTo>
                    <a:close/>
                    <a:moveTo>
                      <a:pt x="7" y="263"/>
                    </a:moveTo>
                    <a:lnTo>
                      <a:pt x="12" y="260"/>
                    </a:lnTo>
                    <a:lnTo>
                      <a:pt x="15" y="258"/>
                    </a:lnTo>
                    <a:lnTo>
                      <a:pt x="18" y="256"/>
                    </a:lnTo>
                    <a:lnTo>
                      <a:pt x="23" y="255"/>
                    </a:lnTo>
                    <a:lnTo>
                      <a:pt x="28" y="246"/>
                    </a:lnTo>
                    <a:lnTo>
                      <a:pt x="35" y="245"/>
                    </a:lnTo>
                    <a:lnTo>
                      <a:pt x="38" y="241"/>
                    </a:lnTo>
                    <a:lnTo>
                      <a:pt x="38" y="240"/>
                    </a:lnTo>
                    <a:lnTo>
                      <a:pt x="41" y="236"/>
                    </a:lnTo>
                    <a:lnTo>
                      <a:pt x="41" y="230"/>
                    </a:lnTo>
                    <a:lnTo>
                      <a:pt x="45" y="226"/>
                    </a:lnTo>
                    <a:lnTo>
                      <a:pt x="51" y="226"/>
                    </a:lnTo>
                    <a:lnTo>
                      <a:pt x="53" y="221"/>
                    </a:lnTo>
                    <a:lnTo>
                      <a:pt x="56" y="218"/>
                    </a:lnTo>
                    <a:lnTo>
                      <a:pt x="61" y="218"/>
                    </a:lnTo>
                    <a:lnTo>
                      <a:pt x="63" y="215"/>
                    </a:lnTo>
                    <a:lnTo>
                      <a:pt x="61" y="208"/>
                    </a:lnTo>
                    <a:lnTo>
                      <a:pt x="56" y="205"/>
                    </a:lnTo>
                    <a:lnTo>
                      <a:pt x="58" y="200"/>
                    </a:lnTo>
                    <a:lnTo>
                      <a:pt x="56" y="195"/>
                    </a:lnTo>
                    <a:lnTo>
                      <a:pt x="55" y="195"/>
                    </a:lnTo>
                    <a:lnTo>
                      <a:pt x="53" y="201"/>
                    </a:lnTo>
                    <a:lnTo>
                      <a:pt x="55" y="208"/>
                    </a:lnTo>
                    <a:lnTo>
                      <a:pt x="51" y="206"/>
                    </a:lnTo>
                    <a:lnTo>
                      <a:pt x="53" y="210"/>
                    </a:lnTo>
                    <a:lnTo>
                      <a:pt x="53" y="213"/>
                    </a:lnTo>
                    <a:lnTo>
                      <a:pt x="50" y="218"/>
                    </a:lnTo>
                    <a:lnTo>
                      <a:pt x="46" y="218"/>
                    </a:lnTo>
                    <a:lnTo>
                      <a:pt x="41" y="221"/>
                    </a:lnTo>
                    <a:lnTo>
                      <a:pt x="41" y="225"/>
                    </a:lnTo>
                    <a:lnTo>
                      <a:pt x="37" y="228"/>
                    </a:lnTo>
                    <a:lnTo>
                      <a:pt x="32" y="238"/>
                    </a:lnTo>
                    <a:lnTo>
                      <a:pt x="25" y="243"/>
                    </a:lnTo>
                    <a:lnTo>
                      <a:pt x="22" y="243"/>
                    </a:lnTo>
                    <a:lnTo>
                      <a:pt x="18" y="250"/>
                    </a:lnTo>
                    <a:lnTo>
                      <a:pt x="15" y="251"/>
                    </a:lnTo>
                    <a:lnTo>
                      <a:pt x="8" y="260"/>
                    </a:lnTo>
                    <a:lnTo>
                      <a:pt x="7" y="261"/>
                    </a:lnTo>
                    <a:lnTo>
                      <a:pt x="7" y="263"/>
                    </a:lnTo>
                    <a:lnTo>
                      <a:pt x="7" y="263"/>
                    </a:lnTo>
                    <a:close/>
                    <a:moveTo>
                      <a:pt x="8" y="265"/>
                    </a:moveTo>
                    <a:lnTo>
                      <a:pt x="5" y="266"/>
                    </a:lnTo>
                    <a:lnTo>
                      <a:pt x="8" y="266"/>
                    </a:lnTo>
                    <a:lnTo>
                      <a:pt x="8" y="265"/>
                    </a:lnTo>
                    <a:lnTo>
                      <a:pt x="8" y="265"/>
                    </a:lnTo>
                    <a:close/>
                    <a:moveTo>
                      <a:pt x="10" y="266"/>
                    </a:moveTo>
                    <a:lnTo>
                      <a:pt x="8" y="268"/>
                    </a:lnTo>
                    <a:lnTo>
                      <a:pt x="12" y="268"/>
                    </a:lnTo>
                    <a:lnTo>
                      <a:pt x="10" y="266"/>
                    </a:lnTo>
                    <a:lnTo>
                      <a:pt x="10" y="266"/>
                    </a:lnTo>
                    <a:close/>
                    <a:moveTo>
                      <a:pt x="3" y="271"/>
                    </a:moveTo>
                    <a:lnTo>
                      <a:pt x="0" y="273"/>
                    </a:lnTo>
                    <a:lnTo>
                      <a:pt x="0" y="274"/>
                    </a:lnTo>
                    <a:lnTo>
                      <a:pt x="2" y="279"/>
                    </a:lnTo>
                    <a:lnTo>
                      <a:pt x="5" y="279"/>
                    </a:lnTo>
                    <a:lnTo>
                      <a:pt x="5" y="273"/>
                    </a:lnTo>
                    <a:lnTo>
                      <a:pt x="5" y="271"/>
                    </a:lnTo>
                    <a:lnTo>
                      <a:pt x="3" y="2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09" name="Freeform 15">
                <a:extLst>
                  <a:ext uri="{FF2B5EF4-FFF2-40B4-BE49-F238E27FC236}">
                    <a16:creationId xmlns:a16="http://schemas.microsoft.com/office/drawing/2014/main" id="{9359414D-4DA8-5443-BC39-9A44B3257E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6503" y="3195008"/>
                <a:ext cx="597199" cy="207518"/>
              </a:xfrm>
              <a:custGeom>
                <a:avLst/>
                <a:gdLst/>
                <a:ahLst/>
                <a:cxnLst>
                  <a:cxn ang="0">
                    <a:pos x="1071" y="312"/>
                  </a:cxn>
                  <a:cxn ang="0">
                    <a:pos x="966" y="247"/>
                  </a:cxn>
                  <a:cxn ang="0">
                    <a:pos x="915" y="229"/>
                  </a:cxn>
                  <a:cxn ang="0">
                    <a:pos x="895" y="191"/>
                  </a:cxn>
                  <a:cxn ang="0">
                    <a:pos x="958" y="207"/>
                  </a:cxn>
                  <a:cxn ang="0">
                    <a:pos x="1091" y="201"/>
                  </a:cxn>
                  <a:cxn ang="0">
                    <a:pos x="875" y="157"/>
                  </a:cxn>
                  <a:cxn ang="0">
                    <a:pos x="767" y="46"/>
                  </a:cxn>
                  <a:cxn ang="0">
                    <a:pos x="787" y="136"/>
                  </a:cxn>
                  <a:cxn ang="0">
                    <a:pos x="815" y="143"/>
                  </a:cxn>
                  <a:cxn ang="0">
                    <a:pos x="784" y="161"/>
                  </a:cxn>
                  <a:cxn ang="0">
                    <a:pos x="799" y="232"/>
                  </a:cxn>
                  <a:cxn ang="0">
                    <a:pos x="865" y="226"/>
                  </a:cxn>
                  <a:cxn ang="0">
                    <a:pos x="616" y="312"/>
                  </a:cxn>
                  <a:cxn ang="0">
                    <a:pos x="732" y="191"/>
                  </a:cxn>
                  <a:cxn ang="0">
                    <a:pos x="677" y="270"/>
                  </a:cxn>
                  <a:cxn ang="0">
                    <a:pos x="676" y="194"/>
                  </a:cxn>
                  <a:cxn ang="0">
                    <a:pos x="649" y="159"/>
                  </a:cxn>
                  <a:cxn ang="0">
                    <a:pos x="729" y="114"/>
                  </a:cxn>
                  <a:cxn ang="0">
                    <a:pos x="596" y="161"/>
                  </a:cxn>
                  <a:cxn ang="0">
                    <a:pos x="591" y="277"/>
                  </a:cxn>
                  <a:cxn ang="0">
                    <a:pos x="638" y="259"/>
                  </a:cxn>
                  <a:cxn ang="0">
                    <a:pos x="656" y="219"/>
                  </a:cxn>
                  <a:cxn ang="0">
                    <a:pos x="633" y="174"/>
                  </a:cxn>
                  <a:cxn ang="0">
                    <a:pos x="594" y="33"/>
                  </a:cxn>
                  <a:cxn ang="0">
                    <a:pos x="511" y="231"/>
                  </a:cxn>
                  <a:cxn ang="0">
                    <a:pos x="350" y="184"/>
                  </a:cxn>
                  <a:cxn ang="0">
                    <a:pos x="498" y="59"/>
                  </a:cxn>
                  <a:cxn ang="0">
                    <a:pos x="566" y="119"/>
                  </a:cxn>
                  <a:cxn ang="0">
                    <a:pos x="515" y="199"/>
                  </a:cxn>
                  <a:cxn ang="0">
                    <a:pos x="445" y="222"/>
                  </a:cxn>
                  <a:cxn ang="0">
                    <a:pos x="363" y="181"/>
                  </a:cxn>
                  <a:cxn ang="0">
                    <a:pos x="973" y="186"/>
                  </a:cxn>
                  <a:cxn ang="0">
                    <a:pos x="910" y="279"/>
                  </a:cxn>
                  <a:cxn ang="0">
                    <a:pos x="947" y="292"/>
                  </a:cxn>
                  <a:cxn ang="0">
                    <a:pos x="945" y="280"/>
                  </a:cxn>
                  <a:cxn ang="0">
                    <a:pos x="887" y="310"/>
                  </a:cxn>
                  <a:cxn ang="0">
                    <a:pos x="882" y="312"/>
                  </a:cxn>
                  <a:cxn ang="0">
                    <a:pos x="817" y="337"/>
                  </a:cxn>
                  <a:cxn ang="0">
                    <a:pos x="699" y="382"/>
                  </a:cxn>
                  <a:cxn ang="0">
                    <a:pos x="661" y="398"/>
                  </a:cxn>
                  <a:cxn ang="0">
                    <a:pos x="569" y="365"/>
                  </a:cxn>
                  <a:cxn ang="0">
                    <a:pos x="732" y="335"/>
                  </a:cxn>
                  <a:cxn ang="0">
                    <a:pos x="686" y="345"/>
                  </a:cxn>
                  <a:cxn ang="0">
                    <a:pos x="672" y="339"/>
                  </a:cxn>
                  <a:cxn ang="0">
                    <a:pos x="586" y="344"/>
                  </a:cxn>
                  <a:cxn ang="0">
                    <a:pos x="555" y="347"/>
                  </a:cxn>
                  <a:cxn ang="0">
                    <a:pos x="471" y="342"/>
                  </a:cxn>
                  <a:cxn ang="0">
                    <a:pos x="1061" y="320"/>
                  </a:cxn>
                  <a:cxn ang="0">
                    <a:pos x="261" y="292"/>
                  </a:cxn>
                  <a:cxn ang="0">
                    <a:pos x="428" y="324"/>
                  </a:cxn>
                  <a:cxn ang="0">
                    <a:pos x="329" y="327"/>
                  </a:cxn>
                  <a:cxn ang="0">
                    <a:pos x="270" y="86"/>
                  </a:cxn>
                  <a:cxn ang="0">
                    <a:pos x="232" y="121"/>
                  </a:cxn>
                  <a:cxn ang="0">
                    <a:pos x="285" y="217"/>
                  </a:cxn>
                  <a:cxn ang="0">
                    <a:pos x="227" y="162"/>
                  </a:cxn>
                  <a:cxn ang="0">
                    <a:pos x="153" y="106"/>
                  </a:cxn>
                  <a:cxn ang="0">
                    <a:pos x="83" y="177"/>
                  </a:cxn>
                  <a:cxn ang="0">
                    <a:pos x="13" y="84"/>
                  </a:cxn>
                  <a:cxn ang="0">
                    <a:pos x="99" y="146"/>
                  </a:cxn>
                  <a:cxn ang="0">
                    <a:pos x="249" y="274"/>
                  </a:cxn>
                  <a:cxn ang="0">
                    <a:pos x="204" y="161"/>
                  </a:cxn>
                  <a:cxn ang="0">
                    <a:pos x="116" y="79"/>
                  </a:cxn>
                </a:cxnLst>
                <a:rect l="0" t="0" r="r" b="b"/>
                <a:pathLst>
                  <a:path w="1116" h="398">
                    <a:moveTo>
                      <a:pt x="1116" y="209"/>
                    </a:moveTo>
                    <a:lnTo>
                      <a:pt x="1113" y="292"/>
                    </a:lnTo>
                    <a:lnTo>
                      <a:pt x="1111" y="297"/>
                    </a:lnTo>
                    <a:lnTo>
                      <a:pt x="1111" y="302"/>
                    </a:lnTo>
                    <a:lnTo>
                      <a:pt x="1113" y="304"/>
                    </a:lnTo>
                    <a:lnTo>
                      <a:pt x="1109" y="357"/>
                    </a:lnTo>
                    <a:lnTo>
                      <a:pt x="1109" y="357"/>
                    </a:lnTo>
                    <a:lnTo>
                      <a:pt x="1103" y="353"/>
                    </a:lnTo>
                    <a:lnTo>
                      <a:pt x="1096" y="349"/>
                    </a:lnTo>
                    <a:lnTo>
                      <a:pt x="1094" y="345"/>
                    </a:lnTo>
                    <a:lnTo>
                      <a:pt x="1094" y="344"/>
                    </a:lnTo>
                    <a:lnTo>
                      <a:pt x="1089" y="339"/>
                    </a:lnTo>
                    <a:lnTo>
                      <a:pt x="1088" y="339"/>
                    </a:lnTo>
                    <a:lnTo>
                      <a:pt x="1086" y="335"/>
                    </a:lnTo>
                    <a:lnTo>
                      <a:pt x="1089" y="332"/>
                    </a:lnTo>
                    <a:lnTo>
                      <a:pt x="1088" y="327"/>
                    </a:lnTo>
                    <a:lnTo>
                      <a:pt x="1088" y="332"/>
                    </a:lnTo>
                    <a:lnTo>
                      <a:pt x="1084" y="334"/>
                    </a:lnTo>
                    <a:lnTo>
                      <a:pt x="1076" y="332"/>
                    </a:lnTo>
                    <a:lnTo>
                      <a:pt x="1073" y="335"/>
                    </a:lnTo>
                    <a:lnTo>
                      <a:pt x="1069" y="335"/>
                    </a:lnTo>
                    <a:lnTo>
                      <a:pt x="1068" y="332"/>
                    </a:lnTo>
                    <a:lnTo>
                      <a:pt x="1061" y="335"/>
                    </a:lnTo>
                    <a:lnTo>
                      <a:pt x="1058" y="332"/>
                    </a:lnTo>
                    <a:lnTo>
                      <a:pt x="1061" y="330"/>
                    </a:lnTo>
                    <a:lnTo>
                      <a:pt x="1063" y="327"/>
                    </a:lnTo>
                    <a:lnTo>
                      <a:pt x="1063" y="325"/>
                    </a:lnTo>
                    <a:lnTo>
                      <a:pt x="1063" y="324"/>
                    </a:lnTo>
                    <a:lnTo>
                      <a:pt x="1064" y="319"/>
                    </a:lnTo>
                    <a:lnTo>
                      <a:pt x="1061" y="317"/>
                    </a:lnTo>
                    <a:lnTo>
                      <a:pt x="1058" y="314"/>
                    </a:lnTo>
                    <a:lnTo>
                      <a:pt x="1061" y="314"/>
                    </a:lnTo>
                    <a:lnTo>
                      <a:pt x="1063" y="314"/>
                    </a:lnTo>
                    <a:lnTo>
                      <a:pt x="1068" y="312"/>
                    </a:lnTo>
                    <a:lnTo>
                      <a:pt x="1071" y="312"/>
                    </a:lnTo>
                    <a:lnTo>
                      <a:pt x="1068" y="310"/>
                    </a:lnTo>
                    <a:lnTo>
                      <a:pt x="1063" y="312"/>
                    </a:lnTo>
                    <a:lnTo>
                      <a:pt x="1058" y="310"/>
                    </a:lnTo>
                    <a:lnTo>
                      <a:pt x="1055" y="307"/>
                    </a:lnTo>
                    <a:lnTo>
                      <a:pt x="1055" y="304"/>
                    </a:lnTo>
                    <a:lnTo>
                      <a:pt x="1058" y="304"/>
                    </a:lnTo>
                    <a:lnTo>
                      <a:pt x="1061" y="304"/>
                    </a:lnTo>
                    <a:lnTo>
                      <a:pt x="1059" y="302"/>
                    </a:lnTo>
                    <a:lnTo>
                      <a:pt x="1053" y="299"/>
                    </a:lnTo>
                    <a:lnTo>
                      <a:pt x="1050" y="295"/>
                    </a:lnTo>
                    <a:lnTo>
                      <a:pt x="1048" y="292"/>
                    </a:lnTo>
                    <a:lnTo>
                      <a:pt x="1048" y="289"/>
                    </a:lnTo>
                    <a:lnTo>
                      <a:pt x="1043" y="284"/>
                    </a:lnTo>
                    <a:lnTo>
                      <a:pt x="1043" y="280"/>
                    </a:lnTo>
                    <a:lnTo>
                      <a:pt x="1048" y="277"/>
                    </a:lnTo>
                    <a:lnTo>
                      <a:pt x="1043" y="277"/>
                    </a:lnTo>
                    <a:lnTo>
                      <a:pt x="1041" y="275"/>
                    </a:lnTo>
                    <a:lnTo>
                      <a:pt x="1041" y="274"/>
                    </a:lnTo>
                    <a:lnTo>
                      <a:pt x="1040" y="272"/>
                    </a:lnTo>
                    <a:lnTo>
                      <a:pt x="1043" y="270"/>
                    </a:lnTo>
                    <a:lnTo>
                      <a:pt x="1038" y="270"/>
                    </a:lnTo>
                    <a:lnTo>
                      <a:pt x="1036" y="269"/>
                    </a:lnTo>
                    <a:lnTo>
                      <a:pt x="1033" y="270"/>
                    </a:lnTo>
                    <a:lnTo>
                      <a:pt x="1031" y="269"/>
                    </a:lnTo>
                    <a:lnTo>
                      <a:pt x="1036" y="264"/>
                    </a:lnTo>
                    <a:lnTo>
                      <a:pt x="1033" y="267"/>
                    </a:lnTo>
                    <a:lnTo>
                      <a:pt x="1028" y="267"/>
                    </a:lnTo>
                    <a:lnTo>
                      <a:pt x="1021" y="264"/>
                    </a:lnTo>
                    <a:lnTo>
                      <a:pt x="1020" y="260"/>
                    </a:lnTo>
                    <a:lnTo>
                      <a:pt x="1013" y="259"/>
                    </a:lnTo>
                    <a:lnTo>
                      <a:pt x="1010" y="259"/>
                    </a:lnTo>
                    <a:lnTo>
                      <a:pt x="995" y="254"/>
                    </a:lnTo>
                    <a:lnTo>
                      <a:pt x="980" y="251"/>
                    </a:lnTo>
                    <a:lnTo>
                      <a:pt x="973" y="251"/>
                    </a:lnTo>
                    <a:lnTo>
                      <a:pt x="966" y="247"/>
                    </a:lnTo>
                    <a:lnTo>
                      <a:pt x="965" y="246"/>
                    </a:lnTo>
                    <a:lnTo>
                      <a:pt x="965" y="244"/>
                    </a:lnTo>
                    <a:lnTo>
                      <a:pt x="960" y="242"/>
                    </a:lnTo>
                    <a:lnTo>
                      <a:pt x="960" y="241"/>
                    </a:lnTo>
                    <a:lnTo>
                      <a:pt x="963" y="239"/>
                    </a:lnTo>
                    <a:lnTo>
                      <a:pt x="965" y="241"/>
                    </a:lnTo>
                    <a:lnTo>
                      <a:pt x="965" y="239"/>
                    </a:lnTo>
                    <a:lnTo>
                      <a:pt x="961" y="239"/>
                    </a:lnTo>
                    <a:lnTo>
                      <a:pt x="958" y="241"/>
                    </a:lnTo>
                    <a:lnTo>
                      <a:pt x="955" y="239"/>
                    </a:lnTo>
                    <a:lnTo>
                      <a:pt x="953" y="237"/>
                    </a:lnTo>
                    <a:lnTo>
                      <a:pt x="952" y="236"/>
                    </a:lnTo>
                    <a:lnTo>
                      <a:pt x="950" y="239"/>
                    </a:lnTo>
                    <a:lnTo>
                      <a:pt x="948" y="234"/>
                    </a:lnTo>
                    <a:lnTo>
                      <a:pt x="947" y="234"/>
                    </a:lnTo>
                    <a:lnTo>
                      <a:pt x="945" y="234"/>
                    </a:lnTo>
                    <a:lnTo>
                      <a:pt x="943" y="236"/>
                    </a:lnTo>
                    <a:lnTo>
                      <a:pt x="940" y="232"/>
                    </a:lnTo>
                    <a:lnTo>
                      <a:pt x="940" y="227"/>
                    </a:lnTo>
                    <a:lnTo>
                      <a:pt x="937" y="222"/>
                    </a:lnTo>
                    <a:lnTo>
                      <a:pt x="940" y="219"/>
                    </a:lnTo>
                    <a:lnTo>
                      <a:pt x="940" y="214"/>
                    </a:lnTo>
                    <a:lnTo>
                      <a:pt x="938" y="219"/>
                    </a:lnTo>
                    <a:lnTo>
                      <a:pt x="935" y="224"/>
                    </a:lnTo>
                    <a:lnTo>
                      <a:pt x="935" y="227"/>
                    </a:lnTo>
                    <a:lnTo>
                      <a:pt x="933" y="227"/>
                    </a:lnTo>
                    <a:lnTo>
                      <a:pt x="930" y="234"/>
                    </a:lnTo>
                    <a:lnTo>
                      <a:pt x="930" y="237"/>
                    </a:lnTo>
                    <a:lnTo>
                      <a:pt x="925" y="242"/>
                    </a:lnTo>
                    <a:lnTo>
                      <a:pt x="920" y="244"/>
                    </a:lnTo>
                    <a:lnTo>
                      <a:pt x="915" y="242"/>
                    </a:lnTo>
                    <a:lnTo>
                      <a:pt x="912" y="236"/>
                    </a:lnTo>
                    <a:lnTo>
                      <a:pt x="912" y="232"/>
                    </a:lnTo>
                    <a:lnTo>
                      <a:pt x="913" y="232"/>
                    </a:lnTo>
                    <a:lnTo>
                      <a:pt x="915" y="229"/>
                    </a:lnTo>
                    <a:lnTo>
                      <a:pt x="913" y="226"/>
                    </a:lnTo>
                    <a:lnTo>
                      <a:pt x="912" y="227"/>
                    </a:lnTo>
                    <a:lnTo>
                      <a:pt x="910" y="226"/>
                    </a:lnTo>
                    <a:lnTo>
                      <a:pt x="907" y="219"/>
                    </a:lnTo>
                    <a:lnTo>
                      <a:pt x="902" y="217"/>
                    </a:lnTo>
                    <a:lnTo>
                      <a:pt x="897" y="217"/>
                    </a:lnTo>
                    <a:lnTo>
                      <a:pt x="895" y="214"/>
                    </a:lnTo>
                    <a:lnTo>
                      <a:pt x="898" y="211"/>
                    </a:lnTo>
                    <a:lnTo>
                      <a:pt x="903" y="211"/>
                    </a:lnTo>
                    <a:lnTo>
                      <a:pt x="905" y="212"/>
                    </a:lnTo>
                    <a:lnTo>
                      <a:pt x="910" y="212"/>
                    </a:lnTo>
                    <a:lnTo>
                      <a:pt x="915" y="214"/>
                    </a:lnTo>
                    <a:lnTo>
                      <a:pt x="920" y="212"/>
                    </a:lnTo>
                    <a:lnTo>
                      <a:pt x="920" y="207"/>
                    </a:lnTo>
                    <a:lnTo>
                      <a:pt x="925" y="206"/>
                    </a:lnTo>
                    <a:lnTo>
                      <a:pt x="932" y="209"/>
                    </a:lnTo>
                    <a:lnTo>
                      <a:pt x="935" y="212"/>
                    </a:lnTo>
                    <a:lnTo>
                      <a:pt x="937" y="209"/>
                    </a:lnTo>
                    <a:lnTo>
                      <a:pt x="940" y="206"/>
                    </a:lnTo>
                    <a:lnTo>
                      <a:pt x="942" y="206"/>
                    </a:lnTo>
                    <a:lnTo>
                      <a:pt x="943" y="202"/>
                    </a:lnTo>
                    <a:lnTo>
                      <a:pt x="942" y="199"/>
                    </a:lnTo>
                    <a:lnTo>
                      <a:pt x="930" y="197"/>
                    </a:lnTo>
                    <a:lnTo>
                      <a:pt x="932" y="199"/>
                    </a:lnTo>
                    <a:lnTo>
                      <a:pt x="928" y="201"/>
                    </a:lnTo>
                    <a:lnTo>
                      <a:pt x="925" y="199"/>
                    </a:lnTo>
                    <a:lnTo>
                      <a:pt x="918" y="201"/>
                    </a:lnTo>
                    <a:lnTo>
                      <a:pt x="915" y="201"/>
                    </a:lnTo>
                    <a:lnTo>
                      <a:pt x="912" y="201"/>
                    </a:lnTo>
                    <a:lnTo>
                      <a:pt x="910" y="201"/>
                    </a:lnTo>
                    <a:lnTo>
                      <a:pt x="905" y="201"/>
                    </a:lnTo>
                    <a:lnTo>
                      <a:pt x="900" y="201"/>
                    </a:lnTo>
                    <a:lnTo>
                      <a:pt x="895" y="196"/>
                    </a:lnTo>
                    <a:lnTo>
                      <a:pt x="893" y="191"/>
                    </a:lnTo>
                    <a:lnTo>
                      <a:pt x="895" y="191"/>
                    </a:lnTo>
                    <a:lnTo>
                      <a:pt x="892" y="186"/>
                    </a:lnTo>
                    <a:lnTo>
                      <a:pt x="885" y="182"/>
                    </a:lnTo>
                    <a:lnTo>
                      <a:pt x="883" y="181"/>
                    </a:lnTo>
                    <a:lnTo>
                      <a:pt x="882" y="182"/>
                    </a:lnTo>
                    <a:lnTo>
                      <a:pt x="878" y="184"/>
                    </a:lnTo>
                    <a:lnTo>
                      <a:pt x="872" y="182"/>
                    </a:lnTo>
                    <a:lnTo>
                      <a:pt x="873" y="181"/>
                    </a:lnTo>
                    <a:lnTo>
                      <a:pt x="878" y="177"/>
                    </a:lnTo>
                    <a:lnTo>
                      <a:pt x="878" y="174"/>
                    </a:lnTo>
                    <a:lnTo>
                      <a:pt x="877" y="171"/>
                    </a:lnTo>
                    <a:lnTo>
                      <a:pt x="882" y="167"/>
                    </a:lnTo>
                    <a:lnTo>
                      <a:pt x="888" y="167"/>
                    </a:lnTo>
                    <a:lnTo>
                      <a:pt x="892" y="166"/>
                    </a:lnTo>
                    <a:lnTo>
                      <a:pt x="895" y="164"/>
                    </a:lnTo>
                    <a:lnTo>
                      <a:pt x="902" y="159"/>
                    </a:lnTo>
                    <a:lnTo>
                      <a:pt x="903" y="157"/>
                    </a:lnTo>
                    <a:lnTo>
                      <a:pt x="910" y="156"/>
                    </a:lnTo>
                    <a:lnTo>
                      <a:pt x="923" y="161"/>
                    </a:lnTo>
                    <a:lnTo>
                      <a:pt x="932" y="166"/>
                    </a:lnTo>
                    <a:lnTo>
                      <a:pt x="938" y="166"/>
                    </a:lnTo>
                    <a:lnTo>
                      <a:pt x="947" y="166"/>
                    </a:lnTo>
                    <a:lnTo>
                      <a:pt x="948" y="167"/>
                    </a:lnTo>
                    <a:lnTo>
                      <a:pt x="947" y="171"/>
                    </a:lnTo>
                    <a:lnTo>
                      <a:pt x="947" y="176"/>
                    </a:lnTo>
                    <a:lnTo>
                      <a:pt x="952" y="179"/>
                    </a:lnTo>
                    <a:lnTo>
                      <a:pt x="953" y="182"/>
                    </a:lnTo>
                    <a:lnTo>
                      <a:pt x="950" y="187"/>
                    </a:lnTo>
                    <a:lnTo>
                      <a:pt x="947" y="191"/>
                    </a:lnTo>
                    <a:lnTo>
                      <a:pt x="948" y="197"/>
                    </a:lnTo>
                    <a:lnTo>
                      <a:pt x="950" y="207"/>
                    </a:lnTo>
                    <a:lnTo>
                      <a:pt x="953" y="212"/>
                    </a:lnTo>
                    <a:lnTo>
                      <a:pt x="955" y="214"/>
                    </a:lnTo>
                    <a:lnTo>
                      <a:pt x="957" y="216"/>
                    </a:lnTo>
                    <a:lnTo>
                      <a:pt x="957" y="209"/>
                    </a:lnTo>
                    <a:lnTo>
                      <a:pt x="958" y="207"/>
                    </a:lnTo>
                    <a:lnTo>
                      <a:pt x="961" y="209"/>
                    </a:lnTo>
                    <a:lnTo>
                      <a:pt x="961" y="212"/>
                    </a:lnTo>
                    <a:lnTo>
                      <a:pt x="963" y="217"/>
                    </a:lnTo>
                    <a:lnTo>
                      <a:pt x="965" y="216"/>
                    </a:lnTo>
                    <a:lnTo>
                      <a:pt x="966" y="221"/>
                    </a:lnTo>
                    <a:lnTo>
                      <a:pt x="971" y="224"/>
                    </a:lnTo>
                    <a:lnTo>
                      <a:pt x="975" y="227"/>
                    </a:lnTo>
                    <a:lnTo>
                      <a:pt x="978" y="227"/>
                    </a:lnTo>
                    <a:lnTo>
                      <a:pt x="983" y="226"/>
                    </a:lnTo>
                    <a:lnTo>
                      <a:pt x="985" y="221"/>
                    </a:lnTo>
                    <a:lnTo>
                      <a:pt x="986" y="219"/>
                    </a:lnTo>
                    <a:lnTo>
                      <a:pt x="990" y="219"/>
                    </a:lnTo>
                    <a:lnTo>
                      <a:pt x="990" y="212"/>
                    </a:lnTo>
                    <a:lnTo>
                      <a:pt x="993" y="209"/>
                    </a:lnTo>
                    <a:lnTo>
                      <a:pt x="998" y="207"/>
                    </a:lnTo>
                    <a:lnTo>
                      <a:pt x="1003" y="206"/>
                    </a:lnTo>
                    <a:lnTo>
                      <a:pt x="1003" y="201"/>
                    </a:lnTo>
                    <a:lnTo>
                      <a:pt x="1005" y="199"/>
                    </a:lnTo>
                    <a:lnTo>
                      <a:pt x="1006" y="201"/>
                    </a:lnTo>
                    <a:lnTo>
                      <a:pt x="1010" y="201"/>
                    </a:lnTo>
                    <a:lnTo>
                      <a:pt x="1015" y="199"/>
                    </a:lnTo>
                    <a:lnTo>
                      <a:pt x="1021" y="197"/>
                    </a:lnTo>
                    <a:lnTo>
                      <a:pt x="1021" y="194"/>
                    </a:lnTo>
                    <a:lnTo>
                      <a:pt x="1020" y="191"/>
                    </a:lnTo>
                    <a:lnTo>
                      <a:pt x="1021" y="189"/>
                    </a:lnTo>
                    <a:lnTo>
                      <a:pt x="1033" y="182"/>
                    </a:lnTo>
                    <a:lnTo>
                      <a:pt x="1038" y="182"/>
                    </a:lnTo>
                    <a:lnTo>
                      <a:pt x="1043" y="186"/>
                    </a:lnTo>
                    <a:lnTo>
                      <a:pt x="1050" y="189"/>
                    </a:lnTo>
                    <a:lnTo>
                      <a:pt x="1058" y="191"/>
                    </a:lnTo>
                    <a:lnTo>
                      <a:pt x="1063" y="194"/>
                    </a:lnTo>
                    <a:lnTo>
                      <a:pt x="1068" y="194"/>
                    </a:lnTo>
                    <a:lnTo>
                      <a:pt x="1074" y="196"/>
                    </a:lnTo>
                    <a:lnTo>
                      <a:pt x="1088" y="202"/>
                    </a:lnTo>
                    <a:lnTo>
                      <a:pt x="1091" y="201"/>
                    </a:lnTo>
                    <a:lnTo>
                      <a:pt x="1094" y="202"/>
                    </a:lnTo>
                    <a:lnTo>
                      <a:pt x="1101" y="202"/>
                    </a:lnTo>
                    <a:lnTo>
                      <a:pt x="1106" y="202"/>
                    </a:lnTo>
                    <a:lnTo>
                      <a:pt x="1109" y="206"/>
                    </a:lnTo>
                    <a:lnTo>
                      <a:pt x="1108" y="207"/>
                    </a:lnTo>
                    <a:lnTo>
                      <a:pt x="1108" y="209"/>
                    </a:lnTo>
                    <a:lnTo>
                      <a:pt x="1111" y="211"/>
                    </a:lnTo>
                    <a:lnTo>
                      <a:pt x="1116" y="209"/>
                    </a:lnTo>
                    <a:lnTo>
                      <a:pt x="1116" y="209"/>
                    </a:lnTo>
                    <a:lnTo>
                      <a:pt x="1116" y="209"/>
                    </a:lnTo>
                    <a:close/>
                    <a:moveTo>
                      <a:pt x="827" y="149"/>
                    </a:moveTo>
                    <a:lnTo>
                      <a:pt x="837" y="153"/>
                    </a:lnTo>
                    <a:lnTo>
                      <a:pt x="837" y="154"/>
                    </a:lnTo>
                    <a:lnTo>
                      <a:pt x="830" y="151"/>
                    </a:lnTo>
                    <a:lnTo>
                      <a:pt x="827" y="149"/>
                    </a:lnTo>
                    <a:lnTo>
                      <a:pt x="827" y="149"/>
                    </a:lnTo>
                    <a:close/>
                    <a:moveTo>
                      <a:pt x="875" y="157"/>
                    </a:moveTo>
                    <a:lnTo>
                      <a:pt x="878" y="157"/>
                    </a:lnTo>
                    <a:lnTo>
                      <a:pt x="882" y="157"/>
                    </a:lnTo>
                    <a:lnTo>
                      <a:pt x="882" y="154"/>
                    </a:lnTo>
                    <a:lnTo>
                      <a:pt x="875" y="151"/>
                    </a:lnTo>
                    <a:lnTo>
                      <a:pt x="867" y="151"/>
                    </a:lnTo>
                    <a:lnTo>
                      <a:pt x="863" y="153"/>
                    </a:lnTo>
                    <a:lnTo>
                      <a:pt x="859" y="154"/>
                    </a:lnTo>
                    <a:lnTo>
                      <a:pt x="857" y="154"/>
                    </a:lnTo>
                    <a:lnTo>
                      <a:pt x="859" y="156"/>
                    </a:lnTo>
                    <a:lnTo>
                      <a:pt x="855" y="156"/>
                    </a:lnTo>
                    <a:lnTo>
                      <a:pt x="863" y="157"/>
                    </a:lnTo>
                    <a:lnTo>
                      <a:pt x="867" y="159"/>
                    </a:lnTo>
                    <a:lnTo>
                      <a:pt x="872" y="159"/>
                    </a:lnTo>
                    <a:lnTo>
                      <a:pt x="872" y="157"/>
                    </a:lnTo>
                    <a:lnTo>
                      <a:pt x="867" y="156"/>
                    </a:lnTo>
                    <a:lnTo>
                      <a:pt x="867" y="154"/>
                    </a:lnTo>
                    <a:lnTo>
                      <a:pt x="868" y="154"/>
                    </a:lnTo>
                    <a:lnTo>
                      <a:pt x="875" y="157"/>
                    </a:lnTo>
                    <a:lnTo>
                      <a:pt x="875" y="157"/>
                    </a:lnTo>
                    <a:close/>
                    <a:moveTo>
                      <a:pt x="867" y="171"/>
                    </a:moveTo>
                    <a:lnTo>
                      <a:pt x="862" y="169"/>
                    </a:lnTo>
                    <a:lnTo>
                      <a:pt x="859" y="169"/>
                    </a:lnTo>
                    <a:lnTo>
                      <a:pt x="862" y="171"/>
                    </a:lnTo>
                    <a:lnTo>
                      <a:pt x="867" y="171"/>
                    </a:lnTo>
                    <a:lnTo>
                      <a:pt x="867" y="171"/>
                    </a:lnTo>
                    <a:close/>
                    <a:moveTo>
                      <a:pt x="872" y="167"/>
                    </a:moveTo>
                    <a:lnTo>
                      <a:pt x="868" y="169"/>
                    </a:lnTo>
                    <a:lnTo>
                      <a:pt x="867" y="167"/>
                    </a:lnTo>
                    <a:lnTo>
                      <a:pt x="872" y="167"/>
                    </a:lnTo>
                    <a:lnTo>
                      <a:pt x="872" y="167"/>
                    </a:lnTo>
                    <a:close/>
                    <a:moveTo>
                      <a:pt x="870" y="171"/>
                    </a:moveTo>
                    <a:lnTo>
                      <a:pt x="865" y="174"/>
                    </a:lnTo>
                    <a:lnTo>
                      <a:pt x="865" y="179"/>
                    </a:lnTo>
                    <a:lnTo>
                      <a:pt x="870" y="181"/>
                    </a:lnTo>
                    <a:lnTo>
                      <a:pt x="873" y="179"/>
                    </a:lnTo>
                    <a:lnTo>
                      <a:pt x="873" y="172"/>
                    </a:lnTo>
                    <a:lnTo>
                      <a:pt x="870" y="171"/>
                    </a:lnTo>
                    <a:lnTo>
                      <a:pt x="870" y="171"/>
                    </a:lnTo>
                    <a:close/>
                    <a:moveTo>
                      <a:pt x="736" y="63"/>
                    </a:moveTo>
                    <a:lnTo>
                      <a:pt x="741" y="68"/>
                    </a:lnTo>
                    <a:lnTo>
                      <a:pt x="742" y="73"/>
                    </a:lnTo>
                    <a:lnTo>
                      <a:pt x="739" y="76"/>
                    </a:lnTo>
                    <a:lnTo>
                      <a:pt x="736" y="71"/>
                    </a:lnTo>
                    <a:lnTo>
                      <a:pt x="734" y="66"/>
                    </a:lnTo>
                    <a:lnTo>
                      <a:pt x="736" y="63"/>
                    </a:lnTo>
                    <a:lnTo>
                      <a:pt x="736" y="63"/>
                    </a:lnTo>
                    <a:close/>
                    <a:moveTo>
                      <a:pt x="764" y="48"/>
                    </a:moveTo>
                    <a:lnTo>
                      <a:pt x="767" y="53"/>
                    </a:lnTo>
                    <a:lnTo>
                      <a:pt x="767" y="58"/>
                    </a:lnTo>
                    <a:lnTo>
                      <a:pt x="769" y="56"/>
                    </a:lnTo>
                    <a:lnTo>
                      <a:pt x="770" y="53"/>
                    </a:lnTo>
                    <a:lnTo>
                      <a:pt x="770" y="48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64" y="58"/>
                    </a:moveTo>
                    <a:lnTo>
                      <a:pt x="767" y="59"/>
                    </a:lnTo>
                    <a:lnTo>
                      <a:pt x="769" y="63"/>
                    </a:lnTo>
                    <a:lnTo>
                      <a:pt x="767" y="63"/>
                    </a:lnTo>
                    <a:lnTo>
                      <a:pt x="767" y="63"/>
                    </a:lnTo>
                    <a:lnTo>
                      <a:pt x="764" y="58"/>
                    </a:lnTo>
                    <a:lnTo>
                      <a:pt x="764" y="58"/>
                    </a:lnTo>
                    <a:close/>
                    <a:moveTo>
                      <a:pt x="804" y="99"/>
                    </a:moveTo>
                    <a:lnTo>
                      <a:pt x="805" y="106"/>
                    </a:lnTo>
                    <a:lnTo>
                      <a:pt x="807" y="104"/>
                    </a:lnTo>
                    <a:lnTo>
                      <a:pt x="812" y="104"/>
                    </a:lnTo>
                    <a:lnTo>
                      <a:pt x="815" y="101"/>
                    </a:lnTo>
                    <a:lnTo>
                      <a:pt x="814" y="98"/>
                    </a:lnTo>
                    <a:lnTo>
                      <a:pt x="810" y="96"/>
                    </a:lnTo>
                    <a:lnTo>
                      <a:pt x="807" y="98"/>
                    </a:lnTo>
                    <a:lnTo>
                      <a:pt x="804" y="99"/>
                    </a:lnTo>
                    <a:lnTo>
                      <a:pt x="804" y="99"/>
                    </a:lnTo>
                    <a:close/>
                    <a:moveTo>
                      <a:pt x="799" y="157"/>
                    </a:moveTo>
                    <a:lnTo>
                      <a:pt x="800" y="164"/>
                    </a:lnTo>
                    <a:lnTo>
                      <a:pt x="807" y="169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7" y="174"/>
                    </a:lnTo>
                    <a:lnTo>
                      <a:pt x="805" y="171"/>
                    </a:lnTo>
                    <a:lnTo>
                      <a:pt x="800" y="169"/>
                    </a:lnTo>
                    <a:lnTo>
                      <a:pt x="797" y="162"/>
                    </a:lnTo>
                    <a:lnTo>
                      <a:pt x="792" y="159"/>
                    </a:lnTo>
                    <a:lnTo>
                      <a:pt x="789" y="154"/>
                    </a:lnTo>
                    <a:lnTo>
                      <a:pt x="790" y="149"/>
                    </a:lnTo>
                    <a:lnTo>
                      <a:pt x="790" y="148"/>
                    </a:lnTo>
                    <a:lnTo>
                      <a:pt x="790" y="144"/>
                    </a:lnTo>
                    <a:lnTo>
                      <a:pt x="785" y="141"/>
                    </a:lnTo>
                    <a:lnTo>
                      <a:pt x="787" y="136"/>
                    </a:lnTo>
                    <a:lnTo>
                      <a:pt x="789" y="134"/>
                    </a:lnTo>
                    <a:lnTo>
                      <a:pt x="785" y="129"/>
                    </a:lnTo>
                    <a:lnTo>
                      <a:pt x="784" y="126"/>
                    </a:lnTo>
                    <a:lnTo>
                      <a:pt x="785" y="121"/>
                    </a:lnTo>
                    <a:lnTo>
                      <a:pt x="789" y="119"/>
                    </a:lnTo>
                    <a:lnTo>
                      <a:pt x="787" y="113"/>
                    </a:lnTo>
                    <a:lnTo>
                      <a:pt x="789" y="108"/>
                    </a:lnTo>
                    <a:lnTo>
                      <a:pt x="797" y="101"/>
                    </a:lnTo>
                    <a:lnTo>
                      <a:pt x="799" y="99"/>
                    </a:lnTo>
                    <a:lnTo>
                      <a:pt x="799" y="103"/>
                    </a:lnTo>
                    <a:lnTo>
                      <a:pt x="795" y="108"/>
                    </a:lnTo>
                    <a:lnTo>
                      <a:pt x="795" y="109"/>
                    </a:lnTo>
                    <a:lnTo>
                      <a:pt x="800" y="111"/>
                    </a:lnTo>
                    <a:lnTo>
                      <a:pt x="800" y="118"/>
                    </a:lnTo>
                    <a:lnTo>
                      <a:pt x="799" y="123"/>
                    </a:lnTo>
                    <a:lnTo>
                      <a:pt x="794" y="123"/>
                    </a:lnTo>
                    <a:lnTo>
                      <a:pt x="790" y="126"/>
                    </a:lnTo>
                    <a:lnTo>
                      <a:pt x="792" y="131"/>
                    </a:lnTo>
                    <a:lnTo>
                      <a:pt x="795" y="129"/>
                    </a:lnTo>
                    <a:lnTo>
                      <a:pt x="797" y="126"/>
                    </a:lnTo>
                    <a:lnTo>
                      <a:pt x="802" y="124"/>
                    </a:lnTo>
                    <a:lnTo>
                      <a:pt x="804" y="123"/>
                    </a:lnTo>
                    <a:lnTo>
                      <a:pt x="800" y="123"/>
                    </a:lnTo>
                    <a:lnTo>
                      <a:pt x="802" y="119"/>
                    </a:lnTo>
                    <a:lnTo>
                      <a:pt x="809" y="116"/>
                    </a:lnTo>
                    <a:lnTo>
                      <a:pt x="817" y="113"/>
                    </a:lnTo>
                    <a:lnTo>
                      <a:pt x="819" y="116"/>
                    </a:lnTo>
                    <a:lnTo>
                      <a:pt x="820" y="119"/>
                    </a:lnTo>
                    <a:lnTo>
                      <a:pt x="815" y="128"/>
                    </a:lnTo>
                    <a:lnTo>
                      <a:pt x="807" y="129"/>
                    </a:lnTo>
                    <a:lnTo>
                      <a:pt x="804" y="133"/>
                    </a:lnTo>
                    <a:lnTo>
                      <a:pt x="805" y="136"/>
                    </a:lnTo>
                    <a:lnTo>
                      <a:pt x="809" y="136"/>
                    </a:lnTo>
                    <a:lnTo>
                      <a:pt x="815" y="141"/>
                    </a:lnTo>
                    <a:lnTo>
                      <a:pt x="815" y="143"/>
                    </a:lnTo>
                    <a:lnTo>
                      <a:pt x="819" y="144"/>
                    </a:lnTo>
                    <a:lnTo>
                      <a:pt x="814" y="146"/>
                    </a:lnTo>
                    <a:lnTo>
                      <a:pt x="810" y="143"/>
                    </a:lnTo>
                    <a:lnTo>
                      <a:pt x="804" y="143"/>
                    </a:lnTo>
                    <a:lnTo>
                      <a:pt x="799" y="141"/>
                    </a:lnTo>
                    <a:lnTo>
                      <a:pt x="795" y="143"/>
                    </a:lnTo>
                    <a:lnTo>
                      <a:pt x="795" y="151"/>
                    </a:lnTo>
                    <a:lnTo>
                      <a:pt x="799" y="157"/>
                    </a:lnTo>
                    <a:lnTo>
                      <a:pt x="799" y="157"/>
                    </a:lnTo>
                    <a:close/>
                    <a:moveTo>
                      <a:pt x="779" y="167"/>
                    </a:moveTo>
                    <a:lnTo>
                      <a:pt x="780" y="171"/>
                    </a:lnTo>
                    <a:lnTo>
                      <a:pt x="775" y="169"/>
                    </a:lnTo>
                    <a:lnTo>
                      <a:pt x="779" y="166"/>
                    </a:lnTo>
                    <a:lnTo>
                      <a:pt x="779" y="167"/>
                    </a:lnTo>
                    <a:lnTo>
                      <a:pt x="779" y="167"/>
                    </a:lnTo>
                    <a:close/>
                    <a:moveTo>
                      <a:pt x="779" y="159"/>
                    </a:moveTo>
                    <a:lnTo>
                      <a:pt x="777" y="159"/>
                    </a:lnTo>
                    <a:lnTo>
                      <a:pt x="775" y="162"/>
                    </a:lnTo>
                    <a:lnTo>
                      <a:pt x="779" y="164"/>
                    </a:lnTo>
                    <a:lnTo>
                      <a:pt x="779" y="161"/>
                    </a:lnTo>
                    <a:lnTo>
                      <a:pt x="779" y="159"/>
                    </a:lnTo>
                    <a:lnTo>
                      <a:pt x="779" y="159"/>
                    </a:lnTo>
                    <a:close/>
                    <a:moveTo>
                      <a:pt x="784" y="161"/>
                    </a:moveTo>
                    <a:lnTo>
                      <a:pt x="782" y="162"/>
                    </a:lnTo>
                    <a:lnTo>
                      <a:pt x="782" y="164"/>
                    </a:lnTo>
                    <a:lnTo>
                      <a:pt x="785" y="169"/>
                    </a:lnTo>
                    <a:lnTo>
                      <a:pt x="789" y="169"/>
                    </a:lnTo>
                    <a:lnTo>
                      <a:pt x="792" y="171"/>
                    </a:lnTo>
                    <a:lnTo>
                      <a:pt x="794" y="169"/>
                    </a:lnTo>
                    <a:lnTo>
                      <a:pt x="792" y="167"/>
                    </a:lnTo>
                    <a:lnTo>
                      <a:pt x="789" y="166"/>
                    </a:lnTo>
                    <a:lnTo>
                      <a:pt x="789" y="162"/>
                    </a:lnTo>
                    <a:lnTo>
                      <a:pt x="787" y="161"/>
                    </a:lnTo>
                    <a:lnTo>
                      <a:pt x="784" y="161"/>
                    </a:lnTo>
                    <a:lnTo>
                      <a:pt x="784" y="161"/>
                    </a:lnTo>
                    <a:close/>
                    <a:moveTo>
                      <a:pt x="782" y="186"/>
                    </a:moveTo>
                    <a:lnTo>
                      <a:pt x="789" y="182"/>
                    </a:lnTo>
                    <a:lnTo>
                      <a:pt x="795" y="182"/>
                    </a:lnTo>
                    <a:lnTo>
                      <a:pt x="800" y="187"/>
                    </a:lnTo>
                    <a:lnTo>
                      <a:pt x="800" y="191"/>
                    </a:lnTo>
                    <a:lnTo>
                      <a:pt x="797" y="191"/>
                    </a:lnTo>
                    <a:lnTo>
                      <a:pt x="792" y="191"/>
                    </a:lnTo>
                    <a:lnTo>
                      <a:pt x="789" y="191"/>
                    </a:lnTo>
                    <a:lnTo>
                      <a:pt x="785" y="189"/>
                    </a:lnTo>
                    <a:lnTo>
                      <a:pt x="782" y="186"/>
                    </a:lnTo>
                    <a:lnTo>
                      <a:pt x="782" y="186"/>
                    </a:lnTo>
                    <a:close/>
                    <a:moveTo>
                      <a:pt x="852" y="189"/>
                    </a:moveTo>
                    <a:lnTo>
                      <a:pt x="844" y="191"/>
                    </a:lnTo>
                    <a:lnTo>
                      <a:pt x="840" y="192"/>
                    </a:lnTo>
                    <a:lnTo>
                      <a:pt x="842" y="194"/>
                    </a:lnTo>
                    <a:lnTo>
                      <a:pt x="850" y="196"/>
                    </a:lnTo>
                    <a:lnTo>
                      <a:pt x="857" y="194"/>
                    </a:lnTo>
                    <a:lnTo>
                      <a:pt x="855" y="194"/>
                    </a:lnTo>
                    <a:lnTo>
                      <a:pt x="855" y="191"/>
                    </a:lnTo>
                    <a:lnTo>
                      <a:pt x="852" y="189"/>
                    </a:lnTo>
                    <a:lnTo>
                      <a:pt x="852" y="189"/>
                    </a:lnTo>
                    <a:close/>
                    <a:moveTo>
                      <a:pt x="810" y="231"/>
                    </a:moveTo>
                    <a:lnTo>
                      <a:pt x="814" y="231"/>
                    </a:lnTo>
                    <a:lnTo>
                      <a:pt x="814" y="232"/>
                    </a:lnTo>
                    <a:lnTo>
                      <a:pt x="812" y="232"/>
                    </a:lnTo>
                    <a:lnTo>
                      <a:pt x="810" y="231"/>
                    </a:lnTo>
                    <a:lnTo>
                      <a:pt x="810" y="231"/>
                    </a:lnTo>
                    <a:close/>
                    <a:moveTo>
                      <a:pt x="807" y="232"/>
                    </a:moveTo>
                    <a:lnTo>
                      <a:pt x="809" y="232"/>
                    </a:lnTo>
                    <a:lnTo>
                      <a:pt x="809" y="234"/>
                    </a:lnTo>
                    <a:lnTo>
                      <a:pt x="807" y="234"/>
                    </a:lnTo>
                    <a:lnTo>
                      <a:pt x="807" y="232"/>
                    </a:lnTo>
                    <a:lnTo>
                      <a:pt x="807" y="232"/>
                    </a:lnTo>
                    <a:close/>
                    <a:moveTo>
                      <a:pt x="794" y="234"/>
                    </a:moveTo>
                    <a:lnTo>
                      <a:pt x="799" y="232"/>
                    </a:lnTo>
                    <a:lnTo>
                      <a:pt x="802" y="231"/>
                    </a:lnTo>
                    <a:lnTo>
                      <a:pt x="804" y="232"/>
                    </a:lnTo>
                    <a:lnTo>
                      <a:pt x="802" y="236"/>
                    </a:lnTo>
                    <a:lnTo>
                      <a:pt x="800" y="234"/>
                    </a:lnTo>
                    <a:lnTo>
                      <a:pt x="797" y="236"/>
                    </a:lnTo>
                    <a:lnTo>
                      <a:pt x="794" y="234"/>
                    </a:lnTo>
                    <a:lnTo>
                      <a:pt x="794" y="234"/>
                    </a:lnTo>
                    <a:close/>
                    <a:moveTo>
                      <a:pt x="792" y="221"/>
                    </a:moveTo>
                    <a:lnTo>
                      <a:pt x="789" y="222"/>
                    </a:lnTo>
                    <a:lnTo>
                      <a:pt x="792" y="224"/>
                    </a:lnTo>
                    <a:lnTo>
                      <a:pt x="792" y="221"/>
                    </a:lnTo>
                    <a:lnTo>
                      <a:pt x="792" y="221"/>
                    </a:lnTo>
                    <a:close/>
                    <a:moveTo>
                      <a:pt x="797" y="216"/>
                    </a:moveTo>
                    <a:lnTo>
                      <a:pt x="794" y="216"/>
                    </a:lnTo>
                    <a:lnTo>
                      <a:pt x="794" y="217"/>
                    </a:lnTo>
                    <a:lnTo>
                      <a:pt x="797" y="217"/>
                    </a:lnTo>
                    <a:lnTo>
                      <a:pt x="797" y="216"/>
                    </a:lnTo>
                    <a:lnTo>
                      <a:pt x="797" y="216"/>
                    </a:lnTo>
                    <a:close/>
                    <a:moveTo>
                      <a:pt x="799" y="229"/>
                    </a:moveTo>
                    <a:lnTo>
                      <a:pt x="802" y="222"/>
                    </a:lnTo>
                    <a:lnTo>
                      <a:pt x="807" y="226"/>
                    </a:lnTo>
                    <a:lnTo>
                      <a:pt x="809" y="229"/>
                    </a:lnTo>
                    <a:lnTo>
                      <a:pt x="814" y="227"/>
                    </a:lnTo>
                    <a:lnTo>
                      <a:pt x="817" y="224"/>
                    </a:lnTo>
                    <a:lnTo>
                      <a:pt x="820" y="224"/>
                    </a:lnTo>
                    <a:lnTo>
                      <a:pt x="824" y="227"/>
                    </a:lnTo>
                    <a:lnTo>
                      <a:pt x="834" y="229"/>
                    </a:lnTo>
                    <a:lnTo>
                      <a:pt x="835" y="226"/>
                    </a:lnTo>
                    <a:lnTo>
                      <a:pt x="840" y="226"/>
                    </a:lnTo>
                    <a:lnTo>
                      <a:pt x="850" y="232"/>
                    </a:lnTo>
                    <a:lnTo>
                      <a:pt x="855" y="232"/>
                    </a:lnTo>
                    <a:lnTo>
                      <a:pt x="860" y="237"/>
                    </a:lnTo>
                    <a:lnTo>
                      <a:pt x="865" y="237"/>
                    </a:lnTo>
                    <a:lnTo>
                      <a:pt x="867" y="234"/>
                    </a:lnTo>
                    <a:lnTo>
                      <a:pt x="865" y="226"/>
                    </a:lnTo>
                    <a:lnTo>
                      <a:pt x="852" y="219"/>
                    </a:lnTo>
                    <a:lnTo>
                      <a:pt x="842" y="217"/>
                    </a:lnTo>
                    <a:lnTo>
                      <a:pt x="837" y="214"/>
                    </a:lnTo>
                    <a:lnTo>
                      <a:pt x="832" y="214"/>
                    </a:lnTo>
                    <a:lnTo>
                      <a:pt x="829" y="217"/>
                    </a:lnTo>
                    <a:lnTo>
                      <a:pt x="824" y="216"/>
                    </a:lnTo>
                    <a:lnTo>
                      <a:pt x="820" y="216"/>
                    </a:lnTo>
                    <a:lnTo>
                      <a:pt x="812" y="216"/>
                    </a:lnTo>
                    <a:lnTo>
                      <a:pt x="802" y="216"/>
                    </a:lnTo>
                    <a:lnTo>
                      <a:pt x="800" y="217"/>
                    </a:lnTo>
                    <a:lnTo>
                      <a:pt x="800" y="221"/>
                    </a:lnTo>
                    <a:lnTo>
                      <a:pt x="795" y="222"/>
                    </a:lnTo>
                    <a:lnTo>
                      <a:pt x="794" y="226"/>
                    </a:lnTo>
                    <a:lnTo>
                      <a:pt x="795" y="229"/>
                    </a:lnTo>
                    <a:lnTo>
                      <a:pt x="799" y="229"/>
                    </a:lnTo>
                    <a:lnTo>
                      <a:pt x="799" y="229"/>
                    </a:lnTo>
                    <a:close/>
                    <a:moveTo>
                      <a:pt x="751" y="221"/>
                    </a:moveTo>
                    <a:lnTo>
                      <a:pt x="756" y="222"/>
                    </a:lnTo>
                    <a:lnTo>
                      <a:pt x="759" y="221"/>
                    </a:lnTo>
                    <a:lnTo>
                      <a:pt x="769" y="221"/>
                    </a:lnTo>
                    <a:lnTo>
                      <a:pt x="775" y="222"/>
                    </a:lnTo>
                    <a:lnTo>
                      <a:pt x="775" y="226"/>
                    </a:lnTo>
                    <a:lnTo>
                      <a:pt x="779" y="231"/>
                    </a:lnTo>
                    <a:lnTo>
                      <a:pt x="779" y="234"/>
                    </a:lnTo>
                    <a:lnTo>
                      <a:pt x="775" y="234"/>
                    </a:lnTo>
                    <a:lnTo>
                      <a:pt x="770" y="237"/>
                    </a:lnTo>
                    <a:lnTo>
                      <a:pt x="765" y="237"/>
                    </a:lnTo>
                    <a:lnTo>
                      <a:pt x="759" y="237"/>
                    </a:lnTo>
                    <a:lnTo>
                      <a:pt x="757" y="236"/>
                    </a:lnTo>
                    <a:lnTo>
                      <a:pt x="751" y="234"/>
                    </a:lnTo>
                    <a:lnTo>
                      <a:pt x="746" y="229"/>
                    </a:lnTo>
                    <a:lnTo>
                      <a:pt x="747" y="224"/>
                    </a:lnTo>
                    <a:lnTo>
                      <a:pt x="751" y="221"/>
                    </a:lnTo>
                    <a:lnTo>
                      <a:pt x="751" y="221"/>
                    </a:lnTo>
                    <a:close/>
                    <a:moveTo>
                      <a:pt x="616" y="312"/>
                    </a:moveTo>
                    <a:lnTo>
                      <a:pt x="613" y="310"/>
                    </a:lnTo>
                    <a:lnTo>
                      <a:pt x="611" y="312"/>
                    </a:lnTo>
                    <a:lnTo>
                      <a:pt x="614" y="314"/>
                    </a:lnTo>
                    <a:lnTo>
                      <a:pt x="616" y="312"/>
                    </a:lnTo>
                    <a:lnTo>
                      <a:pt x="616" y="312"/>
                    </a:lnTo>
                    <a:close/>
                    <a:moveTo>
                      <a:pt x="611" y="280"/>
                    </a:moveTo>
                    <a:lnTo>
                      <a:pt x="616" y="289"/>
                    </a:lnTo>
                    <a:lnTo>
                      <a:pt x="614" y="292"/>
                    </a:lnTo>
                    <a:lnTo>
                      <a:pt x="611" y="295"/>
                    </a:lnTo>
                    <a:lnTo>
                      <a:pt x="611" y="292"/>
                    </a:lnTo>
                    <a:lnTo>
                      <a:pt x="609" y="290"/>
                    </a:lnTo>
                    <a:lnTo>
                      <a:pt x="611" y="287"/>
                    </a:lnTo>
                    <a:lnTo>
                      <a:pt x="611" y="284"/>
                    </a:lnTo>
                    <a:lnTo>
                      <a:pt x="611" y="280"/>
                    </a:lnTo>
                    <a:lnTo>
                      <a:pt x="611" y="280"/>
                    </a:lnTo>
                    <a:close/>
                    <a:moveTo>
                      <a:pt x="746" y="197"/>
                    </a:moveTo>
                    <a:lnTo>
                      <a:pt x="746" y="201"/>
                    </a:lnTo>
                    <a:lnTo>
                      <a:pt x="749" y="206"/>
                    </a:lnTo>
                    <a:lnTo>
                      <a:pt x="749" y="207"/>
                    </a:lnTo>
                    <a:lnTo>
                      <a:pt x="747" y="206"/>
                    </a:lnTo>
                    <a:lnTo>
                      <a:pt x="746" y="201"/>
                    </a:lnTo>
                    <a:lnTo>
                      <a:pt x="744" y="197"/>
                    </a:lnTo>
                    <a:lnTo>
                      <a:pt x="746" y="197"/>
                    </a:lnTo>
                    <a:lnTo>
                      <a:pt x="746" y="197"/>
                    </a:lnTo>
                    <a:close/>
                    <a:moveTo>
                      <a:pt x="732" y="191"/>
                    </a:moveTo>
                    <a:lnTo>
                      <a:pt x="736" y="191"/>
                    </a:lnTo>
                    <a:lnTo>
                      <a:pt x="739" y="191"/>
                    </a:lnTo>
                    <a:lnTo>
                      <a:pt x="742" y="191"/>
                    </a:lnTo>
                    <a:lnTo>
                      <a:pt x="752" y="191"/>
                    </a:lnTo>
                    <a:lnTo>
                      <a:pt x="757" y="192"/>
                    </a:lnTo>
                    <a:lnTo>
                      <a:pt x="751" y="194"/>
                    </a:lnTo>
                    <a:lnTo>
                      <a:pt x="741" y="196"/>
                    </a:lnTo>
                    <a:lnTo>
                      <a:pt x="736" y="194"/>
                    </a:lnTo>
                    <a:lnTo>
                      <a:pt x="734" y="192"/>
                    </a:lnTo>
                    <a:lnTo>
                      <a:pt x="732" y="191"/>
                    </a:lnTo>
                    <a:lnTo>
                      <a:pt x="732" y="191"/>
                    </a:lnTo>
                    <a:close/>
                    <a:moveTo>
                      <a:pt x="709" y="192"/>
                    </a:moveTo>
                    <a:lnTo>
                      <a:pt x="712" y="189"/>
                    </a:lnTo>
                    <a:lnTo>
                      <a:pt x="714" y="189"/>
                    </a:lnTo>
                    <a:lnTo>
                      <a:pt x="717" y="189"/>
                    </a:lnTo>
                    <a:lnTo>
                      <a:pt x="722" y="189"/>
                    </a:lnTo>
                    <a:lnTo>
                      <a:pt x="726" y="191"/>
                    </a:lnTo>
                    <a:lnTo>
                      <a:pt x="729" y="189"/>
                    </a:lnTo>
                    <a:lnTo>
                      <a:pt x="731" y="191"/>
                    </a:lnTo>
                    <a:lnTo>
                      <a:pt x="731" y="194"/>
                    </a:lnTo>
                    <a:lnTo>
                      <a:pt x="727" y="194"/>
                    </a:lnTo>
                    <a:lnTo>
                      <a:pt x="724" y="196"/>
                    </a:lnTo>
                    <a:lnTo>
                      <a:pt x="721" y="194"/>
                    </a:lnTo>
                    <a:lnTo>
                      <a:pt x="714" y="197"/>
                    </a:lnTo>
                    <a:lnTo>
                      <a:pt x="711" y="196"/>
                    </a:lnTo>
                    <a:lnTo>
                      <a:pt x="709" y="194"/>
                    </a:lnTo>
                    <a:lnTo>
                      <a:pt x="709" y="192"/>
                    </a:lnTo>
                    <a:lnTo>
                      <a:pt x="709" y="192"/>
                    </a:lnTo>
                    <a:close/>
                    <a:moveTo>
                      <a:pt x="666" y="272"/>
                    </a:moveTo>
                    <a:lnTo>
                      <a:pt x="671" y="265"/>
                    </a:lnTo>
                    <a:lnTo>
                      <a:pt x="672" y="259"/>
                    </a:lnTo>
                    <a:lnTo>
                      <a:pt x="672" y="252"/>
                    </a:lnTo>
                    <a:lnTo>
                      <a:pt x="674" y="251"/>
                    </a:lnTo>
                    <a:lnTo>
                      <a:pt x="677" y="252"/>
                    </a:lnTo>
                    <a:lnTo>
                      <a:pt x="679" y="254"/>
                    </a:lnTo>
                    <a:lnTo>
                      <a:pt x="679" y="257"/>
                    </a:lnTo>
                    <a:lnTo>
                      <a:pt x="679" y="259"/>
                    </a:lnTo>
                    <a:lnTo>
                      <a:pt x="679" y="257"/>
                    </a:lnTo>
                    <a:lnTo>
                      <a:pt x="677" y="259"/>
                    </a:lnTo>
                    <a:lnTo>
                      <a:pt x="674" y="262"/>
                    </a:lnTo>
                    <a:lnTo>
                      <a:pt x="674" y="264"/>
                    </a:lnTo>
                    <a:lnTo>
                      <a:pt x="674" y="267"/>
                    </a:lnTo>
                    <a:lnTo>
                      <a:pt x="677" y="267"/>
                    </a:lnTo>
                    <a:lnTo>
                      <a:pt x="679" y="269"/>
                    </a:lnTo>
                    <a:lnTo>
                      <a:pt x="677" y="270"/>
                    </a:lnTo>
                    <a:lnTo>
                      <a:pt x="674" y="272"/>
                    </a:lnTo>
                    <a:lnTo>
                      <a:pt x="672" y="275"/>
                    </a:lnTo>
                    <a:lnTo>
                      <a:pt x="669" y="277"/>
                    </a:lnTo>
                    <a:lnTo>
                      <a:pt x="666" y="275"/>
                    </a:lnTo>
                    <a:lnTo>
                      <a:pt x="666" y="272"/>
                    </a:lnTo>
                    <a:lnTo>
                      <a:pt x="666" y="272"/>
                    </a:lnTo>
                    <a:close/>
                    <a:moveTo>
                      <a:pt x="654" y="269"/>
                    </a:moveTo>
                    <a:lnTo>
                      <a:pt x="654" y="269"/>
                    </a:lnTo>
                    <a:lnTo>
                      <a:pt x="656" y="270"/>
                    </a:lnTo>
                    <a:lnTo>
                      <a:pt x="658" y="272"/>
                    </a:lnTo>
                    <a:lnTo>
                      <a:pt x="661" y="270"/>
                    </a:lnTo>
                    <a:lnTo>
                      <a:pt x="662" y="269"/>
                    </a:lnTo>
                    <a:lnTo>
                      <a:pt x="664" y="269"/>
                    </a:lnTo>
                    <a:lnTo>
                      <a:pt x="664" y="265"/>
                    </a:lnTo>
                    <a:lnTo>
                      <a:pt x="667" y="262"/>
                    </a:lnTo>
                    <a:lnTo>
                      <a:pt x="667" y="260"/>
                    </a:lnTo>
                    <a:lnTo>
                      <a:pt x="666" y="255"/>
                    </a:lnTo>
                    <a:lnTo>
                      <a:pt x="661" y="259"/>
                    </a:lnTo>
                    <a:lnTo>
                      <a:pt x="658" y="260"/>
                    </a:lnTo>
                    <a:lnTo>
                      <a:pt x="659" y="264"/>
                    </a:lnTo>
                    <a:lnTo>
                      <a:pt x="654" y="269"/>
                    </a:lnTo>
                    <a:lnTo>
                      <a:pt x="654" y="269"/>
                    </a:lnTo>
                    <a:close/>
                    <a:moveTo>
                      <a:pt x="644" y="265"/>
                    </a:moveTo>
                    <a:lnTo>
                      <a:pt x="644" y="267"/>
                    </a:lnTo>
                    <a:lnTo>
                      <a:pt x="643" y="269"/>
                    </a:lnTo>
                    <a:lnTo>
                      <a:pt x="644" y="274"/>
                    </a:lnTo>
                    <a:lnTo>
                      <a:pt x="646" y="275"/>
                    </a:lnTo>
                    <a:lnTo>
                      <a:pt x="651" y="272"/>
                    </a:lnTo>
                    <a:lnTo>
                      <a:pt x="649" y="269"/>
                    </a:lnTo>
                    <a:lnTo>
                      <a:pt x="646" y="264"/>
                    </a:lnTo>
                    <a:lnTo>
                      <a:pt x="646" y="264"/>
                    </a:lnTo>
                    <a:lnTo>
                      <a:pt x="644" y="265"/>
                    </a:lnTo>
                    <a:lnTo>
                      <a:pt x="644" y="265"/>
                    </a:lnTo>
                    <a:close/>
                    <a:moveTo>
                      <a:pt x="679" y="194"/>
                    </a:moveTo>
                    <a:lnTo>
                      <a:pt x="676" y="194"/>
                    </a:lnTo>
                    <a:lnTo>
                      <a:pt x="679" y="196"/>
                    </a:lnTo>
                    <a:lnTo>
                      <a:pt x="679" y="196"/>
                    </a:lnTo>
                    <a:lnTo>
                      <a:pt x="679" y="194"/>
                    </a:lnTo>
                    <a:lnTo>
                      <a:pt x="679" y="194"/>
                    </a:lnTo>
                    <a:close/>
                    <a:moveTo>
                      <a:pt x="684" y="191"/>
                    </a:moveTo>
                    <a:lnTo>
                      <a:pt x="682" y="192"/>
                    </a:lnTo>
                    <a:lnTo>
                      <a:pt x="686" y="192"/>
                    </a:lnTo>
                    <a:lnTo>
                      <a:pt x="684" y="191"/>
                    </a:lnTo>
                    <a:lnTo>
                      <a:pt x="684" y="191"/>
                    </a:lnTo>
                    <a:close/>
                    <a:moveTo>
                      <a:pt x="691" y="186"/>
                    </a:moveTo>
                    <a:lnTo>
                      <a:pt x="689" y="187"/>
                    </a:lnTo>
                    <a:lnTo>
                      <a:pt x="692" y="189"/>
                    </a:lnTo>
                    <a:lnTo>
                      <a:pt x="691" y="186"/>
                    </a:lnTo>
                    <a:lnTo>
                      <a:pt x="691" y="186"/>
                    </a:lnTo>
                    <a:close/>
                    <a:moveTo>
                      <a:pt x="671" y="181"/>
                    </a:moveTo>
                    <a:lnTo>
                      <a:pt x="676" y="177"/>
                    </a:lnTo>
                    <a:lnTo>
                      <a:pt x="682" y="179"/>
                    </a:lnTo>
                    <a:lnTo>
                      <a:pt x="684" y="181"/>
                    </a:lnTo>
                    <a:lnTo>
                      <a:pt x="682" y="182"/>
                    </a:lnTo>
                    <a:lnTo>
                      <a:pt x="686" y="182"/>
                    </a:lnTo>
                    <a:lnTo>
                      <a:pt x="687" y="179"/>
                    </a:lnTo>
                    <a:lnTo>
                      <a:pt x="691" y="182"/>
                    </a:lnTo>
                    <a:lnTo>
                      <a:pt x="689" y="186"/>
                    </a:lnTo>
                    <a:lnTo>
                      <a:pt x="686" y="186"/>
                    </a:lnTo>
                    <a:lnTo>
                      <a:pt x="684" y="184"/>
                    </a:lnTo>
                    <a:lnTo>
                      <a:pt x="682" y="187"/>
                    </a:lnTo>
                    <a:lnTo>
                      <a:pt x="677" y="184"/>
                    </a:lnTo>
                    <a:lnTo>
                      <a:pt x="674" y="187"/>
                    </a:lnTo>
                    <a:lnTo>
                      <a:pt x="671" y="186"/>
                    </a:lnTo>
                    <a:lnTo>
                      <a:pt x="671" y="181"/>
                    </a:lnTo>
                    <a:lnTo>
                      <a:pt x="671" y="181"/>
                    </a:lnTo>
                    <a:close/>
                    <a:moveTo>
                      <a:pt x="646" y="159"/>
                    </a:moveTo>
                    <a:lnTo>
                      <a:pt x="649" y="161"/>
                    </a:lnTo>
                    <a:lnTo>
                      <a:pt x="649" y="159"/>
                    </a:lnTo>
                    <a:lnTo>
                      <a:pt x="649" y="159"/>
                    </a:lnTo>
                    <a:lnTo>
                      <a:pt x="646" y="159"/>
                    </a:lnTo>
                    <a:lnTo>
                      <a:pt x="646" y="159"/>
                    </a:lnTo>
                    <a:close/>
                    <a:moveTo>
                      <a:pt x="643" y="161"/>
                    </a:moveTo>
                    <a:lnTo>
                      <a:pt x="644" y="161"/>
                    </a:lnTo>
                    <a:lnTo>
                      <a:pt x="648" y="162"/>
                    </a:lnTo>
                    <a:lnTo>
                      <a:pt x="644" y="162"/>
                    </a:lnTo>
                    <a:lnTo>
                      <a:pt x="643" y="161"/>
                    </a:lnTo>
                    <a:lnTo>
                      <a:pt x="643" y="161"/>
                    </a:lnTo>
                    <a:close/>
                    <a:moveTo>
                      <a:pt x="611" y="141"/>
                    </a:moveTo>
                    <a:lnTo>
                      <a:pt x="618" y="139"/>
                    </a:lnTo>
                    <a:lnTo>
                      <a:pt x="624" y="143"/>
                    </a:lnTo>
                    <a:lnTo>
                      <a:pt x="631" y="143"/>
                    </a:lnTo>
                    <a:lnTo>
                      <a:pt x="641" y="139"/>
                    </a:lnTo>
                    <a:lnTo>
                      <a:pt x="646" y="139"/>
                    </a:lnTo>
                    <a:lnTo>
                      <a:pt x="648" y="143"/>
                    </a:lnTo>
                    <a:lnTo>
                      <a:pt x="653" y="143"/>
                    </a:lnTo>
                    <a:lnTo>
                      <a:pt x="656" y="141"/>
                    </a:lnTo>
                    <a:lnTo>
                      <a:pt x="666" y="141"/>
                    </a:lnTo>
                    <a:lnTo>
                      <a:pt x="672" y="141"/>
                    </a:lnTo>
                    <a:lnTo>
                      <a:pt x="672" y="139"/>
                    </a:lnTo>
                    <a:lnTo>
                      <a:pt x="679" y="141"/>
                    </a:lnTo>
                    <a:lnTo>
                      <a:pt x="682" y="143"/>
                    </a:lnTo>
                    <a:lnTo>
                      <a:pt x="684" y="144"/>
                    </a:lnTo>
                    <a:lnTo>
                      <a:pt x="689" y="146"/>
                    </a:lnTo>
                    <a:lnTo>
                      <a:pt x="707" y="143"/>
                    </a:lnTo>
                    <a:lnTo>
                      <a:pt x="714" y="138"/>
                    </a:lnTo>
                    <a:lnTo>
                      <a:pt x="717" y="134"/>
                    </a:lnTo>
                    <a:lnTo>
                      <a:pt x="721" y="133"/>
                    </a:lnTo>
                    <a:lnTo>
                      <a:pt x="722" y="131"/>
                    </a:lnTo>
                    <a:lnTo>
                      <a:pt x="726" y="128"/>
                    </a:lnTo>
                    <a:lnTo>
                      <a:pt x="727" y="124"/>
                    </a:lnTo>
                    <a:lnTo>
                      <a:pt x="729" y="121"/>
                    </a:lnTo>
                    <a:lnTo>
                      <a:pt x="732" y="119"/>
                    </a:lnTo>
                    <a:lnTo>
                      <a:pt x="729" y="118"/>
                    </a:lnTo>
                    <a:lnTo>
                      <a:pt x="729" y="114"/>
                    </a:lnTo>
                    <a:lnTo>
                      <a:pt x="722" y="114"/>
                    </a:lnTo>
                    <a:lnTo>
                      <a:pt x="717" y="114"/>
                    </a:lnTo>
                    <a:lnTo>
                      <a:pt x="717" y="119"/>
                    </a:lnTo>
                    <a:lnTo>
                      <a:pt x="712" y="121"/>
                    </a:lnTo>
                    <a:lnTo>
                      <a:pt x="712" y="124"/>
                    </a:lnTo>
                    <a:lnTo>
                      <a:pt x="707" y="128"/>
                    </a:lnTo>
                    <a:lnTo>
                      <a:pt x="704" y="128"/>
                    </a:lnTo>
                    <a:lnTo>
                      <a:pt x="701" y="131"/>
                    </a:lnTo>
                    <a:lnTo>
                      <a:pt x="696" y="133"/>
                    </a:lnTo>
                    <a:lnTo>
                      <a:pt x="684" y="131"/>
                    </a:lnTo>
                    <a:lnTo>
                      <a:pt x="674" y="129"/>
                    </a:lnTo>
                    <a:lnTo>
                      <a:pt x="672" y="133"/>
                    </a:lnTo>
                    <a:lnTo>
                      <a:pt x="671" y="133"/>
                    </a:lnTo>
                    <a:lnTo>
                      <a:pt x="666" y="128"/>
                    </a:lnTo>
                    <a:lnTo>
                      <a:pt x="662" y="128"/>
                    </a:lnTo>
                    <a:lnTo>
                      <a:pt x="658" y="128"/>
                    </a:lnTo>
                    <a:lnTo>
                      <a:pt x="653" y="128"/>
                    </a:lnTo>
                    <a:lnTo>
                      <a:pt x="648" y="126"/>
                    </a:lnTo>
                    <a:lnTo>
                      <a:pt x="644" y="128"/>
                    </a:lnTo>
                    <a:lnTo>
                      <a:pt x="639" y="126"/>
                    </a:lnTo>
                    <a:lnTo>
                      <a:pt x="634" y="123"/>
                    </a:lnTo>
                    <a:lnTo>
                      <a:pt x="628" y="121"/>
                    </a:lnTo>
                    <a:lnTo>
                      <a:pt x="624" y="121"/>
                    </a:lnTo>
                    <a:lnTo>
                      <a:pt x="624" y="126"/>
                    </a:lnTo>
                    <a:lnTo>
                      <a:pt x="619" y="128"/>
                    </a:lnTo>
                    <a:lnTo>
                      <a:pt x="618" y="133"/>
                    </a:lnTo>
                    <a:lnTo>
                      <a:pt x="614" y="134"/>
                    </a:lnTo>
                    <a:lnTo>
                      <a:pt x="608" y="133"/>
                    </a:lnTo>
                    <a:lnTo>
                      <a:pt x="603" y="134"/>
                    </a:lnTo>
                    <a:lnTo>
                      <a:pt x="601" y="136"/>
                    </a:lnTo>
                    <a:lnTo>
                      <a:pt x="601" y="138"/>
                    </a:lnTo>
                    <a:lnTo>
                      <a:pt x="594" y="143"/>
                    </a:lnTo>
                    <a:lnTo>
                      <a:pt x="594" y="149"/>
                    </a:lnTo>
                    <a:lnTo>
                      <a:pt x="596" y="153"/>
                    </a:lnTo>
                    <a:lnTo>
                      <a:pt x="596" y="161"/>
                    </a:lnTo>
                    <a:lnTo>
                      <a:pt x="594" y="162"/>
                    </a:lnTo>
                    <a:lnTo>
                      <a:pt x="596" y="167"/>
                    </a:lnTo>
                    <a:lnTo>
                      <a:pt x="598" y="172"/>
                    </a:lnTo>
                    <a:lnTo>
                      <a:pt x="596" y="171"/>
                    </a:lnTo>
                    <a:lnTo>
                      <a:pt x="594" y="167"/>
                    </a:lnTo>
                    <a:lnTo>
                      <a:pt x="591" y="167"/>
                    </a:lnTo>
                    <a:lnTo>
                      <a:pt x="588" y="171"/>
                    </a:lnTo>
                    <a:lnTo>
                      <a:pt x="584" y="172"/>
                    </a:lnTo>
                    <a:lnTo>
                      <a:pt x="583" y="177"/>
                    </a:lnTo>
                    <a:lnTo>
                      <a:pt x="584" y="182"/>
                    </a:lnTo>
                    <a:lnTo>
                      <a:pt x="583" y="186"/>
                    </a:lnTo>
                    <a:lnTo>
                      <a:pt x="583" y="194"/>
                    </a:lnTo>
                    <a:lnTo>
                      <a:pt x="583" y="197"/>
                    </a:lnTo>
                    <a:lnTo>
                      <a:pt x="581" y="201"/>
                    </a:lnTo>
                    <a:lnTo>
                      <a:pt x="578" y="202"/>
                    </a:lnTo>
                    <a:lnTo>
                      <a:pt x="578" y="207"/>
                    </a:lnTo>
                    <a:lnTo>
                      <a:pt x="573" y="211"/>
                    </a:lnTo>
                    <a:lnTo>
                      <a:pt x="571" y="217"/>
                    </a:lnTo>
                    <a:lnTo>
                      <a:pt x="573" y="219"/>
                    </a:lnTo>
                    <a:lnTo>
                      <a:pt x="569" y="221"/>
                    </a:lnTo>
                    <a:lnTo>
                      <a:pt x="573" y="229"/>
                    </a:lnTo>
                    <a:lnTo>
                      <a:pt x="576" y="232"/>
                    </a:lnTo>
                    <a:lnTo>
                      <a:pt x="578" y="231"/>
                    </a:lnTo>
                    <a:lnTo>
                      <a:pt x="581" y="231"/>
                    </a:lnTo>
                    <a:lnTo>
                      <a:pt x="583" y="229"/>
                    </a:lnTo>
                    <a:lnTo>
                      <a:pt x="586" y="231"/>
                    </a:lnTo>
                    <a:lnTo>
                      <a:pt x="588" y="236"/>
                    </a:lnTo>
                    <a:lnTo>
                      <a:pt x="591" y="246"/>
                    </a:lnTo>
                    <a:lnTo>
                      <a:pt x="589" y="249"/>
                    </a:lnTo>
                    <a:lnTo>
                      <a:pt x="588" y="254"/>
                    </a:lnTo>
                    <a:lnTo>
                      <a:pt x="584" y="259"/>
                    </a:lnTo>
                    <a:lnTo>
                      <a:pt x="584" y="269"/>
                    </a:lnTo>
                    <a:lnTo>
                      <a:pt x="584" y="275"/>
                    </a:lnTo>
                    <a:lnTo>
                      <a:pt x="588" y="275"/>
                    </a:lnTo>
                    <a:lnTo>
                      <a:pt x="591" y="277"/>
                    </a:lnTo>
                    <a:lnTo>
                      <a:pt x="596" y="277"/>
                    </a:lnTo>
                    <a:lnTo>
                      <a:pt x="598" y="275"/>
                    </a:lnTo>
                    <a:lnTo>
                      <a:pt x="603" y="275"/>
                    </a:lnTo>
                    <a:lnTo>
                      <a:pt x="608" y="275"/>
                    </a:lnTo>
                    <a:lnTo>
                      <a:pt x="609" y="277"/>
                    </a:lnTo>
                    <a:lnTo>
                      <a:pt x="611" y="274"/>
                    </a:lnTo>
                    <a:lnTo>
                      <a:pt x="611" y="269"/>
                    </a:lnTo>
                    <a:lnTo>
                      <a:pt x="608" y="267"/>
                    </a:lnTo>
                    <a:lnTo>
                      <a:pt x="606" y="262"/>
                    </a:lnTo>
                    <a:lnTo>
                      <a:pt x="609" y="257"/>
                    </a:lnTo>
                    <a:lnTo>
                      <a:pt x="609" y="251"/>
                    </a:lnTo>
                    <a:lnTo>
                      <a:pt x="609" y="244"/>
                    </a:lnTo>
                    <a:lnTo>
                      <a:pt x="608" y="242"/>
                    </a:lnTo>
                    <a:lnTo>
                      <a:pt x="613" y="236"/>
                    </a:lnTo>
                    <a:lnTo>
                      <a:pt x="613" y="231"/>
                    </a:lnTo>
                    <a:lnTo>
                      <a:pt x="613" y="224"/>
                    </a:lnTo>
                    <a:lnTo>
                      <a:pt x="609" y="221"/>
                    </a:lnTo>
                    <a:lnTo>
                      <a:pt x="609" y="219"/>
                    </a:lnTo>
                    <a:lnTo>
                      <a:pt x="614" y="216"/>
                    </a:lnTo>
                    <a:lnTo>
                      <a:pt x="616" y="212"/>
                    </a:lnTo>
                    <a:lnTo>
                      <a:pt x="621" y="212"/>
                    </a:lnTo>
                    <a:lnTo>
                      <a:pt x="626" y="214"/>
                    </a:lnTo>
                    <a:lnTo>
                      <a:pt x="626" y="216"/>
                    </a:lnTo>
                    <a:lnTo>
                      <a:pt x="628" y="219"/>
                    </a:lnTo>
                    <a:lnTo>
                      <a:pt x="628" y="224"/>
                    </a:lnTo>
                    <a:lnTo>
                      <a:pt x="624" y="227"/>
                    </a:lnTo>
                    <a:lnTo>
                      <a:pt x="623" y="232"/>
                    </a:lnTo>
                    <a:lnTo>
                      <a:pt x="626" y="236"/>
                    </a:lnTo>
                    <a:lnTo>
                      <a:pt x="629" y="236"/>
                    </a:lnTo>
                    <a:lnTo>
                      <a:pt x="633" y="239"/>
                    </a:lnTo>
                    <a:lnTo>
                      <a:pt x="638" y="242"/>
                    </a:lnTo>
                    <a:lnTo>
                      <a:pt x="638" y="247"/>
                    </a:lnTo>
                    <a:lnTo>
                      <a:pt x="636" y="247"/>
                    </a:lnTo>
                    <a:lnTo>
                      <a:pt x="634" y="254"/>
                    </a:lnTo>
                    <a:lnTo>
                      <a:pt x="638" y="259"/>
                    </a:lnTo>
                    <a:lnTo>
                      <a:pt x="641" y="260"/>
                    </a:lnTo>
                    <a:lnTo>
                      <a:pt x="643" y="259"/>
                    </a:lnTo>
                    <a:lnTo>
                      <a:pt x="648" y="260"/>
                    </a:lnTo>
                    <a:lnTo>
                      <a:pt x="653" y="260"/>
                    </a:lnTo>
                    <a:lnTo>
                      <a:pt x="653" y="259"/>
                    </a:lnTo>
                    <a:lnTo>
                      <a:pt x="651" y="255"/>
                    </a:lnTo>
                    <a:lnTo>
                      <a:pt x="654" y="252"/>
                    </a:lnTo>
                    <a:lnTo>
                      <a:pt x="659" y="252"/>
                    </a:lnTo>
                    <a:lnTo>
                      <a:pt x="664" y="249"/>
                    </a:lnTo>
                    <a:lnTo>
                      <a:pt x="672" y="249"/>
                    </a:lnTo>
                    <a:lnTo>
                      <a:pt x="674" y="247"/>
                    </a:lnTo>
                    <a:lnTo>
                      <a:pt x="676" y="247"/>
                    </a:lnTo>
                    <a:lnTo>
                      <a:pt x="681" y="247"/>
                    </a:lnTo>
                    <a:lnTo>
                      <a:pt x="682" y="244"/>
                    </a:lnTo>
                    <a:lnTo>
                      <a:pt x="681" y="242"/>
                    </a:lnTo>
                    <a:lnTo>
                      <a:pt x="676" y="242"/>
                    </a:lnTo>
                    <a:lnTo>
                      <a:pt x="672" y="242"/>
                    </a:lnTo>
                    <a:lnTo>
                      <a:pt x="671" y="242"/>
                    </a:lnTo>
                    <a:lnTo>
                      <a:pt x="666" y="242"/>
                    </a:lnTo>
                    <a:lnTo>
                      <a:pt x="666" y="239"/>
                    </a:lnTo>
                    <a:lnTo>
                      <a:pt x="664" y="239"/>
                    </a:lnTo>
                    <a:lnTo>
                      <a:pt x="664" y="237"/>
                    </a:lnTo>
                    <a:lnTo>
                      <a:pt x="662" y="237"/>
                    </a:lnTo>
                    <a:lnTo>
                      <a:pt x="659" y="237"/>
                    </a:lnTo>
                    <a:lnTo>
                      <a:pt x="659" y="236"/>
                    </a:lnTo>
                    <a:lnTo>
                      <a:pt x="656" y="234"/>
                    </a:lnTo>
                    <a:lnTo>
                      <a:pt x="654" y="232"/>
                    </a:lnTo>
                    <a:lnTo>
                      <a:pt x="658" y="229"/>
                    </a:lnTo>
                    <a:lnTo>
                      <a:pt x="658" y="227"/>
                    </a:lnTo>
                    <a:lnTo>
                      <a:pt x="659" y="227"/>
                    </a:lnTo>
                    <a:lnTo>
                      <a:pt x="658" y="226"/>
                    </a:lnTo>
                    <a:lnTo>
                      <a:pt x="661" y="224"/>
                    </a:lnTo>
                    <a:lnTo>
                      <a:pt x="661" y="222"/>
                    </a:lnTo>
                    <a:lnTo>
                      <a:pt x="659" y="221"/>
                    </a:lnTo>
                    <a:lnTo>
                      <a:pt x="656" y="219"/>
                    </a:lnTo>
                    <a:lnTo>
                      <a:pt x="658" y="217"/>
                    </a:lnTo>
                    <a:lnTo>
                      <a:pt x="658" y="216"/>
                    </a:lnTo>
                    <a:lnTo>
                      <a:pt x="653" y="212"/>
                    </a:lnTo>
                    <a:lnTo>
                      <a:pt x="649" y="212"/>
                    </a:lnTo>
                    <a:lnTo>
                      <a:pt x="649" y="207"/>
                    </a:lnTo>
                    <a:lnTo>
                      <a:pt x="643" y="201"/>
                    </a:lnTo>
                    <a:lnTo>
                      <a:pt x="638" y="199"/>
                    </a:lnTo>
                    <a:lnTo>
                      <a:pt x="636" y="194"/>
                    </a:lnTo>
                    <a:lnTo>
                      <a:pt x="636" y="192"/>
                    </a:lnTo>
                    <a:lnTo>
                      <a:pt x="638" y="194"/>
                    </a:lnTo>
                    <a:lnTo>
                      <a:pt x="639" y="196"/>
                    </a:lnTo>
                    <a:lnTo>
                      <a:pt x="643" y="196"/>
                    </a:lnTo>
                    <a:lnTo>
                      <a:pt x="648" y="192"/>
                    </a:lnTo>
                    <a:lnTo>
                      <a:pt x="648" y="191"/>
                    </a:lnTo>
                    <a:lnTo>
                      <a:pt x="658" y="187"/>
                    </a:lnTo>
                    <a:lnTo>
                      <a:pt x="664" y="182"/>
                    </a:lnTo>
                    <a:lnTo>
                      <a:pt x="667" y="177"/>
                    </a:lnTo>
                    <a:lnTo>
                      <a:pt x="672" y="176"/>
                    </a:lnTo>
                    <a:lnTo>
                      <a:pt x="672" y="172"/>
                    </a:lnTo>
                    <a:lnTo>
                      <a:pt x="677" y="171"/>
                    </a:lnTo>
                    <a:lnTo>
                      <a:pt x="682" y="172"/>
                    </a:lnTo>
                    <a:lnTo>
                      <a:pt x="686" y="174"/>
                    </a:lnTo>
                    <a:lnTo>
                      <a:pt x="689" y="167"/>
                    </a:lnTo>
                    <a:lnTo>
                      <a:pt x="689" y="164"/>
                    </a:lnTo>
                    <a:lnTo>
                      <a:pt x="684" y="162"/>
                    </a:lnTo>
                    <a:lnTo>
                      <a:pt x="674" y="164"/>
                    </a:lnTo>
                    <a:lnTo>
                      <a:pt x="669" y="167"/>
                    </a:lnTo>
                    <a:lnTo>
                      <a:pt x="662" y="167"/>
                    </a:lnTo>
                    <a:lnTo>
                      <a:pt x="659" y="167"/>
                    </a:lnTo>
                    <a:lnTo>
                      <a:pt x="654" y="172"/>
                    </a:lnTo>
                    <a:lnTo>
                      <a:pt x="649" y="171"/>
                    </a:lnTo>
                    <a:lnTo>
                      <a:pt x="646" y="172"/>
                    </a:lnTo>
                    <a:lnTo>
                      <a:pt x="643" y="169"/>
                    </a:lnTo>
                    <a:lnTo>
                      <a:pt x="638" y="169"/>
                    </a:lnTo>
                    <a:lnTo>
                      <a:pt x="633" y="174"/>
                    </a:lnTo>
                    <a:lnTo>
                      <a:pt x="629" y="181"/>
                    </a:lnTo>
                    <a:lnTo>
                      <a:pt x="624" y="184"/>
                    </a:lnTo>
                    <a:lnTo>
                      <a:pt x="619" y="182"/>
                    </a:lnTo>
                    <a:lnTo>
                      <a:pt x="619" y="181"/>
                    </a:lnTo>
                    <a:lnTo>
                      <a:pt x="613" y="174"/>
                    </a:lnTo>
                    <a:lnTo>
                      <a:pt x="606" y="169"/>
                    </a:lnTo>
                    <a:lnTo>
                      <a:pt x="603" y="162"/>
                    </a:lnTo>
                    <a:lnTo>
                      <a:pt x="603" y="154"/>
                    </a:lnTo>
                    <a:lnTo>
                      <a:pt x="608" y="146"/>
                    </a:lnTo>
                    <a:lnTo>
                      <a:pt x="611" y="141"/>
                    </a:lnTo>
                    <a:lnTo>
                      <a:pt x="611" y="141"/>
                    </a:lnTo>
                    <a:close/>
                    <a:moveTo>
                      <a:pt x="616" y="0"/>
                    </a:moveTo>
                    <a:lnTo>
                      <a:pt x="613" y="3"/>
                    </a:lnTo>
                    <a:lnTo>
                      <a:pt x="616" y="5"/>
                    </a:lnTo>
                    <a:lnTo>
                      <a:pt x="618" y="1"/>
                    </a:lnTo>
                    <a:lnTo>
                      <a:pt x="616" y="0"/>
                    </a:lnTo>
                    <a:lnTo>
                      <a:pt x="616" y="0"/>
                    </a:lnTo>
                    <a:close/>
                    <a:moveTo>
                      <a:pt x="623" y="15"/>
                    </a:moveTo>
                    <a:lnTo>
                      <a:pt x="626" y="15"/>
                    </a:lnTo>
                    <a:lnTo>
                      <a:pt x="629" y="13"/>
                    </a:lnTo>
                    <a:lnTo>
                      <a:pt x="631" y="15"/>
                    </a:lnTo>
                    <a:lnTo>
                      <a:pt x="634" y="13"/>
                    </a:lnTo>
                    <a:lnTo>
                      <a:pt x="634" y="11"/>
                    </a:lnTo>
                    <a:lnTo>
                      <a:pt x="629" y="10"/>
                    </a:lnTo>
                    <a:lnTo>
                      <a:pt x="623" y="11"/>
                    </a:lnTo>
                    <a:lnTo>
                      <a:pt x="621" y="13"/>
                    </a:lnTo>
                    <a:lnTo>
                      <a:pt x="623" y="15"/>
                    </a:lnTo>
                    <a:lnTo>
                      <a:pt x="623" y="15"/>
                    </a:lnTo>
                    <a:close/>
                    <a:moveTo>
                      <a:pt x="586" y="36"/>
                    </a:moveTo>
                    <a:lnTo>
                      <a:pt x="584" y="40"/>
                    </a:lnTo>
                    <a:lnTo>
                      <a:pt x="586" y="43"/>
                    </a:lnTo>
                    <a:lnTo>
                      <a:pt x="586" y="40"/>
                    </a:lnTo>
                    <a:lnTo>
                      <a:pt x="586" y="36"/>
                    </a:lnTo>
                    <a:lnTo>
                      <a:pt x="586" y="36"/>
                    </a:lnTo>
                    <a:close/>
                    <a:moveTo>
                      <a:pt x="594" y="33"/>
                    </a:moveTo>
                    <a:lnTo>
                      <a:pt x="603" y="26"/>
                    </a:lnTo>
                    <a:lnTo>
                      <a:pt x="606" y="26"/>
                    </a:lnTo>
                    <a:lnTo>
                      <a:pt x="606" y="30"/>
                    </a:lnTo>
                    <a:lnTo>
                      <a:pt x="601" y="33"/>
                    </a:lnTo>
                    <a:lnTo>
                      <a:pt x="596" y="33"/>
                    </a:lnTo>
                    <a:lnTo>
                      <a:pt x="594" y="33"/>
                    </a:lnTo>
                    <a:lnTo>
                      <a:pt x="594" y="33"/>
                    </a:lnTo>
                    <a:close/>
                    <a:moveTo>
                      <a:pt x="545" y="56"/>
                    </a:moveTo>
                    <a:lnTo>
                      <a:pt x="546" y="58"/>
                    </a:lnTo>
                    <a:lnTo>
                      <a:pt x="543" y="58"/>
                    </a:lnTo>
                    <a:lnTo>
                      <a:pt x="545" y="56"/>
                    </a:lnTo>
                    <a:lnTo>
                      <a:pt x="545" y="56"/>
                    </a:lnTo>
                    <a:close/>
                    <a:moveTo>
                      <a:pt x="545" y="55"/>
                    </a:moveTo>
                    <a:lnTo>
                      <a:pt x="545" y="55"/>
                    </a:lnTo>
                    <a:lnTo>
                      <a:pt x="546" y="56"/>
                    </a:lnTo>
                    <a:lnTo>
                      <a:pt x="550" y="56"/>
                    </a:lnTo>
                    <a:lnTo>
                      <a:pt x="550" y="56"/>
                    </a:lnTo>
                    <a:lnTo>
                      <a:pt x="545" y="55"/>
                    </a:lnTo>
                    <a:lnTo>
                      <a:pt x="545" y="55"/>
                    </a:lnTo>
                    <a:close/>
                    <a:moveTo>
                      <a:pt x="548" y="66"/>
                    </a:moveTo>
                    <a:lnTo>
                      <a:pt x="543" y="68"/>
                    </a:lnTo>
                    <a:lnTo>
                      <a:pt x="546" y="68"/>
                    </a:lnTo>
                    <a:lnTo>
                      <a:pt x="548" y="66"/>
                    </a:lnTo>
                    <a:lnTo>
                      <a:pt x="548" y="66"/>
                    </a:lnTo>
                    <a:close/>
                    <a:moveTo>
                      <a:pt x="541" y="71"/>
                    </a:moveTo>
                    <a:lnTo>
                      <a:pt x="545" y="71"/>
                    </a:lnTo>
                    <a:lnTo>
                      <a:pt x="545" y="76"/>
                    </a:lnTo>
                    <a:lnTo>
                      <a:pt x="543" y="74"/>
                    </a:lnTo>
                    <a:lnTo>
                      <a:pt x="541" y="71"/>
                    </a:lnTo>
                    <a:lnTo>
                      <a:pt x="541" y="71"/>
                    </a:lnTo>
                    <a:close/>
                    <a:moveTo>
                      <a:pt x="511" y="229"/>
                    </a:moveTo>
                    <a:lnTo>
                      <a:pt x="513" y="229"/>
                    </a:lnTo>
                    <a:lnTo>
                      <a:pt x="513" y="236"/>
                    </a:lnTo>
                    <a:lnTo>
                      <a:pt x="511" y="236"/>
                    </a:lnTo>
                    <a:lnTo>
                      <a:pt x="511" y="231"/>
                    </a:lnTo>
                    <a:lnTo>
                      <a:pt x="511" y="229"/>
                    </a:lnTo>
                    <a:lnTo>
                      <a:pt x="511" y="229"/>
                    </a:lnTo>
                    <a:close/>
                    <a:moveTo>
                      <a:pt x="510" y="229"/>
                    </a:moveTo>
                    <a:lnTo>
                      <a:pt x="510" y="236"/>
                    </a:lnTo>
                    <a:lnTo>
                      <a:pt x="508" y="241"/>
                    </a:lnTo>
                    <a:lnTo>
                      <a:pt x="505" y="242"/>
                    </a:lnTo>
                    <a:lnTo>
                      <a:pt x="503" y="241"/>
                    </a:lnTo>
                    <a:lnTo>
                      <a:pt x="503" y="234"/>
                    </a:lnTo>
                    <a:lnTo>
                      <a:pt x="506" y="229"/>
                    </a:lnTo>
                    <a:lnTo>
                      <a:pt x="508" y="227"/>
                    </a:lnTo>
                    <a:lnTo>
                      <a:pt x="510" y="229"/>
                    </a:lnTo>
                    <a:lnTo>
                      <a:pt x="510" y="229"/>
                    </a:lnTo>
                    <a:close/>
                    <a:moveTo>
                      <a:pt x="342" y="159"/>
                    </a:moveTo>
                    <a:lnTo>
                      <a:pt x="347" y="161"/>
                    </a:lnTo>
                    <a:lnTo>
                      <a:pt x="349" y="162"/>
                    </a:lnTo>
                    <a:lnTo>
                      <a:pt x="347" y="164"/>
                    </a:lnTo>
                    <a:lnTo>
                      <a:pt x="342" y="162"/>
                    </a:lnTo>
                    <a:lnTo>
                      <a:pt x="340" y="161"/>
                    </a:lnTo>
                    <a:lnTo>
                      <a:pt x="342" y="159"/>
                    </a:lnTo>
                    <a:lnTo>
                      <a:pt x="342" y="159"/>
                    </a:lnTo>
                    <a:close/>
                    <a:moveTo>
                      <a:pt x="344" y="169"/>
                    </a:moveTo>
                    <a:lnTo>
                      <a:pt x="350" y="169"/>
                    </a:lnTo>
                    <a:lnTo>
                      <a:pt x="354" y="172"/>
                    </a:lnTo>
                    <a:lnTo>
                      <a:pt x="355" y="172"/>
                    </a:lnTo>
                    <a:lnTo>
                      <a:pt x="355" y="174"/>
                    </a:lnTo>
                    <a:lnTo>
                      <a:pt x="350" y="174"/>
                    </a:lnTo>
                    <a:lnTo>
                      <a:pt x="347" y="174"/>
                    </a:lnTo>
                    <a:lnTo>
                      <a:pt x="344" y="171"/>
                    </a:lnTo>
                    <a:lnTo>
                      <a:pt x="344" y="169"/>
                    </a:lnTo>
                    <a:lnTo>
                      <a:pt x="344" y="169"/>
                    </a:lnTo>
                    <a:close/>
                    <a:moveTo>
                      <a:pt x="349" y="176"/>
                    </a:moveTo>
                    <a:lnTo>
                      <a:pt x="355" y="176"/>
                    </a:lnTo>
                    <a:lnTo>
                      <a:pt x="359" y="179"/>
                    </a:lnTo>
                    <a:lnTo>
                      <a:pt x="354" y="182"/>
                    </a:lnTo>
                    <a:lnTo>
                      <a:pt x="350" y="184"/>
                    </a:lnTo>
                    <a:lnTo>
                      <a:pt x="349" y="181"/>
                    </a:lnTo>
                    <a:lnTo>
                      <a:pt x="350" y="179"/>
                    </a:lnTo>
                    <a:lnTo>
                      <a:pt x="350" y="179"/>
                    </a:lnTo>
                    <a:lnTo>
                      <a:pt x="349" y="176"/>
                    </a:lnTo>
                    <a:lnTo>
                      <a:pt x="349" y="176"/>
                    </a:lnTo>
                    <a:close/>
                    <a:moveTo>
                      <a:pt x="337" y="124"/>
                    </a:moveTo>
                    <a:lnTo>
                      <a:pt x="342" y="118"/>
                    </a:lnTo>
                    <a:lnTo>
                      <a:pt x="347" y="111"/>
                    </a:lnTo>
                    <a:lnTo>
                      <a:pt x="350" y="108"/>
                    </a:lnTo>
                    <a:lnTo>
                      <a:pt x="354" y="106"/>
                    </a:lnTo>
                    <a:lnTo>
                      <a:pt x="359" y="114"/>
                    </a:lnTo>
                    <a:lnTo>
                      <a:pt x="367" y="119"/>
                    </a:lnTo>
                    <a:lnTo>
                      <a:pt x="367" y="121"/>
                    </a:lnTo>
                    <a:lnTo>
                      <a:pt x="372" y="126"/>
                    </a:lnTo>
                    <a:lnTo>
                      <a:pt x="375" y="129"/>
                    </a:lnTo>
                    <a:lnTo>
                      <a:pt x="378" y="129"/>
                    </a:lnTo>
                    <a:lnTo>
                      <a:pt x="385" y="128"/>
                    </a:lnTo>
                    <a:lnTo>
                      <a:pt x="385" y="126"/>
                    </a:lnTo>
                    <a:lnTo>
                      <a:pt x="392" y="126"/>
                    </a:lnTo>
                    <a:lnTo>
                      <a:pt x="395" y="124"/>
                    </a:lnTo>
                    <a:lnTo>
                      <a:pt x="408" y="124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37" y="116"/>
                    </a:lnTo>
                    <a:lnTo>
                      <a:pt x="443" y="119"/>
                    </a:lnTo>
                    <a:lnTo>
                      <a:pt x="445" y="123"/>
                    </a:lnTo>
                    <a:lnTo>
                      <a:pt x="452" y="123"/>
                    </a:lnTo>
                    <a:lnTo>
                      <a:pt x="462" y="118"/>
                    </a:lnTo>
                    <a:lnTo>
                      <a:pt x="473" y="116"/>
                    </a:lnTo>
                    <a:lnTo>
                      <a:pt x="471" y="113"/>
                    </a:lnTo>
                    <a:lnTo>
                      <a:pt x="481" y="99"/>
                    </a:lnTo>
                    <a:lnTo>
                      <a:pt x="485" y="89"/>
                    </a:lnTo>
                    <a:lnTo>
                      <a:pt x="493" y="79"/>
                    </a:lnTo>
                    <a:lnTo>
                      <a:pt x="498" y="63"/>
                    </a:lnTo>
                    <a:lnTo>
                      <a:pt x="498" y="59"/>
                    </a:lnTo>
                    <a:lnTo>
                      <a:pt x="500" y="56"/>
                    </a:lnTo>
                    <a:lnTo>
                      <a:pt x="500" y="53"/>
                    </a:lnTo>
                    <a:lnTo>
                      <a:pt x="505" y="48"/>
                    </a:lnTo>
                    <a:lnTo>
                      <a:pt x="510" y="50"/>
                    </a:lnTo>
                    <a:lnTo>
                      <a:pt x="516" y="48"/>
                    </a:lnTo>
                    <a:lnTo>
                      <a:pt x="528" y="48"/>
                    </a:lnTo>
                    <a:lnTo>
                      <a:pt x="530" y="51"/>
                    </a:lnTo>
                    <a:lnTo>
                      <a:pt x="536" y="50"/>
                    </a:lnTo>
                    <a:lnTo>
                      <a:pt x="541" y="51"/>
                    </a:lnTo>
                    <a:lnTo>
                      <a:pt x="541" y="53"/>
                    </a:lnTo>
                    <a:lnTo>
                      <a:pt x="540" y="53"/>
                    </a:lnTo>
                    <a:lnTo>
                      <a:pt x="540" y="56"/>
                    </a:lnTo>
                    <a:lnTo>
                      <a:pt x="538" y="58"/>
                    </a:lnTo>
                    <a:lnTo>
                      <a:pt x="543" y="59"/>
                    </a:lnTo>
                    <a:lnTo>
                      <a:pt x="548" y="64"/>
                    </a:lnTo>
                    <a:lnTo>
                      <a:pt x="543" y="66"/>
                    </a:lnTo>
                    <a:lnTo>
                      <a:pt x="536" y="64"/>
                    </a:lnTo>
                    <a:lnTo>
                      <a:pt x="535" y="66"/>
                    </a:lnTo>
                    <a:lnTo>
                      <a:pt x="538" y="69"/>
                    </a:lnTo>
                    <a:lnTo>
                      <a:pt x="541" y="71"/>
                    </a:lnTo>
                    <a:lnTo>
                      <a:pt x="541" y="73"/>
                    </a:lnTo>
                    <a:lnTo>
                      <a:pt x="540" y="74"/>
                    </a:lnTo>
                    <a:lnTo>
                      <a:pt x="538" y="78"/>
                    </a:lnTo>
                    <a:lnTo>
                      <a:pt x="541" y="81"/>
                    </a:lnTo>
                    <a:lnTo>
                      <a:pt x="543" y="84"/>
                    </a:lnTo>
                    <a:lnTo>
                      <a:pt x="551" y="93"/>
                    </a:lnTo>
                    <a:lnTo>
                      <a:pt x="555" y="96"/>
                    </a:lnTo>
                    <a:lnTo>
                      <a:pt x="553" y="99"/>
                    </a:lnTo>
                    <a:lnTo>
                      <a:pt x="546" y="101"/>
                    </a:lnTo>
                    <a:lnTo>
                      <a:pt x="545" y="104"/>
                    </a:lnTo>
                    <a:lnTo>
                      <a:pt x="548" y="106"/>
                    </a:lnTo>
                    <a:lnTo>
                      <a:pt x="548" y="109"/>
                    </a:lnTo>
                    <a:lnTo>
                      <a:pt x="551" y="111"/>
                    </a:lnTo>
                    <a:lnTo>
                      <a:pt x="563" y="119"/>
                    </a:lnTo>
                    <a:lnTo>
                      <a:pt x="566" y="119"/>
                    </a:lnTo>
                    <a:lnTo>
                      <a:pt x="569" y="124"/>
                    </a:lnTo>
                    <a:lnTo>
                      <a:pt x="571" y="126"/>
                    </a:lnTo>
                    <a:lnTo>
                      <a:pt x="574" y="128"/>
                    </a:lnTo>
                    <a:lnTo>
                      <a:pt x="573" y="131"/>
                    </a:lnTo>
                    <a:lnTo>
                      <a:pt x="571" y="133"/>
                    </a:lnTo>
                    <a:lnTo>
                      <a:pt x="568" y="131"/>
                    </a:lnTo>
                    <a:lnTo>
                      <a:pt x="564" y="134"/>
                    </a:lnTo>
                    <a:lnTo>
                      <a:pt x="558" y="133"/>
                    </a:lnTo>
                    <a:lnTo>
                      <a:pt x="551" y="126"/>
                    </a:lnTo>
                    <a:lnTo>
                      <a:pt x="553" y="133"/>
                    </a:lnTo>
                    <a:lnTo>
                      <a:pt x="551" y="134"/>
                    </a:lnTo>
                    <a:lnTo>
                      <a:pt x="548" y="131"/>
                    </a:lnTo>
                    <a:lnTo>
                      <a:pt x="543" y="136"/>
                    </a:lnTo>
                    <a:lnTo>
                      <a:pt x="543" y="139"/>
                    </a:lnTo>
                    <a:lnTo>
                      <a:pt x="541" y="141"/>
                    </a:lnTo>
                    <a:lnTo>
                      <a:pt x="540" y="149"/>
                    </a:lnTo>
                    <a:lnTo>
                      <a:pt x="538" y="153"/>
                    </a:lnTo>
                    <a:lnTo>
                      <a:pt x="536" y="161"/>
                    </a:lnTo>
                    <a:lnTo>
                      <a:pt x="530" y="166"/>
                    </a:lnTo>
                    <a:lnTo>
                      <a:pt x="533" y="171"/>
                    </a:lnTo>
                    <a:lnTo>
                      <a:pt x="530" y="174"/>
                    </a:lnTo>
                    <a:lnTo>
                      <a:pt x="525" y="179"/>
                    </a:lnTo>
                    <a:lnTo>
                      <a:pt x="523" y="174"/>
                    </a:lnTo>
                    <a:lnTo>
                      <a:pt x="521" y="174"/>
                    </a:lnTo>
                    <a:lnTo>
                      <a:pt x="521" y="176"/>
                    </a:lnTo>
                    <a:lnTo>
                      <a:pt x="521" y="181"/>
                    </a:lnTo>
                    <a:lnTo>
                      <a:pt x="518" y="186"/>
                    </a:lnTo>
                    <a:lnTo>
                      <a:pt x="516" y="189"/>
                    </a:lnTo>
                    <a:lnTo>
                      <a:pt x="513" y="191"/>
                    </a:lnTo>
                    <a:lnTo>
                      <a:pt x="510" y="191"/>
                    </a:lnTo>
                    <a:lnTo>
                      <a:pt x="510" y="192"/>
                    </a:lnTo>
                    <a:lnTo>
                      <a:pt x="508" y="194"/>
                    </a:lnTo>
                    <a:lnTo>
                      <a:pt x="515" y="194"/>
                    </a:lnTo>
                    <a:lnTo>
                      <a:pt x="515" y="196"/>
                    </a:lnTo>
                    <a:lnTo>
                      <a:pt x="515" y="199"/>
                    </a:lnTo>
                    <a:lnTo>
                      <a:pt x="511" y="201"/>
                    </a:lnTo>
                    <a:lnTo>
                      <a:pt x="513" y="202"/>
                    </a:lnTo>
                    <a:lnTo>
                      <a:pt x="516" y="202"/>
                    </a:lnTo>
                    <a:lnTo>
                      <a:pt x="516" y="204"/>
                    </a:lnTo>
                    <a:lnTo>
                      <a:pt x="515" y="207"/>
                    </a:lnTo>
                    <a:lnTo>
                      <a:pt x="511" y="207"/>
                    </a:lnTo>
                    <a:lnTo>
                      <a:pt x="510" y="206"/>
                    </a:lnTo>
                    <a:lnTo>
                      <a:pt x="510" y="207"/>
                    </a:lnTo>
                    <a:lnTo>
                      <a:pt x="513" y="209"/>
                    </a:lnTo>
                    <a:lnTo>
                      <a:pt x="513" y="211"/>
                    </a:lnTo>
                    <a:lnTo>
                      <a:pt x="510" y="217"/>
                    </a:lnTo>
                    <a:lnTo>
                      <a:pt x="508" y="217"/>
                    </a:lnTo>
                    <a:lnTo>
                      <a:pt x="506" y="216"/>
                    </a:lnTo>
                    <a:lnTo>
                      <a:pt x="505" y="222"/>
                    </a:lnTo>
                    <a:lnTo>
                      <a:pt x="505" y="226"/>
                    </a:lnTo>
                    <a:lnTo>
                      <a:pt x="500" y="234"/>
                    </a:lnTo>
                    <a:lnTo>
                      <a:pt x="491" y="239"/>
                    </a:lnTo>
                    <a:lnTo>
                      <a:pt x="485" y="239"/>
                    </a:lnTo>
                    <a:lnTo>
                      <a:pt x="475" y="244"/>
                    </a:lnTo>
                    <a:lnTo>
                      <a:pt x="470" y="244"/>
                    </a:lnTo>
                    <a:lnTo>
                      <a:pt x="468" y="239"/>
                    </a:lnTo>
                    <a:lnTo>
                      <a:pt x="470" y="236"/>
                    </a:lnTo>
                    <a:lnTo>
                      <a:pt x="466" y="232"/>
                    </a:lnTo>
                    <a:lnTo>
                      <a:pt x="466" y="231"/>
                    </a:lnTo>
                    <a:lnTo>
                      <a:pt x="465" y="231"/>
                    </a:lnTo>
                    <a:lnTo>
                      <a:pt x="462" y="227"/>
                    </a:lnTo>
                    <a:lnTo>
                      <a:pt x="460" y="229"/>
                    </a:lnTo>
                    <a:lnTo>
                      <a:pt x="455" y="227"/>
                    </a:lnTo>
                    <a:lnTo>
                      <a:pt x="453" y="224"/>
                    </a:lnTo>
                    <a:lnTo>
                      <a:pt x="452" y="227"/>
                    </a:lnTo>
                    <a:lnTo>
                      <a:pt x="453" y="231"/>
                    </a:lnTo>
                    <a:lnTo>
                      <a:pt x="448" y="229"/>
                    </a:lnTo>
                    <a:lnTo>
                      <a:pt x="447" y="227"/>
                    </a:lnTo>
                    <a:lnTo>
                      <a:pt x="447" y="224"/>
                    </a:lnTo>
                    <a:lnTo>
                      <a:pt x="445" y="222"/>
                    </a:lnTo>
                    <a:lnTo>
                      <a:pt x="442" y="224"/>
                    </a:lnTo>
                    <a:lnTo>
                      <a:pt x="437" y="221"/>
                    </a:lnTo>
                    <a:lnTo>
                      <a:pt x="435" y="222"/>
                    </a:lnTo>
                    <a:lnTo>
                      <a:pt x="430" y="226"/>
                    </a:lnTo>
                    <a:lnTo>
                      <a:pt x="425" y="226"/>
                    </a:lnTo>
                    <a:lnTo>
                      <a:pt x="423" y="227"/>
                    </a:lnTo>
                    <a:lnTo>
                      <a:pt x="420" y="229"/>
                    </a:lnTo>
                    <a:lnTo>
                      <a:pt x="418" y="227"/>
                    </a:lnTo>
                    <a:lnTo>
                      <a:pt x="415" y="227"/>
                    </a:lnTo>
                    <a:lnTo>
                      <a:pt x="410" y="234"/>
                    </a:lnTo>
                    <a:lnTo>
                      <a:pt x="405" y="234"/>
                    </a:lnTo>
                    <a:lnTo>
                      <a:pt x="407" y="231"/>
                    </a:lnTo>
                    <a:lnTo>
                      <a:pt x="405" y="222"/>
                    </a:lnTo>
                    <a:lnTo>
                      <a:pt x="403" y="217"/>
                    </a:lnTo>
                    <a:lnTo>
                      <a:pt x="405" y="214"/>
                    </a:lnTo>
                    <a:lnTo>
                      <a:pt x="403" y="211"/>
                    </a:lnTo>
                    <a:lnTo>
                      <a:pt x="403" y="212"/>
                    </a:lnTo>
                    <a:lnTo>
                      <a:pt x="402" y="217"/>
                    </a:lnTo>
                    <a:lnTo>
                      <a:pt x="398" y="219"/>
                    </a:lnTo>
                    <a:lnTo>
                      <a:pt x="395" y="217"/>
                    </a:lnTo>
                    <a:lnTo>
                      <a:pt x="392" y="219"/>
                    </a:lnTo>
                    <a:lnTo>
                      <a:pt x="385" y="221"/>
                    </a:lnTo>
                    <a:lnTo>
                      <a:pt x="382" y="219"/>
                    </a:lnTo>
                    <a:lnTo>
                      <a:pt x="377" y="219"/>
                    </a:lnTo>
                    <a:lnTo>
                      <a:pt x="375" y="216"/>
                    </a:lnTo>
                    <a:lnTo>
                      <a:pt x="372" y="219"/>
                    </a:lnTo>
                    <a:lnTo>
                      <a:pt x="368" y="219"/>
                    </a:lnTo>
                    <a:lnTo>
                      <a:pt x="365" y="212"/>
                    </a:lnTo>
                    <a:lnTo>
                      <a:pt x="365" y="207"/>
                    </a:lnTo>
                    <a:lnTo>
                      <a:pt x="363" y="197"/>
                    </a:lnTo>
                    <a:lnTo>
                      <a:pt x="360" y="196"/>
                    </a:lnTo>
                    <a:lnTo>
                      <a:pt x="359" y="192"/>
                    </a:lnTo>
                    <a:lnTo>
                      <a:pt x="362" y="189"/>
                    </a:lnTo>
                    <a:lnTo>
                      <a:pt x="365" y="186"/>
                    </a:lnTo>
                    <a:lnTo>
                      <a:pt x="363" y="181"/>
                    </a:lnTo>
                    <a:lnTo>
                      <a:pt x="362" y="177"/>
                    </a:lnTo>
                    <a:lnTo>
                      <a:pt x="355" y="171"/>
                    </a:lnTo>
                    <a:lnTo>
                      <a:pt x="349" y="167"/>
                    </a:lnTo>
                    <a:lnTo>
                      <a:pt x="344" y="167"/>
                    </a:lnTo>
                    <a:lnTo>
                      <a:pt x="344" y="166"/>
                    </a:lnTo>
                    <a:lnTo>
                      <a:pt x="347" y="164"/>
                    </a:lnTo>
                    <a:lnTo>
                      <a:pt x="352" y="161"/>
                    </a:lnTo>
                    <a:lnTo>
                      <a:pt x="360" y="159"/>
                    </a:lnTo>
                    <a:lnTo>
                      <a:pt x="365" y="156"/>
                    </a:lnTo>
                    <a:lnTo>
                      <a:pt x="370" y="156"/>
                    </a:lnTo>
                    <a:lnTo>
                      <a:pt x="365" y="154"/>
                    </a:lnTo>
                    <a:lnTo>
                      <a:pt x="359" y="159"/>
                    </a:lnTo>
                    <a:lnTo>
                      <a:pt x="352" y="159"/>
                    </a:lnTo>
                    <a:lnTo>
                      <a:pt x="349" y="161"/>
                    </a:lnTo>
                    <a:lnTo>
                      <a:pt x="344" y="159"/>
                    </a:lnTo>
                    <a:lnTo>
                      <a:pt x="340" y="154"/>
                    </a:lnTo>
                    <a:lnTo>
                      <a:pt x="342" y="153"/>
                    </a:lnTo>
                    <a:lnTo>
                      <a:pt x="345" y="154"/>
                    </a:lnTo>
                    <a:lnTo>
                      <a:pt x="342" y="151"/>
                    </a:lnTo>
                    <a:lnTo>
                      <a:pt x="335" y="143"/>
                    </a:lnTo>
                    <a:lnTo>
                      <a:pt x="335" y="134"/>
                    </a:lnTo>
                    <a:lnTo>
                      <a:pt x="339" y="133"/>
                    </a:lnTo>
                    <a:lnTo>
                      <a:pt x="339" y="129"/>
                    </a:lnTo>
                    <a:lnTo>
                      <a:pt x="337" y="126"/>
                    </a:lnTo>
                    <a:lnTo>
                      <a:pt x="337" y="124"/>
                    </a:lnTo>
                    <a:lnTo>
                      <a:pt x="337" y="124"/>
                    </a:lnTo>
                    <a:close/>
                    <a:moveTo>
                      <a:pt x="965" y="171"/>
                    </a:moveTo>
                    <a:lnTo>
                      <a:pt x="961" y="171"/>
                    </a:lnTo>
                    <a:lnTo>
                      <a:pt x="965" y="174"/>
                    </a:lnTo>
                    <a:lnTo>
                      <a:pt x="968" y="174"/>
                    </a:lnTo>
                    <a:lnTo>
                      <a:pt x="965" y="171"/>
                    </a:lnTo>
                    <a:lnTo>
                      <a:pt x="965" y="171"/>
                    </a:lnTo>
                    <a:close/>
                    <a:moveTo>
                      <a:pt x="975" y="184"/>
                    </a:moveTo>
                    <a:lnTo>
                      <a:pt x="970" y="184"/>
                    </a:lnTo>
                    <a:lnTo>
                      <a:pt x="973" y="186"/>
                    </a:lnTo>
                    <a:lnTo>
                      <a:pt x="975" y="184"/>
                    </a:lnTo>
                    <a:lnTo>
                      <a:pt x="975" y="184"/>
                    </a:lnTo>
                    <a:close/>
                    <a:moveTo>
                      <a:pt x="980" y="186"/>
                    </a:moveTo>
                    <a:lnTo>
                      <a:pt x="980" y="186"/>
                    </a:lnTo>
                    <a:lnTo>
                      <a:pt x="981" y="187"/>
                    </a:lnTo>
                    <a:lnTo>
                      <a:pt x="988" y="191"/>
                    </a:lnTo>
                    <a:lnTo>
                      <a:pt x="1000" y="192"/>
                    </a:lnTo>
                    <a:lnTo>
                      <a:pt x="1010" y="191"/>
                    </a:lnTo>
                    <a:lnTo>
                      <a:pt x="1013" y="189"/>
                    </a:lnTo>
                    <a:lnTo>
                      <a:pt x="1005" y="187"/>
                    </a:lnTo>
                    <a:lnTo>
                      <a:pt x="1000" y="189"/>
                    </a:lnTo>
                    <a:lnTo>
                      <a:pt x="993" y="187"/>
                    </a:lnTo>
                    <a:lnTo>
                      <a:pt x="988" y="189"/>
                    </a:lnTo>
                    <a:lnTo>
                      <a:pt x="980" y="186"/>
                    </a:lnTo>
                    <a:lnTo>
                      <a:pt x="980" y="186"/>
                    </a:lnTo>
                    <a:close/>
                    <a:moveTo>
                      <a:pt x="980" y="166"/>
                    </a:moveTo>
                    <a:lnTo>
                      <a:pt x="983" y="169"/>
                    </a:lnTo>
                    <a:lnTo>
                      <a:pt x="983" y="166"/>
                    </a:lnTo>
                    <a:lnTo>
                      <a:pt x="985" y="166"/>
                    </a:lnTo>
                    <a:lnTo>
                      <a:pt x="990" y="171"/>
                    </a:lnTo>
                    <a:lnTo>
                      <a:pt x="990" y="174"/>
                    </a:lnTo>
                    <a:lnTo>
                      <a:pt x="993" y="174"/>
                    </a:lnTo>
                    <a:lnTo>
                      <a:pt x="995" y="174"/>
                    </a:lnTo>
                    <a:lnTo>
                      <a:pt x="996" y="176"/>
                    </a:lnTo>
                    <a:lnTo>
                      <a:pt x="1001" y="174"/>
                    </a:lnTo>
                    <a:lnTo>
                      <a:pt x="1000" y="172"/>
                    </a:lnTo>
                    <a:lnTo>
                      <a:pt x="996" y="171"/>
                    </a:lnTo>
                    <a:lnTo>
                      <a:pt x="993" y="167"/>
                    </a:lnTo>
                    <a:lnTo>
                      <a:pt x="990" y="164"/>
                    </a:lnTo>
                    <a:lnTo>
                      <a:pt x="985" y="164"/>
                    </a:lnTo>
                    <a:lnTo>
                      <a:pt x="978" y="162"/>
                    </a:lnTo>
                    <a:lnTo>
                      <a:pt x="980" y="166"/>
                    </a:lnTo>
                    <a:lnTo>
                      <a:pt x="980" y="166"/>
                    </a:lnTo>
                    <a:close/>
                    <a:moveTo>
                      <a:pt x="908" y="274"/>
                    </a:moveTo>
                    <a:lnTo>
                      <a:pt x="910" y="279"/>
                    </a:lnTo>
                    <a:lnTo>
                      <a:pt x="910" y="282"/>
                    </a:lnTo>
                    <a:lnTo>
                      <a:pt x="912" y="284"/>
                    </a:lnTo>
                    <a:lnTo>
                      <a:pt x="912" y="279"/>
                    </a:lnTo>
                    <a:lnTo>
                      <a:pt x="908" y="274"/>
                    </a:lnTo>
                    <a:lnTo>
                      <a:pt x="908" y="274"/>
                    </a:lnTo>
                    <a:close/>
                    <a:moveTo>
                      <a:pt x="922" y="270"/>
                    </a:moveTo>
                    <a:lnTo>
                      <a:pt x="917" y="272"/>
                    </a:lnTo>
                    <a:lnTo>
                      <a:pt x="915" y="282"/>
                    </a:lnTo>
                    <a:lnTo>
                      <a:pt x="913" y="284"/>
                    </a:lnTo>
                    <a:lnTo>
                      <a:pt x="917" y="284"/>
                    </a:lnTo>
                    <a:lnTo>
                      <a:pt x="920" y="274"/>
                    </a:lnTo>
                    <a:lnTo>
                      <a:pt x="922" y="270"/>
                    </a:lnTo>
                    <a:lnTo>
                      <a:pt x="922" y="270"/>
                    </a:lnTo>
                    <a:close/>
                    <a:moveTo>
                      <a:pt x="960" y="300"/>
                    </a:moveTo>
                    <a:lnTo>
                      <a:pt x="958" y="302"/>
                    </a:lnTo>
                    <a:lnTo>
                      <a:pt x="960" y="302"/>
                    </a:lnTo>
                    <a:lnTo>
                      <a:pt x="960" y="302"/>
                    </a:lnTo>
                    <a:lnTo>
                      <a:pt x="960" y="300"/>
                    </a:lnTo>
                    <a:lnTo>
                      <a:pt x="960" y="300"/>
                    </a:lnTo>
                    <a:close/>
                    <a:moveTo>
                      <a:pt x="947" y="292"/>
                    </a:moveTo>
                    <a:lnTo>
                      <a:pt x="943" y="290"/>
                    </a:lnTo>
                    <a:lnTo>
                      <a:pt x="945" y="292"/>
                    </a:lnTo>
                    <a:lnTo>
                      <a:pt x="945" y="297"/>
                    </a:lnTo>
                    <a:lnTo>
                      <a:pt x="947" y="299"/>
                    </a:lnTo>
                    <a:lnTo>
                      <a:pt x="948" y="300"/>
                    </a:lnTo>
                    <a:lnTo>
                      <a:pt x="947" y="299"/>
                    </a:lnTo>
                    <a:lnTo>
                      <a:pt x="945" y="299"/>
                    </a:lnTo>
                    <a:lnTo>
                      <a:pt x="943" y="304"/>
                    </a:lnTo>
                    <a:lnTo>
                      <a:pt x="947" y="305"/>
                    </a:lnTo>
                    <a:lnTo>
                      <a:pt x="948" y="305"/>
                    </a:lnTo>
                    <a:lnTo>
                      <a:pt x="953" y="302"/>
                    </a:lnTo>
                    <a:lnTo>
                      <a:pt x="953" y="299"/>
                    </a:lnTo>
                    <a:lnTo>
                      <a:pt x="952" y="299"/>
                    </a:lnTo>
                    <a:lnTo>
                      <a:pt x="950" y="295"/>
                    </a:lnTo>
                    <a:lnTo>
                      <a:pt x="947" y="292"/>
                    </a:lnTo>
                    <a:lnTo>
                      <a:pt x="947" y="292"/>
                    </a:lnTo>
                    <a:close/>
                    <a:moveTo>
                      <a:pt x="955" y="294"/>
                    </a:moveTo>
                    <a:lnTo>
                      <a:pt x="955" y="294"/>
                    </a:lnTo>
                    <a:lnTo>
                      <a:pt x="953" y="294"/>
                    </a:lnTo>
                    <a:lnTo>
                      <a:pt x="953" y="297"/>
                    </a:lnTo>
                    <a:lnTo>
                      <a:pt x="955" y="297"/>
                    </a:lnTo>
                    <a:lnTo>
                      <a:pt x="958" y="297"/>
                    </a:lnTo>
                    <a:lnTo>
                      <a:pt x="957" y="295"/>
                    </a:lnTo>
                    <a:lnTo>
                      <a:pt x="955" y="294"/>
                    </a:lnTo>
                    <a:lnTo>
                      <a:pt x="955" y="294"/>
                    </a:lnTo>
                    <a:close/>
                    <a:moveTo>
                      <a:pt x="948" y="287"/>
                    </a:moveTo>
                    <a:lnTo>
                      <a:pt x="945" y="285"/>
                    </a:lnTo>
                    <a:lnTo>
                      <a:pt x="945" y="289"/>
                    </a:lnTo>
                    <a:lnTo>
                      <a:pt x="948" y="292"/>
                    </a:lnTo>
                    <a:lnTo>
                      <a:pt x="952" y="294"/>
                    </a:lnTo>
                    <a:lnTo>
                      <a:pt x="953" y="292"/>
                    </a:lnTo>
                    <a:lnTo>
                      <a:pt x="948" y="289"/>
                    </a:lnTo>
                    <a:lnTo>
                      <a:pt x="948" y="287"/>
                    </a:lnTo>
                    <a:lnTo>
                      <a:pt x="948" y="287"/>
                    </a:lnTo>
                    <a:close/>
                    <a:moveTo>
                      <a:pt x="957" y="284"/>
                    </a:moveTo>
                    <a:lnTo>
                      <a:pt x="953" y="285"/>
                    </a:lnTo>
                    <a:lnTo>
                      <a:pt x="950" y="287"/>
                    </a:lnTo>
                    <a:lnTo>
                      <a:pt x="950" y="289"/>
                    </a:lnTo>
                    <a:lnTo>
                      <a:pt x="955" y="292"/>
                    </a:lnTo>
                    <a:lnTo>
                      <a:pt x="957" y="292"/>
                    </a:lnTo>
                    <a:lnTo>
                      <a:pt x="960" y="290"/>
                    </a:lnTo>
                    <a:lnTo>
                      <a:pt x="960" y="287"/>
                    </a:lnTo>
                    <a:lnTo>
                      <a:pt x="960" y="287"/>
                    </a:lnTo>
                    <a:lnTo>
                      <a:pt x="960" y="285"/>
                    </a:lnTo>
                    <a:lnTo>
                      <a:pt x="958" y="284"/>
                    </a:lnTo>
                    <a:lnTo>
                      <a:pt x="957" y="284"/>
                    </a:lnTo>
                    <a:lnTo>
                      <a:pt x="957" y="284"/>
                    </a:lnTo>
                    <a:close/>
                    <a:moveTo>
                      <a:pt x="948" y="279"/>
                    </a:moveTo>
                    <a:lnTo>
                      <a:pt x="947" y="279"/>
                    </a:lnTo>
                    <a:lnTo>
                      <a:pt x="945" y="280"/>
                    </a:lnTo>
                    <a:lnTo>
                      <a:pt x="948" y="280"/>
                    </a:lnTo>
                    <a:lnTo>
                      <a:pt x="948" y="279"/>
                    </a:lnTo>
                    <a:lnTo>
                      <a:pt x="948" y="279"/>
                    </a:lnTo>
                    <a:close/>
                    <a:moveTo>
                      <a:pt x="955" y="272"/>
                    </a:moveTo>
                    <a:lnTo>
                      <a:pt x="957" y="275"/>
                    </a:lnTo>
                    <a:lnTo>
                      <a:pt x="960" y="275"/>
                    </a:lnTo>
                    <a:lnTo>
                      <a:pt x="957" y="272"/>
                    </a:lnTo>
                    <a:lnTo>
                      <a:pt x="955" y="272"/>
                    </a:lnTo>
                    <a:lnTo>
                      <a:pt x="955" y="272"/>
                    </a:lnTo>
                    <a:close/>
                    <a:moveTo>
                      <a:pt x="955" y="274"/>
                    </a:moveTo>
                    <a:lnTo>
                      <a:pt x="952" y="274"/>
                    </a:lnTo>
                    <a:lnTo>
                      <a:pt x="950" y="277"/>
                    </a:lnTo>
                    <a:lnTo>
                      <a:pt x="948" y="277"/>
                    </a:lnTo>
                    <a:lnTo>
                      <a:pt x="950" y="279"/>
                    </a:lnTo>
                    <a:lnTo>
                      <a:pt x="950" y="280"/>
                    </a:lnTo>
                    <a:lnTo>
                      <a:pt x="953" y="279"/>
                    </a:lnTo>
                    <a:lnTo>
                      <a:pt x="950" y="282"/>
                    </a:lnTo>
                    <a:lnTo>
                      <a:pt x="950" y="284"/>
                    </a:lnTo>
                    <a:lnTo>
                      <a:pt x="952" y="284"/>
                    </a:lnTo>
                    <a:lnTo>
                      <a:pt x="955" y="282"/>
                    </a:lnTo>
                    <a:lnTo>
                      <a:pt x="958" y="282"/>
                    </a:lnTo>
                    <a:lnTo>
                      <a:pt x="960" y="280"/>
                    </a:lnTo>
                    <a:lnTo>
                      <a:pt x="958" y="275"/>
                    </a:lnTo>
                    <a:lnTo>
                      <a:pt x="957" y="275"/>
                    </a:lnTo>
                    <a:lnTo>
                      <a:pt x="955" y="274"/>
                    </a:lnTo>
                    <a:lnTo>
                      <a:pt x="955" y="274"/>
                    </a:lnTo>
                    <a:close/>
                    <a:moveTo>
                      <a:pt x="890" y="309"/>
                    </a:moveTo>
                    <a:lnTo>
                      <a:pt x="895" y="307"/>
                    </a:lnTo>
                    <a:lnTo>
                      <a:pt x="893" y="305"/>
                    </a:lnTo>
                    <a:lnTo>
                      <a:pt x="890" y="309"/>
                    </a:lnTo>
                    <a:lnTo>
                      <a:pt x="890" y="309"/>
                    </a:lnTo>
                    <a:close/>
                    <a:moveTo>
                      <a:pt x="887" y="310"/>
                    </a:moveTo>
                    <a:lnTo>
                      <a:pt x="892" y="314"/>
                    </a:lnTo>
                    <a:lnTo>
                      <a:pt x="890" y="310"/>
                    </a:lnTo>
                    <a:lnTo>
                      <a:pt x="887" y="310"/>
                    </a:lnTo>
                    <a:lnTo>
                      <a:pt x="887" y="310"/>
                    </a:lnTo>
                    <a:close/>
                    <a:moveTo>
                      <a:pt x="865" y="319"/>
                    </a:moveTo>
                    <a:lnTo>
                      <a:pt x="863" y="320"/>
                    </a:lnTo>
                    <a:lnTo>
                      <a:pt x="865" y="320"/>
                    </a:lnTo>
                    <a:lnTo>
                      <a:pt x="865" y="320"/>
                    </a:lnTo>
                    <a:lnTo>
                      <a:pt x="865" y="319"/>
                    </a:lnTo>
                    <a:lnTo>
                      <a:pt x="865" y="319"/>
                    </a:lnTo>
                    <a:close/>
                    <a:moveTo>
                      <a:pt x="872" y="317"/>
                    </a:moveTo>
                    <a:lnTo>
                      <a:pt x="865" y="317"/>
                    </a:lnTo>
                    <a:lnTo>
                      <a:pt x="868" y="319"/>
                    </a:lnTo>
                    <a:lnTo>
                      <a:pt x="872" y="319"/>
                    </a:lnTo>
                    <a:lnTo>
                      <a:pt x="872" y="317"/>
                    </a:lnTo>
                    <a:lnTo>
                      <a:pt x="872" y="317"/>
                    </a:lnTo>
                    <a:close/>
                    <a:moveTo>
                      <a:pt x="872" y="334"/>
                    </a:moveTo>
                    <a:lnTo>
                      <a:pt x="870" y="332"/>
                    </a:lnTo>
                    <a:lnTo>
                      <a:pt x="865" y="335"/>
                    </a:lnTo>
                    <a:lnTo>
                      <a:pt x="865" y="337"/>
                    </a:lnTo>
                    <a:lnTo>
                      <a:pt x="868" y="337"/>
                    </a:lnTo>
                    <a:lnTo>
                      <a:pt x="872" y="334"/>
                    </a:lnTo>
                    <a:lnTo>
                      <a:pt x="872" y="334"/>
                    </a:lnTo>
                    <a:lnTo>
                      <a:pt x="872" y="334"/>
                    </a:lnTo>
                    <a:close/>
                    <a:moveTo>
                      <a:pt x="880" y="315"/>
                    </a:moveTo>
                    <a:lnTo>
                      <a:pt x="873" y="320"/>
                    </a:lnTo>
                    <a:lnTo>
                      <a:pt x="873" y="322"/>
                    </a:lnTo>
                    <a:lnTo>
                      <a:pt x="873" y="324"/>
                    </a:lnTo>
                    <a:lnTo>
                      <a:pt x="872" y="325"/>
                    </a:lnTo>
                    <a:lnTo>
                      <a:pt x="872" y="329"/>
                    </a:lnTo>
                    <a:lnTo>
                      <a:pt x="875" y="332"/>
                    </a:lnTo>
                    <a:lnTo>
                      <a:pt x="878" y="330"/>
                    </a:lnTo>
                    <a:lnTo>
                      <a:pt x="883" y="325"/>
                    </a:lnTo>
                    <a:lnTo>
                      <a:pt x="885" y="319"/>
                    </a:lnTo>
                    <a:lnTo>
                      <a:pt x="883" y="315"/>
                    </a:lnTo>
                    <a:lnTo>
                      <a:pt x="885" y="314"/>
                    </a:lnTo>
                    <a:lnTo>
                      <a:pt x="885" y="312"/>
                    </a:lnTo>
                    <a:lnTo>
                      <a:pt x="882" y="312"/>
                    </a:lnTo>
                    <a:lnTo>
                      <a:pt x="880" y="314"/>
                    </a:lnTo>
                    <a:lnTo>
                      <a:pt x="880" y="315"/>
                    </a:lnTo>
                    <a:lnTo>
                      <a:pt x="880" y="315"/>
                    </a:lnTo>
                    <a:close/>
                    <a:moveTo>
                      <a:pt x="844" y="294"/>
                    </a:moveTo>
                    <a:lnTo>
                      <a:pt x="847" y="292"/>
                    </a:lnTo>
                    <a:lnTo>
                      <a:pt x="844" y="290"/>
                    </a:lnTo>
                    <a:lnTo>
                      <a:pt x="844" y="294"/>
                    </a:lnTo>
                    <a:lnTo>
                      <a:pt x="844" y="294"/>
                    </a:lnTo>
                    <a:close/>
                    <a:moveTo>
                      <a:pt x="832" y="300"/>
                    </a:moveTo>
                    <a:lnTo>
                      <a:pt x="830" y="302"/>
                    </a:lnTo>
                    <a:lnTo>
                      <a:pt x="834" y="302"/>
                    </a:lnTo>
                    <a:lnTo>
                      <a:pt x="832" y="300"/>
                    </a:lnTo>
                    <a:lnTo>
                      <a:pt x="832" y="300"/>
                    </a:lnTo>
                    <a:close/>
                    <a:moveTo>
                      <a:pt x="840" y="334"/>
                    </a:moveTo>
                    <a:lnTo>
                      <a:pt x="835" y="335"/>
                    </a:lnTo>
                    <a:lnTo>
                      <a:pt x="839" y="335"/>
                    </a:lnTo>
                    <a:lnTo>
                      <a:pt x="840" y="334"/>
                    </a:lnTo>
                    <a:lnTo>
                      <a:pt x="840" y="334"/>
                    </a:lnTo>
                    <a:close/>
                    <a:moveTo>
                      <a:pt x="834" y="327"/>
                    </a:moveTo>
                    <a:lnTo>
                      <a:pt x="835" y="325"/>
                    </a:lnTo>
                    <a:lnTo>
                      <a:pt x="839" y="327"/>
                    </a:lnTo>
                    <a:lnTo>
                      <a:pt x="840" y="330"/>
                    </a:lnTo>
                    <a:lnTo>
                      <a:pt x="837" y="332"/>
                    </a:lnTo>
                    <a:lnTo>
                      <a:pt x="834" y="329"/>
                    </a:lnTo>
                    <a:lnTo>
                      <a:pt x="834" y="327"/>
                    </a:lnTo>
                    <a:lnTo>
                      <a:pt x="834" y="327"/>
                    </a:lnTo>
                    <a:close/>
                    <a:moveTo>
                      <a:pt x="807" y="312"/>
                    </a:moveTo>
                    <a:lnTo>
                      <a:pt x="809" y="310"/>
                    </a:lnTo>
                    <a:lnTo>
                      <a:pt x="812" y="312"/>
                    </a:lnTo>
                    <a:lnTo>
                      <a:pt x="810" y="314"/>
                    </a:lnTo>
                    <a:lnTo>
                      <a:pt x="807" y="314"/>
                    </a:lnTo>
                    <a:lnTo>
                      <a:pt x="807" y="312"/>
                    </a:lnTo>
                    <a:lnTo>
                      <a:pt x="807" y="312"/>
                    </a:lnTo>
                    <a:close/>
                    <a:moveTo>
                      <a:pt x="812" y="337"/>
                    </a:moveTo>
                    <a:lnTo>
                      <a:pt x="817" y="337"/>
                    </a:lnTo>
                    <a:lnTo>
                      <a:pt x="819" y="339"/>
                    </a:lnTo>
                    <a:lnTo>
                      <a:pt x="815" y="339"/>
                    </a:lnTo>
                    <a:lnTo>
                      <a:pt x="812" y="337"/>
                    </a:lnTo>
                    <a:lnTo>
                      <a:pt x="812" y="337"/>
                    </a:lnTo>
                    <a:close/>
                    <a:moveTo>
                      <a:pt x="775" y="322"/>
                    </a:moveTo>
                    <a:lnTo>
                      <a:pt x="780" y="319"/>
                    </a:lnTo>
                    <a:lnTo>
                      <a:pt x="777" y="319"/>
                    </a:lnTo>
                    <a:lnTo>
                      <a:pt x="775" y="320"/>
                    </a:lnTo>
                    <a:lnTo>
                      <a:pt x="775" y="322"/>
                    </a:lnTo>
                    <a:lnTo>
                      <a:pt x="775" y="322"/>
                    </a:lnTo>
                    <a:close/>
                    <a:moveTo>
                      <a:pt x="789" y="335"/>
                    </a:moveTo>
                    <a:lnTo>
                      <a:pt x="795" y="335"/>
                    </a:lnTo>
                    <a:lnTo>
                      <a:pt x="799" y="334"/>
                    </a:lnTo>
                    <a:lnTo>
                      <a:pt x="799" y="337"/>
                    </a:lnTo>
                    <a:lnTo>
                      <a:pt x="794" y="339"/>
                    </a:lnTo>
                    <a:lnTo>
                      <a:pt x="789" y="337"/>
                    </a:lnTo>
                    <a:lnTo>
                      <a:pt x="789" y="335"/>
                    </a:lnTo>
                    <a:lnTo>
                      <a:pt x="789" y="335"/>
                    </a:lnTo>
                    <a:close/>
                    <a:moveTo>
                      <a:pt x="780" y="337"/>
                    </a:moveTo>
                    <a:lnTo>
                      <a:pt x="784" y="335"/>
                    </a:lnTo>
                    <a:lnTo>
                      <a:pt x="784" y="339"/>
                    </a:lnTo>
                    <a:lnTo>
                      <a:pt x="780" y="337"/>
                    </a:lnTo>
                    <a:lnTo>
                      <a:pt x="780" y="337"/>
                    </a:lnTo>
                    <a:close/>
                    <a:moveTo>
                      <a:pt x="770" y="335"/>
                    </a:moveTo>
                    <a:lnTo>
                      <a:pt x="774" y="334"/>
                    </a:lnTo>
                    <a:lnTo>
                      <a:pt x="775" y="335"/>
                    </a:lnTo>
                    <a:lnTo>
                      <a:pt x="772" y="337"/>
                    </a:lnTo>
                    <a:lnTo>
                      <a:pt x="770" y="335"/>
                    </a:lnTo>
                    <a:lnTo>
                      <a:pt x="770" y="335"/>
                    </a:lnTo>
                    <a:close/>
                    <a:moveTo>
                      <a:pt x="679" y="382"/>
                    </a:moveTo>
                    <a:lnTo>
                      <a:pt x="677" y="385"/>
                    </a:lnTo>
                    <a:lnTo>
                      <a:pt x="681" y="387"/>
                    </a:lnTo>
                    <a:lnTo>
                      <a:pt x="689" y="387"/>
                    </a:lnTo>
                    <a:lnTo>
                      <a:pt x="696" y="383"/>
                    </a:lnTo>
                    <a:lnTo>
                      <a:pt x="699" y="382"/>
                    </a:lnTo>
                    <a:lnTo>
                      <a:pt x="704" y="382"/>
                    </a:lnTo>
                    <a:lnTo>
                      <a:pt x="709" y="378"/>
                    </a:lnTo>
                    <a:lnTo>
                      <a:pt x="711" y="375"/>
                    </a:lnTo>
                    <a:lnTo>
                      <a:pt x="721" y="368"/>
                    </a:lnTo>
                    <a:lnTo>
                      <a:pt x="722" y="367"/>
                    </a:lnTo>
                    <a:lnTo>
                      <a:pt x="726" y="365"/>
                    </a:lnTo>
                    <a:lnTo>
                      <a:pt x="719" y="360"/>
                    </a:lnTo>
                    <a:lnTo>
                      <a:pt x="714" y="355"/>
                    </a:lnTo>
                    <a:lnTo>
                      <a:pt x="712" y="357"/>
                    </a:lnTo>
                    <a:lnTo>
                      <a:pt x="707" y="357"/>
                    </a:lnTo>
                    <a:lnTo>
                      <a:pt x="707" y="363"/>
                    </a:lnTo>
                    <a:lnTo>
                      <a:pt x="704" y="363"/>
                    </a:lnTo>
                    <a:lnTo>
                      <a:pt x="697" y="365"/>
                    </a:lnTo>
                    <a:lnTo>
                      <a:pt x="694" y="362"/>
                    </a:lnTo>
                    <a:lnTo>
                      <a:pt x="692" y="363"/>
                    </a:lnTo>
                    <a:lnTo>
                      <a:pt x="689" y="365"/>
                    </a:lnTo>
                    <a:lnTo>
                      <a:pt x="687" y="370"/>
                    </a:lnTo>
                    <a:lnTo>
                      <a:pt x="682" y="377"/>
                    </a:lnTo>
                    <a:lnTo>
                      <a:pt x="681" y="378"/>
                    </a:lnTo>
                    <a:lnTo>
                      <a:pt x="684" y="380"/>
                    </a:lnTo>
                    <a:lnTo>
                      <a:pt x="684" y="382"/>
                    </a:lnTo>
                    <a:lnTo>
                      <a:pt x="682" y="382"/>
                    </a:lnTo>
                    <a:lnTo>
                      <a:pt x="679" y="382"/>
                    </a:lnTo>
                    <a:lnTo>
                      <a:pt x="679" y="382"/>
                    </a:lnTo>
                    <a:close/>
                    <a:moveTo>
                      <a:pt x="674" y="387"/>
                    </a:moveTo>
                    <a:lnTo>
                      <a:pt x="677" y="382"/>
                    </a:lnTo>
                    <a:lnTo>
                      <a:pt x="674" y="382"/>
                    </a:lnTo>
                    <a:lnTo>
                      <a:pt x="672" y="385"/>
                    </a:lnTo>
                    <a:lnTo>
                      <a:pt x="674" y="387"/>
                    </a:lnTo>
                    <a:lnTo>
                      <a:pt x="674" y="387"/>
                    </a:lnTo>
                    <a:close/>
                    <a:moveTo>
                      <a:pt x="676" y="388"/>
                    </a:moveTo>
                    <a:lnTo>
                      <a:pt x="671" y="392"/>
                    </a:lnTo>
                    <a:lnTo>
                      <a:pt x="672" y="392"/>
                    </a:lnTo>
                    <a:lnTo>
                      <a:pt x="664" y="395"/>
                    </a:lnTo>
                    <a:lnTo>
                      <a:pt x="661" y="398"/>
                    </a:lnTo>
                    <a:lnTo>
                      <a:pt x="664" y="398"/>
                    </a:lnTo>
                    <a:lnTo>
                      <a:pt x="676" y="395"/>
                    </a:lnTo>
                    <a:lnTo>
                      <a:pt x="676" y="392"/>
                    </a:lnTo>
                    <a:lnTo>
                      <a:pt x="676" y="388"/>
                    </a:lnTo>
                    <a:lnTo>
                      <a:pt x="676" y="388"/>
                    </a:lnTo>
                    <a:close/>
                    <a:moveTo>
                      <a:pt x="639" y="388"/>
                    </a:moveTo>
                    <a:lnTo>
                      <a:pt x="643" y="390"/>
                    </a:lnTo>
                    <a:lnTo>
                      <a:pt x="643" y="392"/>
                    </a:lnTo>
                    <a:lnTo>
                      <a:pt x="639" y="393"/>
                    </a:lnTo>
                    <a:lnTo>
                      <a:pt x="634" y="393"/>
                    </a:lnTo>
                    <a:lnTo>
                      <a:pt x="638" y="390"/>
                    </a:lnTo>
                    <a:lnTo>
                      <a:pt x="639" y="388"/>
                    </a:lnTo>
                    <a:lnTo>
                      <a:pt x="639" y="388"/>
                    </a:lnTo>
                    <a:close/>
                    <a:moveTo>
                      <a:pt x="569" y="365"/>
                    </a:moveTo>
                    <a:lnTo>
                      <a:pt x="579" y="360"/>
                    </a:lnTo>
                    <a:lnTo>
                      <a:pt x="586" y="365"/>
                    </a:lnTo>
                    <a:lnTo>
                      <a:pt x="591" y="365"/>
                    </a:lnTo>
                    <a:lnTo>
                      <a:pt x="594" y="362"/>
                    </a:lnTo>
                    <a:lnTo>
                      <a:pt x="601" y="365"/>
                    </a:lnTo>
                    <a:lnTo>
                      <a:pt x="603" y="368"/>
                    </a:lnTo>
                    <a:lnTo>
                      <a:pt x="608" y="368"/>
                    </a:lnTo>
                    <a:lnTo>
                      <a:pt x="611" y="373"/>
                    </a:lnTo>
                    <a:lnTo>
                      <a:pt x="614" y="378"/>
                    </a:lnTo>
                    <a:lnTo>
                      <a:pt x="616" y="380"/>
                    </a:lnTo>
                    <a:lnTo>
                      <a:pt x="609" y="383"/>
                    </a:lnTo>
                    <a:lnTo>
                      <a:pt x="603" y="383"/>
                    </a:lnTo>
                    <a:lnTo>
                      <a:pt x="596" y="382"/>
                    </a:lnTo>
                    <a:lnTo>
                      <a:pt x="593" y="377"/>
                    </a:lnTo>
                    <a:lnTo>
                      <a:pt x="589" y="375"/>
                    </a:lnTo>
                    <a:lnTo>
                      <a:pt x="584" y="372"/>
                    </a:lnTo>
                    <a:lnTo>
                      <a:pt x="579" y="372"/>
                    </a:lnTo>
                    <a:lnTo>
                      <a:pt x="573" y="372"/>
                    </a:lnTo>
                    <a:lnTo>
                      <a:pt x="569" y="368"/>
                    </a:lnTo>
                    <a:lnTo>
                      <a:pt x="569" y="365"/>
                    </a:lnTo>
                    <a:lnTo>
                      <a:pt x="569" y="365"/>
                    </a:lnTo>
                    <a:close/>
                    <a:moveTo>
                      <a:pt x="495" y="315"/>
                    </a:moveTo>
                    <a:lnTo>
                      <a:pt x="498" y="315"/>
                    </a:lnTo>
                    <a:lnTo>
                      <a:pt x="500" y="314"/>
                    </a:lnTo>
                    <a:lnTo>
                      <a:pt x="498" y="315"/>
                    </a:lnTo>
                    <a:lnTo>
                      <a:pt x="495" y="315"/>
                    </a:lnTo>
                    <a:lnTo>
                      <a:pt x="495" y="315"/>
                    </a:lnTo>
                    <a:lnTo>
                      <a:pt x="495" y="315"/>
                    </a:lnTo>
                    <a:close/>
                    <a:moveTo>
                      <a:pt x="480" y="309"/>
                    </a:moveTo>
                    <a:lnTo>
                      <a:pt x="483" y="310"/>
                    </a:lnTo>
                    <a:lnTo>
                      <a:pt x="486" y="307"/>
                    </a:lnTo>
                    <a:lnTo>
                      <a:pt x="490" y="309"/>
                    </a:lnTo>
                    <a:lnTo>
                      <a:pt x="491" y="309"/>
                    </a:lnTo>
                    <a:lnTo>
                      <a:pt x="490" y="307"/>
                    </a:lnTo>
                    <a:lnTo>
                      <a:pt x="486" y="305"/>
                    </a:lnTo>
                    <a:lnTo>
                      <a:pt x="481" y="305"/>
                    </a:lnTo>
                    <a:lnTo>
                      <a:pt x="480" y="307"/>
                    </a:lnTo>
                    <a:lnTo>
                      <a:pt x="480" y="309"/>
                    </a:lnTo>
                    <a:lnTo>
                      <a:pt x="480" y="309"/>
                    </a:lnTo>
                    <a:close/>
                    <a:moveTo>
                      <a:pt x="741" y="330"/>
                    </a:moveTo>
                    <a:lnTo>
                      <a:pt x="746" y="327"/>
                    </a:lnTo>
                    <a:lnTo>
                      <a:pt x="754" y="329"/>
                    </a:lnTo>
                    <a:lnTo>
                      <a:pt x="756" y="330"/>
                    </a:lnTo>
                    <a:lnTo>
                      <a:pt x="757" y="329"/>
                    </a:lnTo>
                    <a:lnTo>
                      <a:pt x="760" y="327"/>
                    </a:lnTo>
                    <a:lnTo>
                      <a:pt x="764" y="325"/>
                    </a:lnTo>
                    <a:lnTo>
                      <a:pt x="764" y="322"/>
                    </a:lnTo>
                    <a:lnTo>
                      <a:pt x="760" y="320"/>
                    </a:lnTo>
                    <a:lnTo>
                      <a:pt x="756" y="324"/>
                    </a:lnTo>
                    <a:lnTo>
                      <a:pt x="747" y="324"/>
                    </a:lnTo>
                    <a:lnTo>
                      <a:pt x="746" y="322"/>
                    </a:lnTo>
                    <a:lnTo>
                      <a:pt x="742" y="324"/>
                    </a:lnTo>
                    <a:lnTo>
                      <a:pt x="741" y="329"/>
                    </a:lnTo>
                    <a:lnTo>
                      <a:pt x="741" y="330"/>
                    </a:lnTo>
                    <a:lnTo>
                      <a:pt x="741" y="330"/>
                    </a:lnTo>
                    <a:close/>
                    <a:moveTo>
                      <a:pt x="732" y="335"/>
                    </a:moveTo>
                    <a:lnTo>
                      <a:pt x="731" y="339"/>
                    </a:lnTo>
                    <a:lnTo>
                      <a:pt x="732" y="339"/>
                    </a:lnTo>
                    <a:lnTo>
                      <a:pt x="734" y="337"/>
                    </a:lnTo>
                    <a:lnTo>
                      <a:pt x="732" y="335"/>
                    </a:lnTo>
                    <a:lnTo>
                      <a:pt x="732" y="335"/>
                    </a:lnTo>
                    <a:close/>
                    <a:moveTo>
                      <a:pt x="711" y="335"/>
                    </a:moveTo>
                    <a:lnTo>
                      <a:pt x="706" y="337"/>
                    </a:lnTo>
                    <a:lnTo>
                      <a:pt x="707" y="339"/>
                    </a:lnTo>
                    <a:lnTo>
                      <a:pt x="706" y="340"/>
                    </a:lnTo>
                    <a:lnTo>
                      <a:pt x="707" y="342"/>
                    </a:lnTo>
                    <a:lnTo>
                      <a:pt x="711" y="344"/>
                    </a:lnTo>
                    <a:lnTo>
                      <a:pt x="719" y="340"/>
                    </a:lnTo>
                    <a:lnTo>
                      <a:pt x="722" y="337"/>
                    </a:lnTo>
                    <a:lnTo>
                      <a:pt x="719" y="335"/>
                    </a:lnTo>
                    <a:lnTo>
                      <a:pt x="712" y="337"/>
                    </a:lnTo>
                    <a:lnTo>
                      <a:pt x="711" y="335"/>
                    </a:lnTo>
                    <a:lnTo>
                      <a:pt x="711" y="335"/>
                    </a:lnTo>
                    <a:close/>
                    <a:moveTo>
                      <a:pt x="694" y="344"/>
                    </a:moveTo>
                    <a:lnTo>
                      <a:pt x="697" y="344"/>
                    </a:lnTo>
                    <a:lnTo>
                      <a:pt x="699" y="345"/>
                    </a:lnTo>
                    <a:lnTo>
                      <a:pt x="702" y="342"/>
                    </a:lnTo>
                    <a:lnTo>
                      <a:pt x="702" y="340"/>
                    </a:lnTo>
                    <a:lnTo>
                      <a:pt x="701" y="342"/>
                    </a:lnTo>
                    <a:lnTo>
                      <a:pt x="696" y="342"/>
                    </a:lnTo>
                    <a:lnTo>
                      <a:pt x="694" y="344"/>
                    </a:lnTo>
                    <a:lnTo>
                      <a:pt x="694" y="344"/>
                    </a:lnTo>
                    <a:close/>
                    <a:moveTo>
                      <a:pt x="677" y="345"/>
                    </a:moveTo>
                    <a:lnTo>
                      <a:pt x="682" y="342"/>
                    </a:lnTo>
                    <a:lnTo>
                      <a:pt x="682" y="340"/>
                    </a:lnTo>
                    <a:lnTo>
                      <a:pt x="684" y="339"/>
                    </a:lnTo>
                    <a:lnTo>
                      <a:pt x="687" y="340"/>
                    </a:lnTo>
                    <a:lnTo>
                      <a:pt x="691" y="339"/>
                    </a:lnTo>
                    <a:lnTo>
                      <a:pt x="692" y="339"/>
                    </a:lnTo>
                    <a:lnTo>
                      <a:pt x="687" y="344"/>
                    </a:lnTo>
                    <a:lnTo>
                      <a:pt x="686" y="345"/>
                    </a:lnTo>
                    <a:lnTo>
                      <a:pt x="681" y="347"/>
                    </a:lnTo>
                    <a:lnTo>
                      <a:pt x="677" y="345"/>
                    </a:lnTo>
                    <a:lnTo>
                      <a:pt x="677" y="345"/>
                    </a:lnTo>
                    <a:close/>
                    <a:moveTo>
                      <a:pt x="674" y="344"/>
                    </a:moveTo>
                    <a:lnTo>
                      <a:pt x="669" y="345"/>
                    </a:lnTo>
                    <a:lnTo>
                      <a:pt x="667" y="349"/>
                    </a:lnTo>
                    <a:lnTo>
                      <a:pt x="671" y="345"/>
                    </a:lnTo>
                    <a:lnTo>
                      <a:pt x="674" y="344"/>
                    </a:lnTo>
                    <a:lnTo>
                      <a:pt x="674" y="344"/>
                    </a:lnTo>
                    <a:close/>
                    <a:moveTo>
                      <a:pt x="677" y="337"/>
                    </a:moveTo>
                    <a:lnTo>
                      <a:pt x="674" y="340"/>
                    </a:lnTo>
                    <a:lnTo>
                      <a:pt x="676" y="340"/>
                    </a:lnTo>
                    <a:lnTo>
                      <a:pt x="677" y="339"/>
                    </a:lnTo>
                    <a:lnTo>
                      <a:pt x="677" y="337"/>
                    </a:lnTo>
                    <a:lnTo>
                      <a:pt x="677" y="337"/>
                    </a:lnTo>
                    <a:close/>
                    <a:moveTo>
                      <a:pt x="591" y="347"/>
                    </a:moveTo>
                    <a:lnTo>
                      <a:pt x="591" y="347"/>
                    </a:lnTo>
                    <a:lnTo>
                      <a:pt x="593" y="342"/>
                    </a:lnTo>
                    <a:lnTo>
                      <a:pt x="599" y="339"/>
                    </a:lnTo>
                    <a:lnTo>
                      <a:pt x="611" y="337"/>
                    </a:lnTo>
                    <a:lnTo>
                      <a:pt x="618" y="339"/>
                    </a:lnTo>
                    <a:lnTo>
                      <a:pt x="621" y="339"/>
                    </a:lnTo>
                    <a:lnTo>
                      <a:pt x="626" y="340"/>
                    </a:lnTo>
                    <a:lnTo>
                      <a:pt x="633" y="344"/>
                    </a:lnTo>
                    <a:lnTo>
                      <a:pt x="638" y="342"/>
                    </a:lnTo>
                    <a:lnTo>
                      <a:pt x="646" y="342"/>
                    </a:lnTo>
                    <a:lnTo>
                      <a:pt x="649" y="344"/>
                    </a:lnTo>
                    <a:lnTo>
                      <a:pt x="654" y="344"/>
                    </a:lnTo>
                    <a:lnTo>
                      <a:pt x="658" y="340"/>
                    </a:lnTo>
                    <a:lnTo>
                      <a:pt x="661" y="339"/>
                    </a:lnTo>
                    <a:lnTo>
                      <a:pt x="664" y="335"/>
                    </a:lnTo>
                    <a:lnTo>
                      <a:pt x="662" y="335"/>
                    </a:lnTo>
                    <a:lnTo>
                      <a:pt x="666" y="332"/>
                    </a:lnTo>
                    <a:lnTo>
                      <a:pt x="671" y="334"/>
                    </a:lnTo>
                    <a:lnTo>
                      <a:pt x="672" y="339"/>
                    </a:lnTo>
                    <a:lnTo>
                      <a:pt x="669" y="342"/>
                    </a:lnTo>
                    <a:lnTo>
                      <a:pt x="666" y="344"/>
                    </a:lnTo>
                    <a:lnTo>
                      <a:pt x="662" y="347"/>
                    </a:lnTo>
                    <a:lnTo>
                      <a:pt x="658" y="347"/>
                    </a:lnTo>
                    <a:lnTo>
                      <a:pt x="656" y="350"/>
                    </a:lnTo>
                    <a:lnTo>
                      <a:pt x="653" y="349"/>
                    </a:lnTo>
                    <a:lnTo>
                      <a:pt x="644" y="349"/>
                    </a:lnTo>
                    <a:lnTo>
                      <a:pt x="638" y="352"/>
                    </a:lnTo>
                    <a:lnTo>
                      <a:pt x="631" y="350"/>
                    </a:lnTo>
                    <a:lnTo>
                      <a:pt x="624" y="352"/>
                    </a:lnTo>
                    <a:lnTo>
                      <a:pt x="624" y="353"/>
                    </a:lnTo>
                    <a:lnTo>
                      <a:pt x="621" y="353"/>
                    </a:lnTo>
                    <a:lnTo>
                      <a:pt x="618" y="352"/>
                    </a:lnTo>
                    <a:lnTo>
                      <a:pt x="613" y="353"/>
                    </a:lnTo>
                    <a:lnTo>
                      <a:pt x="611" y="352"/>
                    </a:lnTo>
                    <a:lnTo>
                      <a:pt x="606" y="350"/>
                    </a:lnTo>
                    <a:lnTo>
                      <a:pt x="603" y="352"/>
                    </a:lnTo>
                    <a:lnTo>
                      <a:pt x="599" y="350"/>
                    </a:lnTo>
                    <a:lnTo>
                      <a:pt x="596" y="350"/>
                    </a:lnTo>
                    <a:lnTo>
                      <a:pt x="593" y="350"/>
                    </a:lnTo>
                    <a:lnTo>
                      <a:pt x="591" y="347"/>
                    </a:lnTo>
                    <a:lnTo>
                      <a:pt x="591" y="347"/>
                    </a:lnTo>
                    <a:close/>
                    <a:moveTo>
                      <a:pt x="588" y="345"/>
                    </a:moveTo>
                    <a:lnTo>
                      <a:pt x="586" y="350"/>
                    </a:lnTo>
                    <a:lnTo>
                      <a:pt x="589" y="350"/>
                    </a:lnTo>
                    <a:lnTo>
                      <a:pt x="589" y="347"/>
                    </a:lnTo>
                    <a:lnTo>
                      <a:pt x="588" y="345"/>
                    </a:lnTo>
                    <a:lnTo>
                      <a:pt x="588" y="345"/>
                    </a:lnTo>
                    <a:close/>
                    <a:moveTo>
                      <a:pt x="586" y="344"/>
                    </a:moveTo>
                    <a:lnTo>
                      <a:pt x="581" y="342"/>
                    </a:lnTo>
                    <a:lnTo>
                      <a:pt x="579" y="347"/>
                    </a:lnTo>
                    <a:lnTo>
                      <a:pt x="583" y="350"/>
                    </a:lnTo>
                    <a:lnTo>
                      <a:pt x="583" y="345"/>
                    </a:lnTo>
                    <a:lnTo>
                      <a:pt x="586" y="344"/>
                    </a:lnTo>
                    <a:lnTo>
                      <a:pt x="586" y="344"/>
                    </a:lnTo>
                    <a:close/>
                    <a:moveTo>
                      <a:pt x="516" y="347"/>
                    </a:moveTo>
                    <a:lnTo>
                      <a:pt x="515" y="349"/>
                    </a:lnTo>
                    <a:lnTo>
                      <a:pt x="516" y="350"/>
                    </a:lnTo>
                    <a:lnTo>
                      <a:pt x="516" y="353"/>
                    </a:lnTo>
                    <a:lnTo>
                      <a:pt x="518" y="355"/>
                    </a:lnTo>
                    <a:lnTo>
                      <a:pt x="523" y="357"/>
                    </a:lnTo>
                    <a:lnTo>
                      <a:pt x="528" y="355"/>
                    </a:lnTo>
                    <a:lnTo>
                      <a:pt x="531" y="357"/>
                    </a:lnTo>
                    <a:lnTo>
                      <a:pt x="538" y="355"/>
                    </a:lnTo>
                    <a:lnTo>
                      <a:pt x="540" y="353"/>
                    </a:lnTo>
                    <a:lnTo>
                      <a:pt x="543" y="353"/>
                    </a:lnTo>
                    <a:lnTo>
                      <a:pt x="550" y="352"/>
                    </a:lnTo>
                    <a:lnTo>
                      <a:pt x="555" y="353"/>
                    </a:lnTo>
                    <a:lnTo>
                      <a:pt x="560" y="349"/>
                    </a:lnTo>
                    <a:lnTo>
                      <a:pt x="561" y="352"/>
                    </a:lnTo>
                    <a:lnTo>
                      <a:pt x="564" y="352"/>
                    </a:lnTo>
                    <a:lnTo>
                      <a:pt x="571" y="352"/>
                    </a:lnTo>
                    <a:lnTo>
                      <a:pt x="569" y="350"/>
                    </a:lnTo>
                    <a:lnTo>
                      <a:pt x="574" y="350"/>
                    </a:lnTo>
                    <a:lnTo>
                      <a:pt x="576" y="345"/>
                    </a:lnTo>
                    <a:lnTo>
                      <a:pt x="574" y="347"/>
                    </a:lnTo>
                    <a:lnTo>
                      <a:pt x="573" y="344"/>
                    </a:lnTo>
                    <a:lnTo>
                      <a:pt x="573" y="340"/>
                    </a:lnTo>
                    <a:lnTo>
                      <a:pt x="568" y="339"/>
                    </a:lnTo>
                    <a:lnTo>
                      <a:pt x="568" y="342"/>
                    </a:lnTo>
                    <a:lnTo>
                      <a:pt x="566" y="342"/>
                    </a:lnTo>
                    <a:lnTo>
                      <a:pt x="566" y="339"/>
                    </a:lnTo>
                    <a:lnTo>
                      <a:pt x="561" y="337"/>
                    </a:lnTo>
                    <a:lnTo>
                      <a:pt x="556" y="339"/>
                    </a:lnTo>
                    <a:lnTo>
                      <a:pt x="551" y="335"/>
                    </a:lnTo>
                    <a:lnTo>
                      <a:pt x="548" y="334"/>
                    </a:lnTo>
                    <a:lnTo>
                      <a:pt x="541" y="337"/>
                    </a:lnTo>
                    <a:lnTo>
                      <a:pt x="541" y="339"/>
                    </a:lnTo>
                    <a:lnTo>
                      <a:pt x="551" y="342"/>
                    </a:lnTo>
                    <a:lnTo>
                      <a:pt x="555" y="347"/>
                    </a:lnTo>
                    <a:lnTo>
                      <a:pt x="548" y="347"/>
                    </a:lnTo>
                    <a:lnTo>
                      <a:pt x="545" y="349"/>
                    </a:lnTo>
                    <a:lnTo>
                      <a:pt x="540" y="345"/>
                    </a:lnTo>
                    <a:lnTo>
                      <a:pt x="538" y="342"/>
                    </a:lnTo>
                    <a:lnTo>
                      <a:pt x="535" y="340"/>
                    </a:lnTo>
                    <a:lnTo>
                      <a:pt x="531" y="342"/>
                    </a:lnTo>
                    <a:lnTo>
                      <a:pt x="526" y="340"/>
                    </a:lnTo>
                    <a:lnTo>
                      <a:pt x="520" y="344"/>
                    </a:lnTo>
                    <a:lnTo>
                      <a:pt x="520" y="344"/>
                    </a:lnTo>
                    <a:lnTo>
                      <a:pt x="516" y="347"/>
                    </a:lnTo>
                    <a:lnTo>
                      <a:pt x="516" y="347"/>
                    </a:lnTo>
                    <a:close/>
                    <a:moveTo>
                      <a:pt x="501" y="342"/>
                    </a:moveTo>
                    <a:lnTo>
                      <a:pt x="506" y="339"/>
                    </a:lnTo>
                    <a:lnTo>
                      <a:pt x="515" y="340"/>
                    </a:lnTo>
                    <a:lnTo>
                      <a:pt x="513" y="345"/>
                    </a:lnTo>
                    <a:lnTo>
                      <a:pt x="511" y="349"/>
                    </a:lnTo>
                    <a:lnTo>
                      <a:pt x="511" y="352"/>
                    </a:lnTo>
                    <a:lnTo>
                      <a:pt x="508" y="350"/>
                    </a:lnTo>
                    <a:lnTo>
                      <a:pt x="503" y="352"/>
                    </a:lnTo>
                    <a:lnTo>
                      <a:pt x="496" y="350"/>
                    </a:lnTo>
                    <a:lnTo>
                      <a:pt x="495" y="349"/>
                    </a:lnTo>
                    <a:lnTo>
                      <a:pt x="496" y="347"/>
                    </a:lnTo>
                    <a:lnTo>
                      <a:pt x="501" y="347"/>
                    </a:lnTo>
                    <a:lnTo>
                      <a:pt x="501" y="342"/>
                    </a:lnTo>
                    <a:lnTo>
                      <a:pt x="501" y="342"/>
                    </a:lnTo>
                    <a:close/>
                    <a:moveTo>
                      <a:pt x="486" y="349"/>
                    </a:moveTo>
                    <a:lnTo>
                      <a:pt x="488" y="345"/>
                    </a:lnTo>
                    <a:lnTo>
                      <a:pt x="490" y="349"/>
                    </a:lnTo>
                    <a:lnTo>
                      <a:pt x="488" y="350"/>
                    </a:lnTo>
                    <a:lnTo>
                      <a:pt x="486" y="349"/>
                    </a:lnTo>
                    <a:lnTo>
                      <a:pt x="486" y="349"/>
                    </a:lnTo>
                    <a:close/>
                    <a:moveTo>
                      <a:pt x="463" y="335"/>
                    </a:moveTo>
                    <a:lnTo>
                      <a:pt x="463" y="339"/>
                    </a:lnTo>
                    <a:lnTo>
                      <a:pt x="465" y="340"/>
                    </a:lnTo>
                    <a:lnTo>
                      <a:pt x="471" y="342"/>
                    </a:lnTo>
                    <a:lnTo>
                      <a:pt x="478" y="347"/>
                    </a:lnTo>
                    <a:lnTo>
                      <a:pt x="480" y="349"/>
                    </a:lnTo>
                    <a:lnTo>
                      <a:pt x="481" y="345"/>
                    </a:lnTo>
                    <a:lnTo>
                      <a:pt x="485" y="344"/>
                    </a:lnTo>
                    <a:lnTo>
                      <a:pt x="486" y="342"/>
                    </a:lnTo>
                    <a:lnTo>
                      <a:pt x="491" y="342"/>
                    </a:lnTo>
                    <a:lnTo>
                      <a:pt x="493" y="339"/>
                    </a:lnTo>
                    <a:lnTo>
                      <a:pt x="486" y="334"/>
                    </a:lnTo>
                    <a:lnTo>
                      <a:pt x="481" y="332"/>
                    </a:lnTo>
                    <a:lnTo>
                      <a:pt x="475" y="335"/>
                    </a:lnTo>
                    <a:lnTo>
                      <a:pt x="468" y="334"/>
                    </a:lnTo>
                    <a:lnTo>
                      <a:pt x="463" y="335"/>
                    </a:lnTo>
                    <a:lnTo>
                      <a:pt x="463" y="335"/>
                    </a:lnTo>
                    <a:close/>
                    <a:moveTo>
                      <a:pt x="1051" y="339"/>
                    </a:moveTo>
                    <a:lnTo>
                      <a:pt x="1053" y="339"/>
                    </a:lnTo>
                    <a:lnTo>
                      <a:pt x="1058" y="340"/>
                    </a:lnTo>
                    <a:lnTo>
                      <a:pt x="1059" y="339"/>
                    </a:lnTo>
                    <a:lnTo>
                      <a:pt x="1058" y="334"/>
                    </a:lnTo>
                    <a:lnTo>
                      <a:pt x="1056" y="334"/>
                    </a:lnTo>
                    <a:lnTo>
                      <a:pt x="1053" y="334"/>
                    </a:lnTo>
                    <a:lnTo>
                      <a:pt x="1051" y="339"/>
                    </a:lnTo>
                    <a:lnTo>
                      <a:pt x="1051" y="339"/>
                    </a:lnTo>
                    <a:close/>
                    <a:moveTo>
                      <a:pt x="1028" y="339"/>
                    </a:moveTo>
                    <a:lnTo>
                      <a:pt x="1028" y="339"/>
                    </a:lnTo>
                    <a:lnTo>
                      <a:pt x="1036" y="339"/>
                    </a:lnTo>
                    <a:lnTo>
                      <a:pt x="1040" y="337"/>
                    </a:lnTo>
                    <a:lnTo>
                      <a:pt x="1046" y="339"/>
                    </a:lnTo>
                    <a:lnTo>
                      <a:pt x="1050" y="337"/>
                    </a:lnTo>
                    <a:lnTo>
                      <a:pt x="1053" y="332"/>
                    </a:lnTo>
                    <a:lnTo>
                      <a:pt x="1056" y="332"/>
                    </a:lnTo>
                    <a:lnTo>
                      <a:pt x="1058" y="330"/>
                    </a:lnTo>
                    <a:lnTo>
                      <a:pt x="1058" y="327"/>
                    </a:lnTo>
                    <a:lnTo>
                      <a:pt x="1059" y="327"/>
                    </a:lnTo>
                    <a:lnTo>
                      <a:pt x="1061" y="322"/>
                    </a:lnTo>
                    <a:lnTo>
                      <a:pt x="1061" y="320"/>
                    </a:lnTo>
                    <a:lnTo>
                      <a:pt x="1058" y="319"/>
                    </a:lnTo>
                    <a:lnTo>
                      <a:pt x="1056" y="317"/>
                    </a:lnTo>
                    <a:lnTo>
                      <a:pt x="1048" y="317"/>
                    </a:lnTo>
                    <a:lnTo>
                      <a:pt x="1043" y="319"/>
                    </a:lnTo>
                    <a:lnTo>
                      <a:pt x="1040" y="325"/>
                    </a:lnTo>
                    <a:lnTo>
                      <a:pt x="1038" y="330"/>
                    </a:lnTo>
                    <a:lnTo>
                      <a:pt x="1028" y="339"/>
                    </a:lnTo>
                    <a:lnTo>
                      <a:pt x="1028" y="339"/>
                    </a:lnTo>
                    <a:close/>
                    <a:moveTo>
                      <a:pt x="427" y="305"/>
                    </a:moveTo>
                    <a:lnTo>
                      <a:pt x="423" y="310"/>
                    </a:lnTo>
                    <a:lnTo>
                      <a:pt x="428" y="314"/>
                    </a:lnTo>
                    <a:lnTo>
                      <a:pt x="432" y="315"/>
                    </a:lnTo>
                    <a:lnTo>
                      <a:pt x="435" y="314"/>
                    </a:lnTo>
                    <a:lnTo>
                      <a:pt x="443" y="314"/>
                    </a:lnTo>
                    <a:lnTo>
                      <a:pt x="447" y="312"/>
                    </a:lnTo>
                    <a:lnTo>
                      <a:pt x="452" y="312"/>
                    </a:lnTo>
                    <a:lnTo>
                      <a:pt x="455" y="309"/>
                    </a:lnTo>
                    <a:lnTo>
                      <a:pt x="452" y="307"/>
                    </a:lnTo>
                    <a:lnTo>
                      <a:pt x="445" y="309"/>
                    </a:lnTo>
                    <a:lnTo>
                      <a:pt x="442" y="307"/>
                    </a:lnTo>
                    <a:lnTo>
                      <a:pt x="428" y="307"/>
                    </a:lnTo>
                    <a:lnTo>
                      <a:pt x="427" y="305"/>
                    </a:lnTo>
                    <a:lnTo>
                      <a:pt x="427" y="305"/>
                    </a:lnTo>
                    <a:close/>
                    <a:moveTo>
                      <a:pt x="244" y="299"/>
                    </a:moveTo>
                    <a:lnTo>
                      <a:pt x="244" y="300"/>
                    </a:lnTo>
                    <a:lnTo>
                      <a:pt x="246" y="300"/>
                    </a:lnTo>
                    <a:lnTo>
                      <a:pt x="246" y="299"/>
                    </a:lnTo>
                    <a:lnTo>
                      <a:pt x="244" y="299"/>
                    </a:lnTo>
                    <a:lnTo>
                      <a:pt x="244" y="299"/>
                    </a:lnTo>
                    <a:close/>
                    <a:moveTo>
                      <a:pt x="247" y="302"/>
                    </a:moveTo>
                    <a:lnTo>
                      <a:pt x="249" y="304"/>
                    </a:lnTo>
                    <a:lnTo>
                      <a:pt x="252" y="302"/>
                    </a:lnTo>
                    <a:lnTo>
                      <a:pt x="254" y="297"/>
                    </a:lnTo>
                    <a:lnTo>
                      <a:pt x="259" y="297"/>
                    </a:lnTo>
                    <a:lnTo>
                      <a:pt x="261" y="292"/>
                    </a:lnTo>
                    <a:lnTo>
                      <a:pt x="261" y="287"/>
                    </a:lnTo>
                    <a:lnTo>
                      <a:pt x="265" y="282"/>
                    </a:lnTo>
                    <a:lnTo>
                      <a:pt x="267" y="284"/>
                    </a:lnTo>
                    <a:lnTo>
                      <a:pt x="274" y="284"/>
                    </a:lnTo>
                    <a:lnTo>
                      <a:pt x="280" y="285"/>
                    </a:lnTo>
                    <a:lnTo>
                      <a:pt x="285" y="289"/>
                    </a:lnTo>
                    <a:lnTo>
                      <a:pt x="287" y="287"/>
                    </a:lnTo>
                    <a:lnTo>
                      <a:pt x="289" y="284"/>
                    </a:lnTo>
                    <a:lnTo>
                      <a:pt x="297" y="285"/>
                    </a:lnTo>
                    <a:lnTo>
                      <a:pt x="300" y="289"/>
                    </a:lnTo>
                    <a:lnTo>
                      <a:pt x="310" y="290"/>
                    </a:lnTo>
                    <a:lnTo>
                      <a:pt x="320" y="290"/>
                    </a:lnTo>
                    <a:lnTo>
                      <a:pt x="324" y="295"/>
                    </a:lnTo>
                    <a:lnTo>
                      <a:pt x="322" y="300"/>
                    </a:lnTo>
                    <a:lnTo>
                      <a:pt x="324" y="302"/>
                    </a:lnTo>
                    <a:lnTo>
                      <a:pt x="332" y="305"/>
                    </a:lnTo>
                    <a:lnTo>
                      <a:pt x="347" y="305"/>
                    </a:lnTo>
                    <a:lnTo>
                      <a:pt x="360" y="307"/>
                    </a:lnTo>
                    <a:lnTo>
                      <a:pt x="370" y="305"/>
                    </a:lnTo>
                    <a:lnTo>
                      <a:pt x="373" y="302"/>
                    </a:lnTo>
                    <a:lnTo>
                      <a:pt x="375" y="294"/>
                    </a:lnTo>
                    <a:lnTo>
                      <a:pt x="380" y="292"/>
                    </a:lnTo>
                    <a:lnTo>
                      <a:pt x="385" y="299"/>
                    </a:lnTo>
                    <a:lnTo>
                      <a:pt x="390" y="299"/>
                    </a:lnTo>
                    <a:lnTo>
                      <a:pt x="393" y="297"/>
                    </a:lnTo>
                    <a:lnTo>
                      <a:pt x="397" y="300"/>
                    </a:lnTo>
                    <a:lnTo>
                      <a:pt x="402" y="304"/>
                    </a:lnTo>
                    <a:lnTo>
                      <a:pt x="407" y="304"/>
                    </a:lnTo>
                    <a:lnTo>
                      <a:pt x="410" y="307"/>
                    </a:lnTo>
                    <a:lnTo>
                      <a:pt x="413" y="305"/>
                    </a:lnTo>
                    <a:lnTo>
                      <a:pt x="420" y="305"/>
                    </a:lnTo>
                    <a:lnTo>
                      <a:pt x="420" y="312"/>
                    </a:lnTo>
                    <a:lnTo>
                      <a:pt x="425" y="317"/>
                    </a:lnTo>
                    <a:lnTo>
                      <a:pt x="425" y="320"/>
                    </a:lnTo>
                    <a:lnTo>
                      <a:pt x="428" y="324"/>
                    </a:lnTo>
                    <a:lnTo>
                      <a:pt x="433" y="325"/>
                    </a:lnTo>
                    <a:lnTo>
                      <a:pt x="438" y="324"/>
                    </a:lnTo>
                    <a:lnTo>
                      <a:pt x="443" y="325"/>
                    </a:lnTo>
                    <a:lnTo>
                      <a:pt x="447" y="325"/>
                    </a:lnTo>
                    <a:lnTo>
                      <a:pt x="450" y="324"/>
                    </a:lnTo>
                    <a:lnTo>
                      <a:pt x="453" y="324"/>
                    </a:lnTo>
                    <a:lnTo>
                      <a:pt x="455" y="325"/>
                    </a:lnTo>
                    <a:lnTo>
                      <a:pt x="458" y="325"/>
                    </a:lnTo>
                    <a:lnTo>
                      <a:pt x="462" y="329"/>
                    </a:lnTo>
                    <a:lnTo>
                      <a:pt x="460" y="339"/>
                    </a:lnTo>
                    <a:lnTo>
                      <a:pt x="458" y="342"/>
                    </a:lnTo>
                    <a:lnTo>
                      <a:pt x="460" y="344"/>
                    </a:lnTo>
                    <a:lnTo>
                      <a:pt x="462" y="350"/>
                    </a:lnTo>
                    <a:lnTo>
                      <a:pt x="458" y="350"/>
                    </a:lnTo>
                    <a:lnTo>
                      <a:pt x="455" y="347"/>
                    </a:lnTo>
                    <a:lnTo>
                      <a:pt x="450" y="347"/>
                    </a:lnTo>
                    <a:lnTo>
                      <a:pt x="443" y="344"/>
                    </a:lnTo>
                    <a:lnTo>
                      <a:pt x="438" y="342"/>
                    </a:lnTo>
                    <a:lnTo>
                      <a:pt x="435" y="337"/>
                    </a:lnTo>
                    <a:lnTo>
                      <a:pt x="430" y="337"/>
                    </a:lnTo>
                    <a:lnTo>
                      <a:pt x="423" y="340"/>
                    </a:lnTo>
                    <a:lnTo>
                      <a:pt x="417" y="340"/>
                    </a:lnTo>
                    <a:lnTo>
                      <a:pt x="410" y="337"/>
                    </a:lnTo>
                    <a:lnTo>
                      <a:pt x="403" y="337"/>
                    </a:lnTo>
                    <a:lnTo>
                      <a:pt x="398" y="340"/>
                    </a:lnTo>
                    <a:lnTo>
                      <a:pt x="392" y="337"/>
                    </a:lnTo>
                    <a:lnTo>
                      <a:pt x="383" y="335"/>
                    </a:lnTo>
                    <a:lnTo>
                      <a:pt x="378" y="339"/>
                    </a:lnTo>
                    <a:lnTo>
                      <a:pt x="365" y="334"/>
                    </a:lnTo>
                    <a:lnTo>
                      <a:pt x="354" y="327"/>
                    </a:lnTo>
                    <a:lnTo>
                      <a:pt x="347" y="327"/>
                    </a:lnTo>
                    <a:lnTo>
                      <a:pt x="340" y="324"/>
                    </a:lnTo>
                    <a:lnTo>
                      <a:pt x="337" y="324"/>
                    </a:lnTo>
                    <a:lnTo>
                      <a:pt x="334" y="327"/>
                    </a:lnTo>
                    <a:lnTo>
                      <a:pt x="329" y="327"/>
                    </a:lnTo>
                    <a:lnTo>
                      <a:pt x="325" y="324"/>
                    </a:lnTo>
                    <a:lnTo>
                      <a:pt x="322" y="324"/>
                    </a:lnTo>
                    <a:lnTo>
                      <a:pt x="319" y="329"/>
                    </a:lnTo>
                    <a:lnTo>
                      <a:pt x="307" y="325"/>
                    </a:lnTo>
                    <a:lnTo>
                      <a:pt x="300" y="320"/>
                    </a:lnTo>
                    <a:lnTo>
                      <a:pt x="292" y="319"/>
                    </a:lnTo>
                    <a:lnTo>
                      <a:pt x="289" y="319"/>
                    </a:lnTo>
                    <a:lnTo>
                      <a:pt x="285" y="320"/>
                    </a:lnTo>
                    <a:lnTo>
                      <a:pt x="279" y="319"/>
                    </a:lnTo>
                    <a:lnTo>
                      <a:pt x="272" y="317"/>
                    </a:lnTo>
                    <a:lnTo>
                      <a:pt x="270" y="315"/>
                    </a:lnTo>
                    <a:lnTo>
                      <a:pt x="274" y="310"/>
                    </a:lnTo>
                    <a:lnTo>
                      <a:pt x="275" y="309"/>
                    </a:lnTo>
                    <a:lnTo>
                      <a:pt x="272" y="309"/>
                    </a:lnTo>
                    <a:lnTo>
                      <a:pt x="269" y="310"/>
                    </a:lnTo>
                    <a:lnTo>
                      <a:pt x="265" y="307"/>
                    </a:lnTo>
                    <a:lnTo>
                      <a:pt x="264" y="304"/>
                    </a:lnTo>
                    <a:lnTo>
                      <a:pt x="259" y="305"/>
                    </a:lnTo>
                    <a:lnTo>
                      <a:pt x="249" y="305"/>
                    </a:lnTo>
                    <a:lnTo>
                      <a:pt x="246" y="304"/>
                    </a:lnTo>
                    <a:lnTo>
                      <a:pt x="246" y="302"/>
                    </a:lnTo>
                    <a:lnTo>
                      <a:pt x="247" y="302"/>
                    </a:lnTo>
                    <a:lnTo>
                      <a:pt x="247" y="302"/>
                    </a:lnTo>
                    <a:close/>
                    <a:moveTo>
                      <a:pt x="310" y="55"/>
                    </a:moveTo>
                    <a:lnTo>
                      <a:pt x="315" y="59"/>
                    </a:lnTo>
                    <a:lnTo>
                      <a:pt x="317" y="59"/>
                    </a:lnTo>
                    <a:lnTo>
                      <a:pt x="317" y="63"/>
                    </a:lnTo>
                    <a:lnTo>
                      <a:pt x="320" y="63"/>
                    </a:lnTo>
                    <a:lnTo>
                      <a:pt x="322" y="56"/>
                    </a:lnTo>
                    <a:lnTo>
                      <a:pt x="317" y="50"/>
                    </a:lnTo>
                    <a:lnTo>
                      <a:pt x="312" y="51"/>
                    </a:lnTo>
                    <a:lnTo>
                      <a:pt x="310" y="55"/>
                    </a:lnTo>
                    <a:lnTo>
                      <a:pt x="310" y="55"/>
                    </a:lnTo>
                    <a:close/>
                    <a:moveTo>
                      <a:pt x="270" y="81"/>
                    </a:moveTo>
                    <a:lnTo>
                      <a:pt x="270" y="86"/>
                    </a:lnTo>
                    <a:lnTo>
                      <a:pt x="272" y="84"/>
                    </a:lnTo>
                    <a:lnTo>
                      <a:pt x="270" y="81"/>
                    </a:lnTo>
                    <a:lnTo>
                      <a:pt x="270" y="81"/>
                    </a:lnTo>
                    <a:close/>
                    <a:moveTo>
                      <a:pt x="270" y="73"/>
                    </a:moveTo>
                    <a:lnTo>
                      <a:pt x="272" y="69"/>
                    </a:lnTo>
                    <a:lnTo>
                      <a:pt x="269" y="69"/>
                    </a:lnTo>
                    <a:lnTo>
                      <a:pt x="270" y="73"/>
                    </a:lnTo>
                    <a:lnTo>
                      <a:pt x="270" y="73"/>
                    </a:lnTo>
                    <a:close/>
                    <a:moveTo>
                      <a:pt x="270" y="74"/>
                    </a:moveTo>
                    <a:lnTo>
                      <a:pt x="269" y="78"/>
                    </a:lnTo>
                    <a:lnTo>
                      <a:pt x="272" y="78"/>
                    </a:lnTo>
                    <a:lnTo>
                      <a:pt x="270" y="74"/>
                    </a:lnTo>
                    <a:lnTo>
                      <a:pt x="270" y="74"/>
                    </a:lnTo>
                    <a:close/>
                    <a:moveTo>
                      <a:pt x="256" y="79"/>
                    </a:moveTo>
                    <a:lnTo>
                      <a:pt x="256" y="83"/>
                    </a:lnTo>
                    <a:lnTo>
                      <a:pt x="257" y="84"/>
                    </a:lnTo>
                    <a:lnTo>
                      <a:pt x="262" y="79"/>
                    </a:lnTo>
                    <a:lnTo>
                      <a:pt x="259" y="78"/>
                    </a:lnTo>
                    <a:lnTo>
                      <a:pt x="256" y="79"/>
                    </a:lnTo>
                    <a:lnTo>
                      <a:pt x="256" y="79"/>
                    </a:lnTo>
                    <a:close/>
                    <a:moveTo>
                      <a:pt x="214" y="128"/>
                    </a:moveTo>
                    <a:lnTo>
                      <a:pt x="219" y="128"/>
                    </a:lnTo>
                    <a:lnTo>
                      <a:pt x="221" y="124"/>
                    </a:lnTo>
                    <a:lnTo>
                      <a:pt x="221" y="121"/>
                    </a:lnTo>
                    <a:lnTo>
                      <a:pt x="214" y="128"/>
                    </a:lnTo>
                    <a:lnTo>
                      <a:pt x="214" y="128"/>
                    </a:lnTo>
                    <a:close/>
                    <a:moveTo>
                      <a:pt x="226" y="123"/>
                    </a:moveTo>
                    <a:lnTo>
                      <a:pt x="224" y="128"/>
                    </a:lnTo>
                    <a:lnTo>
                      <a:pt x="229" y="129"/>
                    </a:lnTo>
                    <a:lnTo>
                      <a:pt x="231" y="134"/>
                    </a:lnTo>
                    <a:lnTo>
                      <a:pt x="234" y="133"/>
                    </a:lnTo>
                    <a:lnTo>
                      <a:pt x="234" y="126"/>
                    </a:lnTo>
                    <a:lnTo>
                      <a:pt x="232" y="124"/>
                    </a:lnTo>
                    <a:lnTo>
                      <a:pt x="234" y="121"/>
                    </a:lnTo>
                    <a:lnTo>
                      <a:pt x="232" y="121"/>
                    </a:lnTo>
                    <a:lnTo>
                      <a:pt x="229" y="123"/>
                    </a:lnTo>
                    <a:lnTo>
                      <a:pt x="226" y="123"/>
                    </a:lnTo>
                    <a:lnTo>
                      <a:pt x="226" y="123"/>
                    </a:lnTo>
                    <a:close/>
                    <a:moveTo>
                      <a:pt x="334" y="189"/>
                    </a:moveTo>
                    <a:lnTo>
                      <a:pt x="334" y="191"/>
                    </a:lnTo>
                    <a:lnTo>
                      <a:pt x="337" y="192"/>
                    </a:lnTo>
                    <a:lnTo>
                      <a:pt x="339" y="191"/>
                    </a:lnTo>
                    <a:lnTo>
                      <a:pt x="337" y="189"/>
                    </a:lnTo>
                    <a:lnTo>
                      <a:pt x="334" y="189"/>
                    </a:lnTo>
                    <a:lnTo>
                      <a:pt x="334" y="189"/>
                    </a:lnTo>
                    <a:close/>
                    <a:moveTo>
                      <a:pt x="302" y="209"/>
                    </a:moveTo>
                    <a:lnTo>
                      <a:pt x="304" y="212"/>
                    </a:lnTo>
                    <a:lnTo>
                      <a:pt x="302" y="214"/>
                    </a:lnTo>
                    <a:lnTo>
                      <a:pt x="297" y="216"/>
                    </a:lnTo>
                    <a:lnTo>
                      <a:pt x="295" y="217"/>
                    </a:lnTo>
                    <a:lnTo>
                      <a:pt x="300" y="219"/>
                    </a:lnTo>
                    <a:lnTo>
                      <a:pt x="300" y="217"/>
                    </a:lnTo>
                    <a:lnTo>
                      <a:pt x="304" y="216"/>
                    </a:lnTo>
                    <a:lnTo>
                      <a:pt x="304" y="221"/>
                    </a:lnTo>
                    <a:lnTo>
                      <a:pt x="307" y="226"/>
                    </a:lnTo>
                    <a:lnTo>
                      <a:pt x="310" y="219"/>
                    </a:lnTo>
                    <a:lnTo>
                      <a:pt x="314" y="222"/>
                    </a:lnTo>
                    <a:lnTo>
                      <a:pt x="317" y="224"/>
                    </a:lnTo>
                    <a:lnTo>
                      <a:pt x="319" y="221"/>
                    </a:lnTo>
                    <a:lnTo>
                      <a:pt x="322" y="219"/>
                    </a:lnTo>
                    <a:lnTo>
                      <a:pt x="320" y="214"/>
                    </a:lnTo>
                    <a:lnTo>
                      <a:pt x="312" y="209"/>
                    </a:lnTo>
                    <a:lnTo>
                      <a:pt x="304" y="207"/>
                    </a:lnTo>
                    <a:lnTo>
                      <a:pt x="302" y="209"/>
                    </a:lnTo>
                    <a:lnTo>
                      <a:pt x="302" y="209"/>
                    </a:lnTo>
                    <a:close/>
                    <a:moveTo>
                      <a:pt x="285" y="217"/>
                    </a:moveTo>
                    <a:lnTo>
                      <a:pt x="285" y="221"/>
                    </a:lnTo>
                    <a:lnTo>
                      <a:pt x="287" y="219"/>
                    </a:lnTo>
                    <a:lnTo>
                      <a:pt x="285" y="217"/>
                    </a:lnTo>
                    <a:lnTo>
                      <a:pt x="285" y="217"/>
                    </a:lnTo>
                    <a:close/>
                    <a:moveTo>
                      <a:pt x="251" y="189"/>
                    </a:moveTo>
                    <a:lnTo>
                      <a:pt x="251" y="192"/>
                    </a:lnTo>
                    <a:lnTo>
                      <a:pt x="246" y="196"/>
                    </a:lnTo>
                    <a:lnTo>
                      <a:pt x="249" y="199"/>
                    </a:lnTo>
                    <a:lnTo>
                      <a:pt x="257" y="199"/>
                    </a:lnTo>
                    <a:lnTo>
                      <a:pt x="261" y="202"/>
                    </a:lnTo>
                    <a:lnTo>
                      <a:pt x="261" y="206"/>
                    </a:lnTo>
                    <a:lnTo>
                      <a:pt x="264" y="207"/>
                    </a:lnTo>
                    <a:lnTo>
                      <a:pt x="265" y="214"/>
                    </a:lnTo>
                    <a:lnTo>
                      <a:pt x="270" y="217"/>
                    </a:lnTo>
                    <a:lnTo>
                      <a:pt x="275" y="216"/>
                    </a:lnTo>
                    <a:lnTo>
                      <a:pt x="277" y="221"/>
                    </a:lnTo>
                    <a:lnTo>
                      <a:pt x="279" y="222"/>
                    </a:lnTo>
                    <a:lnTo>
                      <a:pt x="280" y="219"/>
                    </a:lnTo>
                    <a:lnTo>
                      <a:pt x="279" y="214"/>
                    </a:lnTo>
                    <a:lnTo>
                      <a:pt x="282" y="209"/>
                    </a:lnTo>
                    <a:lnTo>
                      <a:pt x="274" y="207"/>
                    </a:lnTo>
                    <a:lnTo>
                      <a:pt x="269" y="202"/>
                    </a:lnTo>
                    <a:lnTo>
                      <a:pt x="267" y="192"/>
                    </a:lnTo>
                    <a:lnTo>
                      <a:pt x="265" y="191"/>
                    </a:lnTo>
                    <a:lnTo>
                      <a:pt x="264" y="187"/>
                    </a:lnTo>
                    <a:lnTo>
                      <a:pt x="261" y="186"/>
                    </a:lnTo>
                    <a:lnTo>
                      <a:pt x="257" y="186"/>
                    </a:lnTo>
                    <a:lnTo>
                      <a:pt x="259" y="189"/>
                    </a:lnTo>
                    <a:lnTo>
                      <a:pt x="261" y="192"/>
                    </a:lnTo>
                    <a:lnTo>
                      <a:pt x="256" y="191"/>
                    </a:lnTo>
                    <a:lnTo>
                      <a:pt x="252" y="187"/>
                    </a:lnTo>
                    <a:lnTo>
                      <a:pt x="251" y="189"/>
                    </a:lnTo>
                    <a:lnTo>
                      <a:pt x="251" y="189"/>
                    </a:lnTo>
                    <a:close/>
                    <a:moveTo>
                      <a:pt x="227" y="162"/>
                    </a:moveTo>
                    <a:lnTo>
                      <a:pt x="226" y="166"/>
                    </a:lnTo>
                    <a:lnTo>
                      <a:pt x="229" y="169"/>
                    </a:lnTo>
                    <a:lnTo>
                      <a:pt x="234" y="166"/>
                    </a:lnTo>
                    <a:lnTo>
                      <a:pt x="232" y="162"/>
                    </a:lnTo>
                    <a:lnTo>
                      <a:pt x="227" y="162"/>
                    </a:lnTo>
                    <a:lnTo>
                      <a:pt x="227" y="162"/>
                    </a:lnTo>
                    <a:close/>
                    <a:moveTo>
                      <a:pt x="231" y="153"/>
                    </a:moveTo>
                    <a:lnTo>
                      <a:pt x="229" y="157"/>
                    </a:lnTo>
                    <a:lnTo>
                      <a:pt x="231" y="159"/>
                    </a:lnTo>
                    <a:lnTo>
                      <a:pt x="236" y="159"/>
                    </a:lnTo>
                    <a:lnTo>
                      <a:pt x="241" y="161"/>
                    </a:lnTo>
                    <a:lnTo>
                      <a:pt x="242" y="159"/>
                    </a:lnTo>
                    <a:lnTo>
                      <a:pt x="236" y="154"/>
                    </a:lnTo>
                    <a:lnTo>
                      <a:pt x="231" y="153"/>
                    </a:lnTo>
                    <a:lnTo>
                      <a:pt x="231" y="153"/>
                    </a:lnTo>
                    <a:close/>
                    <a:moveTo>
                      <a:pt x="182" y="123"/>
                    </a:moveTo>
                    <a:lnTo>
                      <a:pt x="179" y="129"/>
                    </a:lnTo>
                    <a:lnTo>
                      <a:pt x="181" y="133"/>
                    </a:lnTo>
                    <a:lnTo>
                      <a:pt x="189" y="134"/>
                    </a:lnTo>
                    <a:lnTo>
                      <a:pt x="194" y="136"/>
                    </a:lnTo>
                    <a:lnTo>
                      <a:pt x="196" y="134"/>
                    </a:lnTo>
                    <a:lnTo>
                      <a:pt x="194" y="129"/>
                    </a:lnTo>
                    <a:lnTo>
                      <a:pt x="189" y="124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69" y="116"/>
                    </a:moveTo>
                    <a:lnTo>
                      <a:pt x="172" y="116"/>
                    </a:lnTo>
                    <a:lnTo>
                      <a:pt x="177" y="118"/>
                    </a:lnTo>
                    <a:lnTo>
                      <a:pt x="181" y="121"/>
                    </a:lnTo>
                    <a:lnTo>
                      <a:pt x="177" y="126"/>
                    </a:lnTo>
                    <a:lnTo>
                      <a:pt x="176" y="124"/>
                    </a:lnTo>
                    <a:lnTo>
                      <a:pt x="169" y="116"/>
                    </a:lnTo>
                    <a:lnTo>
                      <a:pt x="169" y="116"/>
                    </a:lnTo>
                    <a:close/>
                    <a:moveTo>
                      <a:pt x="153" y="106"/>
                    </a:moveTo>
                    <a:lnTo>
                      <a:pt x="156" y="113"/>
                    </a:lnTo>
                    <a:lnTo>
                      <a:pt x="159" y="111"/>
                    </a:lnTo>
                    <a:lnTo>
                      <a:pt x="164" y="108"/>
                    </a:lnTo>
                    <a:lnTo>
                      <a:pt x="159" y="103"/>
                    </a:lnTo>
                    <a:lnTo>
                      <a:pt x="156" y="104"/>
                    </a:lnTo>
                    <a:lnTo>
                      <a:pt x="153" y="106"/>
                    </a:lnTo>
                    <a:lnTo>
                      <a:pt x="153" y="106"/>
                    </a:lnTo>
                    <a:close/>
                    <a:moveTo>
                      <a:pt x="169" y="270"/>
                    </a:moveTo>
                    <a:lnTo>
                      <a:pt x="176" y="274"/>
                    </a:lnTo>
                    <a:lnTo>
                      <a:pt x="176" y="270"/>
                    </a:lnTo>
                    <a:lnTo>
                      <a:pt x="172" y="269"/>
                    </a:lnTo>
                    <a:lnTo>
                      <a:pt x="169" y="270"/>
                    </a:lnTo>
                    <a:lnTo>
                      <a:pt x="169" y="270"/>
                    </a:lnTo>
                    <a:close/>
                    <a:moveTo>
                      <a:pt x="124" y="214"/>
                    </a:moveTo>
                    <a:lnTo>
                      <a:pt x="121" y="219"/>
                    </a:lnTo>
                    <a:lnTo>
                      <a:pt x="131" y="226"/>
                    </a:lnTo>
                    <a:lnTo>
                      <a:pt x="129" y="222"/>
                    </a:lnTo>
                    <a:lnTo>
                      <a:pt x="129" y="219"/>
                    </a:lnTo>
                    <a:lnTo>
                      <a:pt x="124" y="214"/>
                    </a:lnTo>
                    <a:lnTo>
                      <a:pt x="124" y="214"/>
                    </a:lnTo>
                    <a:close/>
                    <a:moveTo>
                      <a:pt x="118" y="211"/>
                    </a:moveTo>
                    <a:lnTo>
                      <a:pt x="121" y="212"/>
                    </a:lnTo>
                    <a:lnTo>
                      <a:pt x="118" y="216"/>
                    </a:lnTo>
                    <a:lnTo>
                      <a:pt x="118" y="211"/>
                    </a:lnTo>
                    <a:lnTo>
                      <a:pt x="118" y="211"/>
                    </a:lnTo>
                    <a:close/>
                    <a:moveTo>
                      <a:pt x="108" y="197"/>
                    </a:moveTo>
                    <a:lnTo>
                      <a:pt x="106" y="199"/>
                    </a:lnTo>
                    <a:lnTo>
                      <a:pt x="109" y="202"/>
                    </a:lnTo>
                    <a:lnTo>
                      <a:pt x="114" y="204"/>
                    </a:lnTo>
                    <a:lnTo>
                      <a:pt x="108" y="197"/>
                    </a:lnTo>
                    <a:lnTo>
                      <a:pt x="108" y="197"/>
                    </a:lnTo>
                    <a:close/>
                    <a:moveTo>
                      <a:pt x="83" y="177"/>
                    </a:moveTo>
                    <a:lnTo>
                      <a:pt x="83" y="181"/>
                    </a:lnTo>
                    <a:lnTo>
                      <a:pt x="88" y="182"/>
                    </a:lnTo>
                    <a:lnTo>
                      <a:pt x="94" y="191"/>
                    </a:lnTo>
                    <a:lnTo>
                      <a:pt x="99" y="192"/>
                    </a:lnTo>
                    <a:lnTo>
                      <a:pt x="99" y="184"/>
                    </a:lnTo>
                    <a:lnTo>
                      <a:pt x="93" y="174"/>
                    </a:lnTo>
                    <a:lnTo>
                      <a:pt x="88" y="172"/>
                    </a:lnTo>
                    <a:lnTo>
                      <a:pt x="83" y="177"/>
                    </a:lnTo>
                    <a:lnTo>
                      <a:pt x="83" y="177"/>
                    </a:lnTo>
                    <a:close/>
                    <a:moveTo>
                      <a:pt x="79" y="161"/>
                    </a:moveTo>
                    <a:lnTo>
                      <a:pt x="76" y="166"/>
                    </a:lnTo>
                    <a:lnTo>
                      <a:pt x="79" y="167"/>
                    </a:lnTo>
                    <a:lnTo>
                      <a:pt x="83" y="166"/>
                    </a:lnTo>
                    <a:lnTo>
                      <a:pt x="83" y="162"/>
                    </a:lnTo>
                    <a:lnTo>
                      <a:pt x="79" y="161"/>
                    </a:lnTo>
                    <a:lnTo>
                      <a:pt x="79" y="161"/>
                    </a:lnTo>
                    <a:close/>
                    <a:moveTo>
                      <a:pt x="83" y="149"/>
                    </a:moveTo>
                    <a:lnTo>
                      <a:pt x="88" y="149"/>
                    </a:lnTo>
                    <a:lnTo>
                      <a:pt x="89" y="149"/>
                    </a:lnTo>
                    <a:lnTo>
                      <a:pt x="91" y="148"/>
                    </a:lnTo>
                    <a:lnTo>
                      <a:pt x="84" y="146"/>
                    </a:lnTo>
                    <a:lnTo>
                      <a:pt x="83" y="149"/>
                    </a:lnTo>
                    <a:lnTo>
                      <a:pt x="83" y="149"/>
                    </a:lnTo>
                    <a:close/>
                    <a:moveTo>
                      <a:pt x="48" y="119"/>
                    </a:moveTo>
                    <a:lnTo>
                      <a:pt x="53" y="119"/>
                    </a:lnTo>
                    <a:lnTo>
                      <a:pt x="55" y="116"/>
                    </a:lnTo>
                    <a:lnTo>
                      <a:pt x="58" y="118"/>
                    </a:lnTo>
                    <a:lnTo>
                      <a:pt x="61" y="124"/>
                    </a:lnTo>
                    <a:lnTo>
                      <a:pt x="66" y="128"/>
                    </a:lnTo>
                    <a:lnTo>
                      <a:pt x="66" y="131"/>
                    </a:lnTo>
                    <a:lnTo>
                      <a:pt x="65" y="136"/>
                    </a:lnTo>
                    <a:lnTo>
                      <a:pt x="63" y="138"/>
                    </a:lnTo>
                    <a:lnTo>
                      <a:pt x="58" y="129"/>
                    </a:lnTo>
                    <a:lnTo>
                      <a:pt x="55" y="129"/>
                    </a:lnTo>
                    <a:lnTo>
                      <a:pt x="53" y="124"/>
                    </a:lnTo>
                    <a:lnTo>
                      <a:pt x="48" y="119"/>
                    </a:lnTo>
                    <a:lnTo>
                      <a:pt x="48" y="119"/>
                    </a:lnTo>
                    <a:close/>
                    <a:moveTo>
                      <a:pt x="48" y="103"/>
                    </a:moveTo>
                    <a:lnTo>
                      <a:pt x="53" y="104"/>
                    </a:lnTo>
                    <a:lnTo>
                      <a:pt x="51" y="101"/>
                    </a:lnTo>
                    <a:lnTo>
                      <a:pt x="48" y="103"/>
                    </a:lnTo>
                    <a:lnTo>
                      <a:pt x="48" y="103"/>
                    </a:lnTo>
                    <a:close/>
                    <a:moveTo>
                      <a:pt x="15" y="83"/>
                    </a:moveTo>
                    <a:lnTo>
                      <a:pt x="13" y="84"/>
                    </a:lnTo>
                    <a:lnTo>
                      <a:pt x="11" y="88"/>
                    </a:lnTo>
                    <a:lnTo>
                      <a:pt x="16" y="91"/>
                    </a:lnTo>
                    <a:lnTo>
                      <a:pt x="21" y="89"/>
                    </a:lnTo>
                    <a:lnTo>
                      <a:pt x="18" y="86"/>
                    </a:lnTo>
                    <a:lnTo>
                      <a:pt x="15" y="83"/>
                    </a:lnTo>
                    <a:lnTo>
                      <a:pt x="15" y="83"/>
                    </a:lnTo>
                    <a:close/>
                    <a:moveTo>
                      <a:pt x="0" y="21"/>
                    </a:moveTo>
                    <a:lnTo>
                      <a:pt x="0" y="25"/>
                    </a:lnTo>
                    <a:lnTo>
                      <a:pt x="1" y="30"/>
                    </a:lnTo>
                    <a:lnTo>
                      <a:pt x="6" y="43"/>
                    </a:lnTo>
                    <a:lnTo>
                      <a:pt x="11" y="45"/>
                    </a:lnTo>
                    <a:lnTo>
                      <a:pt x="21" y="55"/>
                    </a:lnTo>
                    <a:lnTo>
                      <a:pt x="25" y="55"/>
                    </a:lnTo>
                    <a:lnTo>
                      <a:pt x="31" y="61"/>
                    </a:lnTo>
                    <a:lnTo>
                      <a:pt x="35" y="63"/>
                    </a:lnTo>
                    <a:lnTo>
                      <a:pt x="38" y="61"/>
                    </a:lnTo>
                    <a:lnTo>
                      <a:pt x="45" y="68"/>
                    </a:lnTo>
                    <a:lnTo>
                      <a:pt x="55" y="79"/>
                    </a:lnTo>
                    <a:lnTo>
                      <a:pt x="63" y="88"/>
                    </a:lnTo>
                    <a:lnTo>
                      <a:pt x="65" y="88"/>
                    </a:lnTo>
                    <a:lnTo>
                      <a:pt x="65" y="93"/>
                    </a:lnTo>
                    <a:lnTo>
                      <a:pt x="68" y="94"/>
                    </a:lnTo>
                    <a:lnTo>
                      <a:pt x="68" y="101"/>
                    </a:lnTo>
                    <a:lnTo>
                      <a:pt x="71" y="103"/>
                    </a:lnTo>
                    <a:lnTo>
                      <a:pt x="76" y="103"/>
                    </a:lnTo>
                    <a:lnTo>
                      <a:pt x="83" y="111"/>
                    </a:lnTo>
                    <a:lnTo>
                      <a:pt x="86" y="113"/>
                    </a:lnTo>
                    <a:lnTo>
                      <a:pt x="89" y="111"/>
                    </a:lnTo>
                    <a:lnTo>
                      <a:pt x="89" y="114"/>
                    </a:lnTo>
                    <a:lnTo>
                      <a:pt x="88" y="118"/>
                    </a:lnTo>
                    <a:lnTo>
                      <a:pt x="91" y="119"/>
                    </a:lnTo>
                    <a:lnTo>
                      <a:pt x="93" y="126"/>
                    </a:lnTo>
                    <a:lnTo>
                      <a:pt x="93" y="128"/>
                    </a:lnTo>
                    <a:lnTo>
                      <a:pt x="98" y="139"/>
                    </a:lnTo>
                    <a:lnTo>
                      <a:pt x="99" y="146"/>
                    </a:lnTo>
                    <a:lnTo>
                      <a:pt x="106" y="148"/>
                    </a:lnTo>
                    <a:lnTo>
                      <a:pt x="114" y="151"/>
                    </a:lnTo>
                    <a:lnTo>
                      <a:pt x="114" y="154"/>
                    </a:lnTo>
                    <a:lnTo>
                      <a:pt x="119" y="164"/>
                    </a:lnTo>
                    <a:lnTo>
                      <a:pt x="124" y="167"/>
                    </a:lnTo>
                    <a:lnTo>
                      <a:pt x="126" y="179"/>
                    </a:lnTo>
                    <a:lnTo>
                      <a:pt x="136" y="194"/>
                    </a:lnTo>
                    <a:lnTo>
                      <a:pt x="134" y="201"/>
                    </a:lnTo>
                    <a:lnTo>
                      <a:pt x="138" y="206"/>
                    </a:lnTo>
                    <a:lnTo>
                      <a:pt x="146" y="212"/>
                    </a:lnTo>
                    <a:lnTo>
                      <a:pt x="154" y="222"/>
                    </a:lnTo>
                    <a:lnTo>
                      <a:pt x="158" y="227"/>
                    </a:lnTo>
                    <a:lnTo>
                      <a:pt x="164" y="229"/>
                    </a:lnTo>
                    <a:lnTo>
                      <a:pt x="166" y="231"/>
                    </a:lnTo>
                    <a:lnTo>
                      <a:pt x="172" y="234"/>
                    </a:lnTo>
                    <a:lnTo>
                      <a:pt x="172" y="241"/>
                    </a:lnTo>
                    <a:lnTo>
                      <a:pt x="177" y="244"/>
                    </a:lnTo>
                    <a:lnTo>
                      <a:pt x="184" y="251"/>
                    </a:lnTo>
                    <a:lnTo>
                      <a:pt x="196" y="255"/>
                    </a:lnTo>
                    <a:lnTo>
                      <a:pt x="197" y="260"/>
                    </a:lnTo>
                    <a:lnTo>
                      <a:pt x="204" y="262"/>
                    </a:lnTo>
                    <a:lnTo>
                      <a:pt x="219" y="274"/>
                    </a:lnTo>
                    <a:lnTo>
                      <a:pt x="221" y="279"/>
                    </a:lnTo>
                    <a:lnTo>
                      <a:pt x="224" y="280"/>
                    </a:lnTo>
                    <a:lnTo>
                      <a:pt x="227" y="285"/>
                    </a:lnTo>
                    <a:lnTo>
                      <a:pt x="229" y="284"/>
                    </a:lnTo>
                    <a:lnTo>
                      <a:pt x="229" y="279"/>
                    </a:lnTo>
                    <a:lnTo>
                      <a:pt x="227" y="277"/>
                    </a:lnTo>
                    <a:lnTo>
                      <a:pt x="227" y="274"/>
                    </a:lnTo>
                    <a:lnTo>
                      <a:pt x="232" y="275"/>
                    </a:lnTo>
                    <a:lnTo>
                      <a:pt x="241" y="282"/>
                    </a:lnTo>
                    <a:lnTo>
                      <a:pt x="242" y="282"/>
                    </a:lnTo>
                    <a:lnTo>
                      <a:pt x="242" y="275"/>
                    </a:lnTo>
                    <a:lnTo>
                      <a:pt x="246" y="272"/>
                    </a:lnTo>
                    <a:lnTo>
                      <a:pt x="249" y="274"/>
                    </a:lnTo>
                    <a:lnTo>
                      <a:pt x="254" y="280"/>
                    </a:lnTo>
                    <a:lnTo>
                      <a:pt x="256" y="280"/>
                    </a:lnTo>
                    <a:lnTo>
                      <a:pt x="259" y="277"/>
                    </a:lnTo>
                    <a:lnTo>
                      <a:pt x="259" y="267"/>
                    </a:lnTo>
                    <a:lnTo>
                      <a:pt x="262" y="255"/>
                    </a:lnTo>
                    <a:lnTo>
                      <a:pt x="259" y="247"/>
                    </a:lnTo>
                    <a:lnTo>
                      <a:pt x="262" y="239"/>
                    </a:lnTo>
                    <a:lnTo>
                      <a:pt x="261" y="236"/>
                    </a:lnTo>
                    <a:lnTo>
                      <a:pt x="261" y="229"/>
                    </a:lnTo>
                    <a:lnTo>
                      <a:pt x="265" y="227"/>
                    </a:lnTo>
                    <a:lnTo>
                      <a:pt x="267" y="224"/>
                    </a:lnTo>
                    <a:lnTo>
                      <a:pt x="267" y="221"/>
                    </a:lnTo>
                    <a:lnTo>
                      <a:pt x="262" y="219"/>
                    </a:lnTo>
                    <a:lnTo>
                      <a:pt x="259" y="216"/>
                    </a:lnTo>
                    <a:lnTo>
                      <a:pt x="257" y="211"/>
                    </a:lnTo>
                    <a:lnTo>
                      <a:pt x="254" y="209"/>
                    </a:lnTo>
                    <a:lnTo>
                      <a:pt x="252" y="206"/>
                    </a:lnTo>
                    <a:lnTo>
                      <a:pt x="247" y="204"/>
                    </a:lnTo>
                    <a:lnTo>
                      <a:pt x="241" y="204"/>
                    </a:lnTo>
                    <a:lnTo>
                      <a:pt x="236" y="204"/>
                    </a:lnTo>
                    <a:lnTo>
                      <a:pt x="236" y="197"/>
                    </a:lnTo>
                    <a:lnTo>
                      <a:pt x="232" y="192"/>
                    </a:lnTo>
                    <a:lnTo>
                      <a:pt x="229" y="194"/>
                    </a:lnTo>
                    <a:lnTo>
                      <a:pt x="231" y="191"/>
                    </a:lnTo>
                    <a:lnTo>
                      <a:pt x="229" y="186"/>
                    </a:lnTo>
                    <a:lnTo>
                      <a:pt x="227" y="176"/>
                    </a:lnTo>
                    <a:lnTo>
                      <a:pt x="222" y="177"/>
                    </a:lnTo>
                    <a:lnTo>
                      <a:pt x="219" y="176"/>
                    </a:lnTo>
                    <a:lnTo>
                      <a:pt x="211" y="174"/>
                    </a:lnTo>
                    <a:lnTo>
                      <a:pt x="202" y="169"/>
                    </a:lnTo>
                    <a:lnTo>
                      <a:pt x="202" y="166"/>
                    </a:lnTo>
                    <a:lnTo>
                      <a:pt x="207" y="164"/>
                    </a:lnTo>
                    <a:lnTo>
                      <a:pt x="212" y="161"/>
                    </a:lnTo>
                    <a:lnTo>
                      <a:pt x="209" y="159"/>
                    </a:lnTo>
                    <a:lnTo>
                      <a:pt x="204" y="161"/>
                    </a:lnTo>
                    <a:lnTo>
                      <a:pt x="201" y="159"/>
                    </a:lnTo>
                    <a:lnTo>
                      <a:pt x="196" y="161"/>
                    </a:lnTo>
                    <a:lnTo>
                      <a:pt x="199" y="157"/>
                    </a:lnTo>
                    <a:lnTo>
                      <a:pt x="206" y="154"/>
                    </a:lnTo>
                    <a:lnTo>
                      <a:pt x="212" y="153"/>
                    </a:lnTo>
                    <a:lnTo>
                      <a:pt x="211" y="149"/>
                    </a:lnTo>
                    <a:lnTo>
                      <a:pt x="204" y="141"/>
                    </a:lnTo>
                    <a:lnTo>
                      <a:pt x="199" y="141"/>
                    </a:lnTo>
                    <a:lnTo>
                      <a:pt x="194" y="144"/>
                    </a:lnTo>
                    <a:lnTo>
                      <a:pt x="189" y="148"/>
                    </a:lnTo>
                    <a:lnTo>
                      <a:pt x="182" y="148"/>
                    </a:lnTo>
                    <a:lnTo>
                      <a:pt x="186" y="146"/>
                    </a:lnTo>
                    <a:lnTo>
                      <a:pt x="189" y="144"/>
                    </a:lnTo>
                    <a:lnTo>
                      <a:pt x="191" y="144"/>
                    </a:lnTo>
                    <a:lnTo>
                      <a:pt x="192" y="141"/>
                    </a:lnTo>
                    <a:lnTo>
                      <a:pt x="192" y="138"/>
                    </a:lnTo>
                    <a:lnTo>
                      <a:pt x="186" y="136"/>
                    </a:lnTo>
                    <a:lnTo>
                      <a:pt x="177" y="136"/>
                    </a:lnTo>
                    <a:lnTo>
                      <a:pt x="172" y="131"/>
                    </a:lnTo>
                    <a:lnTo>
                      <a:pt x="172" y="129"/>
                    </a:lnTo>
                    <a:lnTo>
                      <a:pt x="171" y="123"/>
                    </a:lnTo>
                    <a:lnTo>
                      <a:pt x="161" y="114"/>
                    </a:lnTo>
                    <a:lnTo>
                      <a:pt x="158" y="113"/>
                    </a:lnTo>
                    <a:lnTo>
                      <a:pt x="154" y="114"/>
                    </a:lnTo>
                    <a:lnTo>
                      <a:pt x="151" y="111"/>
                    </a:lnTo>
                    <a:lnTo>
                      <a:pt x="149" y="103"/>
                    </a:lnTo>
                    <a:lnTo>
                      <a:pt x="143" y="98"/>
                    </a:lnTo>
                    <a:lnTo>
                      <a:pt x="133" y="93"/>
                    </a:lnTo>
                    <a:lnTo>
                      <a:pt x="128" y="93"/>
                    </a:lnTo>
                    <a:lnTo>
                      <a:pt x="126" y="94"/>
                    </a:lnTo>
                    <a:lnTo>
                      <a:pt x="124" y="93"/>
                    </a:lnTo>
                    <a:lnTo>
                      <a:pt x="123" y="86"/>
                    </a:lnTo>
                    <a:lnTo>
                      <a:pt x="119" y="89"/>
                    </a:lnTo>
                    <a:lnTo>
                      <a:pt x="116" y="86"/>
                    </a:lnTo>
                    <a:lnTo>
                      <a:pt x="116" y="79"/>
                    </a:lnTo>
                    <a:lnTo>
                      <a:pt x="111" y="74"/>
                    </a:lnTo>
                    <a:lnTo>
                      <a:pt x="106" y="74"/>
                    </a:lnTo>
                    <a:lnTo>
                      <a:pt x="104" y="71"/>
                    </a:lnTo>
                    <a:lnTo>
                      <a:pt x="91" y="63"/>
                    </a:lnTo>
                    <a:lnTo>
                      <a:pt x="86" y="63"/>
                    </a:lnTo>
                    <a:lnTo>
                      <a:pt x="79" y="56"/>
                    </a:lnTo>
                    <a:lnTo>
                      <a:pt x="74" y="56"/>
                    </a:lnTo>
                    <a:lnTo>
                      <a:pt x="73" y="53"/>
                    </a:lnTo>
                    <a:lnTo>
                      <a:pt x="71" y="45"/>
                    </a:lnTo>
                    <a:lnTo>
                      <a:pt x="66" y="43"/>
                    </a:lnTo>
                    <a:lnTo>
                      <a:pt x="65" y="38"/>
                    </a:lnTo>
                    <a:lnTo>
                      <a:pt x="61" y="36"/>
                    </a:lnTo>
                    <a:lnTo>
                      <a:pt x="58" y="31"/>
                    </a:lnTo>
                    <a:lnTo>
                      <a:pt x="53" y="30"/>
                    </a:lnTo>
                    <a:lnTo>
                      <a:pt x="48" y="30"/>
                    </a:lnTo>
                    <a:lnTo>
                      <a:pt x="45" y="30"/>
                    </a:lnTo>
                    <a:lnTo>
                      <a:pt x="41" y="28"/>
                    </a:lnTo>
                    <a:lnTo>
                      <a:pt x="36" y="28"/>
                    </a:lnTo>
                    <a:lnTo>
                      <a:pt x="28" y="30"/>
                    </a:lnTo>
                    <a:lnTo>
                      <a:pt x="25" y="28"/>
                    </a:lnTo>
                    <a:lnTo>
                      <a:pt x="15" y="21"/>
                    </a:lnTo>
                    <a:lnTo>
                      <a:pt x="5" y="2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0" name="Freeform 16">
                <a:extLst>
                  <a:ext uri="{FF2B5EF4-FFF2-40B4-BE49-F238E27FC236}">
                    <a16:creationId xmlns:a16="http://schemas.microsoft.com/office/drawing/2014/main" id="{05E0F645-AB38-D246-94DA-8D1E68F167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28949" y="3373473"/>
                <a:ext cx="41739" cy="11414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3" y="21"/>
                  </a:cxn>
                  <a:cxn ang="0">
                    <a:pos x="10" y="19"/>
                  </a:cxn>
                  <a:cxn ang="0">
                    <a:pos x="13" y="19"/>
                  </a:cxn>
                  <a:cxn ang="0">
                    <a:pos x="13" y="13"/>
                  </a:cxn>
                  <a:cxn ang="0">
                    <a:pos x="12" y="14"/>
                  </a:cxn>
                  <a:cxn ang="0">
                    <a:pos x="5" y="1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0" y="11"/>
                  </a:cxn>
                  <a:cxn ang="0">
                    <a:pos x="25" y="16"/>
                  </a:cxn>
                  <a:cxn ang="0">
                    <a:pos x="32" y="21"/>
                  </a:cxn>
                  <a:cxn ang="0">
                    <a:pos x="32" y="21"/>
                  </a:cxn>
                  <a:cxn ang="0">
                    <a:pos x="37" y="16"/>
                  </a:cxn>
                  <a:cxn ang="0">
                    <a:pos x="40" y="16"/>
                  </a:cxn>
                  <a:cxn ang="0">
                    <a:pos x="45" y="16"/>
                  </a:cxn>
                  <a:cxn ang="0">
                    <a:pos x="55" y="14"/>
                  </a:cxn>
                  <a:cxn ang="0">
                    <a:pos x="62" y="11"/>
                  </a:cxn>
                  <a:cxn ang="0">
                    <a:pos x="68" y="9"/>
                  </a:cxn>
                  <a:cxn ang="0">
                    <a:pos x="70" y="6"/>
                  </a:cxn>
                  <a:cxn ang="0">
                    <a:pos x="73" y="6"/>
                  </a:cxn>
                  <a:cxn ang="0">
                    <a:pos x="78" y="3"/>
                  </a:cxn>
                  <a:cxn ang="0">
                    <a:pos x="78" y="1"/>
                  </a:cxn>
                  <a:cxn ang="0">
                    <a:pos x="75" y="0"/>
                  </a:cxn>
                  <a:cxn ang="0">
                    <a:pos x="66" y="1"/>
                  </a:cxn>
                  <a:cxn ang="0">
                    <a:pos x="60" y="1"/>
                  </a:cxn>
                  <a:cxn ang="0">
                    <a:pos x="55" y="1"/>
                  </a:cxn>
                  <a:cxn ang="0">
                    <a:pos x="50" y="1"/>
                  </a:cxn>
                  <a:cxn ang="0">
                    <a:pos x="43" y="3"/>
                  </a:cxn>
                  <a:cxn ang="0">
                    <a:pos x="33" y="3"/>
                  </a:cxn>
                  <a:cxn ang="0">
                    <a:pos x="27" y="8"/>
                  </a:cxn>
                  <a:cxn ang="0">
                    <a:pos x="20" y="11"/>
                  </a:cxn>
                </a:cxnLst>
                <a:rect l="0" t="0" r="r" b="b"/>
                <a:pathLst>
                  <a:path w="78" h="21">
                    <a:moveTo>
                      <a:pt x="0" y="18"/>
                    </a:moveTo>
                    <a:lnTo>
                      <a:pt x="3" y="21"/>
                    </a:lnTo>
                    <a:lnTo>
                      <a:pt x="10" y="19"/>
                    </a:lnTo>
                    <a:lnTo>
                      <a:pt x="13" y="19"/>
                    </a:lnTo>
                    <a:lnTo>
                      <a:pt x="13" y="13"/>
                    </a:lnTo>
                    <a:lnTo>
                      <a:pt x="12" y="14"/>
                    </a:lnTo>
                    <a:lnTo>
                      <a:pt x="5" y="14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20" y="11"/>
                    </a:moveTo>
                    <a:lnTo>
                      <a:pt x="25" y="16"/>
                    </a:lnTo>
                    <a:lnTo>
                      <a:pt x="32" y="21"/>
                    </a:lnTo>
                    <a:lnTo>
                      <a:pt x="32" y="21"/>
                    </a:lnTo>
                    <a:lnTo>
                      <a:pt x="37" y="16"/>
                    </a:lnTo>
                    <a:lnTo>
                      <a:pt x="40" y="16"/>
                    </a:lnTo>
                    <a:lnTo>
                      <a:pt x="45" y="16"/>
                    </a:lnTo>
                    <a:lnTo>
                      <a:pt x="55" y="14"/>
                    </a:lnTo>
                    <a:lnTo>
                      <a:pt x="62" y="11"/>
                    </a:lnTo>
                    <a:lnTo>
                      <a:pt x="68" y="9"/>
                    </a:lnTo>
                    <a:lnTo>
                      <a:pt x="70" y="6"/>
                    </a:lnTo>
                    <a:lnTo>
                      <a:pt x="73" y="6"/>
                    </a:lnTo>
                    <a:lnTo>
                      <a:pt x="78" y="3"/>
                    </a:lnTo>
                    <a:lnTo>
                      <a:pt x="78" y="1"/>
                    </a:lnTo>
                    <a:lnTo>
                      <a:pt x="75" y="0"/>
                    </a:lnTo>
                    <a:lnTo>
                      <a:pt x="66" y="1"/>
                    </a:lnTo>
                    <a:lnTo>
                      <a:pt x="60" y="1"/>
                    </a:lnTo>
                    <a:lnTo>
                      <a:pt x="55" y="1"/>
                    </a:lnTo>
                    <a:lnTo>
                      <a:pt x="50" y="1"/>
                    </a:lnTo>
                    <a:lnTo>
                      <a:pt x="43" y="3"/>
                    </a:lnTo>
                    <a:lnTo>
                      <a:pt x="33" y="3"/>
                    </a:lnTo>
                    <a:lnTo>
                      <a:pt x="27" y="8"/>
                    </a:lnTo>
                    <a:lnTo>
                      <a:pt x="20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1" name="Freeform 17">
                <a:extLst>
                  <a:ext uri="{FF2B5EF4-FFF2-40B4-BE49-F238E27FC236}">
                    <a16:creationId xmlns:a16="http://schemas.microsoft.com/office/drawing/2014/main" id="{5186244F-FA52-5145-BEE9-796078F7CC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19647" y="3185670"/>
                <a:ext cx="249368" cy="76782"/>
              </a:xfrm>
              <a:custGeom>
                <a:avLst/>
                <a:gdLst/>
                <a:ahLst/>
                <a:cxnLst>
                  <a:cxn ang="0">
                    <a:pos x="280" y="107"/>
                  </a:cxn>
                  <a:cxn ang="0">
                    <a:pos x="3" y="49"/>
                  </a:cxn>
                  <a:cxn ang="0">
                    <a:pos x="0" y="40"/>
                  </a:cxn>
                  <a:cxn ang="0">
                    <a:pos x="254" y="145"/>
                  </a:cxn>
                  <a:cxn ang="0">
                    <a:pos x="274" y="145"/>
                  </a:cxn>
                  <a:cxn ang="0">
                    <a:pos x="319" y="135"/>
                  </a:cxn>
                  <a:cxn ang="0">
                    <a:pos x="355" y="135"/>
                  </a:cxn>
                  <a:cxn ang="0">
                    <a:pos x="380" y="82"/>
                  </a:cxn>
                  <a:cxn ang="0">
                    <a:pos x="392" y="69"/>
                  </a:cxn>
                  <a:cxn ang="0">
                    <a:pos x="423" y="70"/>
                  </a:cxn>
                  <a:cxn ang="0">
                    <a:pos x="445" y="70"/>
                  </a:cxn>
                  <a:cxn ang="0">
                    <a:pos x="451" y="55"/>
                  </a:cxn>
                  <a:cxn ang="0">
                    <a:pos x="455" y="45"/>
                  </a:cxn>
                  <a:cxn ang="0">
                    <a:pos x="433" y="40"/>
                  </a:cxn>
                  <a:cxn ang="0">
                    <a:pos x="428" y="37"/>
                  </a:cxn>
                  <a:cxn ang="0">
                    <a:pos x="428" y="22"/>
                  </a:cxn>
                  <a:cxn ang="0">
                    <a:pos x="410" y="7"/>
                  </a:cxn>
                  <a:cxn ang="0">
                    <a:pos x="403" y="14"/>
                  </a:cxn>
                  <a:cxn ang="0">
                    <a:pos x="388" y="30"/>
                  </a:cxn>
                  <a:cxn ang="0">
                    <a:pos x="365" y="50"/>
                  </a:cxn>
                  <a:cxn ang="0">
                    <a:pos x="372" y="55"/>
                  </a:cxn>
                  <a:cxn ang="0">
                    <a:pos x="368" y="70"/>
                  </a:cxn>
                  <a:cxn ang="0">
                    <a:pos x="363" y="59"/>
                  </a:cxn>
                  <a:cxn ang="0">
                    <a:pos x="352" y="70"/>
                  </a:cxn>
                  <a:cxn ang="0">
                    <a:pos x="339" y="70"/>
                  </a:cxn>
                  <a:cxn ang="0">
                    <a:pos x="315" y="97"/>
                  </a:cxn>
                  <a:cxn ang="0">
                    <a:pos x="290" y="115"/>
                  </a:cxn>
                  <a:cxn ang="0">
                    <a:pos x="275" y="123"/>
                  </a:cxn>
                  <a:cxn ang="0">
                    <a:pos x="250" y="132"/>
                  </a:cxn>
                  <a:cxn ang="0">
                    <a:pos x="236" y="125"/>
                  </a:cxn>
                  <a:cxn ang="0">
                    <a:pos x="408" y="0"/>
                  </a:cxn>
                  <a:cxn ang="0">
                    <a:pos x="417" y="4"/>
                  </a:cxn>
                  <a:cxn ang="0">
                    <a:pos x="275" y="117"/>
                  </a:cxn>
                  <a:cxn ang="0">
                    <a:pos x="280" y="115"/>
                  </a:cxn>
                  <a:cxn ang="0">
                    <a:pos x="285" y="107"/>
                  </a:cxn>
                  <a:cxn ang="0">
                    <a:pos x="282" y="108"/>
                  </a:cxn>
                  <a:cxn ang="0">
                    <a:pos x="1" y="15"/>
                  </a:cxn>
                  <a:cxn ang="0">
                    <a:pos x="23" y="20"/>
                  </a:cxn>
                  <a:cxn ang="0">
                    <a:pos x="28" y="37"/>
                  </a:cxn>
                  <a:cxn ang="0">
                    <a:pos x="45" y="29"/>
                  </a:cxn>
                  <a:cxn ang="0">
                    <a:pos x="53" y="25"/>
                  </a:cxn>
                  <a:cxn ang="0">
                    <a:pos x="81" y="67"/>
                  </a:cxn>
                  <a:cxn ang="0">
                    <a:pos x="81" y="97"/>
                  </a:cxn>
                  <a:cxn ang="0">
                    <a:pos x="94" y="110"/>
                  </a:cxn>
                  <a:cxn ang="0">
                    <a:pos x="99" y="122"/>
                  </a:cxn>
                  <a:cxn ang="0">
                    <a:pos x="101" y="132"/>
                  </a:cxn>
                  <a:cxn ang="0">
                    <a:pos x="99" y="135"/>
                  </a:cxn>
                  <a:cxn ang="0">
                    <a:pos x="86" y="135"/>
                  </a:cxn>
                  <a:cxn ang="0">
                    <a:pos x="63" y="122"/>
                  </a:cxn>
                  <a:cxn ang="0">
                    <a:pos x="43" y="107"/>
                  </a:cxn>
                  <a:cxn ang="0">
                    <a:pos x="33" y="92"/>
                  </a:cxn>
                  <a:cxn ang="0">
                    <a:pos x="15" y="74"/>
                  </a:cxn>
                  <a:cxn ang="0">
                    <a:pos x="11" y="52"/>
                  </a:cxn>
                </a:cxnLst>
                <a:rect l="0" t="0" r="r" b="b"/>
                <a:pathLst>
                  <a:path w="465" h="148">
                    <a:moveTo>
                      <a:pt x="280" y="108"/>
                    </a:moveTo>
                    <a:lnTo>
                      <a:pt x="280" y="112"/>
                    </a:lnTo>
                    <a:lnTo>
                      <a:pt x="279" y="112"/>
                    </a:lnTo>
                    <a:lnTo>
                      <a:pt x="279" y="110"/>
                    </a:lnTo>
                    <a:lnTo>
                      <a:pt x="280" y="107"/>
                    </a:lnTo>
                    <a:lnTo>
                      <a:pt x="280" y="108"/>
                    </a:lnTo>
                    <a:lnTo>
                      <a:pt x="280" y="108"/>
                    </a:lnTo>
                    <a:close/>
                    <a:moveTo>
                      <a:pt x="0" y="40"/>
                    </a:moveTo>
                    <a:lnTo>
                      <a:pt x="0" y="45"/>
                    </a:lnTo>
                    <a:lnTo>
                      <a:pt x="3" y="49"/>
                    </a:lnTo>
                    <a:lnTo>
                      <a:pt x="5" y="47"/>
                    </a:lnTo>
                    <a:lnTo>
                      <a:pt x="5" y="44"/>
                    </a:lnTo>
                    <a:lnTo>
                      <a:pt x="1" y="4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  <a:moveTo>
                      <a:pt x="236" y="125"/>
                    </a:moveTo>
                    <a:lnTo>
                      <a:pt x="241" y="133"/>
                    </a:lnTo>
                    <a:lnTo>
                      <a:pt x="249" y="138"/>
                    </a:lnTo>
                    <a:lnTo>
                      <a:pt x="249" y="140"/>
                    </a:lnTo>
                    <a:lnTo>
                      <a:pt x="254" y="145"/>
                    </a:lnTo>
                    <a:lnTo>
                      <a:pt x="257" y="148"/>
                    </a:lnTo>
                    <a:lnTo>
                      <a:pt x="260" y="148"/>
                    </a:lnTo>
                    <a:lnTo>
                      <a:pt x="267" y="147"/>
                    </a:lnTo>
                    <a:lnTo>
                      <a:pt x="267" y="145"/>
                    </a:lnTo>
                    <a:lnTo>
                      <a:pt x="274" y="145"/>
                    </a:lnTo>
                    <a:lnTo>
                      <a:pt x="277" y="143"/>
                    </a:lnTo>
                    <a:lnTo>
                      <a:pt x="290" y="143"/>
                    </a:lnTo>
                    <a:lnTo>
                      <a:pt x="304" y="138"/>
                    </a:lnTo>
                    <a:lnTo>
                      <a:pt x="307" y="137"/>
                    </a:lnTo>
                    <a:lnTo>
                      <a:pt x="319" y="135"/>
                    </a:lnTo>
                    <a:lnTo>
                      <a:pt x="325" y="138"/>
                    </a:lnTo>
                    <a:lnTo>
                      <a:pt x="327" y="142"/>
                    </a:lnTo>
                    <a:lnTo>
                      <a:pt x="334" y="142"/>
                    </a:lnTo>
                    <a:lnTo>
                      <a:pt x="344" y="137"/>
                    </a:lnTo>
                    <a:lnTo>
                      <a:pt x="355" y="135"/>
                    </a:lnTo>
                    <a:lnTo>
                      <a:pt x="353" y="132"/>
                    </a:lnTo>
                    <a:lnTo>
                      <a:pt x="363" y="118"/>
                    </a:lnTo>
                    <a:lnTo>
                      <a:pt x="367" y="108"/>
                    </a:lnTo>
                    <a:lnTo>
                      <a:pt x="375" y="98"/>
                    </a:lnTo>
                    <a:lnTo>
                      <a:pt x="380" y="82"/>
                    </a:lnTo>
                    <a:lnTo>
                      <a:pt x="380" y="78"/>
                    </a:lnTo>
                    <a:lnTo>
                      <a:pt x="382" y="75"/>
                    </a:lnTo>
                    <a:lnTo>
                      <a:pt x="382" y="72"/>
                    </a:lnTo>
                    <a:lnTo>
                      <a:pt x="387" y="67"/>
                    </a:lnTo>
                    <a:lnTo>
                      <a:pt x="392" y="69"/>
                    </a:lnTo>
                    <a:lnTo>
                      <a:pt x="398" y="67"/>
                    </a:lnTo>
                    <a:lnTo>
                      <a:pt x="410" y="67"/>
                    </a:lnTo>
                    <a:lnTo>
                      <a:pt x="412" y="70"/>
                    </a:lnTo>
                    <a:lnTo>
                      <a:pt x="418" y="69"/>
                    </a:lnTo>
                    <a:lnTo>
                      <a:pt x="423" y="70"/>
                    </a:lnTo>
                    <a:lnTo>
                      <a:pt x="425" y="69"/>
                    </a:lnTo>
                    <a:lnTo>
                      <a:pt x="430" y="72"/>
                    </a:lnTo>
                    <a:lnTo>
                      <a:pt x="435" y="74"/>
                    </a:lnTo>
                    <a:lnTo>
                      <a:pt x="440" y="70"/>
                    </a:lnTo>
                    <a:lnTo>
                      <a:pt x="445" y="70"/>
                    </a:lnTo>
                    <a:lnTo>
                      <a:pt x="445" y="67"/>
                    </a:lnTo>
                    <a:lnTo>
                      <a:pt x="440" y="62"/>
                    </a:lnTo>
                    <a:lnTo>
                      <a:pt x="440" y="57"/>
                    </a:lnTo>
                    <a:lnTo>
                      <a:pt x="442" y="55"/>
                    </a:lnTo>
                    <a:lnTo>
                      <a:pt x="451" y="55"/>
                    </a:lnTo>
                    <a:lnTo>
                      <a:pt x="460" y="54"/>
                    </a:lnTo>
                    <a:lnTo>
                      <a:pt x="465" y="50"/>
                    </a:lnTo>
                    <a:lnTo>
                      <a:pt x="463" y="47"/>
                    </a:lnTo>
                    <a:lnTo>
                      <a:pt x="460" y="47"/>
                    </a:lnTo>
                    <a:lnTo>
                      <a:pt x="455" y="45"/>
                    </a:lnTo>
                    <a:lnTo>
                      <a:pt x="450" y="42"/>
                    </a:lnTo>
                    <a:lnTo>
                      <a:pt x="446" y="42"/>
                    </a:lnTo>
                    <a:lnTo>
                      <a:pt x="440" y="37"/>
                    </a:lnTo>
                    <a:lnTo>
                      <a:pt x="437" y="37"/>
                    </a:lnTo>
                    <a:lnTo>
                      <a:pt x="433" y="40"/>
                    </a:lnTo>
                    <a:lnTo>
                      <a:pt x="430" y="39"/>
                    </a:lnTo>
                    <a:lnTo>
                      <a:pt x="437" y="35"/>
                    </a:lnTo>
                    <a:lnTo>
                      <a:pt x="433" y="32"/>
                    </a:lnTo>
                    <a:lnTo>
                      <a:pt x="432" y="32"/>
                    </a:lnTo>
                    <a:lnTo>
                      <a:pt x="428" y="37"/>
                    </a:lnTo>
                    <a:lnTo>
                      <a:pt x="427" y="34"/>
                    </a:lnTo>
                    <a:lnTo>
                      <a:pt x="423" y="34"/>
                    </a:lnTo>
                    <a:lnTo>
                      <a:pt x="423" y="27"/>
                    </a:lnTo>
                    <a:lnTo>
                      <a:pt x="428" y="25"/>
                    </a:lnTo>
                    <a:lnTo>
                      <a:pt x="428" y="22"/>
                    </a:lnTo>
                    <a:lnTo>
                      <a:pt x="422" y="19"/>
                    </a:lnTo>
                    <a:lnTo>
                      <a:pt x="420" y="20"/>
                    </a:lnTo>
                    <a:lnTo>
                      <a:pt x="415" y="17"/>
                    </a:lnTo>
                    <a:lnTo>
                      <a:pt x="415" y="10"/>
                    </a:lnTo>
                    <a:lnTo>
                      <a:pt x="410" y="7"/>
                    </a:lnTo>
                    <a:lnTo>
                      <a:pt x="408" y="9"/>
                    </a:lnTo>
                    <a:lnTo>
                      <a:pt x="410" y="14"/>
                    </a:lnTo>
                    <a:lnTo>
                      <a:pt x="405" y="17"/>
                    </a:lnTo>
                    <a:lnTo>
                      <a:pt x="402" y="17"/>
                    </a:lnTo>
                    <a:lnTo>
                      <a:pt x="403" y="14"/>
                    </a:lnTo>
                    <a:lnTo>
                      <a:pt x="403" y="10"/>
                    </a:lnTo>
                    <a:lnTo>
                      <a:pt x="400" y="10"/>
                    </a:lnTo>
                    <a:lnTo>
                      <a:pt x="397" y="19"/>
                    </a:lnTo>
                    <a:lnTo>
                      <a:pt x="393" y="20"/>
                    </a:lnTo>
                    <a:lnTo>
                      <a:pt x="388" y="30"/>
                    </a:lnTo>
                    <a:lnTo>
                      <a:pt x="387" y="37"/>
                    </a:lnTo>
                    <a:lnTo>
                      <a:pt x="378" y="45"/>
                    </a:lnTo>
                    <a:lnTo>
                      <a:pt x="375" y="45"/>
                    </a:lnTo>
                    <a:lnTo>
                      <a:pt x="367" y="47"/>
                    </a:lnTo>
                    <a:lnTo>
                      <a:pt x="365" y="50"/>
                    </a:lnTo>
                    <a:lnTo>
                      <a:pt x="367" y="50"/>
                    </a:lnTo>
                    <a:lnTo>
                      <a:pt x="365" y="52"/>
                    </a:lnTo>
                    <a:lnTo>
                      <a:pt x="368" y="54"/>
                    </a:lnTo>
                    <a:lnTo>
                      <a:pt x="373" y="52"/>
                    </a:lnTo>
                    <a:lnTo>
                      <a:pt x="372" y="55"/>
                    </a:lnTo>
                    <a:lnTo>
                      <a:pt x="367" y="57"/>
                    </a:lnTo>
                    <a:lnTo>
                      <a:pt x="367" y="57"/>
                    </a:lnTo>
                    <a:lnTo>
                      <a:pt x="367" y="59"/>
                    </a:lnTo>
                    <a:lnTo>
                      <a:pt x="370" y="67"/>
                    </a:lnTo>
                    <a:lnTo>
                      <a:pt x="368" y="70"/>
                    </a:lnTo>
                    <a:lnTo>
                      <a:pt x="365" y="69"/>
                    </a:lnTo>
                    <a:lnTo>
                      <a:pt x="365" y="64"/>
                    </a:lnTo>
                    <a:lnTo>
                      <a:pt x="363" y="59"/>
                    </a:lnTo>
                    <a:lnTo>
                      <a:pt x="363" y="60"/>
                    </a:lnTo>
                    <a:lnTo>
                      <a:pt x="363" y="59"/>
                    </a:lnTo>
                    <a:lnTo>
                      <a:pt x="360" y="59"/>
                    </a:lnTo>
                    <a:lnTo>
                      <a:pt x="358" y="62"/>
                    </a:lnTo>
                    <a:lnTo>
                      <a:pt x="360" y="72"/>
                    </a:lnTo>
                    <a:lnTo>
                      <a:pt x="357" y="74"/>
                    </a:lnTo>
                    <a:lnTo>
                      <a:pt x="352" y="70"/>
                    </a:lnTo>
                    <a:lnTo>
                      <a:pt x="348" y="64"/>
                    </a:lnTo>
                    <a:lnTo>
                      <a:pt x="345" y="64"/>
                    </a:lnTo>
                    <a:lnTo>
                      <a:pt x="342" y="62"/>
                    </a:lnTo>
                    <a:lnTo>
                      <a:pt x="339" y="65"/>
                    </a:lnTo>
                    <a:lnTo>
                      <a:pt x="339" y="70"/>
                    </a:lnTo>
                    <a:lnTo>
                      <a:pt x="332" y="75"/>
                    </a:lnTo>
                    <a:lnTo>
                      <a:pt x="330" y="80"/>
                    </a:lnTo>
                    <a:lnTo>
                      <a:pt x="324" y="85"/>
                    </a:lnTo>
                    <a:lnTo>
                      <a:pt x="322" y="90"/>
                    </a:lnTo>
                    <a:lnTo>
                      <a:pt x="315" y="97"/>
                    </a:lnTo>
                    <a:lnTo>
                      <a:pt x="309" y="102"/>
                    </a:lnTo>
                    <a:lnTo>
                      <a:pt x="290" y="105"/>
                    </a:lnTo>
                    <a:lnTo>
                      <a:pt x="287" y="107"/>
                    </a:lnTo>
                    <a:lnTo>
                      <a:pt x="289" y="112"/>
                    </a:lnTo>
                    <a:lnTo>
                      <a:pt x="290" y="115"/>
                    </a:lnTo>
                    <a:lnTo>
                      <a:pt x="289" y="113"/>
                    </a:lnTo>
                    <a:lnTo>
                      <a:pt x="285" y="115"/>
                    </a:lnTo>
                    <a:lnTo>
                      <a:pt x="279" y="117"/>
                    </a:lnTo>
                    <a:lnTo>
                      <a:pt x="275" y="118"/>
                    </a:lnTo>
                    <a:lnTo>
                      <a:pt x="275" y="123"/>
                    </a:lnTo>
                    <a:lnTo>
                      <a:pt x="274" y="130"/>
                    </a:lnTo>
                    <a:lnTo>
                      <a:pt x="270" y="135"/>
                    </a:lnTo>
                    <a:lnTo>
                      <a:pt x="270" y="137"/>
                    </a:lnTo>
                    <a:lnTo>
                      <a:pt x="260" y="135"/>
                    </a:lnTo>
                    <a:lnTo>
                      <a:pt x="250" y="132"/>
                    </a:lnTo>
                    <a:lnTo>
                      <a:pt x="244" y="132"/>
                    </a:lnTo>
                    <a:lnTo>
                      <a:pt x="242" y="128"/>
                    </a:lnTo>
                    <a:lnTo>
                      <a:pt x="237" y="125"/>
                    </a:lnTo>
                    <a:lnTo>
                      <a:pt x="236" y="125"/>
                    </a:lnTo>
                    <a:lnTo>
                      <a:pt x="236" y="125"/>
                    </a:lnTo>
                    <a:close/>
                    <a:moveTo>
                      <a:pt x="408" y="0"/>
                    </a:moveTo>
                    <a:lnTo>
                      <a:pt x="402" y="4"/>
                    </a:lnTo>
                    <a:lnTo>
                      <a:pt x="405" y="4"/>
                    </a:lnTo>
                    <a:lnTo>
                      <a:pt x="408" y="2"/>
                    </a:lnTo>
                    <a:lnTo>
                      <a:pt x="408" y="0"/>
                    </a:lnTo>
                    <a:lnTo>
                      <a:pt x="408" y="0"/>
                    </a:lnTo>
                    <a:close/>
                    <a:moveTo>
                      <a:pt x="415" y="0"/>
                    </a:moveTo>
                    <a:lnTo>
                      <a:pt x="410" y="4"/>
                    </a:lnTo>
                    <a:lnTo>
                      <a:pt x="412" y="5"/>
                    </a:lnTo>
                    <a:lnTo>
                      <a:pt x="417" y="4"/>
                    </a:lnTo>
                    <a:lnTo>
                      <a:pt x="417" y="0"/>
                    </a:lnTo>
                    <a:lnTo>
                      <a:pt x="415" y="0"/>
                    </a:lnTo>
                    <a:lnTo>
                      <a:pt x="415" y="0"/>
                    </a:lnTo>
                    <a:close/>
                    <a:moveTo>
                      <a:pt x="280" y="115"/>
                    </a:moveTo>
                    <a:lnTo>
                      <a:pt x="275" y="117"/>
                    </a:lnTo>
                    <a:lnTo>
                      <a:pt x="279" y="113"/>
                    </a:lnTo>
                    <a:lnTo>
                      <a:pt x="280" y="115"/>
                    </a:lnTo>
                    <a:lnTo>
                      <a:pt x="280" y="115"/>
                    </a:lnTo>
                    <a:close/>
                    <a:moveTo>
                      <a:pt x="284" y="113"/>
                    </a:moveTo>
                    <a:lnTo>
                      <a:pt x="280" y="115"/>
                    </a:lnTo>
                    <a:lnTo>
                      <a:pt x="280" y="113"/>
                    </a:lnTo>
                    <a:lnTo>
                      <a:pt x="280" y="112"/>
                    </a:lnTo>
                    <a:lnTo>
                      <a:pt x="284" y="113"/>
                    </a:lnTo>
                    <a:lnTo>
                      <a:pt x="284" y="113"/>
                    </a:lnTo>
                    <a:close/>
                    <a:moveTo>
                      <a:pt x="285" y="107"/>
                    </a:moveTo>
                    <a:lnTo>
                      <a:pt x="287" y="112"/>
                    </a:lnTo>
                    <a:lnTo>
                      <a:pt x="285" y="113"/>
                    </a:lnTo>
                    <a:lnTo>
                      <a:pt x="282" y="110"/>
                    </a:lnTo>
                    <a:lnTo>
                      <a:pt x="282" y="108"/>
                    </a:lnTo>
                    <a:lnTo>
                      <a:pt x="282" y="108"/>
                    </a:lnTo>
                    <a:lnTo>
                      <a:pt x="284" y="108"/>
                    </a:lnTo>
                    <a:lnTo>
                      <a:pt x="285" y="107"/>
                    </a:lnTo>
                    <a:lnTo>
                      <a:pt x="285" y="107"/>
                    </a:lnTo>
                    <a:close/>
                    <a:moveTo>
                      <a:pt x="0" y="22"/>
                    </a:moveTo>
                    <a:lnTo>
                      <a:pt x="1" y="15"/>
                    </a:lnTo>
                    <a:lnTo>
                      <a:pt x="5" y="12"/>
                    </a:lnTo>
                    <a:lnTo>
                      <a:pt x="10" y="15"/>
                    </a:lnTo>
                    <a:lnTo>
                      <a:pt x="16" y="19"/>
                    </a:lnTo>
                    <a:lnTo>
                      <a:pt x="18" y="20"/>
                    </a:lnTo>
                    <a:lnTo>
                      <a:pt x="23" y="20"/>
                    </a:lnTo>
                    <a:lnTo>
                      <a:pt x="26" y="24"/>
                    </a:lnTo>
                    <a:lnTo>
                      <a:pt x="25" y="30"/>
                    </a:lnTo>
                    <a:lnTo>
                      <a:pt x="21" y="32"/>
                    </a:lnTo>
                    <a:lnTo>
                      <a:pt x="21" y="35"/>
                    </a:lnTo>
                    <a:lnTo>
                      <a:pt x="28" y="37"/>
                    </a:lnTo>
                    <a:lnTo>
                      <a:pt x="35" y="34"/>
                    </a:lnTo>
                    <a:lnTo>
                      <a:pt x="38" y="32"/>
                    </a:lnTo>
                    <a:lnTo>
                      <a:pt x="41" y="35"/>
                    </a:lnTo>
                    <a:lnTo>
                      <a:pt x="45" y="34"/>
                    </a:lnTo>
                    <a:lnTo>
                      <a:pt x="45" y="29"/>
                    </a:lnTo>
                    <a:lnTo>
                      <a:pt x="46" y="29"/>
                    </a:lnTo>
                    <a:lnTo>
                      <a:pt x="46" y="29"/>
                    </a:lnTo>
                    <a:lnTo>
                      <a:pt x="49" y="27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8" y="30"/>
                    </a:lnTo>
                    <a:lnTo>
                      <a:pt x="74" y="47"/>
                    </a:lnTo>
                    <a:lnTo>
                      <a:pt x="79" y="55"/>
                    </a:lnTo>
                    <a:lnTo>
                      <a:pt x="83" y="64"/>
                    </a:lnTo>
                    <a:lnTo>
                      <a:pt x="81" y="67"/>
                    </a:lnTo>
                    <a:lnTo>
                      <a:pt x="81" y="77"/>
                    </a:lnTo>
                    <a:lnTo>
                      <a:pt x="79" y="78"/>
                    </a:lnTo>
                    <a:lnTo>
                      <a:pt x="79" y="83"/>
                    </a:lnTo>
                    <a:lnTo>
                      <a:pt x="81" y="85"/>
                    </a:lnTo>
                    <a:lnTo>
                      <a:pt x="81" y="97"/>
                    </a:lnTo>
                    <a:lnTo>
                      <a:pt x="84" y="102"/>
                    </a:lnTo>
                    <a:lnTo>
                      <a:pt x="91" y="107"/>
                    </a:lnTo>
                    <a:lnTo>
                      <a:pt x="94" y="107"/>
                    </a:lnTo>
                    <a:lnTo>
                      <a:pt x="96" y="108"/>
                    </a:lnTo>
                    <a:lnTo>
                      <a:pt x="94" y="110"/>
                    </a:lnTo>
                    <a:lnTo>
                      <a:pt x="96" y="117"/>
                    </a:lnTo>
                    <a:lnTo>
                      <a:pt x="98" y="118"/>
                    </a:lnTo>
                    <a:lnTo>
                      <a:pt x="98" y="120"/>
                    </a:lnTo>
                    <a:lnTo>
                      <a:pt x="98" y="122"/>
                    </a:lnTo>
                    <a:lnTo>
                      <a:pt x="99" y="122"/>
                    </a:lnTo>
                    <a:lnTo>
                      <a:pt x="104" y="132"/>
                    </a:lnTo>
                    <a:lnTo>
                      <a:pt x="104" y="137"/>
                    </a:lnTo>
                    <a:lnTo>
                      <a:pt x="101" y="135"/>
                    </a:lnTo>
                    <a:lnTo>
                      <a:pt x="101" y="133"/>
                    </a:lnTo>
                    <a:lnTo>
                      <a:pt x="101" y="132"/>
                    </a:lnTo>
                    <a:lnTo>
                      <a:pt x="98" y="130"/>
                    </a:lnTo>
                    <a:lnTo>
                      <a:pt x="99" y="132"/>
                    </a:lnTo>
                    <a:lnTo>
                      <a:pt x="99" y="133"/>
                    </a:lnTo>
                    <a:lnTo>
                      <a:pt x="98" y="135"/>
                    </a:lnTo>
                    <a:lnTo>
                      <a:pt x="99" y="135"/>
                    </a:lnTo>
                    <a:lnTo>
                      <a:pt x="99" y="135"/>
                    </a:lnTo>
                    <a:lnTo>
                      <a:pt x="94" y="138"/>
                    </a:lnTo>
                    <a:lnTo>
                      <a:pt x="93" y="137"/>
                    </a:lnTo>
                    <a:lnTo>
                      <a:pt x="91" y="138"/>
                    </a:lnTo>
                    <a:lnTo>
                      <a:pt x="86" y="135"/>
                    </a:lnTo>
                    <a:lnTo>
                      <a:pt x="84" y="132"/>
                    </a:lnTo>
                    <a:lnTo>
                      <a:pt x="76" y="132"/>
                    </a:lnTo>
                    <a:lnTo>
                      <a:pt x="68" y="127"/>
                    </a:lnTo>
                    <a:lnTo>
                      <a:pt x="64" y="123"/>
                    </a:lnTo>
                    <a:lnTo>
                      <a:pt x="63" y="122"/>
                    </a:lnTo>
                    <a:lnTo>
                      <a:pt x="59" y="123"/>
                    </a:lnTo>
                    <a:lnTo>
                      <a:pt x="56" y="122"/>
                    </a:lnTo>
                    <a:lnTo>
                      <a:pt x="49" y="117"/>
                    </a:lnTo>
                    <a:lnTo>
                      <a:pt x="49" y="113"/>
                    </a:lnTo>
                    <a:lnTo>
                      <a:pt x="43" y="107"/>
                    </a:lnTo>
                    <a:lnTo>
                      <a:pt x="35" y="105"/>
                    </a:lnTo>
                    <a:lnTo>
                      <a:pt x="31" y="102"/>
                    </a:lnTo>
                    <a:lnTo>
                      <a:pt x="31" y="98"/>
                    </a:lnTo>
                    <a:lnTo>
                      <a:pt x="35" y="95"/>
                    </a:lnTo>
                    <a:lnTo>
                      <a:pt x="33" y="92"/>
                    </a:lnTo>
                    <a:lnTo>
                      <a:pt x="28" y="90"/>
                    </a:lnTo>
                    <a:lnTo>
                      <a:pt x="23" y="83"/>
                    </a:lnTo>
                    <a:lnTo>
                      <a:pt x="16" y="80"/>
                    </a:lnTo>
                    <a:lnTo>
                      <a:pt x="15" y="77"/>
                    </a:lnTo>
                    <a:lnTo>
                      <a:pt x="15" y="74"/>
                    </a:lnTo>
                    <a:lnTo>
                      <a:pt x="11" y="72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3" y="59"/>
                    </a:lnTo>
                    <a:lnTo>
                      <a:pt x="11" y="52"/>
                    </a:lnTo>
                    <a:lnTo>
                      <a:pt x="8" y="47"/>
                    </a:lnTo>
                    <a:lnTo>
                      <a:pt x="5" y="29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2" name="Freeform 18">
                <a:extLst>
                  <a:ext uri="{FF2B5EF4-FFF2-40B4-BE49-F238E27FC236}">
                    <a16:creationId xmlns:a16="http://schemas.microsoft.com/office/drawing/2014/main" id="{E8278016-5DB3-7846-944B-89A8062917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2660" y="3212647"/>
                <a:ext cx="16053" cy="11414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2"/>
                  </a:cxn>
                  <a:cxn ang="0">
                    <a:pos x="6" y="12"/>
                  </a:cxn>
                  <a:cxn ang="0">
                    <a:pos x="10" y="18"/>
                  </a:cxn>
                  <a:cxn ang="0">
                    <a:pos x="15" y="22"/>
                  </a:cxn>
                  <a:cxn ang="0">
                    <a:pos x="18" y="20"/>
                  </a:cxn>
                  <a:cxn ang="0">
                    <a:pos x="16" y="10"/>
                  </a:cxn>
                  <a:cxn ang="0">
                    <a:pos x="18" y="7"/>
                  </a:cxn>
                  <a:cxn ang="0">
                    <a:pos x="21" y="7"/>
                  </a:cxn>
                  <a:cxn ang="0">
                    <a:pos x="21" y="5"/>
                  </a:cxn>
                  <a:cxn ang="0">
                    <a:pos x="20" y="0"/>
                  </a:cxn>
                  <a:cxn ang="0">
                    <a:pos x="16" y="2"/>
                  </a:cxn>
                  <a:cxn ang="0">
                    <a:pos x="10" y="7"/>
                  </a:cxn>
                  <a:cxn ang="0">
                    <a:pos x="2" y="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21" y="7"/>
                  </a:cxn>
                  <a:cxn ang="0">
                    <a:pos x="23" y="12"/>
                  </a:cxn>
                  <a:cxn ang="0">
                    <a:pos x="23" y="17"/>
                  </a:cxn>
                  <a:cxn ang="0">
                    <a:pos x="26" y="18"/>
                  </a:cxn>
                  <a:cxn ang="0">
                    <a:pos x="28" y="1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3" y="7"/>
                  </a:cxn>
                  <a:cxn ang="0">
                    <a:pos x="21" y="7"/>
                  </a:cxn>
                </a:cxnLst>
                <a:rect l="0" t="0" r="r" b="b"/>
                <a:pathLst>
                  <a:path w="28" h="22">
                    <a:moveTo>
                      <a:pt x="0" y="10"/>
                    </a:moveTo>
                    <a:lnTo>
                      <a:pt x="3" y="12"/>
                    </a:lnTo>
                    <a:lnTo>
                      <a:pt x="6" y="12"/>
                    </a:lnTo>
                    <a:lnTo>
                      <a:pt x="10" y="18"/>
                    </a:lnTo>
                    <a:lnTo>
                      <a:pt x="15" y="22"/>
                    </a:lnTo>
                    <a:lnTo>
                      <a:pt x="18" y="20"/>
                    </a:lnTo>
                    <a:lnTo>
                      <a:pt x="16" y="10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0" y="7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21" y="7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3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3" name="Freeform 19">
                <a:extLst>
                  <a:ext uri="{FF2B5EF4-FFF2-40B4-BE49-F238E27FC236}">
                    <a16:creationId xmlns:a16="http://schemas.microsoft.com/office/drawing/2014/main" id="{7DFB3456-2F83-0F49-B1B7-F9E5F95CD4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30349" y="2988528"/>
                <a:ext cx="107025" cy="182616"/>
              </a:xfrm>
              <a:custGeom>
                <a:avLst/>
                <a:gdLst/>
                <a:ahLst/>
                <a:cxnLst>
                  <a:cxn ang="0">
                    <a:pos x="8" y="18"/>
                  </a:cxn>
                  <a:cxn ang="0">
                    <a:pos x="21" y="22"/>
                  </a:cxn>
                  <a:cxn ang="0">
                    <a:pos x="36" y="17"/>
                  </a:cxn>
                  <a:cxn ang="0">
                    <a:pos x="54" y="15"/>
                  </a:cxn>
                  <a:cxn ang="0">
                    <a:pos x="76" y="0"/>
                  </a:cxn>
                  <a:cxn ang="0">
                    <a:pos x="99" y="10"/>
                  </a:cxn>
                  <a:cxn ang="0">
                    <a:pos x="108" y="18"/>
                  </a:cxn>
                  <a:cxn ang="0">
                    <a:pos x="121" y="38"/>
                  </a:cxn>
                  <a:cxn ang="0">
                    <a:pos x="141" y="42"/>
                  </a:cxn>
                  <a:cxn ang="0">
                    <a:pos x="141" y="48"/>
                  </a:cxn>
                  <a:cxn ang="0">
                    <a:pos x="124" y="53"/>
                  </a:cxn>
                  <a:cxn ang="0">
                    <a:pos x="116" y="58"/>
                  </a:cxn>
                  <a:cxn ang="0">
                    <a:pos x="109" y="62"/>
                  </a:cxn>
                  <a:cxn ang="0">
                    <a:pos x="108" y="73"/>
                  </a:cxn>
                  <a:cxn ang="0">
                    <a:pos x="99" y="83"/>
                  </a:cxn>
                  <a:cxn ang="0">
                    <a:pos x="93" y="91"/>
                  </a:cxn>
                  <a:cxn ang="0">
                    <a:pos x="91" y="108"/>
                  </a:cxn>
                  <a:cxn ang="0">
                    <a:pos x="103" y="120"/>
                  </a:cxn>
                  <a:cxn ang="0">
                    <a:pos x="114" y="135"/>
                  </a:cxn>
                  <a:cxn ang="0">
                    <a:pos x="132" y="153"/>
                  </a:cxn>
                  <a:cxn ang="0">
                    <a:pos x="174" y="184"/>
                  </a:cxn>
                  <a:cxn ang="0">
                    <a:pos x="181" y="199"/>
                  </a:cxn>
                  <a:cxn ang="0">
                    <a:pos x="189" y="216"/>
                  </a:cxn>
                  <a:cxn ang="0">
                    <a:pos x="192" y="234"/>
                  </a:cxn>
                  <a:cxn ang="0">
                    <a:pos x="197" y="248"/>
                  </a:cxn>
                  <a:cxn ang="0">
                    <a:pos x="196" y="253"/>
                  </a:cxn>
                  <a:cxn ang="0">
                    <a:pos x="194" y="262"/>
                  </a:cxn>
                  <a:cxn ang="0">
                    <a:pos x="192" y="279"/>
                  </a:cxn>
                  <a:cxn ang="0">
                    <a:pos x="179" y="294"/>
                  </a:cxn>
                  <a:cxn ang="0">
                    <a:pos x="162" y="306"/>
                  </a:cxn>
                  <a:cxn ang="0">
                    <a:pos x="137" y="311"/>
                  </a:cxn>
                  <a:cxn ang="0">
                    <a:pos x="131" y="307"/>
                  </a:cxn>
                  <a:cxn ang="0">
                    <a:pos x="136" y="314"/>
                  </a:cxn>
                  <a:cxn ang="0">
                    <a:pos x="131" y="322"/>
                  </a:cxn>
                  <a:cxn ang="0">
                    <a:pos x="123" y="324"/>
                  </a:cxn>
                  <a:cxn ang="0">
                    <a:pos x="121" y="332"/>
                  </a:cxn>
                  <a:cxn ang="0">
                    <a:pos x="108" y="339"/>
                  </a:cxn>
                  <a:cxn ang="0">
                    <a:pos x="93" y="352"/>
                  </a:cxn>
                  <a:cxn ang="0">
                    <a:pos x="94" y="346"/>
                  </a:cxn>
                  <a:cxn ang="0">
                    <a:pos x="93" y="334"/>
                  </a:cxn>
                  <a:cxn ang="0">
                    <a:pos x="101" y="316"/>
                  </a:cxn>
                  <a:cxn ang="0">
                    <a:pos x="83" y="314"/>
                  </a:cxn>
                  <a:cxn ang="0">
                    <a:pos x="93" y="302"/>
                  </a:cxn>
                  <a:cxn ang="0">
                    <a:pos x="118" y="297"/>
                  </a:cxn>
                  <a:cxn ang="0">
                    <a:pos x="121" y="289"/>
                  </a:cxn>
                  <a:cxn ang="0">
                    <a:pos x="131" y="272"/>
                  </a:cxn>
                  <a:cxn ang="0">
                    <a:pos x="152" y="256"/>
                  </a:cxn>
                  <a:cxn ang="0">
                    <a:pos x="149" y="226"/>
                  </a:cxn>
                  <a:cxn ang="0">
                    <a:pos x="146" y="208"/>
                  </a:cxn>
                  <a:cxn ang="0">
                    <a:pos x="146" y="188"/>
                  </a:cxn>
                  <a:cxn ang="0">
                    <a:pos x="142" y="174"/>
                  </a:cxn>
                  <a:cxn ang="0">
                    <a:pos x="131" y="164"/>
                  </a:cxn>
                  <a:cxn ang="0">
                    <a:pos x="119" y="153"/>
                  </a:cxn>
                  <a:cxn ang="0">
                    <a:pos x="101" y="136"/>
                  </a:cxn>
                  <a:cxn ang="0">
                    <a:pos x="69" y="115"/>
                  </a:cxn>
                  <a:cxn ang="0">
                    <a:pos x="58" y="103"/>
                  </a:cxn>
                  <a:cxn ang="0">
                    <a:pos x="68" y="91"/>
                  </a:cxn>
                  <a:cxn ang="0">
                    <a:pos x="69" y="75"/>
                  </a:cxn>
                  <a:cxn ang="0">
                    <a:pos x="53" y="62"/>
                  </a:cxn>
                  <a:cxn ang="0">
                    <a:pos x="18" y="48"/>
                  </a:cxn>
                  <a:cxn ang="0">
                    <a:pos x="1" y="27"/>
                  </a:cxn>
                  <a:cxn ang="0">
                    <a:pos x="68" y="316"/>
                  </a:cxn>
                  <a:cxn ang="0">
                    <a:pos x="71" y="307"/>
                  </a:cxn>
                </a:cxnLst>
                <a:rect l="0" t="0" r="r" b="b"/>
                <a:pathLst>
                  <a:path w="199" h="352">
                    <a:moveTo>
                      <a:pt x="0" y="25"/>
                    </a:moveTo>
                    <a:lnTo>
                      <a:pt x="1" y="23"/>
                    </a:lnTo>
                    <a:lnTo>
                      <a:pt x="3" y="23"/>
                    </a:lnTo>
                    <a:lnTo>
                      <a:pt x="5" y="20"/>
                    </a:lnTo>
                    <a:lnTo>
                      <a:pt x="8" y="18"/>
                    </a:lnTo>
                    <a:lnTo>
                      <a:pt x="13" y="17"/>
                    </a:lnTo>
                    <a:lnTo>
                      <a:pt x="16" y="17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21" y="22"/>
                    </a:lnTo>
                    <a:lnTo>
                      <a:pt x="21" y="18"/>
                    </a:lnTo>
                    <a:lnTo>
                      <a:pt x="25" y="15"/>
                    </a:lnTo>
                    <a:lnTo>
                      <a:pt x="29" y="20"/>
                    </a:lnTo>
                    <a:lnTo>
                      <a:pt x="33" y="17"/>
                    </a:lnTo>
                    <a:lnTo>
                      <a:pt x="36" y="17"/>
                    </a:lnTo>
                    <a:lnTo>
                      <a:pt x="36" y="20"/>
                    </a:lnTo>
                    <a:lnTo>
                      <a:pt x="43" y="17"/>
                    </a:lnTo>
                    <a:lnTo>
                      <a:pt x="43" y="15"/>
                    </a:lnTo>
                    <a:lnTo>
                      <a:pt x="49" y="13"/>
                    </a:lnTo>
                    <a:lnTo>
                      <a:pt x="54" y="15"/>
                    </a:lnTo>
                    <a:lnTo>
                      <a:pt x="61" y="13"/>
                    </a:lnTo>
                    <a:lnTo>
                      <a:pt x="61" y="7"/>
                    </a:lnTo>
                    <a:lnTo>
                      <a:pt x="66" y="3"/>
                    </a:lnTo>
                    <a:lnTo>
                      <a:pt x="73" y="3"/>
                    </a:lnTo>
                    <a:lnTo>
                      <a:pt x="76" y="0"/>
                    </a:lnTo>
                    <a:lnTo>
                      <a:pt x="81" y="3"/>
                    </a:lnTo>
                    <a:lnTo>
                      <a:pt x="81" y="7"/>
                    </a:lnTo>
                    <a:lnTo>
                      <a:pt x="86" y="8"/>
                    </a:lnTo>
                    <a:lnTo>
                      <a:pt x="89" y="10"/>
                    </a:lnTo>
                    <a:lnTo>
                      <a:pt x="99" y="10"/>
                    </a:lnTo>
                    <a:lnTo>
                      <a:pt x="101" y="13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1" y="18"/>
                    </a:lnTo>
                    <a:lnTo>
                      <a:pt x="108" y="18"/>
                    </a:lnTo>
                    <a:lnTo>
                      <a:pt x="106" y="27"/>
                    </a:lnTo>
                    <a:lnTo>
                      <a:pt x="108" y="27"/>
                    </a:lnTo>
                    <a:lnTo>
                      <a:pt x="109" y="32"/>
                    </a:lnTo>
                    <a:lnTo>
                      <a:pt x="119" y="35"/>
                    </a:lnTo>
                    <a:lnTo>
                      <a:pt x="121" y="38"/>
                    </a:lnTo>
                    <a:lnTo>
                      <a:pt x="126" y="40"/>
                    </a:lnTo>
                    <a:lnTo>
                      <a:pt x="131" y="42"/>
                    </a:lnTo>
                    <a:lnTo>
                      <a:pt x="136" y="40"/>
                    </a:lnTo>
                    <a:lnTo>
                      <a:pt x="137" y="42"/>
                    </a:lnTo>
                    <a:lnTo>
                      <a:pt x="141" y="42"/>
                    </a:lnTo>
                    <a:lnTo>
                      <a:pt x="144" y="43"/>
                    </a:lnTo>
                    <a:lnTo>
                      <a:pt x="144" y="43"/>
                    </a:lnTo>
                    <a:lnTo>
                      <a:pt x="146" y="45"/>
                    </a:lnTo>
                    <a:lnTo>
                      <a:pt x="144" y="48"/>
                    </a:lnTo>
                    <a:lnTo>
                      <a:pt x="141" y="48"/>
                    </a:lnTo>
                    <a:lnTo>
                      <a:pt x="139" y="48"/>
                    </a:lnTo>
                    <a:lnTo>
                      <a:pt x="134" y="52"/>
                    </a:lnTo>
                    <a:lnTo>
                      <a:pt x="131" y="50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6" y="57"/>
                    </a:lnTo>
                    <a:lnTo>
                      <a:pt x="124" y="58"/>
                    </a:lnTo>
                    <a:lnTo>
                      <a:pt x="123" y="60"/>
                    </a:lnTo>
                    <a:lnTo>
                      <a:pt x="121" y="58"/>
                    </a:lnTo>
                    <a:lnTo>
                      <a:pt x="116" y="58"/>
                    </a:lnTo>
                    <a:lnTo>
                      <a:pt x="114" y="62"/>
                    </a:lnTo>
                    <a:lnTo>
                      <a:pt x="113" y="62"/>
                    </a:lnTo>
                    <a:lnTo>
                      <a:pt x="111" y="60"/>
                    </a:lnTo>
                    <a:lnTo>
                      <a:pt x="109" y="58"/>
                    </a:lnTo>
                    <a:lnTo>
                      <a:pt x="109" y="62"/>
                    </a:lnTo>
                    <a:lnTo>
                      <a:pt x="108" y="65"/>
                    </a:lnTo>
                    <a:lnTo>
                      <a:pt x="109" y="65"/>
                    </a:lnTo>
                    <a:lnTo>
                      <a:pt x="108" y="68"/>
                    </a:lnTo>
                    <a:lnTo>
                      <a:pt x="108" y="73"/>
                    </a:lnTo>
                    <a:lnTo>
                      <a:pt x="108" y="73"/>
                    </a:lnTo>
                    <a:lnTo>
                      <a:pt x="109" y="76"/>
                    </a:lnTo>
                    <a:lnTo>
                      <a:pt x="108" y="78"/>
                    </a:lnTo>
                    <a:lnTo>
                      <a:pt x="106" y="78"/>
                    </a:lnTo>
                    <a:lnTo>
                      <a:pt x="103" y="83"/>
                    </a:lnTo>
                    <a:lnTo>
                      <a:pt x="99" y="83"/>
                    </a:lnTo>
                    <a:lnTo>
                      <a:pt x="98" y="81"/>
                    </a:lnTo>
                    <a:lnTo>
                      <a:pt x="98" y="83"/>
                    </a:lnTo>
                    <a:lnTo>
                      <a:pt x="96" y="85"/>
                    </a:lnTo>
                    <a:lnTo>
                      <a:pt x="94" y="90"/>
                    </a:lnTo>
                    <a:lnTo>
                      <a:pt x="93" y="91"/>
                    </a:lnTo>
                    <a:lnTo>
                      <a:pt x="93" y="95"/>
                    </a:lnTo>
                    <a:lnTo>
                      <a:pt x="94" y="95"/>
                    </a:lnTo>
                    <a:lnTo>
                      <a:pt x="96" y="96"/>
                    </a:lnTo>
                    <a:lnTo>
                      <a:pt x="93" y="105"/>
                    </a:lnTo>
                    <a:lnTo>
                      <a:pt x="91" y="108"/>
                    </a:lnTo>
                    <a:lnTo>
                      <a:pt x="96" y="111"/>
                    </a:lnTo>
                    <a:lnTo>
                      <a:pt x="96" y="115"/>
                    </a:lnTo>
                    <a:lnTo>
                      <a:pt x="91" y="115"/>
                    </a:lnTo>
                    <a:lnTo>
                      <a:pt x="96" y="116"/>
                    </a:lnTo>
                    <a:lnTo>
                      <a:pt x="103" y="120"/>
                    </a:lnTo>
                    <a:lnTo>
                      <a:pt x="109" y="126"/>
                    </a:lnTo>
                    <a:lnTo>
                      <a:pt x="111" y="126"/>
                    </a:lnTo>
                    <a:lnTo>
                      <a:pt x="114" y="131"/>
                    </a:lnTo>
                    <a:lnTo>
                      <a:pt x="114" y="133"/>
                    </a:lnTo>
                    <a:lnTo>
                      <a:pt x="114" y="135"/>
                    </a:lnTo>
                    <a:lnTo>
                      <a:pt x="116" y="140"/>
                    </a:lnTo>
                    <a:lnTo>
                      <a:pt x="116" y="143"/>
                    </a:lnTo>
                    <a:lnTo>
                      <a:pt x="126" y="150"/>
                    </a:lnTo>
                    <a:lnTo>
                      <a:pt x="131" y="153"/>
                    </a:lnTo>
                    <a:lnTo>
                      <a:pt x="132" y="153"/>
                    </a:lnTo>
                    <a:lnTo>
                      <a:pt x="144" y="160"/>
                    </a:lnTo>
                    <a:lnTo>
                      <a:pt x="156" y="168"/>
                    </a:lnTo>
                    <a:lnTo>
                      <a:pt x="159" y="171"/>
                    </a:lnTo>
                    <a:lnTo>
                      <a:pt x="171" y="179"/>
                    </a:lnTo>
                    <a:lnTo>
                      <a:pt x="174" y="184"/>
                    </a:lnTo>
                    <a:lnTo>
                      <a:pt x="174" y="188"/>
                    </a:lnTo>
                    <a:lnTo>
                      <a:pt x="176" y="188"/>
                    </a:lnTo>
                    <a:lnTo>
                      <a:pt x="176" y="191"/>
                    </a:lnTo>
                    <a:lnTo>
                      <a:pt x="181" y="196"/>
                    </a:lnTo>
                    <a:lnTo>
                      <a:pt x="181" y="199"/>
                    </a:lnTo>
                    <a:lnTo>
                      <a:pt x="182" y="201"/>
                    </a:lnTo>
                    <a:lnTo>
                      <a:pt x="181" y="203"/>
                    </a:lnTo>
                    <a:lnTo>
                      <a:pt x="186" y="208"/>
                    </a:lnTo>
                    <a:lnTo>
                      <a:pt x="186" y="214"/>
                    </a:lnTo>
                    <a:lnTo>
                      <a:pt x="189" y="216"/>
                    </a:lnTo>
                    <a:lnTo>
                      <a:pt x="191" y="223"/>
                    </a:lnTo>
                    <a:lnTo>
                      <a:pt x="192" y="224"/>
                    </a:lnTo>
                    <a:lnTo>
                      <a:pt x="192" y="229"/>
                    </a:lnTo>
                    <a:lnTo>
                      <a:pt x="191" y="231"/>
                    </a:lnTo>
                    <a:lnTo>
                      <a:pt x="192" y="234"/>
                    </a:lnTo>
                    <a:lnTo>
                      <a:pt x="192" y="236"/>
                    </a:lnTo>
                    <a:lnTo>
                      <a:pt x="194" y="243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7" y="248"/>
                    </a:lnTo>
                    <a:lnTo>
                      <a:pt x="199" y="253"/>
                    </a:lnTo>
                    <a:lnTo>
                      <a:pt x="199" y="256"/>
                    </a:lnTo>
                    <a:lnTo>
                      <a:pt x="197" y="256"/>
                    </a:lnTo>
                    <a:lnTo>
                      <a:pt x="197" y="254"/>
                    </a:lnTo>
                    <a:lnTo>
                      <a:pt x="196" y="253"/>
                    </a:lnTo>
                    <a:lnTo>
                      <a:pt x="194" y="254"/>
                    </a:lnTo>
                    <a:lnTo>
                      <a:pt x="194" y="258"/>
                    </a:lnTo>
                    <a:lnTo>
                      <a:pt x="197" y="259"/>
                    </a:lnTo>
                    <a:lnTo>
                      <a:pt x="196" y="261"/>
                    </a:lnTo>
                    <a:lnTo>
                      <a:pt x="194" y="262"/>
                    </a:lnTo>
                    <a:lnTo>
                      <a:pt x="194" y="266"/>
                    </a:lnTo>
                    <a:lnTo>
                      <a:pt x="191" y="269"/>
                    </a:lnTo>
                    <a:lnTo>
                      <a:pt x="194" y="272"/>
                    </a:lnTo>
                    <a:lnTo>
                      <a:pt x="191" y="277"/>
                    </a:lnTo>
                    <a:lnTo>
                      <a:pt x="192" y="279"/>
                    </a:lnTo>
                    <a:lnTo>
                      <a:pt x="189" y="281"/>
                    </a:lnTo>
                    <a:lnTo>
                      <a:pt x="187" y="282"/>
                    </a:lnTo>
                    <a:lnTo>
                      <a:pt x="186" y="287"/>
                    </a:lnTo>
                    <a:lnTo>
                      <a:pt x="184" y="289"/>
                    </a:lnTo>
                    <a:lnTo>
                      <a:pt x="179" y="294"/>
                    </a:lnTo>
                    <a:lnTo>
                      <a:pt x="174" y="296"/>
                    </a:lnTo>
                    <a:lnTo>
                      <a:pt x="171" y="299"/>
                    </a:lnTo>
                    <a:lnTo>
                      <a:pt x="169" y="302"/>
                    </a:lnTo>
                    <a:lnTo>
                      <a:pt x="166" y="302"/>
                    </a:lnTo>
                    <a:lnTo>
                      <a:pt x="162" y="306"/>
                    </a:lnTo>
                    <a:lnTo>
                      <a:pt x="152" y="311"/>
                    </a:lnTo>
                    <a:lnTo>
                      <a:pt x="146" y="311"/>
                    </a:lnTo>
                    <a:lnTo>
                      <a:pt x="142" y="311"/>
                    </a:lnTo>
                    <a:lnTo>
                      <a:pt x="137" y="311"/>
                    </a:lnTo>
                    <a:lnTo>
                      <a:pt x="137" y="311"/>
                    </a:lnTo>
                    <a:lnTo>
                      <a:pt x="137" y="307"/>
                    </a:lnTo>
                    <a:lnTo>
                      <a:pt x="137" y="304"/>
                    </a:lnTo>
                    <a:lnTo>
                      <a:pt x="136" y="307"/>
                    </a:lnTo>
                    <a:lnTo>
                      <a:pt x="136" y="309"/>
                    </a:lnTo>
                    <a:lnTo>
                      <a:pt x="131" y="307"/>
                    </a:lnTo>
                    <a:lnTo>
                      <a:pt x="134" y="309"/>
                    </a:lnTo>
                    <a:lnTo>
                      <a:pt x="134" y="311"/>
                    </a:lnTo>
                    <a:lnTo>
                      <a:pt x="132" y="312"/>
                    </a:lnTo>
                    <a:lnTo>
                      <a:pt x="129" y="311"/>
                    </a:lnTo>
                    <a:lnTo>
                      <a:pt x="136" y="314"/>
                    </a:lnTo>
                    <a:lnTo>
                      <a:pt x="134" y="316"/>
                    </a:lnTo>
                    <a:lnTo>
                      <a:pt x="136" y="319"/>
                    </a:lnTo>
                    <a:lnTo>
                      <a:pt x="132" y="321"/>
                    </a:lnTo>
                    <a:lnTo>
                      <a:pt x="127" y="317"/>
                    </a:lnTo>
                    <a:lnTo>
                      <a:pt x="131" y="322"/>
                    </a:lnTo>
                    <a:lnTo>
                      <a:pt x="131" y="324"/>
                    </a:lnTo>
                    <a:lnTo>
                      <a:pt x="129" y="326"/>
                    </a:lnTo>
                    <a:lnTo>
                      <a:pt x="127" y="326"/>
                    </a:lnTo>
                    <a:lnTo>
                      <a:pt x="126" y="324"/>
                    </a:lnTo>
                    <a:lnTo>
                      <a:pt x="123" y="324"/>
                    </a:lnTo>
                    <a:lnTo>
                      <a:pt x="124" y="327"/>
                    </a:lnTo>
                    <a:lnTo>
                      <a:pt x="124" y="327"/>
                    </a:lnTo>
                    <a:lnTo>
                      <a:pt x="124" y="329"/>
                    </a:lnTo>
                    <a:lnTo>
                      <a:pt x="123" y="331"/>
                    </a:lnTo>
                    <a:lnTo>
                      <a:pt x="121" y="332"/>
                    </a:lnTo>
                    <a:lnTo>
                      <a:pt x="119" y="332"/>
                    </a:lnTo>
                    <a:lnTo>
                      <a:pt x="114" y="336"/>
                    </a:lnTo>
                    <a:lnTo>
                      <a:pt x="113" y="337"/>
                    </a:lnTo>
                    <a:lnTo>
                      <a:pt x="109" y="337"/>
                    </a:lnTo>
                    <a:lnTo>
                      <a:pt x="108" y="339"/>
                    </a:lnTo>
                    <a:lnTo>
                      <a:pt x="108" y="344"/>
                    </a:lnTo>
                    <a:lnTo>
                      <a:pt x="104" y="346"/>
                    </a:lnTo>
                    <a:lnTo>
                      <a:pt x="103" y="346"/>
                    </a:lnTo>
                    <a:lnTo>
                      <a:pt x="103" y="347"/>
                    </a:lnTo>
                    <a:lnTo>
                      <a:pt x="93" y="352"/>
                    </a:lnTo>
                    <a:lnTo>
                      <a:pt x="88" y="351"/>
                    </a:lnTo>
                    <a:lnTo>
                      <a:pt x="91" y="349"/>
                    </a:lnTo>
                    <a:lnTo>
                      <a:pt x="94" y="347"/>
                    </a:lnTo>
                    <a:lnTo>
                      <a:pt x="98" y="344"/>
                    </a:lnTo>
                    <a:lnTo>
                      <a:pt x="94" y="346"/>
                    </a:lnTo>
                    <a:lnTo>
                      <a:pt x="91" y="344"/>
                    </a:lnTo>
                    <a:lnTo>
                      <a:pt x="93" y="337"/>
                    </a:lnTo>
                    <a:lnTo>
                      <a:pt x="93" y="337"/>
                    </a:lnTo>
                    <a:lnTo>
                      <a:pt x="91" y="336"/>
                    </a:lnTo>
                    <a:lnTo>
                      <a:pt x="93" y="334"/>
                    </a:lnTo>
                    <a:lnTo>
                      <a:pt x="91" y="326"/>
                    </a:lnTo>
                    <a:lnTo>
                      <a:pt x="96" y="321"/>
                    </a:lnTo>
                    <a:lnTo>
                      <a:pt x="103" y="316"/>
                    </a:lnTo>
                    <a:lnTo>
                      <a:pt x="104" y="314"/>
                    </a:lnTo>
                    <a:lnTo>
                      <a:pt x="101" y="316"/>
                    </a:lnTo>
                    <a:lnTo>
                      <a:pt x="96" y="314"/>
                    </a:lnTo>
                    <a:lnTo>
                      <a:pt x="93" y="316"/>
                    </a:lnTo>
                    <a:lnTo>
                      <a:pt x="89" y="314"/>
                    </a:lnTo>
                    <a:lnTo>
                      <a:pt x="88" y="316"/>
                    </a:lnTo>
                    <a:lnTo>
                      <a:pt x="83" y="314"/>
                    </a:lnTo>
                    <a:lnTo>
                      <a:pt x="83" y="312"/>
                    </a:lnTo>
                    <a:lnTo>
                      <a:pt x="83" y="309"/>
                    </a:lnTo>
                    <a:lnTo>
                      <a:pt x="83" y="309"/>
                    </a:lnTo>
                    <a:lnTo>
                      <a:pt x="86" y="304"/>
                    </a:lnTo>
                    <a:lnTo>
                      <a:pt x="93" y="302"/>
                    </a:lnTo>
                    <a:lnTo>
                      <a:pt x="94" y="297"/>
                    </a:lnTo>
                    <a:lnTo>
                      <a:pt x="99" y="296"/>
                    </a:lnTo>
                    <a:lnTo>
                      <a:pt x="103" y="297"/>
                    </a:lnTo>
                    <a:lnTo>
                      <a:pt x="114" y="296"/>
                    </a:lnTo>
                    <a:lnTo>
                      <a:pt x="118" y="297"/>
                    </a:lnTo>
                    <a:lnTo>
                      <a:pt x="119" y="301"/>
                    </a:lnTo>
                    <a:lnTo>
                      <a:pt x="127" y="301"/>
                    </a:lnTo>
                    <a:lnTo>
                      <a:pt x="124" y="296"/>
                    </a:lnTo>
                    <a:lnTo>
                      <a:pt x="126" y="292"/>
                    </a:lnTo>
                    <a:lnTo>
                      <a:pt x="121" y="289"/>
                    </a:lnTo>
                    <a:lnTo>
                      <a:pt x="116" y="287"/>
                    </a:lnTo>
                    <a:lnTo>
                      <a:pt x="114" y="279"/>
                    </a:lnTo>
                    <a:lnTo>
                      <a:pt x="119" y="277"/>
                    </a:lnTo>
                    <a:lnTo>
                      <a:pt x="129" y="277"/>
                    </a:lnTo>
                    <a:lnTo>
                      <a:pt x="131" y="272"/>
                    </a:lnTo>
                    <a:lnTo>
                      <a:pt x="137" y="269"/>
                    </a:lnTo>
                    <a:lnTo>
                      <a:pt x="144" y="267"/>
                    </a:lnTo>
                    <a:lnTo>
                      <a:pt x="146" y="264"/>
                    </a:lnTo>
                    <a:lnTo>
                      <a:pt x="149" y="262"/>
                    </a:lnTo>
                    <a:lnTo>
                      <a:pt x="152" y="256"/>
                    </a:lnTo>
                    <a:lnTo>
                      <a:pt x="152" y="251"/>
                    </a:lnTo>
                    <a:lnTo>
                      <a:pt x="154" y="246"/>
                    </a:lnTo>
                    <a:lnTo>
                      <a:pt x="152" y="241"/>
                    </a:lnTo>
                    <a:lnTo>
                      <a:pt x="152" y="234"/>
                    </a:lnTo>
                    <a:lnTo>
                      <a:pt x="149" y="226"/>
                    </a:lnTo>
                    <a:lnTo>
                      <a:pt x="144" y="223"/>
                    </a:lnTo>
                    <a:lnTo>
                      <a:pt x="141" y="216"/>
                    </a:lnTo>
                    <a:lnTo>
                      <a:pt x="142" y="216"/>
                    </a:lnTo>
                    <a:lnTo>
                      <a:pt x="147" y="214"/>
                    </a:lnTo>
                    <a:lnTo>
                      <a:pt x="146" y="208"/>
                    </a:lnTo>
                    <a:lnTo>
                      <a:pt x="144" y="204"/>
                    </a:lnTo>
                    <a:lnTo>
                      <a:pt x="144" y="199"/>
                    </a:lnTo>
                    <a:lnTo>
                      <a:pt x="151" y="194"/>
                    </a:lnTo>
                    <a:lnTo>
                      <a:pt x="151" y="189"/>
                    </a:lnTo>
                    <a:lnTo>
                      <a:pt x="146" y="188"/>
                    </a:lnTo>
                    <a:lnTo>
                      <a:pt x="144" y="186"/>
                    </a:lnTo>
                    <a:lnTo>
                      <a:pt x="146" y="179"/>
                    </a:lnTo>
                    <a:lnTo>
                      <a:pt x="149" y="176"/>
                    </a:lnTo>
                    <a:lnTo>
                      <a:pt x="147" y="173"/>
                    </a:lnTo>
                    <a:lnTo>
                      <a:pt x="142" y="174"/>
                    </a:lnTo>
                    <a:lnTo>
                      <a:pt x="141" y="174"/>
                    </a:lnTo>
                    <a:lnTo>
                      <a:pt x="137" y="171"/>
                    </a:lnTo>
                    <a:lnTo>
                      <a:pt x="132" y="171"/>
                    </a:lnTo>
                    <a:lnTo>
                      <a:pt x="129" y="168"/>
                    </a:lnTo>
                    <a:lnTo>
                      <a:pt x="131" y="164"/>
                    </a:lnTo>
                    <a:lnTo>
                      <a:pt x="127" y="163"/>
                    </a:lnTo>
                    <a:lnTo>
                      <a:pt x="124" y="164"/>
                    </a:lnTo>
                    <a:lnTo>
                      <a:pt x="123" y="161"/>
                    </a:lnTo>
                    <a:lnTo>
                      <a:pt x="121" y="158"/>
                    </a:lnTo>
                    <a:lnTo>
                      <a:pt x="119" y="153"/>
                    </a:lnTo>
                    <a:lnTo>
                      <a:pt x="113" y="153"/>
                    </a:lnTo>
                    <a:lnTo>
                      <a:pt x="109" y="151"/>
                    </a:lnTo>
                    <a:lnTo>
                      <a:pt x="108" y="146"/>
                    </a:lnTo>
                    <a:lnTo>
                      <a:pt x="99" y="140"/>
                    </a:lnTo>
                    <a:lnTo>
                      <a:pt x="101" y="136"/>
                    </a:lnTo>
                    <a:lnTo>
                      <a:pt x="96" y="130"/>
                    </a:lnTo>
                    <a:lnTo>
                      <a:pt x="88" y="126"/>
                    </a:lnTo>
                    <a:lnTo>
                      <a:pt x="83" y="120"/>
                    </a:lnTo>
                    <a:lnTo>
                      <a:pt x="78" y="118"/>
                    </a:lnTo>
                    <a:lnTo>
                      <a:pt x="69" y="115"/>
                    </a:lnTo>
                    <a:lnTo>
                      <a:pt x="63" y="115"/>
                    </a:lnTo>
                    <a:lnTo>
                      <a:pt x="59" y="110"/>
                    </a:lnTo>
                    <a:lnTo>
                      <a:pt x="56" y="110"/>
                    </a:lnTo>
                    <a:lnTo>
                      <a:pt x="54" y="106"/>
                    </a:lnTo>
                    <a:lnTo>
                      <a:pt x="58" y="103"/>
                    </a:lnTo>
                    <a:lnTo>
                      <a:pt x="53" y="98"/>
                    </a:lnTo>
                    <a:lnTo>
                      <a:pt x="53" y="93"/>
                    </a:lnTo>
                    <a:lnTo>
                      <a:pt x="56" y="93"/>
                    </a:lnTo>
                    <a:lnTo>
                      <a:pt x="63" y="91"/>
                    </a:lnTo>
                    <a:lnTo>
                      <a:pt x="68" y="91"/>
                    </a:lnTo>
                    <a:lnTo>
                      <a:pt x="69" y="88"/>
                    </a:lnTo>
                    <a:lnTo>
                      <a:pt x="73" y="80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69" y="75"/>
                    </a:lnTo>
                    <a:lnTo>
                      <a:pt x="69" y="70"/>
                    </a:lnTo>
                    <a:lnTo>
                      <a:pt x="69" y="66"/>
                    </a:lnTo>
                    <a:lnTo>
                      <a:pt x="63" y="65"/>
                    </a:lnTo>
                    <a:lnTo>
                      <a:pt x="59" y="62"/>
                    </a:lnTo>
                    <a:lnTo>
                      <a:pt x="53" y="62"/>
                    </a:lnTo>
                    <a:lnTo>
                      <a:pt x="46" y="63"/>
                    </a:lnTo>
                    <a:lnTo>
                      <a:pt x="41" y="62"/>
                    </a:lnTo>
                    <a:lnTo>
                      <a:pt x="31" y="62"/>
                    </a:lnTo>
                    <a:lnTo>
                      <a:pt x="26" y="55"/>
                    </a:lnTo>
                    <a:lnTo>
                      <a:pt x="18" y="48"/>
                    </a:lnTo>
                    <a:lnTo>
                      <a:pt x="20" y="43"/>
                    </a:lnTo>
                    <a:lnTo>
                      <a:pt x="18" y="40"/>
                    </a:lnTo>
                    <a:lnTo>
                      <a:pt x="15" y="37"/>
                    </a:lnTo>
                    <a:lnTo>
                      <a:pt x="10" y="30"/>
                    </a:lnTo>
                    <a:lnTo>
                      <a:pt x="1" y="27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  <a:moveTo>
                      <a:pt x="66" y="311"/>
                    </a:moveTo>
                    <a:lnTo>
                      <a:pt x="69" y="314"/>
                    </a:lnTo>
                    <a:lnTo>
                      <a:pt x="68" y="316"/>
                    </a:lnTo>
                    <a:lnTo>
                      <a:pt x="71" y="319"/>
                    </a:lnTo>
                    <a:lnTo>
                      <a:pt x="73" y="319"/>
                    </a:lnTo>
                    <a:lnTo>
                      <a:pt x="74" y="312"/>
                    </a:lnTo>
                    <a:lnTo>
                      <a:pt x="73" y="311"/>
                    </a:lnTo>
                    <a:lnTo>
                      <a:pt x="71" y="307"/>
                    </a:lnTo>
                    <a:lnTo>
                      <a:pt x="66" y="3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4" name="Freeform 20">
                <a:extLst>
                  <a:ext uri="{FF2B5EF4-FFF2-40B4-BE49-F238E27FC236}">
                    <a16:creationId xmlns:a16="http://schemas.microsoft.com/office/drawing/2014/main" id="{188D59F4-79B3-1747-BC8C-87B678374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5333" y="3097475"/>
                <a:ext cx="68496" cy="51879"/>
              </a:xfrm>
              <a:custGeom>
                <a:avLst/>
                <a:gdLst/>
                <a:ahLst/>
                <a:cxnLst>
                  <a:cxn ang="0">
                    <a:pos x="60" y="95"/>
                  </a:cxn>
                  <a:cxn ang="0">
                    <a:pos x="68" y="88"/>
                  </a:cxn>
                  <a:cxn ang="0">
                    <a:pos x="77" y="88"/>
                  </a:cxn>
                  <a:cxn ang="0">
                    <a:pos x="92" y="88"/>
                  </a:cxn>
                  <a:cxn ang="0">
                    <a:pos x="101" y="92"/>
                  </a:cxn>
                  <a:cxn ang="0">
                    <a:pos x="100" y="83"/>
                  </a:cxn>
                  <a:cxn ang="0">
                    <a:pos x="90" y="78"/>
                  </a:cxn>
                  <a:cxn ang="0">
                    <a:pos x="93" y="68"/>
                  </a:cxn>
                  <a:cxn ang="0">
                    <a:pos x="105" y="63"/>
                  </a:cxn>
                  <a:cxn ang="0">
                    <a:pos x="118" y="58"/>
                  </a:cxn>
                  <a:cxn ang="0">
                    <a:pos x="123" y="53"/>
                  </a:cxn>
                  <a:cxn ang="0">
                    <a:pos x="126" y="42"/>
                  </a:cxn>
                  <a:cxn ang="0">
                    <a:pos x="126" y="32"/>
                  </a:cxn>
                  <a:cxn ang="0">
                    <a:pos x="123" y="17"/>
                  </a:cxn>
                  <a:cxn ang="0">
                    <a:pos x="115" y="7"/>
                  </a:cxn>
                  <a:cxn ang="0">
                    <a:pos x="106" y="5"/>
                  </a:cxn>
                  <a:cxn ang="0">
                    <a:pos x="101" y="0"/>
                  </a:cxn>
                  <a:cxn ang="0">
                    <a:pos x="88" y="5"/>
                  </a:cxn>
                  <a:cxn ang="0">
                    <a:pos x="93" y="14"/>
                  </a:cxn>
                  <a:cxn ang="0">
                    <a:pos x="95" y="22"/>
                  </a:cxn>
                  <a:cxn ang="0">
                    <a:pos x="83" y="12"/>
                  </a:cxn>
                  <a:cxn ang="0">
                    <a:pos x="73" y="9"/>
                  </a:cxn>
                  <a:cxn ang="0">
                    <a:pos x="65" y="7"/>
                  </a:cxn>
                  <a:cxn ang="0">
                    <a:pos x="53" y="5"/>
                  </a:cxn>
                  <a:cxn ang="0">
                    <a:pos x="43" y="4"/>
                  </a:cxn>
                  <a:cxn ang="0">
                    <a:pos x="35" y="4"/>
                  </a:cxn>
                  <a:cxn ang="0">
                    <a:pos x="17" y="7"/>
                  </a:cxn>
                  <a:cxn ang="0">
                    <a:pos x="7" y="14"/>
                  </a:cxn>
                  <a:cxn ang="0">
                    <a:pos x="0" y="25"/>
                  </a:cxn>
                  <a:cxn ang="0">
                    <a:pos x="2" y="42"/>
                  </a:cxn>
                  <a:cxn ang="0">
                    <a:pos x="8" y="49"/>
                  </a:cxn>
                  <a:cxn ang="0">
                    <a:pos x="7" y="60"/>
                  </a:cxn>
                  <a:cxn ang="0">
                    <a:pos x="10" y="63"/>
                  </a:cxn>
                  <a:cxn ang="0">
                    <a:pos x="13" y="70"/>
                  </a:cxn>
                  <a:cxn ang="0">
                    <a:pos x="18" y="78"/>
                  </a:cxn>
                  <a:cxn ang="0">
                    <a:pos x="22" y="82"/>
                  </a:cxn>
                  <a:cxn ang="0">
                    <a:pos x="23" y="87"/>
                  </a:cxn>
                  <a:cxn ang="0">
                    <a:pos x="27" y="90"/>
                  </a:cxn>
                  <a:cxn ang="0">
                    <a:pos x="30" y="87"/>
                  </a:cxn>
                  <a:cxn ang="0">
                    <a:pos x="35" y="83"/>
                  </a:cxn>
                  <a:cxn ang="0">
                    <a:pos x="37" y="88"/>
                  </a:cxn>
                  <a:cxn ang="0">
                    <a:pos x="33" y="95"/>
                  </a:cxn>
                  <a:cxn ang="0">
                    <a:pos x="35" y="98"/>
                  </a:cxn>
                  <a:cxn ang="0">
                    <a:pos x="42" y="95"/>
                  </a:cxn>
                  <a:cxn ang="0">
                    <a:pos x="45" y="97"/>
                  </a:cxn>
                  <a:cxn ang="0">
                    <a:pos x="52" y="97"/>
                  </a:cxn>
                </a:cxnLst>
                <a:rect l="0" t="0" r="r" b="b"/>
                <a:pathLst>
                  <a:path w="128" h="100">
                    <a:moveTo>
                      <a:pt x="57" y="100"/>
                    </a:moveTo>
                    <a:lnTo>
                      <a:pt x="60" y="95"/>
                    </a:lnTo>
                    <a:lnTo>
                      <a:pt x="67" y="93"/>
                    </a:lnTo>
                    <a:lnTo>
                      <a:pt x="68" y="88"/>
                    </a:lnTo>
                    <a:lnTo>
                      <a:pt x="73" y="87"/>
                    </a:lnTo>
                    <a:lnTo>
                      <a:pt x="77" y="88"/>
                    </a:lnTo>
                    <a:lnTo>
                      <a:pt x="88" y="87"/>
                    </a:lnTo>
                    <a:lnTo>
                      <a:pt x="92" y="88"/>
                    </a:lnTo>
                    <a:lnTo>
                      <a:pt x="93" y="92"/>
                    </a:lnTo>
                    <a:lnTo>
                      <a:pt x="101" y="92"/>
                    </a:lnTo>
                    <a:lnTo>
                      <a:pt x="98" y="87"/>
                    </a:lnTo>
                    <a:lnTo>
                      <a:pt x="100" y="83"/>
                    </a:lnTo>
                    <a:lnTo>
                      <a:pt x="95" y="80"/>
                    </a:lnTo>
                    <a:lnTo>
                      <a:pt x="90" y="78"/>
                    </a:lnTo>
                    <a:lnTo>
                      <a:pt x="88" y="70"/>
                    </a:lnTo>
                    <a:lnTo>
                      <a:pt x="93" y="68"/>
                    </a:lnTo>
                    <a:lnTo>
                      <a:pt x="103" y="68"/>
                    </a:lnTo>
                    <a:lnTo>
                      <a:pt x="105" y="63"/>
                    </a:lnTo>
                    <a:lnTo>
                      <a:pt x="111" y="60"/>
                    </a:lnTo>
                    <a:lnTo>
                      <a:pt x="118" y="58"/>
                    </a:lnTo>
                    <a:lnTo>
                      <a:pt x="120" y="55"/>
                    </a:lnTo>
                    <a:lnTo>
                      <a:pt x="123" y="53"/>
                    </a:lnTo>
                    <a:lnTo>
                      <a:pt x="126" y="47"/>
                    </a:lnTo>
                    <a:lnTo>
                      <a:pt x="126" y="42"/>
                    </a:lnTo>
                    <a:lnTo>
                      <a:pt x="128" y="37"/>
                    </a:lnTo>
                    <a:lnTo>
                      <a:pt x="126" y="32"/>
                    </a:lnTo>
                    <a:lnTo>
                      <a:pt x="126" y="25"/>
                    </a:lnTo>
                    <a:lnTo>
                      <a:pt x="123" y="17"/>
                    </a:lnTo>
                    <a:lnTo>
                      <a:pt x="118" y="14"/>
                    </a:lnTo>
                    <a:lnTo>
                      <a:pt x="115" y="7"/>
                    </a:lnTo>
                    <a:lnTo>
                      <a:pt x="111" y="7"/>
                    </a:lnTo>
                    <a:lnTo>
                      <a:pt x="106" y="5"/>
                    </a:lnTo>
                    <a:lnTo>
                      <a:pt x="103" y="4"/>
                    </a:lnTo>
                    <a:lnTo>
                      <a:pt x="101" y="0"/>
                    </a:lnTo>
                    <a:lnTo>
                      <a:pt x="93" y="2"/>
                    </a:lnTo>
                    <a:lnTo>
                      <a:pt x="88" y="5"/>
                    </a:lnTo>
                    <a:lnTo>
                      <a:pt x="95" y="10"/>
                    </a:lnTo>
                    <a:lnTo>
                      <a:pt x="93" y="14"/>
                    </a:lnTo>
                    <a:lnTo>
                      <a:pt x="95" y="19"/>
                    </a:lnTo>
                    <a:lnTo>
                      <a:pt x="95" y="22"/>
                    </a:lnTo>
                    <a:lnTo>
                      <a:pt x="87" y="19"/>
                    </a:lnTo>
                    <a:lnTo>
                      <a:pt x="83" y="12"/>
                    </a:lnTo>
                    <a:lnTo>
                      <a:pt x="75" y="12"/>
                    </a:lnTo>
                    <a:lnTo>
                      <a:pt x="73" y="9"/>
                    </a:lnTo>
                    <a:lnTo>
                      <a:pt x="68" y="5"/>
                    </a:lnTo>
                    <a:lnTo>
                      <a:pt x="65" y="7"/>
                    </a:lnTo>
                    <a:lnTo>
                      <a:pt x="60" y="4"/>
                    </a:lnTo>
                    <a:lnTo>
                      <a:pt x="53" y="5"/>
                    </a:lnTo>
                    <a:lnTo>
                      <a:pt x="48" y="4"/>
                    </a:lnTo>
                    <a:lnTo>
                      <a:pt x="43" y="4"/>
                    </a:lnTo>
                    <a:lnTo>
                      <a:pt x="37" y="5"/>
                    </a:lnTo>
                    <a:lnTo>
                      <a:pt x="35" y="4"/>
                    </a:lnTo>
                    <a:lnTo>
                      <a:pt x="27" y="4"/>
                    </a:lnTo>
                    <a:lnTo>
                      <a:pt x="17" y="7"/>
                    </a:lnTo>
                    <a:lnTo>
                      <a:pt x="12" y="7"/>
                    </a:lnTo>
                    <a:lnTo>
                      <a:pt x="7" y="14"/>
                    </a:lnTo>
                    <a:lnTo>
                      <a:pt x="5" y="20"/>
                    </a:lnTo>
                    <a:lnTo>
                      <a:pt x="0" y="25"/>
                    </a:lnTo>
                    <a:lnTo>
                      <a:pt x="0" y="34"/>
                    </a:lnTo>
                    <a:lnTo>
                      <a:pt x="2" y="42"/>
                    </a:lnTo>
                    <a:lnTo>
                      <a:pt x="7" y="44"/>
                    </a:lnTo>
                    <a:lnTo>
                      <a:pt x="8" y="49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7" y="60"/>
                    </a:lnTo>
                    <a:lnTo>
                      <a:pt x="10" y="63"/>
                    </a:lnTo>
                    <a:lnTo>
                      <a:pt x="12" y="67"/>
                    </a:lnTo>
                    <a:lnTo>
                      <a:pt x="13" y="70"/>
                    </a:lnTo>
                    <a:lnTo>
                      <a:pt x="15" y="73"/>
                    </a:lnTo>
                    <a:lnTo>
                      <a:pt x="18" y="78"/>
                    </a:lnTo>
                    <a:lnTo>
                      <a:pt x="20" y="78"/>
                    </a:lnTo>
                    <a:lnTo>
                      <a:pt x="22" y="82"/>
                    </a:lnTo>
                    <a:lnTo>
                      <a:pt x="22" y="85"/>
                    </a:lnTo>
                    <a:lnTo>
                      <a:pt x="23" y="87"/>
                    </a:lnTo>
                    <a:lnTo>
                      <a:pt x="23" y="90"/>
                    </a:lnTo>
                    <a:lnTo>
                      <a:pt x="27" y="90"/>
                    </a:lnTo>
                    <a:lnTo>
                      <a:pt x="30" y="90"/>
                    </a:lnTo>
                    <a:lnTo>
                      <a:pt x="30" y="87"/>
                    </a:lnTo>
                    <a:lnTo>
                      <a:pt x="33" y="85"/>
                    </a:lnTo>
                    <a:lnTo>
                      <a:pt x="35" y="83"/>
                    </a:lnTo>
                    <a:lnTo>
                      <a:pt x="35" y="85"/>
                    </a:lnTo>
                    <a:lnTo>
                      <a:pt x="37" y="88"/>
                    </a:lnTo>
                    <a:lnTo>
                      <a:pt x="37" y="92"/>
                    </a:lnTo>
                    <a:lnTo>
                      <a:pt x="33" y="95"/>
                    </a:lnTo>
                    <a:lnTo>
                      <a:pt x="35" y="97"/>
                    </a:lnTo>
                    <a:lnTo>
                      <a:pt x="35" y="98"/>
                    </a:lnTo>
                    <a:lnTo>
                      <a:pt x="38" y="98"/>
                    </a:lnTo>
                    <a:lnTo>
                      <a:pt x="42" y="95"/>
                    </a:lnTo>
                    <a:lnTo>
                      <a:pt x="43" y="95"/>
                    </a:lnTo>
                    <a:lnTo>
                      <a:pt x="45" y="97"/>
                    </a:lnTo>
                    <a:lnTo>
                      <a:pt x="50" y="98"/>
                    </a:lnTo>
                    <a:lnTo>
                      <a:pt x="52" y="97"/>
                    </a:lnTo>
                    <a:lnTo>
                      <a:pt x="57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5" name="Freeform 21">
                <a:extLst>
                  <a:ext uri="{FF2B5EF4-FFF2-40B4-BE49-F238E27FC236}">
                    <a16:creationId xmlns:a16="http://schemas.microsoft.com/office/drawing/2014/main" id="{B4F5DE52-A768-1B43-A174-A75116F37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5734" y="3000979"/>
                <a:ext cx="105954" cy="106872"/>
              </a:xfrm>
              <a:custGeom>
                <a:avLst/>
                <a:gdLst/>
                <a:ahLst/>
                <a:cxnLst>
                  <a:cxn ang="0">
                    <a:pos x="28" y="30"/>
                  </a:cxn>
                  <a:cxn ang="0">
                    <a:pos x="37" y="24"/>
                  </a:cxn>
                  <a:cxn ang="0">
                    <a:pos x="35" y="7"/>
                  </a:cxn>
                  <a:cxn ang="0">
                    <a:pos x="47" y="0"/>
                  </a:cxn>
                  <a:cxn ang="0">
                    <a:pos x="62" y="14"/>
                  </a:cxn>
                  <a:cxn ang="0">
                    <a:pos x="65" y="25"/>
                  </a:cxn>
                  <a:cxn ang="0">
                    <a:pos x="88" y="39"/>
                  </a:cxn>
                  <a:cxn ang="0">
                    <a:pos x="106" y="39"/>
                  </a:cxn>
                  <a:cxn ang="0">
                    <a:pos x="116" y="47"/>
                  </a:cxn>
                  <a:cxn ang="0">
                    <a:pos x="123" y="55"/>
                  </a:cxn>
                  <a:cxn ang="0">
                    <a:pos x="115" y="68"/>
                  </a:cxn>
                  <a:cxn ang="0">
                    <a:pos x="100" y="70"/>
                  </a:cxn>
                  <a:cxn ang="0">
                    <a:pos x="101" y="83"/>
                  </a:cxn>
                  <a:cxn ang="0">
                    <a:pos x="110" y="92"/>
                  </a:cxn>
                  <a:cxn ang="0">
                    <a:pos x="130" y="97"/>
                  </a:cxn>
                  <a:cxn ang="0">
                    <a:pos x="148" y="113"/>
                  </a:cxn>
                  <a:cxn ang="0">
                    <a:pos x="156" y="128"/>
                  </a:cxn>
                  <a:cxn ang="0">
                    <a:pos x="168" y="135"/>
                  </a:cxn>
                  <a:cxn ang="0">
                    <a:pos x="174" y="140"/>
                  </a:cxn>
                  <a:cxn ang="0">
                    <a:pos x="179" y="148"/>
                  </a:cxn>
                  <a:cxn ang="0">
                    <a:pos x="189" y="151"/>
                  </a:cxn>
                  <a:cxn ang="0">
                    <a:pos x="193" y="156"/>
                  </a:cxn>
                  <a:cxn ang="0">
                    <a:pos x="198" y="166"/>
                  </a:cxn>
                  <a:cxn ang="0">
                    <a:pos x="191" y="181"/>
                  </a:cxn>
                  <a:cxn ang="0">
                    <a:pos x="189" y="193"/>
                  </a:cxn>
                  <a:cxn ang="0">
                    <a:pos x="176" y="190"/>
                  </a:cxn>
                  <a:cxn ang="0">
                    <a:pos x="161" y="191"/>
                  </a:cxn>
                  <a:cxn ang="0">
                    <a:pos x="168" y="205"/>
                  </a:cxn>
                  <a:cxn ang="0">
                    <a:pos x="156" y="198"/>
                  </a:cxn>
                  <a:cxn ang="0">
                    <a:pos x="141" y="191"/>
                  </a:cxn>
                  <a:cxn ang="0">
                    <a:pos x="146" y="180"/>
                  </a:cxn>
                  <a:cxn ang="0">
                    <a:pos x="146" y="170"/>
                  </a:cxn>
                  <a:cxn ang="0">
                    <a:pos x="141" y="158"/>
                  </a:cxn>
                  <a:cxn ang="0">
                    <a:pos x="135" y="153"/>
                  </a:cxn>
                  <a:cxn ang="0">
                    <a:pos x="126" y="141"/>
                  </a:cxn>
                  <a:cxn ang="0">
                    <a:pos x="125" y="128"/>
                  </a:cxn>
                  <a:cxn ang="0">
                    <a:pos x="118" y="115"/>
                  </a:cxn>
                  <a:cxn ang="0">
                    <a:pos x="93" y="100"/>
                  </a:cxn>
                  <a:cxn ang="0">
                    <a:pos x="70" y="112"/>
                  </a:cxn>
                  <a:cxn ang="0">
                    <a:pos x="52" y="103"/>
                  </a:cxn>
                  <a:cxn ang="0">
                    <a:pos x="38" y="113"/>
                  </a:cxn>
                  <a:cxn ang="0">
                    <a:pos x="32" y="97"/>
                  </a:cxn>
                  <a:cxn ang="0">
                    <a:pos x="32" y="85"/>
                  </a:cxn>
                  <a:cxn ang="0">
                    <a:pos x="32" y="72"/>
                  </a:cxn>
                  <a:cxn ang="0">
                    <a:pos x="15" y="73"/>
                  </a:cxn>
                  <a:cxn ang="0">
                    <a:pos x="13" y="58"/>
                  </a:cxn>
                  <a:cxn ang="0">
                    <a:pos x="0" y="48"/>
                  </a:cxn>
                  <a:cxn ang="0">
                    <a:pos x="10" y="40"/>
                  </a:cxn>
                  <a:cxn ang="0">
                    <a:pos x="10" y="30"/>
                  </a:cxn>
                </a:cxnLst>
                <a:rect l="0" t="0" r="r" b="b"/>
                <a:pathLst>
                  <a:path w="198" h="208">
                    <a:moveTo>
                      <a:pt x="22" y="24"/>
                    </a:moveTo>
                    <a:lnTo>
                      <a:pt x="25" y="27"/>
                    </a:lnTo>
                    <a:lnTo>
                      <a:pt x="28" y="30"/>
                    </a:lnTo>
                    <a:lnTo>
                      <a:pt x="33" y="29"/>
                    </a:lnTo>
                    <a:lnTo>
                      <a:pt x="38" y="29"/>
                    </a:lnTo>
                    <a:lnTo>
                      <a:pt x="37" y="24"/>
                    </a:lnTo>
                    <a:lnTo>
                      <a:pt x="37" y="19"/>
                    </a:lnTo>
                    <a:lnTo>
                      <a:pt x="35" y="14"/>
                    </a:lnTo>
                    <a:lnTo>
                      <a:pt x="35" y="7"/>
                    </a:lnTo>
                    <a:lnTo>
                      <a:pt x="38" y="5"/>
                    </a:lnTo>
                    <a:lnTo>
                      <a:pt x="38" y="2"/>
                    </a:lnTo>
                    <a:lnTo>
                      <a:pt x="47" y="0"/>
                    </a:lnTo>
                    <a:lnTo>
                      <a:pt x="48" y="4"/>
                    </a:lnTo>
                    <a:lnTo>
                      <a:pt x="57" y="7"/>
                    </a:lnTo>
                    <a:lnTo>
                      <a:pt x="62" y="14"/>
                    </a:lnTo>
                    <a:lnTo>
                      <a:pt x="65" y="17"/>
                    </a:lnTo>
                    <a:lnTo>
                      <a:pt x="67" y="20"/>
                    </a:lnTo>
                    <a:lnTo>
                      <a:pt x="65" y="25"/>
                    </a:lnTo>
                    <a:lnTo>
                      <a:pt x="73" y="32"/>
                    </a:lnTo>
                    <a:lnTo>
                      <a:pt x="78" y="39"/>
                    </a:lnTo>
                    <a:lnTo>
                      <a:pt x="88" y="39"/>
                    </a:lnTo>
                    <a:lnTo>
                      <a:pt x="93" y="40"/>
                    </a:lnTo>
                    <a:lnTo>
                      <a:pt x="100" y="39"/>
                    </a:lnTo>
                    <a:lnTo>
                      <a:pt x="106" y="39"/>
                    </a:lnTo>
                    <a:lnTo>
                      <a:pt x="110" y="42"/>
                    </a:lnTo>
                    <a:lnTo>
                      <a:pt x="116" y="43"/>
                    </a:lnTo>
                    <a:lnTo>
                      <a:pt x="116" y="47"/>
                    </a:lnTo>
                    <a:lnTo>
                      <a:pt x="116" y="52"/>
                    </a:lnTo>
                    <a:lnTo>
                      <a:pt x="123" y="53"/>
                    </a:lnTo>
                    <a:lnTo>
                      <a:pt x="123" y="55"/>
                    </a:lnTo>
                    <a:lnTo>
                      <a:pt x="120" y="57"/>
                    </a:lnTo>
                    <a:lnTo>
                      <a:pt x="116" y="65"/>
                    </a:lnTo>
                    <a:lnTo>
                      <a:pt x="115" y="68"/>
                    </a:lnTo>
                    <a:lnTo>
                      <a:pt x="110" y="68"/>
                    </a:lnTo>
                    <a:lnTo>
                      <a:pt x="103" y="70"/>
                    </a:lnTo>
                    <a:lnTo>
                      <a:pt x="100" y="70"/>
                    </a:lnTo>
                    <a:lnTo>
                      <a:pt x="100" y="75"/>
                    </a:lnTo>
                    <a:lnTo>
                      <a:pt x="105" y="80"/>
                    </a:lnTo>
                    <a:lnTo>
                      <a:pt x="101" y="83"/>
                    </a:lnTo>
                    <a:lnTo>
                      <a:pt x="103" y="87"/>
                    </a:lnTo>
                    <a:lnTo>
                      <a:pt x="106" y="87"/>
                    </a:lnTo>
                    <a:lnTo>
                      <a:pt x="110" y="92"/>
                    </a:lnTo>
                    <a:lnTo>
                      <a:pt x="116" y="92"/>
                    </a:lnTo>
                    <a:lnTo>
                      <a:pt x="125" y="95"/>
                    </a:lnTo>
                    <a:lnTo>
                      <a:pt x="130" y="97"/>
                    </a:lnTo>
                    <a:lnTo>
                      <a:pt x="135" y="103"/>
                    </a:lnTo>
                    <a:lnTo>
                      <a:pt x="143" y="107"/>
                    </a:lnTo>
                    <a:lnTo>
                      <a:pt x="148" y="113"/>
                    </a:lnTo>
                    <a:lnTo>
                      <a:pt x="146" y="117"/>
                    </a:lnTo>
                    <a:lnTo>
                      <a:pt x="155" y="123"/>
                    </a:lnTo>
                    <a:lnTo>
                      <a:pt x="156" y="128"/>
                    </a:lnTo>
                    <a:lnTo>
                      <a:pt x="160" y="130"/>
                    </a:lnTo>
                    <a:lnTo>
                      <a:pt x="166" y="130"/>
                    </a:lnTo>
                    <a:lnTo>
                      <a:pt x="168" y="135"/>
                    </a:lnTo>
                    <a:lnTo>
                      <a:pt x="170" y="138"/>
                    </a:lnTo>
                    <a:lnTo>
                      <a:pt x="171" y="141"/>
                    </a:lnTo>
                    <a:lnTo>
                      <a:pt x="174" y="140"/>
                    </a:lnTo>
                    <a:lnTo>
                      <a:pt x="178" y="141"/>
                    </a:lnTo>
                    <a:lnTo>
                      <a:pt x="176" y="145"/>
                    </a:lnTo>
                    <a:lnTo>
                      <a:pt x="179" y="148"/>
                    </a:lnTo>
                    <a:lnTo>
                      <a:pt x="184" y="148"/>
                    </a:lnTo>
                    <a:lnTo>
                      <a:pt x="188" y="151"/>
                    </a:lnTo>
                    <a:lnTo>
                      <a:pt x="189" y="151"/>
                    </a:lnTo>
                    <a:lnTo>
                      <a:pt x="194" y="150"/>
                    </a:lnTo>
                    <a:lnTo>
                      <a:pt x="196" y="153"/>
                    </a:lnTo>
                    <a:lnTo>
                      <a:pt x="193" y="156"/>
                    </a:lnTo>
                    <a:lnTo>
                      <a:pt x="191" y="163"/>
                    </a:lnTo>
                    <a:lnTo>
                      <a:pt x="193" y="165"/>
                    </a:lnTo>
                    <a:lnTo>
                      <a:pt x="198" y="166"/>
                    </a:lnTo>
                    <a:lnTo>
                      <a:pt x="198" y="171"/>
                    </a:lnTo>
                    <a:lnTo>
                      <a:pt x="191" y="176"/>
                    </a:lnTo>
                    <a:lnTo>
                      <a:pt x="191" y="181"/>
                    </a:lnTo>
                    <a:lnTo>
                      <a:pt x="193" y="185"/>
                    </a:lnTo>
                    <a:lnTo>
                      <a:pt x="194" y="191"/>
                    </a:lnTo>
                    <a:lnTo>
                      <a:pt x="189" y="193"/>
                    </a:lnTo>
                    <a:lnTo>
                      <a:pt x="184" y="193"/>
                    </a:lnTo>
                    <a:lnTo>
                      <a:pt x="179" y="191"/>
                    </a:lnTo>
                    <a:lnTo>
                      <a:pt x="176" y="190"/>
                    </a:lnTo>
                    <a:lnTo>
                      <a:pt x="174" y="186"/>
                    </a:lnTo>
                    <a:lnTo>
                      <a:pt x="166" y="188"/>
                    </a:lnTo>
                    <a:lnTo>
                      <a:pt x="161" y="191"/>
                    </a:lnTo>
                    <a:lnTo>
                      <a:pt x="168" y="196"/>
                    </a:lnTo>
                    <a:lnTo>
                      <a:pt x="166" y="200"/>
                    </a:lnTo>
                    <a:lnTo>
                      <a:pt x="168" y="205"/>
                    </a:lnTo>
                    <a:lnTo>
                      <a:pt x="168" y="208"/>
                    </a:lnTo>
                    <a:lnTo>
                      <a:pt x="160" y="205"/>
                    </a:lnTo>
                    <a:lnTo>
                      <a:pt x="156" y="198"/>
                    </a:lnTo>
                    <a:lnTo>
                      <a:pt x="148" y="198"/>
                    </a:lnTo>
                    <a:lnTo>
                      <a:pt x="146" y="195"/>
                    </a:lnTo>
                    <a:lnTo>
                      <a:pt x="141" y="191"/>
                    </a:lnTo>
                    <a:lnTo>
                      <a:pt x="143" y="190"/>
                    </a:lnTo>
                    <a:lnTo>
                      <a:pt x="146" y="188"/>
                    </a:lnTo>
                    <a:lnTo>
                      <a:pt x="146" y="180"/>
                    </a:lnTo>
                    <a:lnTo>
                      <a:pt x="145" y="176"/>
                    </a:lnTo>
                    <a:lnTo>
                      <a:pt x="146" y="171"/>
                    </a:lnTo>
                    <a:lnTo>
                      <a:pt x="146" y="170"/>
                    </a:lnTo>
                    <a:lnTo>
                      <a:pt x="148" y="165"/>
                    </a:lnTo>
                    <a:lnTo>
                      <a:pt x="148" y="161"/>
                    </a:lnTo>
                    <a:lnTo>
                      <a:pt x="141" y="158"/>
                    </a:lnTo>
                    <a:lnTo>
                      <a:pt x="143" y="155"/>
                    </a:lnTo>
                    <a:lnTo>
                      <a:pt x="138" y="153"/>
                    </a:lnTo>
                    <a:lnTo>
                      <a:pt x="135" y="153"/>
                    </a:lnTo>
                    <a:lnTo>
                      <a:pt x="128" y="148"/>
                    </a:lnTo>
                    <a:lnTo>
                      <a:pt x="125" y="145"/>
                    </a:lnTo>
                    <a:lnTo>
                      <a:pt x="126" y="141"/>
                    </a:lnTo>
                    <a:lnTo>
                      <a:pt x="126" y="137"/>
                    </a:lnTo>
                    <a:lnTo>
                      <a:pt x="123" y="132"/>
                    </a:lnTo>
                    <a:lnTo>
                      <a:pt x="125" y="128"/>
                    </a:lnTo>
                    <a:lnTo>
                      <a:pt x="126" y="125"/>
                    </a:lnTo>
                    <a:lnTo>
                      <a:pt x="123" y="120"/>
                    </a:lnTo>
                    <a:lnTo>
                      <a:pt x="118" y="115"/>
                    </a:lnTo>
                    <a:lnTo>
                      <a:pt x="106" y="108"/>
                    </a:lnTo>
                    <a:lnTo>
                      <a:pt x="103" y="102"/>
                    </a:lnTo>
                    <a:lnTo>
                      <a:pt x="93" y="100"/>
                    </a:lnTo>
                    <a:lnTo>
                      <a:pt x="85" y="102"/>
                    </a:lnTo>
                    <a:lnTo>
                      <a:pt x="80" y="112"/>
                    </a:lnTo>
                    <a:lnTo>
                      <a:pt x="70" y="112"/>
                    </a:lnTo>
                    <a:lnTo>
                      <a:pt x="65" y="108"/>
                    </a:lnTo>
                    <a:lnTo>
                      <a:pt x="60" y="108"/>
                    </a:lnTo>
                    <a:lnTo>
                      <a:pt x="52" y="103"/>
                    </a:lnTo>
                    <a:lnTo>
                      <a:pt x="45" y="107"/>
                    </a:lnTo>
                    <a:lnTo>
                      <a:pt x="43" y="112"/>
                    </a:lnTo>
                    <a:lnTo>
                      <a:pt x="38" y="113"/>
                    </a:lnTo>
                    <a:lnTo>
                      <a:pt x="32" y="117"/>
                    </a:lnTo>
                    <a:lnTo>
                      <a:pt x="32" y="105"/>
                    </a:lnTo>
                    <a:lnTo>
                      <a:pt x="32" y="97"/>
                    </a:lnTo>
                    <a:lnTo>
                      <a:pt x="28" y="92"/>
                    </a:lnTo>
                    <a:lnTo>
                      <a:pt x="32" y="88"/>
                    </a:lnTo>
                    <a:lnTo>
                      <a:pt x="32" y="85"/>
                    </a:lnTo>
                    <a:lnTo>
                      <a:pt x="28" y="80"/>
                    </a:lnTo>
                    <a:lnTo>
                      <a:pt x="32" y="75"/>
                    </a:lnTo>
                    <a:lnTo>
                      <a:pt x="32" y="72"/>
                    </a:lnTo>
                    <a:lnTo>
                      <a:pt x="23" y="72"/>
                    </a:lnTo>
                    <a:lnTo>
                      <a:pt x="18" y="75"/>
                    </a:lnTo>
                    <a:lnTo>
                      <a:pt x="15" y="73"/>
                    </a:lnTo>
                    <a:lnTo>
                      <a:pt x="12" y="68"/>
                    </a:lnTo>
                    <a:lnTo>
                      <a:pt x="15" y="65"/>
                    </a:lnTo>
                    <a:lnTo>
                      <a:pt x="13" y="58"/>
                    </a:lnTo>
                    <a:lnTo>
                      <a:pt x="8" y="53"/>
                    </a:lnTo>
                    <a:lnTo>
                      <a:pt x="3" y="53"/>
                    </a:lnTo>
                    <a:lnTo>
                      <a:pt x="0" y="48"/>
                    </a:lnTo>
                    <a:lnTo>
                      <a:pt x="3" y="43"/>
                    </a:lnTo>
                    <a:lnTo>
                      <a:pt x="5" y="43"/>
                    </a:lnTo>
                    <a:lnTo>
                      <a:pt x="10" y="40"/>
                    </a:lnTo>
                    <a:lnTo>
                      <a:pt x="8" y="37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8" y="29"/>
                    </a:lnTo>
                    <a:lnTo>
                      <a:pt x="22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6" name="Freeform 22">
                <a:extLst>
                  <a:ext uri="{FF2B5EF4-FFF2-40B4-BE49-F238E27FC236}">
                    <a16:creationId xmlns:a16="http://schemas.microsoft.com/office/drawing/2014/main" id="{B1CE5CA5-7AFC-5B4A-9B2D-71D8BE920A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74697" y="3025881"/>
                <a:ext cx="110235" cy="178465"/>
              </a:xfrm>
              <a:custGeom>
                <a:avLst/>
                <a:gdLst/>
                <a:ahLst/>
                <a:cxnLst>
                  <a:cxn ang="0">
                    <a:pos x="73" y="17"/>
                  </a:cxn>
                  <a:cxn ang="0">
                    <a:pos x="90" y="24"/>
                  </a:cxn>
                  <a:cxn ang="0">
                    <a:pos x="86" y="44"/>
                  </a:cxn>
                  <a:cxn ang="0">
                    <a:pos x="101" y="64"/>
                  </a:cxn>
                  <a:cxn ang="0">
                    <a:pos x="128" y="64"/>
                  </a:cxn>
                  <a:cxn ang="0">
                    <a:pos x="164" y="60"/>
                  </a:cxn>
                  <a:cxn ang="0">
                    <a:pos x="181" y="84"/>
                  </a:cxn>
                  <a:cxn ang="0">
                    <a:pos x="193" y="105"/>
                  </a:cxn>
                  <a:cxn ang="0">
                    <a:pos x="206" y="117"/>
                  </a:cxn>
                  <a:cxn ang="0">
                    <a:pos x="204" y="140"/>
                  </a:cxn>
                  <a:cxn ang="0">
                    <a:pos x="179" y="142"/>
                  </a:cxn>
                  <a:cxn ang="0">
                    <a:pos x="148" y="145"/>
                  </a:cxn>
                  <a:cxn ang="0">
                    <a:pos x="131" y="172"/>
                  </a:cxn>
                  <a:cxn ang="0">
                    <a:pos x="138" y="198"/>
                  </a:cxn>
                  <a:cxn ang="0">
                    <a:pos x="130" y="196"/>
                  </a:cxn>
                  <a:cxn ang="0">
                    <a:pos x="115" y="187"/>
                  </a:cxn>
                  <a:cxn ang="0">
                    <a:pos x="105" y="187"/>
                  </a:cxn>
                  <a:cxn ang="0">
                    <a:pos x="96" y="183"/>
                  </a:cxn>
                  <a:cxn ang="0">
                    <a:pos x="90" y="168"/>
                  </a:cxn>
                  <a:cxn ang="0">
                    <a:pos x="80" y="168"/>
                  </a:cxn>
                  <a:cxn ang="0">
                    <a:pos x="71" y="170"/>
                  </a:cxn>
                  <a:cxn ang="0">
                    <a:pos x="73" y="187"/>
                  </a:cxn>
                  <a:cxn ang="0">
                    <a:pos x="68" y="206"/>
                  </a:cxn>
                  <a:cxn ang="0">
                    <a:pos x="56" y="243"/>
                  </a:cxn>
                  <a:cxn ang="0">
                    <a:pos x="58" y="253"/>
                  </a:cxn>
                  <a:cxn ang="0">
                    <a:pos x="65" y="268"/>
                  </a:cxn>
                  <a:cxn ang="0">
                    <a:pos x="75" y="266"/>
                  </a:cxn>
                  <a:cxn ang="0">
                    <a:pos x="83" y="285"/>
                  </a:cxn>
                  <a:cxn ang="0">
                    <a:pos x="90" y="286"/>
                  </a:cxn>
                  <a:cxn ang="0">
                    <a:pos x="91" y="303"/>
                  </a:cxn>
                  <a:cxn ang="0">
                    <a:pos x="95" y="306"/>
                  </a:cxn>
                  <a:cxn ang="0">
                    <a:pos x="110" y="323"/>
                  </a:cxn>
                  <a:cxn ang="0">
                    <a:pos x="126" y="333"/>
                  </a:cxn>
                  <a:cxn ang="0">
                    <a:pos x="126" y="344"/>
                  </a:cxn>
                  <a:cxn ang="0">
                    <a:pos x="106" y="341"/>
                  </a:cxn>
                  <a:cxn ang="0">
                    <a:pos x="101" y="328"/>
                  </a:cxn>
                  <a:cxn ang="0">
                    <a:pos x="83" y="328"/>
                  </a:cxn>
                  <a:cxn ang="0">
                    <a:pos x="71" y="314"/>
                  </a:cxn>
                  <a:cxn ang="0">
                    <a:pos x="56" y="299"/>
                  </a:cxn>
                  <a:cxn ang="0">
                    <a:pos x="46" y="285"/>
                  </a:cxn>
                  <a:cxn ang="0">
                    <a:pos x="36" y="280"/>
                  </a:cxn>
                  <a:cxn ang="0">
                    <a:pos x="41" y="261"/>
                  </a:cxn>
                  <a:cxn ang="0">
                    <a:pos x="46" y="248"/>
                  </a:cxn>
                  <a:cxn ang="0">
                    <a:pos x="50" y="228"/>
                  </a:cxn>
                  <a:cxn ang="0">
                    <a:pos x="60" y="196"/>
                  </a:cxn>
                  <a:cxn ang="0">
                    <a:pos x="55" y="173"/>
                  </a:cxn>
                  <a:cxn ang="0">
                    <a:pos x="38" y="145"/>
                  </a:cxn>
                  <a:cxn ang="0">
                    <a:pos x="35" y="120"/>
                  </a:cxn>
                  <a:cxn ang="0">
                    <a:pos x="33" y="97"/>
                  </a:cxn>
                  <a:cxn ang="0">
                    <a:pos x="13" y="70"/>
                  </a:cxn>
                  <a:cxn ang="0">
                    <a:pos x="0" y="52"/>
                  </a:cxn>
                  <a:cxn ang="0">
                    <a:pos x="12" y="34"/>
                  </a:cxn>
                  <a:cxn ang="0">
                    <a:pos x="35" y="20"/>
                  </a:cxn>
                  <a:cxn ang="0">
                    <a:pos x="48" y="9"/>
                  </a:cxn>
                  <a:cxn ang="0">
                    <a:pos x="58" y="0"/>
                  </a:cxn>
                  <a:cxn ang="0">
                    <a:pos x="75" y="324"/>
                  </a:cxn>
                  <a:cxn ang="0">
                    <a:pos x="56" y="308"/>
                  </a:cxn>
                  <a:cxn ang="0">
                    <a:pos x="38" y="291"/>
                  </a:cxn>
                  <a:cxn ang="0">
                    <a:pos x="41" y="291"/>
                  </a:cxn>
                  <a:cxn ang="0">
                    <a:pos x="128" y="201"/>
                  </a:cxn>
                  <a:cxn ang="0">
                    <a:pos x="80" y="251"/>
                  </a:cxn>
                  <a:cxn ang="0">
                    <a:pos x="80" y="256"/>
                  </a:cxn>
                  <a:cxn ang="0">
                    <a:pos x="80" y="256"/>
                  </a:cxn>
                </a:cxnLst>
                <a:rect l="0" t="0" r="r" b="b"/>
                <a:pathLst>
                  <a:path w="206" h="346">
                    <a:moveTo>
                      <a:pt x="58" y="0"/>
                    </a:moveTo>
                    <a:lnTo>
                      <a:pt x="61" y="5"/>
                    </a:lnTo>
                    <a:lnTo>
                      <a:pt x="66" y="5"/>
                    </a:lnTo>
                    <a:lnTo>
                      <a:pt x="71" y="10"/>
                    </a:lnTo>
                    <a:lnTo>
                      <a:pt x="73" y="17"/>
                    </a:lnTo>
                    <a:lnTo>
                      <a:pt x="70" y="20"/>
                    </a:lnTo>
                    <a:lnTo>
                      <a:pt x="73" y="25"/>
                    </a:lnTo>
                    <a:lnTo>
                      <a:pt x="76" y="27"/>
                    </a:lnTo>
                    <a:lnTo>
                      <a:pt x="81" y="24"/>
                    </a:lnTo>
                    <a:lnTo>
                      <a:pt x="90" y="24"/>
                    </a:lnTo>
                    <a:lnTo>
                      <a:pt x="90" y="27"/>
                    </a:lnTo>
                    <a:lnTo>
                      <a:pt x="86" y="32"/>
                    </a:lnTo>
                    <a:lnTo>
                      <a:pt x="90" y="37"/>
                    </a:lnTo>
                    <a:lnTo>
                      <a:pt x="90" y="40"/>
                    </a:lnTo>
                    <a:lnTo>
                      <a:pt x="86" y="44"/>
                    </a:lnTo>
                    <a:lnTo>
                      <a:pt x="90" y="49"/>
                    </a:lnTo>
                    <a:lnTo>
                      <a:pt x="90" y="57"/>
                    </a:lnTo>
                    <a:lnTo>
                      <a:pt x="90" y="69"/>
                    </a:lnTo>
                    <a:lnTo>
                      <a:pt x="96" y="65"/>
                    </a:lnTo>
                    <a:lnTo>
                      <a:pt x="101" y="64"/>
                    </a:lnTo>
                    <a:lnTo>
                      <a:pt x="103" y="59"/>
                    </a:lnTo>
                    <a:lnTo>
                      <a:pt x="110" y="55"/>
                    </a:lnTo>
                    <a:lnTo>
                      <a:pt x="118" y="60"/>
                    </a:lnTo>
                    <a:lnTo>
                      <a:pt x="123" y="60"/>
                    </a:lnTo>
                    <a:lnTo>
                      <a:pt x="128" y="64"/>
                    </a:lnTo>
                    <a:lnTo>
                      <a:pt x="138" y="64"/>
                    </a:lnTo>
                    <a:lnTo>
                      <a:pt x="143" y="54"/>
                    </a:lnTo>
                    <a:lnTo>
                      <a:pt x="151" y="52"/>
                    </a:lnTo>
                    <a:lnTo>
                      <a:pt x="161" y="54"/>
                    </a:lnTo>
                    <a:lnTo>
                      <a:pt x="164" y="60"/>
                    </a:lnTo>
                    <a:lnTo>
                      <a:pt x="176" y="67"/>
                    </a:lnTo>
                    <a:lnTo>
                      <a:pt x="181" y="72"/>
                    </a:lnTo>
                    <a:lnTo>
                      <a:pt x="184" y="77"/>
                    </a:lnTo>
                    <a:lnTo>
                      <a:pt x="183" y="80"/>
                    </a:lnTo>
                    <a:lnTo>
                      <a:pt x="181" y="84"/>
                    </a:lnTo>
                    <a:lnTo>
                      <a:pt x="184" y="89"/>
                    </a:lnTo>
                    <a:lnTo>
                      <a:pt x="184" y="93"/>
                    </a:lnTo>
                    <a:lnTo>
                      <a:pt x="183" y="97"/>
                    </a:lnTo>
                    <a:lnTo>
                      <a:pt x="186" y="100"/>
                    </a:lnTo>
                    <a:lnTo>
                      <a:pt x="193" y="105"/>
                    </a:lnTo>
                    <a:lnTo>
                      <a:pt x="196" y="105"/>
                    </a:lnTo>
                    <a:lnTo>
                      <a:pt x="201" y="107"/>
                    </a:lnTo>
                    <a:lnTo>
                      <a:pt x="199" y="110"/>
                    </a:lnTo>
                    <a:lnTo>
                      <a:pt x="206" y="113"/>
                    </a:lnTo>
                    <a:lnTo>
                      <a:pt x="206" y="117"/>
                    </a:lnTo>
                    <a:lnTo>
                      <a:pt x="204" y="122"/>
                    </a:lnTo>
                    <a:lnTo>
                      <a:pt x="204" y="123"/>
                    </a:lnTo>
                    <a:lnTo>
                      <a:pt x="203" y="128"/>
                    </a:lnTo>
                    <a:lnTo>
                      <a:pt x="204" y="132"/>
                    </a:lnTo>
                    <a:lnTo>
                      <a:pt x="204" y="140"/>
                    </a:lnTo>
                    <a:lnTo>
                      <a:pt x="201" y="142"/>
                    </a:lnTo>
                    <a:lnTo>
                      <a:pt x="196" y="145"/>
                    </a:lnTo>
                    <a:lnTo>
                      <a:pt x="191" y="142"/>
                    </a:lnTo>
                    <a:lnTo>
                      <a:pt x="184" y="143"/>
                    </a:lnTo>
                    <a:lnTo>
                      <a:pt x="179" y="142"/>
                    </a:lnTo>
                    <a:lnTo>
                      <a:pt x="174" y="142"/>
                    </a:lnTo>
                    <a:lnTo>
                      <a:pt x="168" y="143"/>
                    </a:lnTo>
                    <a:lnTo>
                      <a:pt x="166" y="142"/>
                    </a:lnTo>
                    <a:lnTo>
                      <a:pt x="158" y="142"/>
                    </a:lnTo>
                    <a:lnTo>
                      <a:pt x="148" y="145"/>
                    </a:lnTo>
                    <a:lnTo>
                      <a:pt x="143" y="145"/>
                    </a:lnTo>
                    <a:lnTo>
                      <a:pt x="138" y="152"/>
                    </a:lnTo>
                    <a:lnTo>
                      <a:pt x="136" y="158"/>
                    </a:lnTo>
                    <a:lnTo>
                      <a:pt x="131" y="163"/>
                    </a:lnTo>
                    <a:lnTo>
                      <a:pt x="131" y="172"/>
                    </a:lnTo>
                    <a:lnTo>
                      <a:pt x="133" y="180"/>
                    </a:lnTo>
                    <a:lnTo>
                      <a:pt x="138" y="182"/>
                    </a:lnTo>
                    <a:lnTo>
                      <a:pt x="139" y="187"/>
                    </a:lnTo>
                    <a:lnTo>
                      <a:pt x="139" y="195"/>
                    </a:lnTo>
                    <a:lnTo>
                      <a:pt x="138" y="198"/>
                    </a:lnTo>
                    <a:lnTo>
                      <a:pt x="136" y="198"/>
                    </a:lnTo>
                    <a:lnTo>
                      <a:pt x="136" y="200"/>
                    </a:lnTo>
                    <a:lnTo>
                      <a:pt x="134" y="201"/>
                    </a:lnTo>
                    <a:lnTo>
                      <a:pt x="134" y="200"/>
                    </a:lnTo>
                    <a:lnTo>
                      <a:pt x="130" y="196"/>
                    </a:lnTo>
                    <a:lnTo>
                      <a:pt x="128" y="196"/>
                    </a:lnTo>
                    <a:lnTo>
                      <a:pt x="128" y="195"/>
                    </a:lnTo>
                    <a:lnTo>
                      <a:pt x="125" y="193"/>
                    </a:lnTo>
                    <a:lnTo>
                      <a:pt x="118" y="187"/>
                    </a:lnTo>
                    <a:lnTo>
                      <a:pt x="115" y="187"/>
                    </a:lnTo>
                    <a:lnTo>
                      <a:pt x="111" y="188"/>
                    </a:lnTo>
                    <a:lnTo>
                      <a:pt x="113" y="188"/>
                    </a:lnTo>
                    <a:lnTo>
                      <a:pt x="113" y="190"/>
                    </a:lnTo>
                    <a:lnTo>
                      <a:pt x="110" y="188"/>
                    </a:lnTo>
                    <a:lnTo>
                      <a:pt x="105" y="187"/>
                    </a:lnTo>
                    <a:lnTo>
                      <a:pt x="100" y="188"/>
                    </a:lnTo>
                    <a:lnTo>
                      <a:pt x="96" y="187"/>
                    </a:lnTo>
                    <a:lnTo>
                      <a:pt x="93" y="188"/>
                    </a:lnTo>
                    <a:lnTo>
                      <a:pt x="95" y="185"/>
                    </a:lnTo>
                    <a:lnTo>
                      <a:pt x="96" y="183"/>
                    </a:lnTo>
                    <a:lnTo>
                      <a:pt x="93" y="180"/>
                    </a:lnTo>
                    <a:lnTo>
                      <a:pt x="95" y="173"/>
                    </a:lnTo>
                    <a:lnTo>
                      <a:pt x="95" y="172"/>
                    </a:lnTo>
                    <a:lnTo>
                      <a:pt x="95" y="170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88" y="168"/>
                    </a:lnTo>
                    <a:lnTo>
                      <a:pt x="86" y="167"/>
                    </a:lnTo>
                    <a:lnTo>
                      <a:pt x="81" y="168"/>
                    </a:lnTo>
                    <a:lnTo>
                      <a:pt x="80" y="168"/>
                    </a:lnTo>
                    <a:lnTo>
                      <a:pt x="78" y="168"/>
                    </a:lnTo>
                    <a:lnTo>
                      <a:pt x="76" y="170"/>
                    </a:lnTo>
                    <a:lnTo>
                      <a:pt x="73" y="170"/>
                    </a:lnTo>
                    <a:lnTo>
                      <a:pt x="71" y="168"/>
                    </a:lnTo>
                    <a:lnTo>
                      <a:pt x="71" y="170"/>
                    </a:lnTo>
                    <a:lnTo>
                      <a:pt x="70" y="173"/>
                    </a:lnTo>
                    <a:lnTo>
                      <a:pt x="75" y="175"/>
                    </a:lnTo>
                    <a:lnTo>
                      <a:pt x="75" y="178"/>
                    </a:lnTo>
                    <a:lnTo>
                      <a:pt x="73" y="182"/>
                    </a:lnTo>
                    <a:lnTo>
                      <a:pt x="73" y="187"/>
                    </a:lnTo>
                    <a:lnTo>
                      <a:pt x="71" y="190"/>
                    </a:lnTo>
                    <a:lnTo>
                      <a:pt x="73" y="191"/>
                    </a:lnTo>
                    <a:lnTo>
                      <a:pt x="73" y="196"/>
                    </a:lnTo>
                    <a:lnTo>
                      <a:pt x="70" y="201"/>
                    </a:lnTo>
                    <a:lnTo>
                      <a:pt x="68" y="206"/>
                    </a:lnTo>
                    <a:lnTo>
                      <a:pt x="65" y="210"/>
                    </a:lnTo>
                    <a:lnTo>
                      <a:pt x="65" y="226"/>
                    </a:lnTo>
                    <a:lnTo>
                      <a:pt x="58" y="233"/>
                    </a:lnTo>
                    <a:lnTo>
                      <a:pt x="58" y="238"/>
                    </a:lnTo>
                    <a:lnTo>
                      <a:pt x="56" y="243"/>
                    </a:lnTo>
                    <a:lnTo>
                      <a:pt x="58" y="243"/>
                    </a:lnTo>
                    <a:lnTo>
                      <a:pt x="60" y="245"/>
                    </a:lnTo>
                    <a:lnTo>
                      <a:pt x="56" y="246"/>
                    </a:lnTo>
                    <a:lnTo>
                      <a:pt x="58" y="248"/>
                    </a:lnTo>
                    <a:lnTo>
                      <a:pt x="58" y="253"/>
                    </a:lnTo>
                    <a:lnTo>
                      <a:pt x="58" y="256"/>
                    </a:lnTo>
                    <a:lnTo>
                      <a:pt x="63" y="263"/>
                    </a:lnTo>
                    <a:lnTo>
                      <a:pt x="61" y="266"/>
                    </a:lnTo>
                    <a:lnTo>
                      <a:pt x="63" y="268"/>
                    </a:lnTo>
                    <a:lnTo>
                      <a:pt x="65" y="268"/>
                    </a:lnTo>
                    <a:lnTo>
                      <a:pt x="66" y="266"/>
                    </a:lnTo>
                    <a:lnTo>
                      <a:pt x="68" y="263"/>
                    </a:lnTo>
                    <a:lnTo>
                      <a:pt x="70" y="265"/>
                    </a:lnTo>
                    <a:lnTo>
                      <a:pt x="73" y="265"/>
                    </a:lnTo>
                    <a:lnTo>
                      <a:pt x="75" y="266"/>
                    </a:lnTo>
                    <a:lnTo>
                      <a:pt x="75" y="271"/>
                    </a:lnTo>
                    <a:lnTo>
                      <a:pt x="78" y="275"/>
                    </a:lnTo>
                    <a:lnTo>
                      <a:pt x="78" y="278"/>
                    </a:lnTo>
                    <a:lnTo>
                      <a:pt x="80" y="280"/>
                    </a:lnTo>
                    <a:lnTo>
                      <a:pt x="83" y="285"/>
                    </a:lnTo>
                    <a:lnTo>
                      <a:pt x="85" y="285"/>
                    </a:lnTo>
                    <a:lnTo>
                      <a:pt x="85" y="281"/>
                    </a:lnTo>
                    <a:lnTo>
                      <a:pt x="85" y="280"/>
                    </a:lnTo>
                    <a:lnTo>
                      <a:pt x="86" y="283"/>
                    </a:lnTo>
                    <a:lnTo>
                      <a:pt x="90" y="286"/>
                    </a:lnTo>
                    <a:lnTo>
                      <a:pt x="90" y="291"/>
                    </a:lnTo>
                    <a:lnTo>
                      <a:pt x="91" y="291"/>
                    </a:lnTo>
                    <a:lnTo>
                      <a:pt x="93" y="301"/>
                    </a:lnTo>
                    <a:lnTo>
                      <a:pt x="93" y="301"/>
                    </a:lnTo>
                    <a:lnTo>
                      <a:pt x="91" y="303"/>
                    </a:lnTo>
                    <a:lnTo>
                      <a:pt x="90" y="303"/>
                    </a:lnTo>
                    <a:lnTo>
                      <a:pt x="86" y="304"/>
                    </a:lnTo>
                    <a:lnTo>
                      <a:pt x="86" y="308"/>
                    </a:lnTo>
                    <a:lnTo>
                      <a:pt x="93" y="309"/>
                    </a:lnTo>
                    <a:lnTo>
                      <a:pt x="95" y="306"/>
                    </a:lnTo>
                    <a:lnTo>
                      <a:pt x="95" y="308"/>
                    </a:lnTo>
                    <a:lnTo>
                      <a:pt x="96" y="311"/>
                    </a:lnTo>
                    <a:lnTo>
                      <a:pt x="100" y="314"/>
                    </a:lnTo>
                    <a:lnTo>
                      <a:pt x="106" y="319"/>
                    </a:lnTo>
                    <a:lnTo>
                      <a:pt x="110" y="323"/>
                    </a:lnTo>
                    <a:lnTo>
                      <a:pt x="111" y="321"/>
                    </a:lnTo>
                    <a:lnTo>
                      <a:pt x="116" y="321"/>
                    </a:lnTo>
                    <a:lnTo>
                      <a:pt x="120" y="323"/>
                    </a:lnTo>
                    <a:lnTo>
                      <a:pt x="123" y="329"/>
                    </a:lnTo>
                    <a:lnTo>
                      <a:pt x="126" y="333"/>
                    </a:lnTo>
                    <a:lnTo>
                      <a:pt x="131" y="334"/>
                    </a:lnTo>
                    <a:lnTo>
                      <a:pt x="131" y="338"/>
                    </a:lnTo>
                    <a:lnTo>
                      <a:pt x="130" y="338"/>
                    </a:lnTo>
                    <a:lnTo>
                      <a:pt x="130" y="343"/>
                    </a:lnTo>
                    <a:lnTo>
                      <a:pt x="126" y="344"/>
                    </a:lnTo>
                    <a:lnTo>
                      <a:pt x="123" y="341"/>
                    </a:lnTo>
                    <a:lnTo>
                      <a:pt x="120" y="343"/>
                    </a:lnTo>
                    <a:lnTo>
                      <a:pt x="113" y="346"/>
                    </a:lnTo>
                    <a:lnTo>
                      <a:pt x="106" y="344"/>
                    </a:lnTo>
                    <a:lnTo>
                      <a:pt x="106" y="341"/>
                    </a:lnTo>
                    <a:lnTo>
                      <a:pt x="110" y="339"/>
                    </a:lnTo>
                    <a:lnTo>
                      <a:pt x="111" y="333"/>
                    </a:lnTo>
                    <a:lnTo>
                      <a:pt x="108" y="329"/>
                    </a:lnTo>
                    <a:lnTo>
                      <a:pt x="103" y="329"/>
                    </a:lnTo>
                    <a:lnTo>
                      <a:pt x="101" y="328"/>
                    </a:lnTo>
                    <a:lnTo>
                      <a:pt x="95" y="324"/>
                    </a:lnTo>
                    <a:lnTo>
                      <a:pt x="90" y="321"/>
                    </a:lnTo>
                    <a:lnTo>
                      <a:pt x="86" y="324"/>
                    </a:lnTo>
                    <a:lnTo>
                      <a:pt x="85" y="331"/>
                    </a:lnTo>
                    <a:lnTo>
                      <a:pt x="83" y="328"/>
                    </a:lnTo>
                    <a:lnTo>
                      <a:pt x="73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4"/>
                    </a:lnTo>
                    <a:lnTo>
                      <a:pt x="71" y="314"/>
                    </a:lnTo>
                    <a:lnTo>
                      <a:pt x="70" y="309"/>
                    </a:lnTo>
                    <a:lnTo>
                      <a:pt x="66" y="309"/>
                    </a:lnTo>
                    <a:lnTo>
                      <a:pt x="66" y="306"/>
                    </a:lnTo>
                    <a:lnTo>
                      <a:pt x="60" y="299"/>
                    </a:lnTo>
                    <a:lnTo>
                      <a:pt x="56" y="299"/>
                    </a:lnTo>
                    <a:lnTo>
                      <a:pt x="55" y="293"/>
                    </a:lnTo>
                    <a:lnTo>
                      <a:pt x="50" y="291"/>
                    </a:lnTo>
                    <a:lnTo>
                      <a:pt x="50" y="288"/>
                    </a:lnTo>
                    <a:lnTo>
                      <a:pt x="46" y="286"/>
                    </a:lnTo>
                    <a:lnTo>
                      <a:pt x="46" y="285"/>
                    </a:lnTo>
                    <a:lnTo>
                      <a:pt x="43" y="286"/>
                    </a:lnTo>
                    <a:lnTo>
                      <a:pt x="43" y="289"/>
                    </a:lnTo>
                    <a:lnTo>
                      <a:pt x="40" y="289"/>
                    </a:lnTo>
                    <a:lnTo>
                      <a:pt x="38" y="286"/>
                    </a:lnTo>
                    <a:lnTo>
                      <a:pt x="36" y="280"/>
                    </a:lnTo>
                    <a:lnTo>
                      <a:pt x="36" y="278"/>
                    </a:lnTo>
                    <a:lnTo>
                      <a:pt x="36" y="271"/>
                    </a:lnTo>
                    <a:lnTo>
                      <a:pt x="40" y="270"/>
                    </a:lnTo>
                    <a:lnTo>
                      <a:pt x="40" y="261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41" y="258"/>
                    </a:lnTo>
                    <a:lnTo>
                      <a:pt x="45" y="253"/>
                    </a:lnTo>
                    <a:lnTo>
                      <a:pt x="43" y="251"/>
                    </a:lnTo>
                    <a:lnTo>
                      <a:pt x="46" y="248"/>
                    </a:lnTo>
                    <a:lnTo>
                      <a:pt x="43" y="248"/>
                    </a:lnTo>
                    <a:lnTo>
                      <a:pt x="45" y="240"/>
                    </a:lnTo>
                    <a:lnTo>
                      <a:pt x="46" y="236"/>
                    </a:lnTo>
                    <a:lnTo>
                      <a:pt x="48" y="233"/>
                    </a:lnTo>
                    <a:lnTo>
                      <a:pt x="50" y="228"/>
                    </a:lnTo>
                    <a:lnTo>
                      <a:pt x="55" y="225"/>
                    </a:lnTo>
                    <a:lnTo>
                      <a:pt x="60" y="210"/>
                    </a:lnTo>
                    <a:lnTo>
                      <a:pt x="63" y="208"/>
                    </a:lnTo>
                    <a:lnTo>
                      <a:pt x="63" y="201"/>
                    </a:lnTo>
                    <a:lnTo>
                      <a:pt x="60" y="196"/>
                    </a:lnTo>
                    <a:lnTo>
                      <a:pt x="60" y="190"/>
                    </a:lnTo>
                    <a:lnTo>
                      <a:pt x="58" y="187"/>
                    </a:lnTo>
                    <a:lnTo>
                      <a:pt x="56" y="180"/>
                    </a:lnTo>
                    <a:lnTo>
                      <a:pt x="55" y="177"/>
                    </a:lnTo>
                    <a:lnTo>
                      <a:pt x="55" y="173"/>
                    </a:lnTo>
                    <a:lnTo>
                      <a:pt x="53" y="168"/>
                    </a:lnTo>
                    <a:lnTo>
                      <a:pt x="56" y="165"/>
                    </a:lnTo>
                    <a:lnTo>
                      <a:pt x="53" y="155"/>
                    </a:lnTo>
                    <a:lnTo>
                      <a:pt x="46" y="150"/>
                    </a:lnTo>
                    <a:lnTo>
                      <a:pt x="38" y="145"/>
                    </a:lnTo>
                    <a:lnTo>
                      <a:pt x="32" y="137"/>
                    </a:lnTo>
                    <a:lnTo>
                      <a:pt x="32" y="133"/>
                    </a:lnTo>
                    <a:lnTo>
                      <a:pt x="28" y="125"/>
                    </a:lnTo>
                    <a:lnTo>
                      <a:pt x="33" y="123"/>
                    </a:lnTo>
                    <a:lnTo>
                      <a:pt x="35" y="120"/>
                    </a:lnTo>
                    <a:lnTo>
                      <a:pt x="32" y="108"/>
                    </a:lnTo>
                    <a:lnTo>
                      <a:pt x="33" y="105"/>
                    </a:lnTo>
                    <a:lnTo>
                      <a:pt x="38" y="103"/>
                    </a:lnTo>
                    <a:lnTo>
                      <a:pt x="38" y="98"/>
                    </a:lnTo>
                    <a:lnTo>
                      <a:pt x="33" y="97"/>
                    </a:lnTo>
                    <a:lnTo>
                      <a:pt x="32" y="92"/>
                    </a:lnTo>
                    <a:lnTo>
                      <a:pt x="28" y="87"/>
                    </a:lnTo>
                    <a:lnTo>
                      <a:pt x="25" y="85"/>
                    </a:lnTo>
                    <a:lnTo>
                      <a:pt x="20" y="74"/>
                    </a:lnTo>
                    <a:lnTo>
                      <a:pt x="13" y="70"/>
                    </a:lnTo>
                    <a:lnTo>
                      <a:pt x="12" y="67"/>
                    </a:lnTo>
                    <a:lnTo>
                      <a:pt x="8" y="64"/>
                    </a:lnTo>
                    <a:lnTo>
                      <a:pt x="3" y="57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7" y="50"/>
                    </a:lnTo>
                    <a:lnTo>
                      <a:pt x="10" y="47"/>
                    </a:lnTo>
                    <a:lnTo>
                      <a:pt x="8" y="44"/>
                    </a:lnTo>
                    <a:lnTo>
                      <a:pt x="8" y="37"/>
                    </a:lnTo>
                    <a:lnTo>
                      <a:pt x="12" y="34"/>
                    </a:lnTo>
                    <a:lnTo>
                      <a:pt x="12" y="27"/>
                    </a:lnTo>
                    <a:lnTo>
                      <a:pt x="15" y="22"/>
                    </a:lnTo>
                    <a:lnTo>
                      <a:pt x="23" y="25"/>
                    </a:lnTo>
                    <a:lnTo>
                      <a:pt x="30" y="20"/>
                    </a:lnTo>
                    <a:lnTo>
                      <a:pt x="35" y="20"/>
                    </a:lnTo>
                    <a:lnTo>
                      <a:pt x="36" y="19"/>
                    </a:lnTo>
                    <a:lnTo>
                      <a:pt x="36" y="14"/>
                    </a:lnTo>
                    <a:lnTo>
                      <a:pt x="40" y="10"/>
                    </a:lnTo>
                    <a:lnTo>
                      <a:pt x="46" y="12"/>
                    </a:lnTo>
                    <a:lnTo>
                      <a:pt x="48" y="9"/>
                    </a:lnTo>
                    <a:lnTo>
                      <a:pt x="45" y="5"/>
                    </a:lnTo>
                    <a:lnTo>
                      <a:pt x="45" y="4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8" y="0"/>
                    </a:lnTo>
                    <a:close/>
                    <a:moveTo>
                      <a:pt x="71" y="324"/>
                    </a:moveTo>
                    <a:lnTo>
                      <a:pt x="73" y="328"/>
                    </a:lnTo>
                    <a:lnTo>
                      <a:pt x="75" y="326"/>
                    </a:lnTo>
                    <a:lnTo>
                      <a:pt x="75" y="324"/>
                    </a:lnTo>
                    <a:lnTo>
                      <a:pt x="73" y="323"/>
                    </a:lnTo>
                    <a:lnTo>
                      <a:pt x="71" y="324"/>
                    </a:lnTo>
                    <a:lnTo>
                      <a:pt x="71" y="324"/>
                    </a:lnTo>
                    <a:close/>
                    <a:moveTo>
                      <a:pt x="56" y="303"/>
                    </a:moveTo>
                    <a:lnTo>
                      <a:pt x="56" y="308"/>
                    </a:lnTo>
                    <a:lnTo>
                      <a:pt x="58" y="304"/>
                    </a:lnTo>
                    <a:lnTo>
                      <a:pt x="56" y="303"/>
                    </a:lnTo>
                    <a:lnTo>
                      <a:pt x="56" y="303"/>
                    </a:lnTo>
                    <a:lnTo>
                      <a:pt x="56" y="303"/>
                    </a:lnTo>
                    <a:close/>
                    <a:moveTo>
                      <a:pt x="38" y="291"/>
                    </a:moveTo>
                    <a:lnTo>
                      <a:pt x="38" y="294"/>
                    </a:lnTo>
                    <a:lnTo>
                      <a:pt x="38" y="296"/>
                    </a:lnTo>
                    <a:lnTo>
                      <a:pt x="38" y="301"/>
                    </a:lnTo>
                    <a:lnTo>
                      <a:pt x="41" y="296"/>
                    </a:lnTo>
                    <a:lnTo>
                      <a:pt x="41" y="291"/>
                    </a:lnTo>
                    <a:lnTo>
                      <a:pt x="41" y="291"/>
                    </a:lnTo>
                    <a:lnTo>
                      <a:pt x="38" y="291"/>
                    </a:lnTo>
                    <a:lnTo>
                      <a:pt x="38" y="291"/>
                    </a:lnTo>
                    <a:close/>
                    <a:moveTo>
                      <a:pt x="126" y="196"/>
                    </a:moveTo>
                    <a:lnTo>
                      <a:pt x="128" y="201"/>
                    </a:lnTo>
                    <a:lnTo>
                      <a:pt x="131" y="203"/>
                    </a:lnTo>
                    <a:lnTo>
                      <a:pt x="133" y="203"/>
                    </a:lnTo>
                    <a:lnTo>
                      <a:pt x="126" y="196"/>
                    </a:lnTo>
                    <a:lnTo>
                      <a:pt x="126" y="196"/>
                    </a:lnTo>
                    <a:close/>
                    <a:moveTo>
                      <a:pt x="80" y="251"/>
                    </a:moveTo>
                    <a:lnTo>
                      <a:pt x="75" y="253"/>
                    </a:lnTo>
                    <a:lnTo>
                      <a:pt x="78" y="253"/>
                    </a:lnTo>
                    <a:lnTo>
                      <a:pt x="80" y="251"/>
                    </a:lnTo>
                    <a:lnTo>
                      <a:pt x="80" y="251"/>
                    </a:lnTo>
                    <a:close/>
                    <a:moveTo>
                      <a:pt x="80" y="256"/>
                    </a:moveTo>
                    <a:lnTo>
                      <a:pt x="76" y="258"/>
                    </a:lnTo>
                    <a:lnTo>
                      <a:pt x="76" y="261"/>
                    </a:lnTo>
                    <a:lnTo>
                      <a:pt x="81" y="263"/>
                    </a:lnTo>
                    <a:lnTo>
                      <a:pt x="81" y="260"/>
                    </a:lnTo>
                    <a:lnTo>
                      <a:pt x="80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7" name="Freeform 23">
                <a:extLst>
                  <a:ext uri="{FF2B5EF4-FFF2-40B4-BE49-F238E27FC236}">
                    <a16:creationId xmlns:a16="http://schemas.microsoft.com/office/drawing/2014/main" id="{E3C0FD3F-A8F4-9248-BC04-C8CD5590DB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04060" y="2928348"/>
                <a:ext cx="114516" cy="226194"/>
              </a:xfrm>
              <a:custGeom>
                <a:avLst/>
                <a:gdLst/>
                <a:ahLst/>
                <a:cxnLst>
                  <a:cxn ang="0">
                    <a:pos x="120" y="5"/>
                  </a:cxn>
                  <a:cxn ang="0">
                    <a:pos x="138" y="33"/>
                  </a:cxn>
                  <a:cxn ang="0">
                    <a:pos x="131" y="63"/>
                  </a:cxn>
                  <a:cxn ang="0">
                    <a:pos x="121" y="75"/>
                  </a:cxn>
                  <a:cxn ang="0">
                    <a:pos x="125" y="93"/>
                  </a:cxn>
                  <a:cxn ang="0">
                    <a:pos x="148" y="104"/>
                  </a:cxn>
                  <a:cxn ang="0">
                    <a:pos x="158" y="118"/>
                  </a:cxn>
                  <a:cxn ang="0">
                    <a:pos x="178" y="124"/>
                  </a:cxn>
                  <a:cxn ang="0">
                    <a:pos x="166" y="149"/>
                  </a:cxn>
                  <a:cxn ang="0">
                    <a:pos x="184" y="156"/>
                  </a:cxn>
                  <a:cxn ang="0">
                    <a:pos x="216" y="158"/>
                  </a:cxn>
                  <a:cxn ang="0">
                    <a:pos x="201" y="179"/>
                  </a:cxn>
                  <a:cxn ang="0">
                    <a:pos x="178" y="192"/>
                  </a:cxn>
                  <a:cxn ang="0">
                    <a:pos x="168" y="207"/>
                  </a:cxn>
                  <a:cxn ang="0">
                    <a:pos x="141" y="224"/>
                  </a:cxn>
                  <a:cxn ang="0">
                    <a:pos x="136" y="244"/>
                  </a:cxn>
                  <a:cxn ang="0">
                    <a:pos x="161" y="274"/>
                  </a:cxn>
                  <a:cxn ang="0">
                    <a:pos x="165" y="295"/>
                  </a:cxn>
                  <a:cxn ang="0">
                    <a:pos x="171" y="332"/>
                  </a:cxn>
                  <a:cxn ang="0">
                    <a:pos x="188" y="364"/>
                  </a:cxn>
                  <a:cxn ang="0">
                    <a:pos x="196" y="395"/>
                  </a:cxn>
                  <a:cxn ang="0">
                    <a:pos x="178" y="427"/>
                  </a:cxn>
                  <a:cxn ang="0">
                    <a:pos x="171" y="422"/>
                  </a:cxn>
                  <a:cxn ang="0">
                    <a:pos x="176" y="410"/>
                  </a:cxn>
                  <a:cxn ang="0">
                    <a:pos x="176" y="388"/>
                  </a:cxn>
                  <a:cxn ang="0">
                    <a:pos x="171" y="359"/>
                  </a:cxn>
                  <a:cxn ang="0">
                    <a:pos x="161" y="350"/>
                  </a:cxn>
                  <a:cxn ang="0">
                    <a:pos x="151" y="324"/>
                  </a:cxn>
                  <a:cxn ang="0">
                    <a:pos x="145" y="292"/>
                  </a:cxn>
                  <a:cxn ang="0">
                    <a:pos x="138" y="284"/>
                  </a:cxn>
                  <a:cxn ang="0">
                    <a:pos x="123" y="266"/>
                  </a:cxn>
                  <a:cxn ang="0">
                    <a:pos x="123" y="271"/>
                  </a:cxn>
                  <a:cxn ang="0">
                    <a:pos x="108" y="280"/>
                  </a:cxn>
                  <a:cxn ang="0">
                    <a:pos x="103" y="289"/>
                  </a:cxn>
                  <a:cxn ang="0">
                    <a:pos x="81" y="297"/>
                  </a:cxn>
                  <a:cxn ang="0">
                    <a:pos x="68" y="302"/>
                  </a:cxn>
                  <a:cxn ang="0">
                    <a:pos x="63" y="294"/>
                  </a:cxn>
                  <a:cxn ang="0">
                    <a:pos x="68" y="266"/>
                  </a:cxn>
                  <a:cxn ang="0">
                    <a:pos x="58" y="242"/>
                  </a:cxn>
                  <a:cxn ang="0">
                    <a:pos x="43" y="219"/>
                  </a:cxn>
                  <a:cxn ang="0">
                    <a:pos x="28" y="217"/>
                  </a:cxn>
                  <a:cxn ang="0">
                    <a:pos x="37" y="217"/>
                  </a:cxn>
                  <a:cxn ang="0">
                    <a:pos x="38" y="204"/>
                  </a:cxn>
                  <a:cxn ang="0">
                    <a:pos x="18" y="201"/>
                  </a:cxn>
                  <a:cxn ang="0">
                    <a:pos x="15" y="197"/>
                  </a:cxn>
                  <a:cxn ang="0">
                    <a:pos x="2" y="174"/>
                  </a:cxn>
                  <a:cxn ang="0">
                    <a:pos x="13" y="153"/>
                  </a:cxn>
                  <a:cxn ang="0">
                    <a:pos x="23" y="129"/>
                  </a:cxn>
                  <a:cxn ang="0">
                    <a:pos x="37" y="106"/>
                  </a:cxn>
                  <a:cxn ang="0">
                    <a:pos x="48" y="61"/>
                  </a:cxn>
                  <a:cxn ang="0">
                    <a:pos x="70" y="26"/>
                  </a:cxn>
                  <a:cxn ang="0">
                    <a:pos x="95" y="15"/>
                  </a:cxn>
                  <a:cxn ang="0">
                    <a:pos x="32" y="232"/>
                  </a:cxn>
                </a:cxnLst>
                <a:rect l="0" t="0" r="r" b="b"/>
                <a:pathLst>
                  <a:path w="216" h="437">
                    <a:moveTo>
                      <a:pt x="98" y="1"/>
                    </a:moveTo>
                    <a:lnTo>
                      <a:pt x="101" y="0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6" y="0"/>
                    </a:lnTo>
                    <a:lnTo>
                      <a:pt x="120" y="5"/>
                    </a:lnTo>
                    <a:lnTo>
                      <a:pt x="125" y="8"/>
                    </a:lnTo>
                    <a:lnTo>
                      <a:pt x="125" y="15"/>
                    </a:lnTo>
                    <a:lnTo>
                      <a:pt x="130" y="15"/>
                    </a:lnTo>
                    <a:lnTo>
                      <a:pt x="135" y="20"/>
                    </a:lnTo>
                    <a:lnTo>
                      <a:pt x="135" y="26"/>
                    </a:lnTo>
                    <a:lnTo>
                      <a:pt x="138" y="33"/>
                    </a:lnTo>
                    <a:lnTo>
                      <a:pt x="138" y="40"/>
                    </a:lnTo>
                    <a:lnTo>
                      <a:pt x="138" y="50"/>
                    </a:lnTo>
                    <a:lnTo>
                      <a:pt x="138" y="55"/>
                    </a:lnTo>
                    <a:lnTo>
                      <a:pt x="136" y="56"/>
                    </a:lnTo>
                    <a:lnTo>
                      <a:pt x="131" y="60"/>
                    </a:lnTo>
                    <a:lnTo>
                      <a:pt x="131" y="63"/>
                    </a:lnTo>
                    <a:lnTo>
                      <a:pt x="128" y="63"/>
                    </a:lnTo>
                    <a:lnTo>
                      <a:pt x="128" y="66"/>
                    </a:lnTo>
                    <a:lnTo>
                      <a:pt x="130" y="71"/>
                    </a:lnTo>
                    <a:lnTo>
                      <a:pt x="128" y="73"/>
                    </a:lnTo>
                    <a:lnTo>
                      <a:pt x="125" y="73"/>
                    </a:lnTo>
                    <a:lnTo>
                      <a:pt x="121" y="75"/>
                    </a:lnTo>
                    <a:lnTo>
                      <a:pt x="120" y="80"/>
                    </a:lnTo>
                    <a:lnTo>
                      <a:pt x="121" y="81"/>
                    </a:lnTo>
                    <a:lnTo>
                      <a:pt x="120" y="84"/>
                    </a:lnTo>
                    <a:lnTo>
                      <a:pt x="120" y="89"/>
                    </a:lnTo>
                    <a:lnTo>
                      <a:pt x="123" y="91"/>
                    </a:lnTo>
                    <a:lnTo>
                      <a:pt x="125" y="93"/>
                    </a:lnTo>
                    <a:lnTo>
                      <a:pt x="128" y="96"/>
                    </a:lnTo>
                    <a:lnTo>
                      <a:pt x="128" y="101"/>
                    </a:lnTo>
                    <a:lnTo>
                      <a:pt x="130" y="106"/>
                    </a:lnTo>
                    <a:lnTo>
                      <a:pt x="136" y="103"/>
                    </a:lnTo>
                    <a:lnTo>
                      <a:pt x="146" y="101"/>
                    </a:lnTo>
                    <a:lnTo>
                      <a:pt x="148" y="104"/>
                    </a:lnTo>
                    <a:lnTo>
                      <a:pt x="146" y="106"/>
                    </a:lnTo>
                    <a:lnTo>
                      <a:pt x="150" y="109"/>
                    </a:lnTo>
                    <a:lnTo>
                      <a:pt x="156" y="108"/>
                    </a:lnTo>
                    <a:lnTo>
                      <a:pt x="156" y="111"/>
                    </a:lnTo>
                    <a:lnTo>
                      <a:pt x="155" y="114"/>
                    </a:lnTo>
                    <a:lnTo>
                      <a:pt x="158" y="118"/>
                    </a:lnTo>
                    <a:lnTo>
                      <a:pt x="165" y="119"/>
                    </a:lnTo>
                    <a:lnTo>
                      <a:pt x="163" y="123"/>
                    </a:lnTo>
                    <a:lnTo>
                      <a:pt x="165" y="124"/>
                    </a:lnTo>
                    <a:lnTo>
                      <a:pt x="166" y="123"/>
                    </a:lnTo>
                    <a:lnTo>
                      <a:pt x="173" y="123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6" y="133"/>
                    </a:lnTo>
                    <a:lnTo>
                      <a:pt x="176" y="136"/>
                    </a:lnTo>
                    <a:lnTo>
                      <a:pt x="169" y="143"/>
                    </a:lnTo>
                    <a:lnTo>
                      <a:pt x="166" y="146"/>
                    </a:lnTo>
                    <a:lnTo>
                      <a:pt x="166" y="149"/>
                    </a:lnTo>
                    <a:lnTo>
                      <a:pt x="169" y="148"/>
                    </a:lnTo>
                    <a:lnTo>
                      <a:pt x="178" y="149"/>
                    </a:lnTo>
                    <a:lnTo>
                      <a:pt x="179" y="149"/>
                    </a:lnTo>
                    <a:lnTo>
                      <a:pt x="183" y="148"/>
                    </a:lnTo>
                    <a:lnTo>
                      <a:pt x="186" y="151"/>
                    </a:lnTo>
                    <a:lnTo>
                      <a:pt x="184" y="156"/>
                    </a:lnTo>
                    <a:lnTo>
                      <a:pt x="186" y="161"/>
                    </a:lnTo>
                    <a:lnTo>
                      <a:pt x="191" y="163"/>
                    </a:lnTo>
                    <a:lnTo>
                      <a:pt x="194" y="161"/>
                    </a:lnTo>
                    <a:lnTo>
                      <a:pt x="201" y="161"/>
                    </a:lnTo>
                    <a:lnTo>
                      <a:pt x="211" y="156"/>
                    </a:lnTo>
                    <a:lnTo>
                      <a:pt x="216" y="158"/>
                    </a:lnTo>
                    <a:lnTo>
                      <a:pt x="216" y="163"/>
                    </a:lnTo>
                    <a:lnTo>
                      <a:pt x="209" y="168"/>
                    </a:lnTo>
                    <a:lnTo>
                      <a:pt x="201" y="169"/>
                    </a:lnTo>
                    <a:lnTo>
                      <a:pt x="201" y="173"/>
                    </a:lnTo>
                    <a:lnTo>
                      <a:pt x="199" y="176"/>
                    </a:lnTo>
                    <a:lnTo>
                      <a:pt x="201" y="179"/>
                    </a:lnTo>
                    <a:lnTo>
                      <a:pt x="196" y="182"/>
                    </a:lnTo>
                    <a:lnTo>
                      <a:pt x="194" y="182"/>
                    </a:lnTo>
                    <a:lnTo>
                      <a:pt x="191" y="189"/>
                    </a:lnTo>
                    <a:lnTo>
                      <a:pt x="183" y="189"/>
                    </a:lnTo>
                    <a:lnTo>
                      <a:pt x="178" y="191"/>
                    </a:lnTo>
                    <a:lnTo>
                      <a:pt x="178" y="192"/>
                    </a:lnTo>
                    <a:lnTo>
                      <a:pt x="181" y="196"/>
                    </a:lnTo>
                    <a:lnTo>
                      <a:pt x="179" y="199"/>
                    </a:lnTo>
                    <a:lnTo>
                      <a:pt x="173" y="197"/>
                    </a:lnTo>
                    <a:lnTo>
                      <a:pt x="169" y="201"/>
                    </a:lnTo>
                    <a:lnTo>
                      <a:pt x="169" y="206"/>
                    </a:lnTo>
                    <a:lnTo>
                      <a:pt x="168" y="207"/>
                    </a:lnTo>
                    <a:lnTo>
                      <a:pt x="163" y="207"/>
                    </a:lnTo>
                    <a:lnTo>
                      <a:pt x="156" y="212"/>
                    </a:lnTo>
                    <a:lnTo>
                      <a:pt x="148" y="209"/>
                    </a:lnTo>
                    <a:lnTo>
                      <a:pt x="145" y="214"/>
                    </a:lnTo>
                    <a:lnTo>
                      <a:pt x="145" y="221"/>
                    </a:lnTo>
                    <a:lnTo>
                      <a:pt x="141" y="224"/>
                    </a:lnTo>
                    <a:lnTo>
                      <a:pt x="141" y="231"/>
                    </a:lnTo>
                    <a:lnTo>
                      <a:pt x="143" y="234"/>
                    </a:lnTo>
                    <a:lnTo>
                      <a:pt x="140" y="237"/>
                    </a:lnTo>
                    <a:lnTo>
                      <a:pt x="133" y="239"/>
                    </a:lnTo>
                    <a:lnTo>
                      <a:pt x="133" y="242"/>
                    </a:lnTo>
                    <a:lnTo>
                      <a:pt x="136" y="244"/>
                    </a:lnTo>
                    <a:lnTo>
                      <a:pt x="141" y="251"/>
                    </a:lnTo>
                    <a:lnTo>
                      <a:pt x="145" y="254"/>
                    </a:lnTo>
                    <a:lnTo>
                      <a:pt x="146" y="257"/>
                    </a:lnTo>
                    <a:lnTo>
                      <a:pt x="153" y="261"/>
                    </a:lnTo>
                    <a:lnTo>
                      <a:pt x="158" y="272"/>
                    </a:lnTo>
                    <a:lnTo>
                      <a:pt x="161" y="274"/>
                    </a:lnTo>
                    <a:lnTo>
                      <a:pt x="165" y="279"/>
                    </a:lnTo>
                    <a:lnTo>
                      <a:pt x="166" y="284"/>
                    </a:lnTo>
                    <a:lnTo>
                      <a:pt x="171" y="285"/>
                    </a:lnTo>
                    <a:lnTo>
                      <a:pt x="171" y="290"/>
                    </a:lnTo>
                    <a:lnTo>
                      <a:pt x="166" y="292"/>
                    </a:lnTo>
                    <a:lnTo>
                      <a:pt x="165" y="295"/>
                    </a:lnTo>
                    <a:lnTo>
                      <a:pt x="168" y="307"/>
                    </a:lnTo>
                    <a:lnTo>
                      <a:pt x="166" y="310"/>
                    </a:lnTo>
                    <a:lnTo>
                      <a:pt x="161" y="312"/>
                    </a:lnTo>
                    <a:lnTo>
                      <a:pt x="165" y="320"/>
                    </a:lnTo>
                    <a:lnTo>
                      <a:pt x="165" y="324"/>
                    </a:lnTo>
                    <a:lnTo>
                      <a:pt x="171" y="332"/>
                    </a:lnTo>
                    <a:lnTo>
                      <a:pt x="179" y="337"/>
                    </a:lnTo>
                    <a:lnTo>
                      <a:pt x="186" y="342"/>
                    </a:lnTo>
                    <a:lnTo>
                      <a:pt x="189" y="352"/>
                    </a:lnTo>
                    <a:lnTo>
                      <a:pt x="186" y="355"/>
                    </a:lnTo>
                    <a:lnTo>
                      <a:pt x="188" y="360"/>
                    </a:lnTo>
                    <a:lnTo>
                      <a:pt x="188" y="364"/>
                    </a:lnTo>
                    <a:lnTo>
                      <a:pt x="189" y="367"/>
                    </a:lnTo>
                    <a:lnTo>
                      <a:pt x="191" y="374"/>
                    </a:lnTo>
                    <a:lnTo>
                      <a:pt x="193" y="377"/>
                    </a:lnTo>
                    <a:lnTo>
                      <a:pt x="193" y="383"/>
                    </a:lnTo>
                    <a:lnTo>
                      <a:pt x="196" y="388"/>
                    </a:lnTo>
                    <a:lnTo>
                      <a:pt x="196" y="395"/>
                    </a:lnTo>
                    <a:lnTo>
                      <a:pt x="193" y="397"/>
                    </a:lnTo>
                    <a:lnTo>
                      <a:pt x="188" y="412"/>
                    </a:lnTo>
                    <a:lnTo>
                      <a:pt x="183" y="415"/>
                    </a:lnTo>
                    <a:lnTo>
                      <a:pt x="181" y="420"/>
                    </a:lnTo>
                    <a:lnTo>
                      <a:pt x="179" y="423"/>
                    </a:lnTo>
                    <a:lnTo>
                      <a:pt x="178" y="427"/>
                    </a:lnTo>
                    <a:lnTo>
                      <a:pt x="178" y="427"/>
                    </a:lnTo>
                    <a:lnTo>
                      <a:pt x="176" y="432"/>
                    </a:lnTo>
                    <a:lnTo>
                      <a:pt x="174" y="437"/>
                    </a:lnTo>
                    <a:lnTo>
                      <a:pt x="173" y="430"/>
                    </a:lnTo>
                    <a:lnTo>
                      <a:pt x="173" y="425"/>
                    </a:lnTo>
                    <a:lnTo>
                      <a:pt x="171" y="422"/>
                    </a:lnTo>
                    <a:lnTo>
                      <a:pt x="171" y="420"/>
                    </a:lnTo>
                    <a:lnTo>
                      <a:pt x="173" y="420"/>
                    </a:lnTo>
                    <a:lnTo>
                      <a:pt x="174" y="418"/>
                    </a:lnTo>
                    <a:lnTo>
                      <a:pt x="178" y="415"/>
                    </a:lnTo>
                    <a:lnTo>
                      <a:pt x="178" y="410"/>
                    </a:lnTo>
                    <a:lnTo>
                      <a:pt x="176" y="410"/>
                    </a:lnTo>
                    <a:lnTo>
                      <a:pt x="176" y="403"/>
                    </a:lnTo>
                    <a:lnTo>
                      <a:pt x="178" y="403"/>
                    </a:lnTo>
                    <a:lnTo>
                      <a:pt x="179" y="400"/>
                    </a:lnTo>
                    <a:lnTo>
                      <a:pt x="178" y="395"/>
                    </a:lnTo>
                    <a:lnTo>
                      <a:pt x="181" y="392"/>
                    </a:lnTo>
                    <a:lnTo>
                      <a:pt x="176" y="388"/>
                    </a:lnTo>
                    <a:lnTo>
                      <a:pt x="174" y="385"/>
                    </a:lnTo>
                    <a:lnTo>
                      <a:pt x="174" y="380"/>
                    </a:lnTo>
                    <a:lnTo>
                      <a:pt x="176" y="378"/>
                    </a:lnTo>
                    <a:lnTo>
                      <a:pt x="174" y="374"/>
                    </a:lnTo>
                    <a:lnTo>
                      <a:pt x="173" y="372"/>
                    </a:lnTo>
                    <a:lnTo>
                      <a:pt x="171" y="359"/>
                    </a:lnTo>
                    <a:lnTo>
                      <a:pt x="168" y="355"/>
                    </a:lnTo>
                    <a:lnTo>
                      <a:pt x="166" y="352"/>
                    </a:lnTo>
                    <a:lnTo>
                      <a:pt x="163" y="345"/>
                    </a:lnTo>
                    <a:lnTo>
                      <a:pt x="161" y="354"/>
                    </a:lnTo>
                    <a:lnTo>
                      <a:pt x="160" y="354"/>
                    </a:lnTo>
                    <a:lnTo>
                      <a:pt x="161" y="350"/>
                    </a:lnTo>
                    <a:lnTo>
                      <a:pt x="158" y="347"/>
                    </a:lnTo>
                    <a:lnTo>
                      <a:pt x="158" y="337"/>
                    </a:lnTo>
                    <a:lnTo>
                      <a:pt x="155" y="334"/>
                    </a:lnTo>
                    <a:lnTo>
                      <a:pt x="155" y="329"/>
                    </a:lnTo>
                    <a:lnTo>
                      <a:pt x="156" y="327"/>
                    </a:lnTo>
                    <a:lnTo>
                      <a:pt x="151" y="324"/>
                    </a:lnTo>
                    <a:lnTo>
                      <a:pt x="150" y="315"/>
                    </a:lnTo>
                    <a:lnTo>
                      <a:pt x="150" y="315"/>
                    </a:lnTo>
                    <a:lnTo>
                      <a:pt x="146" y="299"/>
                    </a:lnTo>
                    <a:lnTo>
                      <a:pt x="145" y="297"/>
                    </a:lnTo>
                    <a:lnTo>
                      <a:pt x="143" y="294"/>
                    </a:lnTo>
                    <a:lnTo>
                      <a:pt x="145" y="292"/>
                    </a:lnTo>
                    <a:lnTo>
                      <a:pt x="145" y="290"/>
                    </a:lnTo>
                    <a:lnTo>
                      <a:pt x="141" y="285"/>
                    </a:lnTo>
                    <a:lnTo>
                      <a:pt x="143" y="284"/>
                    </a:lnTo>
                    <a:lnTo>
                      <a:pt x="143" y="280"/>
                    </a:lnTo>
                    <a:lnTo>
                      <a:pt x="141" y="284"/>
                    </a:lnTo>
                    <a:lnTo>
                      <a:pt x="138" y="284"/>
                    </a:lnTo>
                    <a:lnTo>
                      <a:pt x="135" y="284"/>
                    </a:lnTo>
                    <a:lnTo>
                      <a:pt x="133" y="279"/>
                    </a:lnTo>
                    <a:lnTo>
                      <a:pt x="131" y="277"/>
                    </a:lnTo>
                    <a:lnTo>
                      <a:pt x="126" y="269"/>
                    </a:lnTo>
                    <a:lnTo>
                      <a:pt x="125" y="266"/>
                    </a:lnTo>
                    <a:lnTo>
                      <a:pt x="123" y="266"/>
                    </a:lnTo>
                    <a:lnTo>
                      <a:pt x="123" y="264"/>
                    </a:lnTo>
                    <a:lnTo>
                      <a:pt x="118" y="261"/>
                    </a:lnTo>
                    <a:lnTo>
                      <a:pt x="121" y="264"/>
                    </a:lnTo>
                    <a:lnTo>
                      <a:pt x="120" y="266"/>
                    </a:lnTo>
                    <a:lnTo>
                      <a:pt x="120" y="267"/>
                    </a:lnTo>
                    <a:lnTo>
                      <a:pt x="123" y="271"/>
                    </a:lnTo>
                    <a:lnTo>
                      <a:pt x="121" y="274"/>
                    </a:lnTo>
                    <a:lnTo>
                      <a:pt x="120" y="276"/>
                    </a:lnTo>
                    <a:lnTo>
                      <a:pt x="121" y="279"/>
                    </a:lnTo>
                    <a:lnTo>
                      <a:pt x="115" y="284"/>
                    </a:lnTo>
                    <a:lnTo>
                      <a:pt x="110" y="284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8" y="284"/>
                    </a:lnTo>
                    <a:lnTo>
                      <a:pt x="108" y="285"/>
                    </a:lnTo>
                    <a:lnTo>
                      <a:pt x="111" y="285"/>
                    </a:lnTo>
                    <a:lnTo>
                      <a:pt x="106" y="289"/>
                    </a:lnTo>
                    <a:lnTo>
                      <a:pt x="103" y="289"/>
                    </a:lnTo>
                    <a:lnTo>
                      <a:pt x="100" y="287"/>
                    </a:lnTo>
                    <a:lnTo>
                      <a:pt x="98" y="290"/>
                    </a:lnTo>
                    <a:lnTo>
                      <a:pt x="90" y="297"/>
                    </a:lnTo>
                    <a:lnTo>
                      <a:pt x="85" y="297"/>
                    </a:lnTo>
                    <a:lnTo>
                      <a:pt x="83" y="297"/>
                    </a:lnTo>
                    <a:lnTo>
                      <a:pt x="81" y="297"/>
                    </a:lnTo>
                    <a:lnTo>
                      <a:pt x="81" y="295"/>
                    </a:lnTo>
                    <a:lnTo>
                      <a:pt x="80" y="299"/>
                    </a:lnTo>
                    <a:lnTo>
                      <a:pt x="78" y="299"/>
                    </a:lnTo>
                    <a:lnTo>
                      <a:pt x="75" y="295"/>
                    </a:lnTo>
                    <a:lnTo>
                      <a:pt x="68" y="299"/>
                    </a:lnTo>
                    <a:lnTo>
                      <a:pt x="68" y="302"/>
                    </a:lnTo>
                    <a:lnTo>
                      <a:pt x="65" y="302"/>
                    </a:lnTo>
                    <a:lnTo>
                      <a:pt x="65" y="295"/>
                    </a:lnTo>
                    <a:lnTo>
                      <a:pt x="71" y="290"/>
                    </a:lnTo>
                    <a:lnTo>
                      <a:pt x="71" y="284"/>
                    </a:lnTo>
                    <a:lnTo>
                      <a:pt x="70" y="290"/>
                    </a:lnTo>
                    <a:lnTo>
                      <a:pt x="63" y="294"/>
                    </a:lnTo>
                    <a:lnTo>
                      <a:pt x="60" y="299"/>
                    </a:lnTo>
                    <a:lnTo>
                      <a:pt x="60" y="297"/>
                    </a:lnTo>
                    <a:lnTo>
                      <a:pt x="60" y="295"/>
                    </a:lnTo>
                    <a:lnTo>
                      <a:pt x="58" y="290"/>
                    </a:lnTo>
                    <a:lnTo>
                      <a:pt x="63" y="269"/>
                    </a:lnTo>
                    <a:lnTo>
                      <a:pt x="68" y="266"/>
                    </a:lnTo>
                    <a:lnTo>
                      <a:pt x="66" y="264"/>
                    </a:lnTo>
                    <a:lnTo>
                      <a:pt x="62" y="254"/>
                    </a:lnTo>
                    <a:lnTo>
                      <a:pt x="62" y="246"/>
                    </a:lnTo>
                    <a:lnTo>
                      <a:pt x="58" y="246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55" y="239"/>
                    </a:lnTo>
                    <a:lnTo>
                      <a:pt x="53" y="232"/>
                    </a:lnTo>
                    <a:lnTo>
                      <a:pt x="52" y="229"/>
                    </a:lnTo>
                    <a:lnTo>
                      <a:pt x="48" y="226"/>
                    </a:lnTo>
                    <a:lnTo>
                      <a:pt x="48" y="222"/>
                    </a:lnTo>
                    <a:lnTo>
                      <a:pt x="43" y="219"/>
                    </a:lnTo>
                    <a:lnTo>
                      <a:pt x="45" y="222"/>
                    </a:lnTo>
                    <a:lnTo>
                      <a:pt x="47" y="231"/>
                    </a:lnTo>
                    <a:lnTo>
                      <a:pt x="37" y="227"/>
                    </a:lnTo>
                    <a:lnTo>
                      <a:pt x="33" y="224"/>
                    </a:lnTo>
                    <a:lnTo>
                      <a:pt x="33" y="221"/>
                    </a:lnTo>
                    <a:lnTo>
                      <a:pt x="28" y="217"/>
                    </a:lnTo>
                    <a:lnTo>
                      <a:pt x="28" y="216"/>
                    </a:lnTo>
                    <a:lnTo>
                      <a:pt x="32" y="216"/>
                    </a:lnTo>
                    <a:lnTo>
                      <a:pt x="33" y="219"/>
                    </a:lnTo>
                    <a:lnTo>
                      <a:pt x="37" y="221"/>
                    </a:lnTo>
                    <a:lnTo>
                      <a:pt x="38" y="219"/>
                    </a:lnTo>
                    <a:lnTo>
                      <a:pt x="37" y="217"/>
                    </a:lnTo>
                    <a:lnTo>
                      <a:pt x="33" y="216"/>
                    </a:lnTo>
                    <a:lnTo>
                      <a:pt x="38" y="212"/>
                    </a:lnTo>
                    <a:lnTo>
                      <a:pt x="40" y="216"/>
                    </a:lnTo>
                    <a:lnTo>
                      <a:pt x="43" y="214"/>
                    </a:lnTo>
                    <a:lnTo>
                      <a:pt x="43" y="211"/>
                    </a:lnTo>
                    <a:lnTo>
                      <a:pt x="38" y="204"/>
                    </a:lnTo>
                    <a:lnTo>
                      <a:pt x="30" y="204"/>
                    </a:lnTo>
                    <a:lnTo>
                      <a:pt x="28" y="201"/>
                    </a:lnTo>
                    <a:lnTo>
                      <a:pt x="25" y="199"/>
                    </a:lnTo>
                    <a:lnTo>
                      <a:pt x="23" y="197"/>
                    </a:lnTo>
                    <a:lnTo>
                      <a:pt x="23" y="199"/>
                    </a:lnTo>
                    <a:lnTo>
                      <a:pt x="18" y="201"/>
                    </a:lnTo>
                    <a:lnTo>
                      <a:pt x="18" y="199"/>
                    </a:lnTo>
                    <a:lnTo>
                      <a:pt x="22" y="194"/>
                    </a:lnTo>
                    <a:lnTo>
                      <a:pt x="17" y="196"/>
                    </a:lnTo>
                    <a:lnTo>
                      <a:pt x="13" y="192"/>
                    </a:lnTo>
                    <a:lnTo>
                      <a:pt x="13" y="194"/>
                    </a:lnTo>
                    <a:lnTo>
                      <a:pt x="15" y="197"/>
                    </a:lnTo>
                    <a:lnTo>
                      <a:pt x="5" y="189"/>
                    </a:lnTo>
                    <a:lnTo>
                      <a:pt x="3" y="184"/>
                    </a:lnTo>
                    <a:lnTo>
                      <a:pt x="0" y="179"/>
                    </a:lnTo>
                    <a:lnTo>
                      <a:pt x="0" y="179"/>
                    </a:lnTo>
                    <a:lnTo>
                      <a:pt x="0" y="178"/>
                    </a:lnTo>
                    <a:lnTo>
                      <a:pt x="2" y="174"/>
                    </a:lnTo>
                    <a:lnTo>
                      <a:pt x="5" y="168"/>
                    </a:lnTo>
                    <a:lnTo>
                      <a:pt x="8" y="169"/>
                    </a:lnTo>
                    <a:lnTo>
                      <a:pt x="10" y="164"/>
                    </a:lnTo>
                    <a:lnTo>
                      <a:pt x="10" y="156"/>
                    </a:lnTo>
                    <a:lnTo>
                      <a:pt x="12" y="153"/>
                    </a:lnTo>
                    <a:lnTo>
                      <a:pt x="13" y="153"/>
                    </a:lnTo>
                    <a:lnTo>
                      <a:pt x="17" y="153"/>
                    </a:lnTo>
                    <a:lnTo>
                      <a:pt x="18" y="144"/>
                    </a:lnTo>
                    <a:lnTo>
                      <a:pt x="18" y="141"/>
                    </a:lnTo>
                    <a:lnTo>
                      <a:pt x="18" y="134"/>
                    </a:lnTo>
                    <a:lnTo>
                      <a:pt x="18" y="129"/>
                    </a:lnTo>
                    <a:lnTo>
                      <a:pt x="23" y="129"/>
                    </a:lnTo>
                    <a:lnTo>
                      <a:pt x="23" y="123"/>
                    </a:lnTo>
                    <a:lnTo>
                      <a:pt x="23" y="116"/>
                    </a:lnTo>
                    <a:lnTo>
                      <a:pt x="20" y="106"/>
                    </a:lnTo>
                    <a:lnTo>
                      <a:pt x="25" y="106"/>
                    </a:lnTo>
                    <a:lnTo>
                      <a:pt x="30" y="108"/>
                    </a:lnTo>
                    <a:lnTo>
                      <a:pt x="37" y="106"/>
                    </a:lnTo>
                    <a:lnTo>
                      <a:pt x="40" y="99"/>
                    </a:lnTo>
                    <a:lnTo>
                      <a:pt x="42" y="89"/>
                    </a:lnTo>
                    <a:lnTo>
                      <a:pt x="48" y="78"/>
                    </a:lnTo>
                    <a:lnTo>
                      <a:pt x="42" y="75"/>
                    </a:lnTo>
                    <a:lnTo>
                      <a:pt x="42" y="71"/>
                    </a:lnTo>
                    <a:lnTo>
                      <a:pt x="48" y="61"/>
                    </a:lnTo>
                    <a:lnTo>
                      <a:pt x="52" y="53"/>
                    </a:lnTo>
                    <a:lnTo>
                      <a:pt x="50" y="51"/>
                    </a:lnTo>
                    <a:lnTo>
                      <a:pt x="50" y="45"/>
                    </a:lnTo>
                    <a:lnTo>
                      <a:pt x="58" y="35"/>
                    </a:lnTo>
                    <a:lnTo>
                      <a:pt x="63" y="33"/>
                    </a:lnTo>
                    <a:lnTo>
                      <a:pt x="70" y="26"/>
                    </a:lnTo>
                    <a:lnTo>
                      <a:pt x="71" y="21"/>
                    </a:lnTo>
                    <a:lnTo>
                      <a:pt x="80" y="18"/>
                    </a:lnTo>
                    <a:lnTo>
                      <a:pt x="86" y="15"/>
                    </a:lnTo>
                    <a:lnTo>
                      <a:pt x="91" y="16"/>
                    </a:lnTo>
                    <a:lnTo>
                      <a:pt x="95" y="18"/>
                    </a:lnTo>
                    <a:lnTo>
                      <a:pt x="95" y="15"/>
                    </a:lnTo>
                    <a:lnTo>
                      <a:pt x="95" y="10"/>
                    </a:lnTo>
                    <a:lnTo>
                      <a:pt x="100" y="5"/>
                    </a:lnTo>
                    <a:lnTo>
                      <a:pt x="98" y="1"/>
                    </a:lnTo>
                    <a:lnTo>
                      <a:pt x="98" y="1"/>
                    </a:lnTo>
                    <a:lnTo>
                      <a:pt x="98" y="1"/>
                    </a:lnTo>
                    <a:close/>
                    <a:moveTo>
                      <a:pt x="32" y="232"/>
                    </a:moveTo>
                    <a:lnTo>
                      <a:pt x="33" y="236"/>
                    </a:lnTo>
                    <a:lnTo>
                      <a:pt x="38" y="237"/>
                    </a:lnTo>
                    <a:lnTo>
                      <a:pt x="40" y="234"/>
                    </a:lnTo>
                    <a:lnTo>
                      <a:pt x="35" y="231"/>
                    </a:lnTo>
                    <a:lnTo>
                      <a:pt x="32" y="2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8" name="Freeform 24">
                <a:extLst>
                  <a:ext uri="{FF2B5EF4-FFF2-40B4-BE49-F238E27FC236}">
                    <a16:creationId xmlns:a16="http://schemas.microsoft.com/office/drawing/2014/main" id="{DE6C8AA5-EC0E-2446-8D82-835A28B968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53155" y="3156617"/>
                <a:ext cx="28896" cy="46692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4" y="33"/>
                  </a:cxn>
                  <a:cxn ang="0">
                    <a:pos x="2" y="35"/>
                  </a:cxn>
                  <a:cxn ang="0">
                    <a:pos x="0" y="43"/>
                  </a:cxn>
                  <a:cxn ang="0">
                    <a:pos x="9" y="7"/>
                  </a:cxn>
                  <a:cxn ang="0">
                    <a:pos x="2" y="0"/>
                  </a:cxn>
                  <a:cxn ang="0">
                    <a:pos x="12" y="0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19" y="3"/>
                  </a:cxn>
                  <a:cxn ang="0">
                    <a:pos x="25" y="8"/>
                  </a:cxn>
                  <a:cxn ang="0">
                    <a:pos x="24" y="10"/>
                  </a:cxn>
                  <a:cxn ang="0">
                    <a:pos x="17" y="8"/>
                  </a:cxn>
                  <a:cxn ang="0">
                    <a:pos x="12" y="5"/>
                  </a:cxn>
                  <a:cxn ang="0">
                    <a:pos x="14" y="3"/>
                  </a:cxn>
                  <a:cxn ang="0">
                    <a:pos x="15" y="2"/>
                  </a:cxn>
                  <a:cxn ang="0">
                    <a:pos x="10" y="10"/>
                  </a:cxn>
                  <a:cxn ang="0">
                    <a:pos x="10" y="12"/>
                  </a:cxn>
                  <a:cxn ang="0">
                    <a:pos x="10" y="13"/>
                  </a:cxn>
                  <a:cxn ang="0">
                    <a:pos x="7" y="20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5" y="27"/>
                  </a:cxn>
                  <a:cxn ang="0">
                    <a:pos x="4" y="35"/>
                  </a:cxn>
                  <a:cxn ang="0">
                    <a:pos x="2" y="48"/>
                  </a:cxn>
                  <a:cxn ang="0">
                    <a:pos x="4" y="56"/>
                  </a:cxn>
                  <a:cxn ang="0">
                    <a:pos x="5" y="70"/>
                  </a:cxn>
                  <a:cxn ang="0">
                    <a:pos x="14" y="88"/>
                  </a:cxn>
                  <a:cxn ang="0">
                    <a:pos x="24" y="90"/>
                  </a:cxn>
                  <a:cxn ang="0">
                    <a:pos x="40" y="86"/>
                  </a:cxn>
                  <a:cxn ang="0">
                    <a:pos x="50" y="71"/>
                  </a:cxn>
                  <a:cxn ang="0">
                    <a:pos x="52" y="65"/>
                  </a:cxn>
                  <a:cxn ang="0">
                    <a:pos x="53" y="58"/>
                  </a:cxn>
                  <a:cxn ang="0">
                    <a:pos x="52" y="51"/>
                  </a:cxn>
                  <a:cxn ang="0">
                    <a:pos x="45" y="38"/>
                  </a:cxn>
                  <a:cxn ang="0">
                    <a:pos x="37" y="33"/>
                  </a:cxn>
                  <a:cxn ang="0">
                    <a:pos x="34" y="32"/>
                  </a:cxn>
                  <a:cxn ang="0">
                    <a:pos x="37" y="27"/>
                  </a:cxn>
                  <a:cxn ang="0">
                    <a:pos x="32" y="22"/>
                  </a:cxn>
                  <a:cxn ang="0">
                    <a:pos x="29" y="17"/>
                  </a:cxn>
                  <a:cxn ang="0">
                    <a:pos x="27" y="13"/>
                  </a:cxn>
                  <a:cxn ang="0">
                    <a:pos x="19" y="12"/>
                  </a:cxn>
                  <a:cxn ang="0">
                    <a:pos x="15" y="10"/>
                  </a:cxn>
                </a:cxnLst>
                <a:rect l="0" t="0" r="r" b="b"/>
                <a:pathLst>
                  <a:path w="53" h="90">
                    <a:moveTo>
                      <a:pt x="0" y="43"/>
                    </a:moveTo>
                    <a:lnTo>
                      <a:pt x="0" y="38"/>
                    </a:lnTo>
                    <a:lnTo>
                      <a:pt x="0" y="35"/>
                    </a:lnTo>
                    <a:lnTo>
                      <a:pt x="4" y="33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2" y="38"/>
                    </a:lnTo>
                    <a:lnTo>
                      <a:pt x="0" y="43"/>
                    </a:lnTo>
                    <a:lnTo>
                      <a:pt x="0" y="43"/>
                    </a:lnTo>
                    <a:close/>
                    <a:moveTo>
                      <a:pt x="9" y="7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close/>
                    <a:moveTo>
                      <a:pt x="15" y="2"/>
                    </a:moveTo>
                    <a:lnTo>
                      <a:pt x="19" y="3"/>
                    </a:lnTo>
                    <a:lnTo>
                      <a:pt x="19" y="7"/>
                    </a:lnTo>
                    <a:lnTo>
                      <a:pt x="25" y="8"/>
                    </a:lnTo>
                    <a:lnTo>
                      <a:pt x="25" y="12"/>
                    </a:lnTo>
                    <a:lnTo>
                      <a:pt x="24" y="10"/>
                    </a:lnTo>
                    <a:lnTo>
                      <a:pt x="19" y="10"/>
                    </a:lnTo>
                    <a:lnTo>
                      <a:pt x="17" y="8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5" y="2"/>
                    </a:lnTo>
                    <a:lnTo>
                      <a:pt x="15" y="2"/>
                    </a:lnTo>
                    <a:close/>
                    <a:moveTo>
                      <a:pt x="10" y="8"/>
                    </a:moveTo>
                    <a:lnTo>
                      <a:pt x="10" y="10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7" y="20"/>
                    </a:lnTo>
                    <a:lnTo>
                      <a:pt x="5" y="20"/>
                    </a:lnTo>
                    <a:lnTo>
                      <a:pt x="4" y="18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5" y="27"/>
                    </a:lnTo>
                    <a:lnTo>
                      <a:pt x="5" y="33"/>
                    </a:lnTo>
                    <a:lnTo>
                      <a:pt x="4" y="35"/>
                    </a:lnTo>
                    <a:lnTo>
                      <a:pt x="2" y="45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6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81"/>
                    </a:lnTo>
                    <a:lnTo>
                      <a:pt x="14" y="88"/>
                    </a:lnTo>
                    <a:lnTo>
                      <a:pt x="19" y="90"/>
                    </a:lnTo>
                    <a:lnTo>
                      <a:pt x="24" y="90"/>
                    </a:lnTo>
                    <a:lnTo>
                      <a:pt x="32" y="88"/>
                    </a:lnTo>
                    <a:lnTo>
                      <a:pt x="40" y="86"/>
                    </a:lnTo>
                    <a:lnTo>
                      <a:pt x="47" y="78"/>
                    </a:lnTo>
                    <a:lnTo>
                      <a:pt x="50" y="71"/>
                    </a:lnTo>
                    <a:lnTo>
                      <a:pt x="52" y="68"/>
                    </a:lnTo>
                    <a:lnTo>
                      <a:pt x="52" y="65"/>
                    </a:lnTo>
                    <a:lnTo>
                      <a:pt x="53" y="63"/>
                    </a:lnTo>
                    <a:lnTo>
                      <a:pt x="53" y="58"/>
                    </a:lnTo>
                    <a:lnTo>
                      <a:pt x="50" y="55"/>
                    </a:lnTo>
                    <a:lnTo>
                      <a:pt x="52" y="51"/>
                    </a:lnTo>
                    <a:lnTo>
                      <a:pt x="49" y="48"/>
                    </a:lnTo>
                    <a:lnTo>
                      <a:pt x="45" y="38"/>
                    </a:lnTo>
                    <a:lnTo>
                      <a:pt x="42" y="32"/>
                    </a:lnTo>
                    <a:lnTo>
                      <a:pt x="37" y="33"/>
                    </a:lnTo>
                    <a:lnTo>
                      <a:pt x="37" y="32"/>
                    </a:lnTo>
                    <a:lnTo>
                      <a:pt x="34" y="32"/>
                    </a:lnTo>
                    <a:lnTo>
                      <a:pt x="39" y="30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9" y="17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0" y="10"/>
                    </a:lnTo>
                    <a:lnTo>
                      <a:pt x="19" y="12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19" name="Freeform 25">
                <a:extLst>
                  <a:ext uri="{FF2B5EF4-FFF2-40B4-BE49-F238E27FC236}">
                    <a16:creationId xmlns:a16="http://schemas.microsoft.com/office/drawing/2014/main" id="{D8AB398C-8DCB-A345-9D62-324190BF21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2618" y="2865055"/>
                <a:ext cx="363884" cy="312314"/>
              </a:xfrm>
              <a:custGeom>
                <a:avLst/>
                <a:gdLst/>
                <a:ahLst/>
                <a:cxnLst>
                  <a:cxn ang="0">
                    <a:pos x="231" y="51"/>
                  </a:cxn>
                  <a:cxn ang="0">
                    <a:pos x="267" y="69"/>
                  </a:cxn>
                  <a:cxn ang="0">
                    <a:pos x="277" y="116"/>
                  </a:cxn>
                  <a:cxn ang="0">
                    <a:pos x="353" y="144"/>
                  </a:cxn>
                  <a:cxn ang="0">
                    <a:pos x="442" y="164"/>
                  </a:cxn>
                  <a:cxn ang="0">
                    <a:pos x="476" y="132"/>
                  </a:cxn>
                  <a:cxn ang="0">
                    <a:pos x="513" y="161"/>
                  </a:cxn>
                  <a:cxn ang="0">
                    <a:pos x="546" y="136"/>
                  </a:cxn>
                  <a:cxn ang="0">
                    <a:pos x="579" y="112"/>
                  </a:cxn>
                  <a:cxn ang="0">
                    <a:pos x="633" y="98"/>
                  </a:cxn>
                  <a:cxn ang="0">
                    <a:pos x="657" y="99"/>
                  </a:cxn>
                  <a:cxn ang="0">
                    <a:pos x="679" y="122"/>
                  </a:cxn>
                  <a:cxn ang="0">
                    <a:pos x="644" y="154"/>
                  </a:cxn>
                  <a:cxn ang="0">
                    <a:pos x="621" y="220"/>
                  </a:cxn>
                  <a:cxn ang="0">
                    <a:pos x="599" y="262"/>
                  </a:cxn>
                  <a:cxn ang="0">
                    <a:pos x="588" y="274"/>
                  </a:cxn>
                  <a:cxn ang="0">
                    <a:pos x="569" y="235"/>
                  </a:cxn>
                  <a:cxn ang="0">
                    <a:pos x="554" y="242"/>
                  </a:cxn>
                  <a:cxn ang="0">
                    <a:pos x="563" y="222"/>
                  </a:cxn>
                  <a:cxn ang="0">
                    <a:pos x="558" y="196"/>
                  </a:cxn>
                  <a:cxn ang="0">
                    <a:pos x="510" y="182"/>
                  </a:cxn>
                  <a:cxn ang="0">
                    <a:pos x="491" y="172"/>
                  </a:cxn>
                  <a:cxn ang="0">
                    <a:pos x="475" y="167"/>
                  </a:cxn>
                  <a:cxn ang="0">
                    <a:pos x="483" y="196"/>
                  </a:cxn>
                  <a:cxn ang="0">
                    <a:pos x="493" y="245"/>
                  </a:cxn>
                  <a:cxn ang="0">
                    <a:pos x="498" y="285"/>
                  </a:cxn>
                  <a:cxn ang="0">
                    <a:pos x="481" y="280"/>
                  </a:cxn>
                  <a:cxn ang="0">
                    <a:pos x="475" y="280"/>
                  </a:cxn>
                  <a:cxn ang="0">
                    <a:pos x="450" y="312"/>
                  </a:cxn>
                  <a:cxn ang="0">
                    <a:pos x="420" y="328"/>
                  </a:cxn>
                  <a:cxn ang="0">
                    <a:pos x="375" y="382"/>
                  </a:cxn>
                  <a:cxn ang="0">
                    <a:pos x="329" y="418"/>
                  </a:cxn>
                  <a:cxn ang="0">
                    <a:pos x="304" y="461"/>
                  </a:cxn>
                  <a:cxn ang="0">
                    <a:pos x="299" y="553"/>
                  </a:cxn>
                  <a:cxn ang="0">
                    <a:pos x="290" y="578"/>
                  </a:cxn>
                  <a:cxn ang="0">
                    <a:pos x="259" y="596"/>
                  </a:cxn>
                  <a:cxn ang="0">
                    <a:pos x="209" y="541"/>
                  </a:cxn>
                  <a:cxn ang="0">
                    <a:pos x="176" y="488"/>
                  </a:cxn>
                  <a:cxn ang="0">
                    <a:pos x="149" y="435"/>
                  </a:cxn>
                  <a:cxn ang="0">
                    <a:pos x="126" y="370"/>
                  </a:cxn>
                  <a:cxn ang="0">
                    <a:pos x="113" y="322"/>
                  </a:cxn>
                  <a:cxn ang="0">
                    <a:pos x="108" y="287"/>
                  </a:cxn>
                  <a:cxn ang="0">
                    <a:pos x="108" y="269"/>
                  </a:cxn>
                  <a:cxn ang="0">
                    <a:pos x="86" y="303"/>
                  </a:cxn>
                  <a:cxn ang="0">
                    <a:pos x="15" y="272"/>
                  </a:cxn>
                  <a:cxn ang="0">
                    <a:pos x="35" y="272"/>
                  </a:cxn>
                  <a:cxn ang="0">
                    <a:pos x="40" y="262"/>
                  </a:cxn>
                  <a:cxn ang="0">
                    <a:pos x="0" y="242"/>
                  </a:cxn>
                  <a:cxn ang="0">
                    <a:pos x="51" y="219"/>
                  </a:cxn>
                  <a:cxn ang="0">
                    <a:pos x="48" y="191"/>
                  </a:cxn>
                  <a:cxn ang="0">
                    <a:pos x="15" y="161"/>
                  </a:cxn>
                  <a:cxn ang="0">
                    <a:pos x="56" y="136"/>
                  </a:cxn>
                  <a:cxn ang="0">
                    <a:pos x="111" y="76"/>
                  </a:cxn>
                  <a:cxn ang="0">
                    <a:pos x="134" y="28"/>
                  </a:cxn>
                  <a:cxn ang="0">
                    <a:pos x="199" y="6"/>
                  </a:cxn>
                  <a:cxn ang="0">
                    <a:pos x="493" y="284"/>
                  </a:cxn>
                  <a:cxn ang="0">
                    <a:pos x="486" y="290"/>
                  </a:cxn>
                </a:cxnLst>
                <a:rect l="0" t="0" r="r" b="b"/>
                <a:pathLst>
                  <a:path w="681" h="601">
                    <a:moveTo>
                      <a:pt x="217" y="18"/>
                    </a:moveTo>
                    <a:lnTo>
                      <a:pt x="219" y="21"/>
                    </a:lnTo>
                    <a:lnTo>
                      <a:pt x="219" y="24"/>
                    </a:lnTo>
                    <a:lnTo>
                      <a:pt x="226" y="28"/>
                    </a:lnTo>
                    <a:lnTo>
                      <a:pt x="226" y="36"/>
                    </a:lnTo>
                    <a:lnTo>
                      <a:pt x="227" y="39"/>
                    </a:lnTo>
                    <a:lnTo>
                      <a:pt x="226" y="43"/>
                    </a:lnTo>
                    <a:lnTo>
                      <a:pt x="229" y="44"/>
                    </a:lnTo>
                    <a:lnTo>
                      <a:pt x="231" y="48"/>
                    </a:lnTo>
                    <a:lnTo>
                      <a:pt x="231" y="51"/>
                    </a:lnTo>
                    <a:lnTo>
                      <a:pt x="234" y="53"/>
                    </a:lnTo>
                    <a:lnTo>
                      <a:pt x="236" y="56"/>
                    </a:lnTo>
                    <a:lnTo>
                      <a:pt x="241" y="59"/>
                    </a:lnTo>
                    <a:lnTo>
                      <a:pt x="244" y="54"/>
                    </a:lnTo>
                    <a:lnTo>
                      <a:pt x="249" y="54"/>
                    </a:lnTo>
                    <a:lnTo>
                      <a:pt x="251" y="58"/>
                    </a:lnTo>
                    <a:lnTo>
                      <a:pt x="257" y="58"/>
                    </a:lnTo>
                    <a:lnTo>
                      <a:pt x="262" y="63"/>
                    </a:lnTo>
                    <a:lnTo>
                      <a:pt x="265" y="64"/>
                    </a:lnTo>
                    <a:lnTo>
                      <a:pt x="267" y="69"/>
                    </a:lnTo>
                    <a:lnTo>
                      <a:pt x="272" y="69"/>
                    </a:lnTo>
                    <a:lnTo>
                      <a:pt x="274" y="73"/>
                    </a:lnTo>
                    <a:lnTo>
                      <a:pt x="274" y="73"/>
                    </a:lnTo>
                    <a:lnTo>
                      <a:pt x="275" y="81"/>
                    </a:lnTo>
                    <a:lnTo>
                      <a:pt x="270" y="93"/>
                    </a:lnTo>
                    <a:lnTo>
                      <a:pt x="270" y="99"/>
                    </a:lnTo>
                    <a:lnTo>
                      <a:pt x="265" y="107"/>
                    </a:lnTo>
                    <a:lnTo>
                      <a:pt x="267" y="112"/>
                    </a:lnTo>
                    <a:lnTo>
                      <a:pt x="272" y="112"/>
                    </a:lnTo>
                    <a:lnTo>
                      <a:pt x="277" y="116"/>
                    </a:lnTo>
                    <a:lnTo>
                      <a:pt x="280" y="116"/>
                    </a:lnTo>
                    <a:lnTo>
                      <a:pt x="285" y="119"/>
                    </a:lnTo>
                    <a:lnTo>
                      <a:pt x="294" y="121"/>
                    </a:lnTo>
                    <a:lnTo>
                      <a:pt x="305" y="127"/>
                    </a:lnTo>
                    <a:lnTo>
                      <a:pt x="312" y="136"/>
                    </a:lnTo>
                    <a:lnTo>
                      <a:pt x="322" y="137"/>
                    </a:lnTo>
                    <a:lnTo>
                      <a:pt x="325" y="141"/>
                    </a:lnTo>
                    <a:lnTo>
                      <a:pt x="332" y="141"/>
                    </a:lnTo>
                    <a:lnTo>
                      <a:pt x="340" y="146"/>
                    </a:lnTo>
                    <a:lnTo>
                      <a:pt x="353" y="144"/>
                    </a:lnTo>
                    <a:lnTo>
                      <a:pt x="357" y="147"/>
                    </a:lnTo>
                    <a:lnTo>
                      <a:pt x="370" y="146"/>
                    </a:lnTo>
                    <a:lnTo>
                      <a:pt x="382" y="147"/>
                    </a:lnTo>
                    <a:lnTo>
                      <a:pt x="382" y="154"/>
                    </a:lnTo>
                    <a:lnTo>
                      <a:pt x="388" y="159"/>
                    </a:lnTo>
                    <a:lnTo>
                      <a:pt x="402" y="161"/>
                    </a:lnTo>
                    <a:lnTo>
                      <a:pt x="407" y="159"/>
                    </a:lnTo>
                    <a:lnTo>
                      <a:pt x="415" y="159"/>
                    </a:lnTo>
                    <a:lnTo>
                      <a:pt x="435" y="166"/>
                    </a:lnTo>
                    <a:lnTo>
                      <a:pt x="442" y="164"/>
                    </a:lnTo>
                    <a:lnTo>
                      <a:pt x="450" y="167"/>
                    </a:lnTo>
                    <a:lnTo>
                      <a:pt x="465" y="166"/>
                    </a:lnTo>
                    <a:lnTo>
                      <a:pt x="466" y="154"/>
                    </a:lnTo>
                    <a:lnTo>
                      <a:pt x="461" y="146"/>
                    </a:lnTo>
                    <a:lnTo>
                      <a:pt x="465" y="136"/>
                    </a:lnTo>
                    <a:lnTo>
                      <a:pt x="463" y="131"/>
                    </a:lnTo>
                    <a:lnTo>
                      <a:pt x="463" y="131"/>
                    </a:lnTo>
                    <a:lnTo>
                      <a:pt x="468" y="127"/>
                    </a:lnTo>
                    <a:lnTo>
                      <a:pt x="473" y="127"/>
                    </a:lnTo>
                    <a:lnTo>
                      <a:pt x="476" y="132"/>
                    </a:lnTo>
                    <a:lnTo>
                      <a:pt x="476" y="137"/>
                    </a:lnTo>
                    <a:lnTo>
                      <a:pt x="481" y="141"/>
                    </a:lnTo>
                    <a:lnTo>
                      <a:pt x="481" y="141"/>
                    </a:lnTo>
                    <a:lnTo>
                      <a:pt x="481" y="146"/>
                    </a:lnTo>
                    <a:lnTo>
                      <a:pt x="480" y="149"/>
                    </a:lnTo>
                    <a:lnTo>
                      <a:pt x="483" y="156"/>
                    </a:lnTo>
                    <a:lnTo>
                      <a:pt x="491" y="157"/>
                    </a:lnTo>
                    <a:lnTo>
                      <a:pt x="495" y="156"/>
                    </a:lnTo>
                    <a:lnTo>
                      <a:pt x="506" y="161"/>
                    </a:lnTo>
                    <a:lnTo>
                      <a:pt x="513" y="161"/>
                    </a:lnTo>
                    <a:lnTo>
                      <a:pt x="518" y="156"/>
                    </a:lnTo>
                    <a:lnTo>
                      <a:pt x="525" y="156"/>
                    </a:lnTo>
                    <a:lnTo>
                      <a:pt x="530" y="157"/>
                    </a:lnTo>
                    <a:lnTo>
                      <a:pt x="538" y="156"/>
                    </a:lnTo>
                    <a:lnTo>
                      <a:pt x="545" y="156"/>
                    </a:lnTo>
                    <a:lnTo>
                      <a:pt x="554" y="152"/>
                    </a:lnTo>
                    <a:lnTo>
                      <a:pt x="554" y="149"/>
                    </a:lnTo>
                    <a:lnTo>
                      <a:pt x="554" y="142"/>
                    </a:lnTo>
                    <a:lnTo>
                      <a:pt x="546" y="141"/>
                    </a:lnTo>
                    <a:lnTo>
                      <a:pt x="546" y="136"/>
                    </a:lnTo>
                    <a:lnTo>
                      <a:pt x="548" y="131"/>
                    </a:lnTo>
                    <a:lnTo>
                      <a:pt x="551" y="131"/>
                    </a:lnTo>
                    <a:lnTo>
                      <a:pt x="559" y="129"/>
                    </a:lnTo>
                    <a:lnTo>
                      <a:pt x="563" y="127"/>
                    </a:lnTo>
                    <a:lnTo>
                      <a:pt x="566" y="122"/>
                    </a:lnTo>
                    <a:lnTo>
                      <a:pt x="569" y="121"/>
                    </a:lnTo>
                    <a:lnTo>
                      <a:pt x="573" y="121"/>
                    </a:lnTo>
                    <a:lnTo>
                      <a:pt x="573" y="119"/>
                    </a:lnTo>
                    <a:lnTo>
                      <a:pt x="578" y="117"/>
                    </a:lnTo>
                    <a:lnTo>
                      <a:pt x="579" y="112"/>
                    </a:lnTo>
                    <a:lnTo>
                      <a:pt x="584" y="107"/>
                    </a:lnTo>
                    <a:lnTo>
                      <a:pt x="589" y="107"/>
                    </a:lnTo>
                    <a:lnTo>
                      <a:pt x="598" y="106"/>
                    </a:lnTo>
                    <a:lnTo>
                      <a:pt x="604" y="99"/>
                    </a:lnTo>
                    <a:lnTo>
                      <a:pt x="603" y="94"/>
                    </a:lnTo>
                    <a:lnTo>
                      <a:pt x="606" y="94"/>
                    </a:lnTo>
                    <a:lnTo>
                      <a:pt x="613" y="91"/>
                    </a:lnTo>
                    <a:lnTo>
                      <a:pt x="616" y="96"/>
                    </a:lnTo>
                    <a:lnTo>
                      <a:pt x="623" y="94"/>
                    </a:lnTo>
                    <a:lnTo>
                      <a:pt x="633" y="98"/>
                    </a:lnTo>
                    <a:lnTo>
                      <a:pt x="634" y="96"/>
                    </a:lnTo>
                    <a:lnTo>
                      <a:pt x="634" y="91"/>
                    </a:lnTo>
                    <a:lnTo>
                      <a:pt x="644" y="86"/>
                    </a:lnTo>
                    <a:lnTo>
                      <a:pt x="647" y="88"/>
                    </a:lnTo>
                    <a:lnTo>
                      <a:pt x="651" y="89"/>
                    </a:lnTo>
                    <a:lnTo>
                      <a:pt x="654" y="89"/>
                    </a:lnTo>
                    <a:lnTo>
                      <a:pt x="656" y="91"/>
                    </a:lnTo>
                    <a:lnTo>
                      <a:pt x="652" y="98"/>
                    </a:lnTo>
                    <a:lnTo>
                      <a:pt x="654" y="101"/>
                    </a:lnTo>
                    <a:lnTo>
                      <a:pt x="657" y="99"/>
                    </a:lnTo>
                    <a:lnTo>
                      <a:pt x="659" y="99"/>
                    </a:lnTo>
                    <a:lnTo>
                      <a:pt x="661" y="103"/>
                    </a:lnTo>
                    <a:lnTo>
                      <a:pt x="664" y="107"/>
                    </a:lnTo>
                    <a:lnTo>
                      <a:pt x="664" y="109"/>
                    </a:lnTo>
                    <a:lnTo>
                      <a:pt x="661" y="114"/>
                    </a:lnTo>
                    <a:lnTo>
                      <a:pt x="662" y="117"/>
                    </a:lnTo>
                    <a:lnTo>
                      <a:pt x="667" y="117"/>
                    </a:lnTo>
                    <a:lnTo>
                      <a:pt x="671" y="117"/>
                    </a:lnTo>
                    <a:lnTo>
                      <a:pt x="674" y="119"/>
                    </a:lnTo>
                    <a:lnTo>
                      <a:pt x="679" y="122"/>
                    </a:lnTo>
                    <a:lnTo>
                      <a:pt x="681" y="126"/>
                    </a:lnTo>
                    <a:lnTo>
                      <a:pt x="676" y="131"/>
                    </a:lnTo>
                    <a:lnTo>
                      <a:pt x="676" y="136"/>
                    </a:lnTo>
                    <a:lnTo>
                      <a:pt x="676" y="139"/>
                    </a:lnTo>
                    <a:lnTo>
                      <a:pt x="672" y="137"/>
                    </a:lnTo>
                    <a:lnTo>
                      <a:pt x="667" y="136"/>
                    </a:lnTo>
                    <a:lnTo>
                      <a:pt x="661" y="139"/>
                    </a:lnTo>
                    <a:lnTo>
                      <a:pt x="652" y="142"/>
                    </a:lnTo>
                    <a:lnTo>
                      <a:pt x="651" y="147"/>
                    </a:lnTo>
                    <a:lnTo>
                      <a:pt x="644" y="154"/>
                    </a:lnTo>
                    <a:lnTo>
                      <a:pt x="639" y="156"/>
                    </a:lnTo>
                    <a:lnTo>
                      <a:pt x="631" y="166"/>
                    </a:lnTo>
                    <a:lnTo>
                      <a:pt x="631" y="172"/>
                    </a:lnTo>
                    <a:lnTo>
                      <a:pt x="633" y="174"/>
                    </a:lnTo>
                    <a:lnTo>
                      <a:pt x="629" y="182"/>
                    </a:lnTo>
                    <a:lnTo>
                      <a:pt x="623" y="192"/>
                    </a:lnTo>
                    <a:lnTo>
                      <a:pt x="623" y="196"/>
                    </a:lnTo>
                    <a:lnTo>
                      <a:pt x="629" y="199"/>
                    </a:lnTo>
                    <a:lnTo>
                      <a:pt x="623" y="210"/>
                    </a:lnTo>
                    <a:lnTo>
                      <a:pt x="621" y="220"/>
                    </a:lnTo>
                    <a:lnTo>
                      <a:pt x="618" y="227"/>
                    </a:lnTo>
                    <a:lnTo>
                      <a:pt x="611" y="229"/>
                    </a:lnTo>
                    <a:lnTo>
                      <a:pt x="606" y="227"/>
                    </a:lnTo>
                    <a:lnTo>
                      <a:pt x="601" y="227"/>
                    </a:lnTo>
                    <a:lnTo>
                      <a:pt x="604" y="237"/>
                    </a:lnTo>
                    <a:lnTo>
                      <a:pt x="604" y="244"/>
                    </a:lnTo>
                    <a:lnTo>
                      <a:pt x="604" y="250"/>
                    </a:lnTo>
                    <a:lnTo>
                      <a:pt x="599" y="250"/>
                    </a:lnTo>
                    <a:lnTo>
                      <a:pt x="599" y="255"/>
                    </a:lnTo>
                    <a:lnTo>
                      <a:pt x="599" y="262"/>
                    </a:lnTo>
                    <a:lnTo>
                      <a:pt x="599" y="265"/>
                    </a:lnTo>
                    <a:lnTo>
                      <a:pt x="598" y="274"/>
                    </a:lnTo>
                    <a:lnTo>
                      <a:pt x="594" y="274"/>
                    </a:lnTo>
                    <a:lnTo>
                      <a:pt x="593" y="274"/>
                    </a:lnTo>
                    <a:lnTo>
                      <a:pt x="591" y="277"/>
                    </a:lnTo>
                    <a:lnTo>
                      <a:pt x="591" y="280"/>
                    </a:lnTo>
                    <a:lnTo>
                      <a:pt x="591" y="279"/>
                    </a:lnTo>
                    <a:lnTo>
                      <a:pt x="589" y="277"/>
                    </a:lnTo>
                    <a:lnTo>
                      <a:pt x="589" y="275"/>
                    </a:lnTo>
                    <a:lnTo>
                      <a:pt x="588" y="274"/>
                    </a:lnTo>
                    <a:lnTo>
                      <a:pt x="586" y="270"/>
                    </a:lnTo>
                    <a:lnTo>
                      <a:pt x="584" y="264"/>
                    </a:lnTo>
                    <a:lnTo>
                      <a:pt x="583" y="255"/>
                    </a:lnTo>
                    <a:lnTo>
                      <a:pt x="581" y="252"/>
                    </a:lnTo>
                    <a:lnTo>
                      <a:pt x="581" y="247"/>
                    </a:lnTo>
                    <a:lnTo>
                      <a:pt x="579" y="242"/>
                    </a:lnTo>
                    <a:lnTo>
                      <a:pt x="578" y="239"/>
                    </a:lnTo>
                    <a:lnTo>
                      <a:pt x="576" y="235"/>
                    </a:lnTo>
                    <a:lnTo>
                      <a:pt x="573" y="237"/>
                    </a:lnTo>
                    <a:lnTo>
                      <a:pt x="569" y="235"/>
                    </a:lnTo>
                    <a:lnTo>
                      <a:pt x="566" y="235"/>
                    </a:lnTo>
                    <a:lnTo>
                      <a:pt x="568" y="239"/>
                    </a:lnTo>
                    <a:lnTo>
                      <a:pt x="566" y="240"/>
                    </a:lnTo>
                    <a:lnTo>
                      <a:pt x="566" y="242"/>
                    </a:lnTo>
                    <a:lnTo>
                      <a:pt x="564" y="245"/>
                    </a:lnTo>
                    <a:lnTo>
                      <a:pt x="566" y="247"/>
                    </a:lnTo>
                    <a:lnTo>
                      <a:pt x="566" y="250"/>
                    </a:lnTo>
                    <a:lnTo>
                      <a:pt x="563" y="250"/>
                    </a:lnTo>
                    <a:lnTo>
                      <a:pt x="559" y="245"/>
                    </a:lnTo>
                    <a:lnTo>
                      <a:pt x="554" y="242"/>
                    </a:lnTo>
                    <a:lnTo>
                      <a:pt x="554" y="240"/>
                    </a:lnTo>
                    <a:lnTo>
                      <a:pt x="551" y="239"/>
                    </a:lnTo>
                    <a:lnTo>
                      <a:pt x="549" y="232"/>
                    </a:lnTo>
                    <a:lnTo>
                      <a:pt x="549" y="230"/>
                    </a:lnTo>
                    <a:lnTo>
                      <a:pt x="551" y="229"/>
                    </a:lnTo>
                    <a:lnTo>
                      <a:pt x="553" y="225"/>
                    </a:lnTo>
                    <a:lnTo>
                      <a:pt x="556" y="222"/>
                    </a:lnTo>
                    <a:lnTo>
                      <a:pt x="558" y="224"/>
                    </a:lnTo>
                    <a:lnTo>
                      <a:pt x="561" y="225"/>
                    </a:lnTo>
                    <a:lnTo>
                      <a:pt x="563" y="222"/>
                    </a:lnTo>
                    <a:lnTo>
                      <a:pt x="563" y="220"/>
                    </a:lnTo>
                    <a:lnTo>
                      <a:pt x="566" y="219"/>
                    </a:lnTo>
                    <a:lnTo>
                      <a:pt x="569" y="210"/>
                    </a:lnTo>
                    <a:lnTo>
                      <a:pt x="569" y="205"/>
                    </a:lnTo>
                    <a:lnTo>
                      <a:pt x="573" y="201"/>
                    </a:lnTo>
                    <a:lnTo>
                      <a:pt x="571" y="201"/>
                    </a:lnTo>
                    <a:lnTo>
                      <a:pt x="566" y="196"/>
                    </a:lnTo>
                    <a:lnTo>
                      <a:pt x="563" y="197"/>
                    </a:lnTo>
                    <a:lnTo>
                      <a:pt x="561" y="196"/>
                    </a:lnTo>
                    <a:lnTo>
                      <a:pt x="558" y="196"/>
                    </a:lnTo>
                    <a:lnTo>
                      <a:pt x="549" y="196"/>
                    </a:lnTo>
                    <a:lnTo>
                      <a:pt x="541" y="196"/>
                    </a:lnTo>
                    <a:lnTo>
                      <a:pt x="533" y="196"/>
                    </a:lnTo>
                    <a:lnTo>
                      <a:pt x="526" y="196"/>
                    </a:lnTo>
                    <a:lnTo>
                      <a:pt x="521" y="194"/>
                    </a:lnTo>
                    <a:lnTo>
                      <a:pt x="516" y="194"/>
                    </a:lnTo>
                    <a:lnTo>
                      <a:pt x="511" y="192"/>
                    </a:lnTo>
                    <a:lnTo>
                      <a:pt x="511" y="189"/>
                    </a:lnTo>
                    <a:lnTo>
                      <a:pt x="510" y="186"/>
                    </a:lnTo>
                    <a:lnTo>
                      <a:pt x="510" y="182"/>
                    </a:lnTo>
                    <a:lnTo>
                      <a:pt x="508" y="177"/>
                    </a:lnTo>
                    <a:lnTo>
                      <a:pt x="505" y="172"/>
                    </a:lnTo>
                    <a:lnTo>
                      <a:pt x="503" y="172"/>
                    </a:lnTo>
                    <a:lnTo>
                      <a:pt x="503" y="174"/>
                    </a:lnTo>
                    <a:lnTo>
                      <a:pt x="498" y="172"/>
                    </a:lnTo>
                    <a:lnTo>
                      <a:pt x="495" y="171"/>
                    </a:lnTo>
                    <a:lnTo>
                      <a:pt x="491" y="167"/>
                    </a:lnTo>
                    <a:lnTo>
                      <a:pt x="490" y="167"/>
                    </a:lnTo>
                    <a:lnTo>
                      <a:pt x="488" y="171"/>
                    </a:lnTo>
                    <a:lnTo>
                      <a:pt x="491" y="172"/>
                    </a:lnTo>
                    <a:lnTo>
                      <a:pt x="490" y="172"/>
                    </a:lnTo>
                    <a:lnTo>
                      <a:pt x="485" y="172"/>
                    </a:lnTo>
                    <a:lnTo>
                      <a:pt x="481" y="169"/>
                    </a:lnTo>
                    <a:lnTo>
                      <a:pt x="481" y="166"/>
                    </a:lnTo>
                    <a:lnTo>
                      <a:pt x="478" y="162"/>
                    </a:lnTo>
                    <a:lnTo>
                      <a:pt x="476" y="161"/>
                    </a:lnTo>
                    <a:lnTo>
                      <a:pt x="475" y="162"/>
                    </a:lnTo>
                    <a:lnTo>
                      <a:pt x="473" y="164"/>
                    </a:lnTo>
                    <a:lnTo>
                      <a:pt x="473" y="166"/>
                    </a:lnTo>
                    <a:lnTo>
                      <a:pt x="475" y="167"/>
                    </a:lnTo>
                    <a:lnTo>
                      <a:pt x="473" y="174"/>
                    </a:lnTo>
                    <a:lnTo>
                      <a:pt x="468" y="179"/>
                    </a:lnTo>
                    <a:lnTo>
                      <a:pt x="468" y="184"/>
                    </a:lnTo>
                    <a:lnTo>
                      <a:pt x="478" y="187"/>
                    </a:lnTo>
                    <a:lnTo>
                      <a:pt x="483" y="186"/>
                    </a:lnTo>
                    <a:lnTo>
                      <a:pt x="490" y="186"/>
                    </a:lnTo>
                    <a:lnTo>
                      <a:pt x="488" y="189"/>
                    </a:lnTo>
                    <a:lnTo>
                      <a:pt x="490" y="196"/>
                    </a:lnTo>
                    <a:lnTo>
                      <a:pt x="486" y="197"/>
                    </a:lnTo>
                    <a:lnTo>
                      <a:pt x="483" y="196"/>
                    </a:lnTo>
                    <a:lnTo>
                      <a:pt x="480" y="197"/>
                    </a:lnTo>
                    <a:lnTo>
                      <a:pt x="478" y="204"/>
                    </a:lnTo>
                    <a:lnTo>
                      <a:pt x="473" y="205"/>
                    </a:lnTo>
                    <a:lnTo>
                      <a:pt x="473" y="214"/>
                    </a:lnTo>
                    <a:lnTo>
                      <a:pt x="478" y="219"/>
                    </a:lnTo>
                    <a:lnTo>
                      <a:pt x="485" y="222"/>
                    </a:lnTo>
                    <a:lnTo>
                      <a:pt x="491" y="229"/>
                    </a:lnTo>
                    <a:lnTo>
                      <a:pt x="491" y="235"/>
                    </a:lnTo>
                    <a:lnTo>
                      <a:pt x="493" y="240"/>
                    </a:lnTo>
                    <a:lnTo>
                      <a:pt x="493" y="245"/>
                    </a:lnTo>
                    <a:lnTo>
                      <a:pt x="493" y="252"/>
                    </a:lnTo>
                    <a:lnTo>
                      <a:pt x="500" y="260"/>
                    </a:lnTo>
                    <a:lnTo>
                      <a:pt x="501" y="267"/>
                    </a:lnTo>
                    <a:lnTo>
                      <a:pt x="503" y="270"/>
                    </a:lnTo>
                    <a:lnTo>
                      <a:pt x="503" y="277"/>
                    </a:lnTo>
                    <a:lnTo>
                      <a:pt x="501" y="277"/>
                    </a:lnTo>
                    <a:lnTo>
                      <a:pt x="505" y="282"/>
                    </a:lnTo>
                    <a:lnTo>
                      <a:pt x="501" y="287"/>
                    </a:lnTo>
                    <a:lnTo>
                      <a:pt x="498" y="282"/>
                    </a:lnTo>
                    <a:lnTo>
                      <a:pt x="498" y="285"/>
                    </a:lnTo>
                    <a:lnTo>
                      <a:pt x="496" y="284"/>
                    </a:lnTo>
                    <a:lnTo>
                      <a:pt x="495" y="279"/>
                    </a:lnTo>
                    <a:lnTo>
                      <a:pt x="493" y="277"/>
                    </a:lnTo>
                    <a:lnTo>
                      <a:pt x="493" y="279"/>
                    </a:lnTo>
                    <a:lnTo>
                      <a:pt x="491" y="280"/>
                    </a:lnTo>
                    <a:lnTo>
                      <a:pt x="491" y="280"/>
                    </a:lnTo>
                    <a:lnTo>
                      <a:pt x="490" y="282"/>
                    </a:lnTo>
                    <a:lnTo>
                      <a:pt x="486" y="280"/>
                    </a:lnTo>
                    <a:lnTo>
                      <a:pt x="486" y="282"/>
                    </a:lnTo>
                    <a:lnTo>
                      <a:pt x="481" y="280"/>
                    </a:lnTo>
                    <a:lnTo>
                      <a:pt x="481" y="275"/>
                    </a:lnTo>
                    <a:lnTo>
                      <a:pt x="481" y="272"/>
                    </a:lnTo>
                    <a:lnTo>
                      <a:pt x="478" y="269"/>
                    </a:lnTo>
                    <a:lnTo>
                      <a:pt x="473" y="269"/>
                    </a:lnTo>
                    <a:lnTo>
                      <a:pt x="475" y="270"/>
                    </a:lnTo>
                    <a:lnTo>
                      <a:pt x="476" y="270"/>
                    </a:lnTo>
                    <a:lnTo>
                      <a:pt x="478" y="272"/>
                    </a:lnTo>
                    <a:lnTo>
                      <a:pt x="478" y="274"/>
                    </a:lnTo>
                    <a:lnTo>
                      <a:pt x="476" y="277"/>
                    </a:lnTo>
                    <a:lnTo>
                      <a:pt x="475" y="280"/>
                    </a:lnTo>
                    <a:lnTo>
                      <a:pt x="471" y="284"/>
                    </a:lnTo>
                    <a:lnTo>
                      <a:pt x="456" y="289"/>
                    </a:lnTo>
                    <a:lnTo>
                      <a:pt x="455" y="290"/>
                    </a:lnTo>
                    <a:lnTo>
                      <a:pt x="453" y="294"/>
                    </a:lnTo>
                    <a:lnTo>
                      <a:pt x="451" y="299"/>
                    </a:lnTo>
                    <a:lnTo>
                      <a:pt x="451" y="300"/>
                    </a:lnTo>
                    <a:lnTo>
                      <a:pt x="455" y="305"/>
                    </a:lnTo>
                    <a:lnTo>
                      <a:pt x="455" y="307"/>
                    </a:lnTo>
                    <a:lnTo>
                      <a:pt x="456" y="308"/>
                    </a:lnTo>
                    <a:lnTo>
                      <a:pt x="450" y="312"/>
                    </a:lnTo>
                    <a:lnTo>
                      <a:pt x="448" y="317"/>
                    </a:lnTo>
                    <a:lnTo>
                      <a:pt x="447" y="317"/>
                    </a:lnTo>
                    <a:lnTo>
                      <a:pt x="448" y="318"/>
                    </a:lnTo>
                    <a:lnTo>
                      <a:pt x="438" y="325"/>
                    </a:lnTo>
                    <a:lnTo>
                      <a:pt x="438" y="327"/>
                    </a:lnTo>
                    <a:lnTo>
                      <a:pt x="425" y="333"/>
                    </a:lnTo>
                    <a:lnTo>
                      <a:pt x="423" y="332"/>
                    </a:lnTo>
                    <a:lnTo>
                      <a:pt x="423" y="330"/>
                    </a:lnTo>
                    <a:lnTo>
                      <a:pt x="422" y="328"/>
                    </a:lnTo>
                    <a:lnTo>
                      <a:pt x="420" y="328"/>
                    </a:lnTo>
                    <a:lnTo>
                      <a:pt x="417" y="332"/>
                    </a:lnTo>
                    <a:lnTo>
                      <a:pt x="413" y="332"/>
                    </a:lnTo>
                    <a:lnTo>
                      <a:pt x="413" y="338"/>
                    </a:lnTo>
                    <a:lnTo>
                      <a:pt x="417" y="337"/>
                    </a:lnTo>
                    <a:lnTo>
                      <a:pt x="418" y="335"/>
                    </a:lnTo>
                    <a:lnTo>
                      <a:pt x="420" y="335"/>
                    </a:lnTo>
                    <a:lnTo>
                      <a:pt x="403" y="348"/>
                    </a:lnTo>
                    <a:lnTo>
                      <a:pt x="400" y="360"/>
                    </a:lnTo>
                    <a:lnTo>
                      <a:pt x="378" y="375"/>
                    </a:lnTo>
                    <a:lnTo>
                      <a:pt x="375" y="382"/>
                    </a:lnTo>
                    <a:lnTo>
                      <a:pt x="370" y="385"/>
                    </a:lnTo>
                    <a:lnTo>
                      <a:pt x="360" y="388"/>
                    </a:lnTo>
                    <a:lnTo>
                      <a:pt x="353" y="393"/>
                    </a:lnTo>
                    <a:lnTo>
                      <a:pt x="353" y="398"/>
                    </a:lnTo>
                    <a:lnTo>
                      <a:pt x="353" y="403"/>
                    </a:lnTo>
                    <a:lnTo>
                      <a:pt x="350" y="408"/>
                    </a:lnTo>
                    <a:lnTo>
                      <a:pt x="344" y="411"/>
                    </a:lnTo>
                    <a:lnTo>
                      <a:pt x="334" y="410"/>
                    </a:lnTo>
                    <a:lnTo>
                      <a:pt x="329" y="413"/>
                    </a:lnTo>
                    <a:lnTo>
                      <a:pt x="329" y="418"/>
                    </a:lnTo>
                    <a:lnTo>
                      <a:pt x="322" y="426"/>
                    </a:lnTo>
                    <a:lnTo>
                      <a:pt x="319" y="426"/>
                    </a:lnTo>
                    <a:lnTo>
                      <a:pt x="315" y="423"/>
                    </a:lnTo>
                    <a:lnTo>
                      <a:pt x="314" y="423"/>
                    </a:lnTo>
                    <a:lnTo>
                      <a:pt x="305" y="430"/>
                    </a:lnTo>
                    <a:lnTo>
                      <a:pt x="304" y="433"/>
                    </a:lnTo>
                    <a:lnTo>
                      <a:pt x="304" y="441"/>
                    </a:lnTo>
                    <a:lnTo>
                      <a:pt x="307" y="451"/>
                    </a:lnTo>
                    <a:lnTo>
                      <a:pt x="304" y="456"/>
                    </a:lnTo>
                    <a:lnTo>
                      <a:pt x="304" y="461"/>
                    </a:lnTo>
                    <a:lnTo>
                      <a:pt x="304" y="480"/>
                    </a:lnTo>
                    <a:lnTo>
                      <a:pt x="310" y="481"/>
                    </a:lnTo>
                    <a:lnTo>
                      <a:pt x="312" y="491"/>
                    </a:lnTo>
                    <a:lnTo>
                      <a:pt x="305" y="506"/>
                    </a:lnTo>
                    <a:lnTo>
                      <a:pt x="300" y="516"/>
                    </a:lnTo>
                    <a:lnTo>
                      <a:pt x="300" y="524"/>
                    </a:lnTo>
                    <a:lnTo>
                      <a:pt x="302" y="528"/>
                    </a:lnTo>
                    <a:lnTo>
                      <a:pt x="304" y="546"/>
                    </a:lnTo>
                    <a:lnTo>
                      <a:pt x="304" y="551"/>
                    </a:lnTo>
                    <a:lnTo>
                      <a:pt x="299" y="553"/>
                    </a:lnTo>
                    <a:lnTo>
                      <a:pt x="297" y="551"/>
                    </a:lnTo>
                    <a:lnTo>
                      <a:pt x="290" y="553"/>
                    </a:lnTo>
                    <a:lnTo>
                      <a:pt x="287" y="558"/>
                    </a:lnTo>
                    <a:lnTo>
                      <a:pt x="289" y="559"/>
                    </a:lnTo>
                    <a:lnTo>
                      <a:pt x="282" y="566"/>
                    </a:lnTo>
                    <a:lnTo>
                      <a:pt x="280" y="569"/>
                    </a:lnTo>
                    <a:lnTo>
                      <a:pt x="280" y="571"/>
                    </a:lnTo>
                    <a:lnTo>
                      <a:pt x="289" y="574"/>
                    </a:lnTo>
                    <a:lnTo>
                      <a:pt x="290" y="576"/>
                    </a:lnTo>
                    <a:lnTo>
                      <a:pt x="290" y="578"/>
                    </a:lnTo>
                    <a:lnTo>
                      <a:pt x="289" y="576"/>
                    </a:lnTo>
                    <a:lnTo>
                      <a:pt x="285" y="574"/>
                    </a:lnTo>
                    <a:lnTo>
                      <a:pt x="275" y="578"/>
                    </a:lnTo>
                    <a:lnTo>
                      <a:pt x="274" y="578"/>
                    </a:lnTo>
                    <a:lnTo>
                      <a:pt x="265" y="581"/>
                    </a:lnTo>
                    <a:lnTo>
                      <a:pt x="262" y="584"/>
                    </a:lnTo>
                    <a:lnTo>
                      <a:pt x="262" y="588"/>
                    </a:lnTo>
                    <a:lnTo>
                      <a:pt x="260" y="588"/>
                    </a:lnTo>
                    <a:lnTo>
                      <a:pt x="262" y="589"/>
                    </a:lnTo>
                    <a:lnTo>
                      <a:pt x="259" y="596"/>
                    </a:lnTo>
                    <a:lnTo>
                      <a:pt x="251" y="601"/>
                    </a:lnTo>
                    <a:lnTo>
                      <a:pt x="242" y="601"/>
                    </a:lnTo>
                    <a:lnTo>
                      <a:pt x="236" y="596"/>
                    </a:lnTo>
                    <a:lnTo>
                      <a:pt x="227" y="588"/>
                    </a:lnTo>
                    <a:lnTo>
                      <a:pt x="219" y="573"/>
                    </a:lnTo>
                    <a:lnTo>
                      <a:pt x="219" y="563"/>
                    </a:lnTo>
                    <a:lnTo>
                      <a:pt x="216" y="554"/>
                    </a:lnTo>
                    <a:lnTo>
                      <a:pt x="211" y="546"/>
                    </a:lnTo>
                    <a:lnTo>
                      <a:pt x="211" y="541"/>
                    </a:lnTo>
                    <a:lnTo>
                      <a:pt x="209" y="541"/>
                    </a:lnTo>
                    <a:lnTo>
                      <a:pt x="206" y="534"/>
                    </a:lnTo>
                    <a:lnTo>
                      <a:pt x="204" y="528"/>
                    </a:lnTo>
                    <a:lnTo>
                      <a:pt x="197" y="519"/>
                    </a:lnTo>
                    <a:lnTo>
                      <a:pt x="192" y="514"/>
                    </a:lnTo>
                    <a:lnTo>
                      <a:pt x="191" y="514"/>
                    </a:lnTo>
                    <a:lnTo>
                      <a:pt x="184" y="508"/>
                    </a:lnTo>
                    <a:lnTo>
                      <a:pt x="181" y="501"/>
                    </a:lnTo>
                    <a:lnTo>
                      <a:pt x="179" y="499"/>
                    </a:lnTo>
                    <a:lnTo>
                      <a:pt x="177" y="491"/>
                    </a:lnTo>
                    <a:lnTo>
                      <a:pt x="176" y="488"/>
                    </a:lnTo>
                    <a:lnTo>
                      <a:pt x="171" y="478"/>
                    </a:lnTo>
                    <a:lnTo>
                      <a:pt x="169" y="470"/>
                    </a:lnTo>
                    <a:lnTo>
                      <a:pt x="167" y="466"/>
                    </a:lnTo>
                    <a:lnTo>
                      <a:pt x="164" y="461"/>
                    </a:lnTo>
                    <a:lnTo>
                      <a:pt x="164" y="455"/>
                    </a:lnTo>
                    <a:lnTo>
                      <a:pt x="162" y="455"/>
                    </a:lnTo>
                    <a:lnTo>
                      <a:pt x="156" y="448"/>
                    </a:lnTo>
                    <a:lnTo>
                      <a:pt x="156" y="445"/>
                    </a:lnTo>
                    <a:lnTo>
                      <a:pt x="154" y="445"/>
                    </a:lnTo>
                    <a:lnTo>
                      <a:pt x="149" y="435"/>
                    </a:lnTo>
                    <a:lnTo>
                      <a:pt x="149" y="433"/>
                    </a:lnTo>
                    <a:lnTo>
                      <a:pt x="146" y="431"/>
                    </a:lnTo>
                    <a:lnTo>
                      <a:pt x="144" y="425"/>
                    </a:lnTo>
                    <a:lnTo>
                      <a:pt x="141" y="421"/>
                    </a:lnTo>
                    <a:lnTo>
                      <a:pt x="136" y="413"/>
                    </a:lnTo>
                    <a:lnTo>
                      <a:pt x="136" y="400"/>
                    </a:lnTo>
                    <a:lnTo>
                      <a:pt x="126" y="382"/>
                    </a:lnTo>
                    <a:lnTo>
                      <a:pt x="126" y="377"/>
                    </a:lnTo>
                    <a:lnTo>
                      <a:pt x="121" y="370"/>
                    </a:lnTo>
                    <a:lnTo>
                      <a:pt x="126" y="370"/>
                    </a:lnTo>
                    <a:lnTo>
                      <a:pt x="119" y="362"/>
                    </a:lnTo>
                    <a:lnTo>
                      <a:pt x="119" y="357"/>
                    </a:lnTo>
                    <a:lnTo>
                      <a:pt x="123" y="357"/>
                    </a:lnTo>
                    <a:lnTo>
                      <a:pt x="121" y="353"/>
                    </a:lnTo>
                    <a:lnTo>
                      <a:pt x="119" y="348"/>
                    </a:lnTo>
                    <a:lnTo>
                      <a:pt x="113" y="337"/>
                    </a:lnTo>
                    <a:lnTo>
                      <a:pt x="111" y="330"/>
                    </a:lnTo>
                    <a:lnTo>
                      <a:pt x="116" y="328"/>
                    </a:lnTo>
                    <a:lnTo>
                      <a:pt x="113" y="325"/>
                    </a:lnTo>
                    <a:lnTo>
                      <a:pt x="113" y="322"/>
                    </a:lnTo>
                    <a:lnTo>
                      <a:pt x="114" y="317"/>
                    </a:lnTo>
                    <a:lnTo>
                      <a:pt x="114" y="310"/>
                    </a:lnTo>
                    <a:lnTo>
                      <a:pt x="111" y="303"/>
                    </a:lnTo>
                    <a:lnTo>
                      <a:pt x="109" y="302"/>
                    </a:lnTo>
                    <a:lnTo>
                      <a:pt x="106" y="292"/>
                    </a:lnTo>
                    <a:lnTo>
                      <a:pt x="113" y="290"/>
                    </a:lnTo>
                    <a:lnTo>
                      <a:pt x="114" y="287"/>
                    </a:lnTo>
                    <a:lnTo>
                      <a:pt x="118" y="287"/>
                    </a:lnTo>
                    <a:lnTo>
                      <a:pt x="114" y="287"/>
                    </a:lnTo>
                    <a:lnTo>
                      <a:pt x="108" y="287"/>
                    </a:lnTo>
                    <a:lnTo>
                      <a:pt x="104" y="287"/>
                    </a:lnTo>
                    <a:lnTo>
                      <a:pt x="106" y="282"/>
                    </a:lnTo>
                    <a:lnTo>
                      <a:pt x="103" y="279"/>
                    </a:lnTo>
                    <a:lnTo>
                      <a:pt x="104" y="275"/>
                    </a:lnTo>
                    <a:lnTo>
                      <a:pt x="106" y="274"/>
                    </a:lnTo>
                    <a:lnTo>
                      <a:pt x="108" y="274"/>
                    </a:lnTo>
                    <a:lnTo>
                      <a:pt x="113" y="270"/>
                    </a:lnTo>
                    <a:lnTo>
                      <a:pt x="114" y="269"/>
                    </a:lnTo>
                    <a:lnTo>
                      <a:pt x="109" y="270"/>
                    </a:lnTo>
                    <a:lnTo>
                      <a:pt x="108" y="269"/>
                    </a:lnTo>
                    <a:lnTo>
                      <a:pt x="101" y="270"/>
                    </a:lnTo>
                    <a:lnTo>
                      <a:pt x="99" y="267"/>
                    </a:lnTo>
                    <a:lnTo>
                      <a:pt x="99" y="269"/>
                    </a:lnTo>
                    <a:lnTo>
                      <a:pt x="99" y="274"/>
                    </a:lnTo>
                    <a:lnTo>
                      <a:pt x="94" y="282"/>
                    </a:lnTo>
                    <a:lnTo>
                      <a:pt x="99" y="285"/>
                    </a:lnTo>
                    <a:lnTo>
                      <a:pt x="98" y="294"/>
                    </a:lnTo>
                    <a:lnTo>
                      <a:pt x="94" y="297"/>
                    </a:lnTo>
                    <a:lnTo>
                      <a:pt x="94" y="300"/>
                    </a:lnTo>
                    <a:lnTo>
                      <a:pt x="86" y="303"/>
                    </a:lnTo>
                    <a:lnTo>
                      <a:pt x="73" y="310"/>
                    </a:lnTo>
                    <a:lnTo>
                      <a:pt x="68" y="312"/>
                    </a:lnTo>
                    <a:lnTo>
                      <a:pt x="58" y="310"/>
                    </a:lnTo>
                    <a:lnTo>
                      <a:pt x="40" y="297"/>
                    </a:lnTo>
                    <a:lnTo>
                      <a:pt x="33" y="287"/>
                    </a:lnTo>
                    <a:lnTo>
                      <a:pt x="33" y="287"/>
                    </a:lnTo>
                    <a:lnTo>
                      <a:pt x="30" y="287"/>
                    </a:lnTo>
                    <a:lnTo>
                      <a:pt x="26" y="285"/>
                    </a:lnTo>
                    <a:lnTo>
                      <a:pt x="16" y="275"/>
                    </a:lnTo>
                    <a:lnTo>
                      <a:pt x="15" y="272"/>
                    </a:lnTo>
                    <a:lnTo>
                      <a:pt x="16" y="270"/>
                    </a:lnTo>
                    <a:lnTo>
                      <a:pt x="20" y="269"/>
                    </a:lnTo>
                    <a:lnTo>
                      <a:pt x="20" y="270"/>
                    </a:lnTo>
                    <a:lnTo>
                      <a:pt x="23" y="270"/>
                    </a:lnTo>
                    <a:lnTo>
                      <a:pt x="23" y="275"/>
                    </a:lnTo>
                    <a:lnTo>
                      <a:pt x="26" y="275"/>
                    </a:lnTo>
                    <a:lnTo>
                      <a:pt x="30" y="274"/>
                    </a:lnTo>
                    <a:lnTo>
                      <a:pt x="31" y="274"/>
                    </a:lnTo>
                    <a:lnTo>
                      <a:pt x="33" y="275"/>
                    </a:lnTo>
                    <a:lnTo>
                      <a:pt x="35" y="272"/>
                    </a:lnTo>
                    <a:lnTo>
                      <a:pt x="45" y="265"/>
                    </a:lnTo>
                    <a:lnTo>
                      <a:pt x="48" y="265"/>
                    </a:lnTo>
                    <a:lnTo>
                      <a:pt x="51" y="259"/>
                    </a:lnTo>
                    <a:lnTo>
                      <a:pt x="53" y="259"/>
                    </a:lnTo>
                    <a:lnTo>
                      <a:pt x="54" y="255"/>
                    </a:lnTo>
                    <a:lnTo>
                      <a:pt x="50" y="255"/>
                    </a:lnTo>
                    <a:lnTo>
                      <a:pt x="50" y="254"/>
                    </a:lnTo>
                    <a:lnTo>
                      <a:pt x="50" y="255"/>
                    </a:lnTo>
                    <a:lnTo>
                      <a:pt x="50" y="257"/>
                    </a:lnTo>
                    <a:lnTo>
                      <a:pt x="40" y="262"/>
                    </a:lnTo>
                    <a:lnTo>
                      <a:pt x="33" y="262"/>
                    </a:lnTo>
                    <a:lnTo>
                      <a:pt x="28" y="262"/>
                    </a:lnTo>
                    <a:lnTo>
                      <a:pt x="13" y="257"/>
                    </a:lnTo>
                    <a:lnTo>
                      <a:pt x="5" y="250"/>
                    </a:lnTo>
                    <a:lnTo>
                      <a:pt x="1" y="249"/>
                    </a:lnTo>
                    <a:lnTo>
                      <a:pt x="3" y="245"/>
                    </a:lnTo>
                    <a:lnTo>
                      <a:pt x="8" y="239"/>
                    </a:lnTo>
                    <a:lnTo>
                      <a:pt x="13" y="237"/>
                    </a:lnTo>
                    <a:lnTo>
                      <a:pt x="6" y="237"/>
                    </a:lnTo>
                    <a:lnTo>
                      <a:pt x="0" y="242"/>
                    </a:lnTo>
                    <a:lnTo>
                      <a:pt x="0" y="235"/>
                    </a:lnTo>
                    <a:lnTo>
                      <a:pt x="5" y="232"/>
                    </a:lnTo>
                    <a:lnTo>
                      <a:pt x="8" y="232"/>
                    </a:lnTo>
                    <a:lnTo>
                      <a:pt x="10" y="227"/>
                    </a:lnTo>
                    <a:lnTo>
                      <a:pt x="13" y="227"/>
                    </a:lnTo>
                    <a:lnTo>
                      <a:pt x="18" y="225"/>
                    </a:lnTo>
                    <a:lnTo>
                      <a:pt x="35" y="225"/>
                    </a:lnTo>
                    <a:lnTo>
                      <a:pt x="43" y="224"/>
                    </a:lnTo>
                    <a:lnTo>
                      <a:pt x="46" y="220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51" y="225"/>
                    </a:lnTo>
                    <a:lnTo>
                      <a:pt x="56" y="222"/>
                    </a:lnTo>
                    <a:lnTo>
                      <a:pt x="61" y="220"/>
                    </a:lnTo>
                    <a:lnTo>
                      <a:pt x="59" y="219"/>
                    </a:lnTo>
                    <a:lnTo>
                      <a:pt x="59" y="215"/>
                    </a:lnTo>
                    <a:lnTo>
                      <a:pt x="54" y="202"/>
                    </a:lnTo>
                    <a:lnTo>
                      <a:pt x="50" y="196"/>
                    </a:lnTo>
                    <a:lnTo>
                      <a:pt x="51" y="192"/>
                    </a:lnTo>
                    <a:lnTo>
                      <a:pt x="48" y="191"/>
                    </a:lnTo>
                    <a:lnTo>
                      <a:pt x="43" y="191"/>
                    </a:lnTo>
                    <a:lnTo>
                      <a:pt x="36" y="186"/>
                    </a:lnTo>
                    <a:lnTo>
                      <a:pt x="35" y="179"/>
                    </a:lnTo>
                    <a:lnTo>
                      <a:pt x="35" y="172"/>
                    </a:lnTo>
                    <a:lnTo>
                      <a:pt x="31" y="166"/>
                    </a:lnTo>
                    <a:lnTo>
                      <a:pt x="26" y="166"/>
                    </a:lnTo>
                    <a:lnTo>
                      <a:pt x="25" y="167"/>
                    </a:lnTo>
                    <a:lnTo>
                      <a:pt x="18" y="166"/>
                    </a:lnTo>
                    <a:lnTo>
                      <a:pt x="15" y="166"/>
                    </a:lnTo>
                    <a:lnTo>
                      <a:pt x="15" y="161"/>
                    </a:lnTo>
                    <a:lnTo>
                      <a:pt x="18" y="151"/>
                    </a:lnTo>
                    <a:lnTo>
                      <a:pt x="21" y="151"/>
                    </a:lnTo>
                    <a:lnTo>
                      <a:pt x="28" y="142"/>
                    </a:lnTo>
                    <a:lnTo>
                      <a:pt x="30" y="137"/>
                    </a:lnTo>
                    <a:lnTo>
                      <a:pt x="35" y="136"/>
                    </a:lnTo>
                    <a:lnTo>
                      <a:pt x="36" y="134"/>
                    </a:lnTo>
                    <a:lnTo>
                      <a:pt x="43" y="136"/>
                    </a:lnTo>
                    <a:lnTo>
                      <a:pt x="43" y="141"/>
                    </a:lnTo>
                    <a:lnTo>
                      <a:pt x="46" y="141"/>
                    </a:lnTo>
                    <a:lnTo>
                      <a:pt x="56" y="136"/>
                    </a:lnTo>
                    <a:lnTo>
                      <a:pt x="68" y="136"/>
                    </a:lnTo>
                    <a:lnTo>
                      <a:pt x="76" y="127"/>
                    </a:lnTo>
                    <a:lnTo>
                      <a:pt x="81" y="116"/>
                    </a:lnTo>
                    <a:lnTo>
                      <a:pt x="93" y="107"/>
                    </a:lnTo>
                    <a:lnTo>
                      <a:pt x="94" y="104"/>
                    </a:lnTo>
                    <a:lnTo>
                      <a:pt x="96" y="96"/>
                    </a:lnTo>
                    <a:lnTo>
                      <a:pt x="101" y="89"/>
                    </a:lnTo>
                    <a:lnTo>
                      <a:pt x="109" y="86"/>
                    </a:lnTo>
                    <a:lnTo>
                      <a:pt x="113" y="81"/>
                    </a:lnTo>
                    <a:lnTo>
                      <a:pt x="111" y="76"/>
                    </a:lnTo>
                    <a:lnTo>
                      <a:pt x="109" y="74"/>
                    </a:lnTo>
                    <a:lnTo>
                      <a:pt x="116" y="68"/>
                    </a:lnTo>
                    <a:lnTo>
                      <a:pt x="119" y="64"/>
                    </a:lnTo>
                    <a:lnTo>
                      <a:pt x="119" y="59"/>
                    </a:lnTo>
                    <a:lnTo>
                      <a:pt x="121" y="48"/>
                    </a:lnTo>
                    <a:lnTo>
                      <a:pt x="119" y="41"/>
                    </a:lnTo>
                    <a:lnTo>
                      <a:pt x="118" y="38"/>
                    </a:lnTo>
                    <a:lnTo>
                      <a:pt x="126" y="33"/>
                    </a:lnTo>
                    <a:lnTo>
                      <a:pt x="129" y="31"/>
                    </a:lnTo>
                    <a:lnTo>
                      <a:pt x="134" y="28"/>
                    </a:lnTo>
                    <a:lnTo>
                      <a:pt x="138" y="28"/>
                    </a:lnTo>
                    <a:lnTo>
                      <a:pt x="144" y="23"/>
                    </a:lnTo>
                    <a:lnTo>
                      <a:pt x="151" y="11"/>
                    </a:lnTo>
                    <a:lnTo>
                      <a:pt x="157" y="6"/>
                    </a:lnTo>
                    <a:lnTo>
                      <a:pt x="164" y="5"/>
                    </a:lnTo>
                    <a:lnTo>
                      <a:pt x="167" y="0"/>
                    </a:lnTo>
                    <a:lnTo>
                      <a:pt x="172" y="0"/>
                    </a:lnTo>
                    <a:lnTo>
                      <a:pt x="186" y="8"/>
                    </a:lnTo>
                    <a:lnTo>
                      <a:pt x="192" y="5"/>
                    </a:lnTo>
                    <a:lnTo>
                      <a:pt x="199" y="6"/>
                    </a:lnTo>
                    <a:lnTo>
                      <a:pt x="201" y="13"/>
                    </a:lnTo>
                    <a:lnTo>
                      <a:pt x="207" y="13"/>
                    </a:lnTo>
                    <a:lnTo>
                      <a:pt x="217" y="18"/>
                    </a:lnTo>
                    <a:lnTo>
                      <a:pt x="217" y="18"/>
                    </a:lnTo>
                    <a:lnTo>
                      <a:pt x="217" y="18"/>
                    </a:lnTo>
                    <a:close/>
                    <a:moveTo>
                      <a:pt x="493" y="284"/>
                    </a:moveTo>
                    <a:lnTo>
                      <a:pt x="493" y="289"/>
                    </a:lnTo>
                    <a:lnTo>
                      <a:pt x="495" y="287"/>
                    </a:lnTo>
                    <a:lnTo>
                      <a:pt x="493" y="284"/>
                    </a:lnTo>
                    <a:lnTo>
                      <a:pt x="493" y="284"/>
                    </a:lnTo>
                    <a:close/>
                    <a:moveTo>
                      <a:pt x="490" y="282"/>
                    </a:moveTo>
                    <a:lnTo>
                      <a:pt x="486" y="284"/>
                    </a:lnTo>
                    <a:lnTo>
                      <a:pt x="488" y="287"/>
                    </a:lnTo>
                    <a:lnTo>
                      <a:pt x="490" y="287"/>
                    </a:lnTo>
                    <a:lnTo>
                      <a:pt x="490" y="285"/>
                    </a:lnTo>
                    <a:lnTo>
                      <a:pt x="490" y="282"/>
                    </a:lnTo>
                    <a:lnTo>
                      <a:pt x="490" y="282"/>
                    </a:lnTo>
                    <a:close/>
                    <a:moveTo>
                      <a:pt x="483" y="284"/>
                    </a:moveTo>
                    <a:lnTo>
                      <a:pt x="483" y="287"/>
                    </a:lnTo>
                    <a:lnTo>
                      <a:pt x="486" y="290"/>
                    </a:lnTo>
                    <a:lnTo>
                      <a:pt x="486" y="285"/>
                    </a:lnTo>
                    <a:lnTo>
                      <a:pt x="483" y="284"/>
                    </a:lnTo>
                    <a:lnTo>
                      <a:pt x="483" y="284"/>
                    </a:lnTo>
                    <a:close/>
                    <a:moveTo>
                      <a:pt x="476" y="285"/>
                    </a:moveTo>
                    <a:lnTo>
                      <a:pt x="476" y="287"/>
                    </a:lnTo>
                    <a:lnTo>
                      <a:pt x="478" y="287"/>
                    </a:lnTo>
                    <a:lnTo>
                      <a:pt x="481" y="280"/>
                    </a:lnTo>
                    <a:lnTo>
                      <a:pt x="480" y="279"/>
                    </a:lnTo>
                    <a:lnTo>
                      <a:pt x="476" y="2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0" name="Freeform 26">
                <a:extLst>
                  <a:ext uri="{FF2B5EF4-FFF2-40B4-BE49-F238E27FC236}">
                    <a16:creationId xmlns:a16="http://schemas.microsoft.com/office/drawing/2014/main" id="{EB1D9B8D-D412-CC4B-B84A-01217F8E20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43056" y="2949099"/>
                <a:ext cx="66355" cy="75744"/>
              </a:xfrm>
              <a:custGeom>
                <a:avLst/>
                <a:gdLst/>
                <a:ahLst/>
                <a:cxnLst>
                  <a:cxn ang="0">
                    <a:pos x="121" y="129"/>
                  </a:cxn>
                  <a:cxn ang="0">
                    <a:pos x="113" y="138"/>
                  </a:cxn>
                  <a:cxn ang="0">
                    <a:pos x="115" y="144"/>
                  </a:cxn>
                  <a:cxn ang="0">
                    <a:pos x="106" y="133"/>
                  </a:cxn>
                  <a:cxn ang="0">
                    <a:pos x="105" y="124"/>
                  </a:cxn>
                  <a:cxn ang="0">
                    <a:pos x="100" y="126"/>
                  </a:cxn>
                  <a:cxn ang="0">
                    <a:pos x="101" y="114"/>
                  </a:cxn>
                  <a:cxn ang="0">
                    <a:pos x="91" y="94"/>
                  </a:cxn>
                  <a:cxn ang="0">
                    <a:pos x="86" y="94"/>
                  </a:cxn>
                  <a:cxn ang="0">
                    <a:pos x="73" y="93"/>
                  </a:cxn>
                  <a:cxn ang="0">
                    <a:pos x="65" y="83"/>
                  </a:cxn>
                  <a:cxn ang="0">
                    <a:pos x="68" y="96"/>
                  </a:cxn>
                  <a:cxn ang="0">
                    <a:pos x="68" y="104"/>
                  </a:cxn>
                  <a:cxn ang="0">
                    <a:pos x="60" y="118"/>
                  </a:cxn>
                  <a:cxn ang="0">
                    <a:pos x="60" y="111"/>
                  </a:cxn>
                  <a:cxn ang="0">
                    <a:pos x="55" y="116"/>
                  </a:cxn>
                  <a:cxn ang="0">
                    <a:pos x="55" y="103"/>
                  </a:cxn>
                  <a:cxn ang="0">
                    <a:pos x="52" y="106"/>
                  </a:cxn>
                  <a:cxn ang="0">
                    <a:pos x="53" y="114"/>
                  </a:cxn>
                  <a:cxn ang="0">
                    <a:pos x="50" y="119"/>
                  </a:cxn>
                  <a:cxn ang="0">
                    <a:pos x="43" y="121"/>
                  </a:cxn>
                  <a:cxn ang="0">
                    <a:pos x="37" y="116"/>
                  </a:cxn>
                  <a:cxn ang="0">
                    <a:pos x="33" y="106"/>
                  </a:cxn>
                  <a:cxn ang="0">
                    <a:pos x="25" y="84"/>
                  </a:cxn>
                  <a:cxn ang="0">
                    <a:pos x="23" y="68"/>
                  </a:cxn>
                  <a:cxn ang="0">
                    <a:pos x="5" y="53"/>
                  </a:cxn>
                  <a:cxn ang="0">
                    <a:pos x="12" y="36"/>
                  </a:cxn>
                  <a:cxn ang="0">
                    <a:pos x="22" y="35"/>
                  </a:cxn>
                  <a:cxn ang="0">
                    <a:pos x="15" y="25"/>
                  </a:cxn>
                  <a:cxn ang="0">
                    <a:pos x="0" y="18"/>
                  </a:cxn>
                  <a:cxn ang="0">
                    <a:pos x="5" y="5"/>
                  </a:cxn>
                  <a:cxn ang="0">
                    <a:pos x="8" y="0"/>
                  </a:cxn>
                  <a:cxn ang="0">
                    <a:pos x="13" y="8"/>
                  </a:cxn>
                  <a:cxn ang="0">
                    <a:pos x="23" y="11"/>
                  </a:cxn>
                  <a:cxn ang="0">
                    <a:pos x="23" y="6"/>
                  </a:cxn>
                  <a:cxn ang="0">
                    <a:pos x="35" y="13"/>
                  </a:cxn>
                  <a:cxn ang="0">
                    <a:pos x="40" y="16"/>
                  </a:cxn>
                  <a:cxn ang="0">
                    <a:pos x="43" y="28"/>
                  </a:cxn>
                  <a:cxn ang="0">
                    <a:pos x="53" y="33"/>
                  </a:cxn>
                  <a:cxn ang="0">
                    <a:pos x="73" y="35"/>
                  </a:cxn>
                  <a:cxn ang="0">
                    <a:pos x="93" y="35"/>
                  </a:cxn>
                  <a:cxn ang="0">
                    <a:pos x="103" y="40"/>
                  </a:cxn>
                  <a:cxn ang="0">
                    <a:pos x="101" y="49"/>
                  </a:cxn>
                  <a:cxn ang="0">
                    <a:pos x="95" y="61"/>
                  </a:cxn>
                  <a:cxn ang="0">
                    <a:pos x="88" y="61"/>
                  </a:cxn>
                  <a:cxn ang="0">
                    <a:pos x="81" y="69"/>
                  </a:cxn>
                  <a:cxn ang="0">
                    <a:pos x="86" y="79"/>
                  </a:cxn>
                  <a:cxn ang="0">
                    <a:pos x="95" y="89"/>
                  </a:cxn>
                  <a:cxn ang="0">
                    <a:pos x="96" y="84"/>
                  </a:cxn>
                  <a:cxn ang="0">
                    <a:pos x="100" y="78"/>
                  </a:cxn>
                  <a:cxn ang="0">
                    <a:pos x="105" y="76"/>
                  </a:cxn>
                  <a:cxn ang="0">
                    <a:pos x="111" y="81"/>
                  </a:cxn>
                  <a:cxn ang="0">
                    <a:pos x="115" y="94"/>
                  </a:cxn>
                  <a:cxn ang="0">
                    <a:pos x="120" y="113"/>
                  </a:cxn>
                  <a:cxn ang="0">
                    <a:pos x="123" y="118"/>
                  </a:cxn>
                  <a:cxn ang="0">
                    <a:pos x="90" y="101"/>
                  </a:cxn>
                  <a:cxn ang="0">
                    <a:pos x="88" y="106"/>
                  </a:cxn>
                  <a:cxn ang="0">
                    <a:pos x="90" y="101"/>
                  </a:cxn>
                  <a:cxn ang="0">
                    <a:pos x="80" y="108"/>
                  </a:cxn>
                  <a:cxn ang="0">
                    <a:pos x="83" y="103"/>
                  </a:cxn>
                  <a:cxn ang="0">
                    <a:pos x="78" y="99"/>
                  </a:cxn>
                  <a:cxn ang="0">
                    <a:pos x="68" y="99"/>
                  </a:cxn>
                  <a:cxn ang="0">
                    <a:pos x="77" y="108"/>
                  </a:cxn>
                </a:cxnLst>
                <a:rect l="0" t="0" r="r" b="b"/>
                <a:pathLst>
                  <a:path w="123" h="146">
                    <a:moveTo>
                      <a:pt x="123" y="119"/>
                    </a:moveTo>
                    <a:lnTo>
                      <a:pt x="123" y="124"/>
                    </a:lnTo>
                    <a:lnTo>
                      <a:pt x="121" y="129"/>
                    </a:lnTo>
                    <a:lnTo>
                      <a:pt x="118" y="128"/>
                    </a:lnTo>
                    <a:lnTo>
                      <a:pt x="115" y="134"/>
                    </a:lnTo>
                    <a:lnTo>
                      <a:pt x="113" y="138"/>
                    </a:lnTo>
                    <a:lnTo>
                      <a:pt x="113" y="139"/>
                    </a:lnTo>
                    <a:lnTo>
                      <a:pt x="113" y="139"/>
                    </a:lnTo>
                    <a:lnTo>
                      <a:pt x="115" y="144"/>
                    </a:lnTo>
                    <a:lnTo>
                      <a:pt x="113" y="146"/>
                    </a:lnTo>
                    <a:lnTo>
                      <a:pt x="110" y="138"/>
                    </a:lnTo>
                    <a:lnTo>
                      <a:pt x="106" y="133"/>
                    </a:lnTo>
                    <a:lnTo>
                      <a:pt x="103" y="129"/>
                    </a:lnTo>
                    <a:lnTo>
                      <a:pt x="105" y="128"/>
                    </a:lnTo>
                    <a:lnTo>
                      <a:pt x="105" y="124"/>
                    </a:lnTo>
                    <a:lnTo>
                      <a:pt x="105" y="126"/>
                    </a:lnTo>
                    <a:lnTo>
                      <a:pt x="101" y="128"/>
                    </a:lnTo>
                    <a:lnTo>
                      <a:pt x="100" y="126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1" y="114"/>
                    </a:lnTo>
                    <a:lnTo>
                      <a:pt x="101" y="111"/>
                    </a:lnTo>
                    <a:lnTo>
                      <a:pt x="98" y="109"/>
                    </a:lnTo>
                    <a:lnTo>
                      <a:pt x="91" y="94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6" y="94"/>
                    </a:lnTo>
                    <a:lnTo>
                      <a:pt x="83" y="98"/>
                    </a:lnTo>
                    <a:lnTo>
                      <a:pt x="75" y="93"/>
                    </a:lnTo>
                    <a:lnTo>
                      <a:pt x="73" y="93"/>
                    </a:lnTo>
                    <a:lnTo>
                      <a:pt x="70" y="93"/>
                    </a:lnTo>
                    <a:lnTo>
                      <a:pt x="67" y="88"/>
                    </a:lnTo>
                    <a:lnTo>
                      <a:pt x="65" y="83"/>
                    </a:lnTo>
                    <a:lnTo>
                      <a:pt x="65" y="89"/>
                    </a:lnTo>
                    <a:lnTo>
                      <a:pt x="68" y="94"/>
                    </a:lnTo>
                    <a:lnTo>
                      <a:pt x="68" y="96"/>
                    </a:lnTo>
                    <a:lnTo>
                      <a:pt x="63" y="98"/>
                    </a:lnTo>
                    <a:lnTo>
                      <a:pt x="67" y="99"/>
                    </a:lnTo>
                    <a:lnTo>
                      <a:pt x="68" y="104"/>
                    </a:lnTo>
                    <a:lnTo>
                      <a:pt x="68" y="109"/>
                    </a:lnTo>
                    <a:lnTo>
                      <a:pt x="63" y="111"/>
                    </a:lnTo>
                    <a:lnTo>
                      <a:pt x="60" y="118"/>
                    </a:lnTo>
                    <a:lnTo>
                      <a:pt x="57" y="116"/>
                    </a:lnTo>
                    <a:lnTo>
                      <a:pt x="58" y="113"/>
                    </a:lnTo>
                    <a:lnTo>
                      <a:pt x="60" y="111"/>
                    </a:lnTo>
                    <a:lnTo>
                      <a:pt x="62" y="109"/>
                    </a:lnTo>
                    <a:lnTo>
                      <a:pt x="58" y="111"/>
                    </a:lnTo>
                    <a:lnTo>
                      <a:pt x="55" y="116"/>
                    </a:lnTo>
                    <a:lnTo>
                      <a:pt x="52" y="111"/>
                    </a:lnTo>
                    <a:lnTo>
                      <a:pt x="55" y="104"/>
                    </a:lnTo>
                    <a:lnTo>
                      <a:pt x="55" y="103"/>
                    </a:lnTo>
                    <a:lnTo>
                      <a:pt x="53" y="101"/>
                    </a:lnTo>
                    <a:lnTo>
                      <a:pt x="53" y="103"/>
                    </a:lnTo>
                    <a:lnTo>
                      <a:pt x="52" y="106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3" y="114"/>
                    </a:lnTo>
                    <a:lnTo>
                      <a:pt x="52" y="119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47" y="118"/>
                    </a:lnTo>
                    <a:lnTo>
                      <a:pt x="43" y="118"/>
                    </a:lnTo>
                    <a:lnTo>
                      <a:pt x="43" y="121"/>
                    </a:lnTo>
                    <a:lnTo>
                      <a:pt x="40" y="121"/>
                    </a:lnTo>
                    <a:lnTo>
                      <a:pt x="40" y="119"/>
                    </a:lnTo>
                    <a:lnTo>
                      <a:pt x="37" y="116"/>
                    </a:lnTo>
                    <a:lnTo>
                      <a:pt x="35" y="116"/>
                    </a:lnTo>
                    <a:lnTo>
                      <a:pt x="35" y="109"/>
                    </a:lnTo>
                    <a:lnTo>
                      <a:pt x="33" y="106"/>
                    </a:lnTo>
                    <a:lnTo>
                      <a:pt x="32" y="99"/>
                    </a:lnTo>
                    <a:lnTo>
                      <a:pt x="25" y="91"/>
                    </a:lnTo>
                    <a:lnTo>
                      <a:pt x="25" y="84"/>
                    </a:lnTo>
                    <a:lnTo>
                      <a:pt x="25" y="79"/>
                    </a:lnTo>
                    <a:lnTo>
                      <a:pt x="23" y="74"/>
                    </a:lnTo>
                    <a:lnTo>
                      <a:pt x="23" y="68"/>
                    </a:lnTo>
                    <a:lnTo>
                      <a:pt x="17" y="61"/>
                    </a:lnTo>
                    <a:lnTo>
                      <a:pt x="10" y="58"/>
                    </a:lnTo>
                    <a:lnTo>
                      <a:pt x="5" y="53"/>
                    </a:lnTo>
                    <a:lnTo>
                      <a:pt x="5" y="44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5"/>
                    </a:lnTo>
                    <a:lnTo>
                      <a:pt x="18" y="36"/>
                    </a:lnTo>
                    <a:lnTo>
                      <a:pt x="22" y="35"/>
                    </a:lnTo>
                    <a:lnTo>
                      <a:pt x="20" y="28"/>
                    </a:lnTo>
                    <a:lnTo>
                      <a:pt x="22" y="25"/>
                    </a:lnTo>
                    <a:lnTo>
                      <a:pt x="15" y="25"/>
                    </a:lnTo>
                    <a:lnTo>
                      <a:pt x="10" y="26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5" y="13"/>
                    </a:lnTo>
                    <a:lnTo>
                      <a:pt x="7" y="6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3" y="5"/>
                    </a:lnTo>
                    <a:lnTo>
                      <a:pt x="13" y="8"/>
                    </a:lnTo>
                    <a:lnTo>
                      <a:pt x="17" y="11"/>
                    </a:lnTo>
                    <a:lnTo>
                      <a:pt x="22" y="11"/>
                    </a:lnTo>
                    <a:lnTo>
                      <a:pt x="23" y="11"/>
                    </a:lnTo>
                    <a:lnTo>
                      <a:pt x="20" y="10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7" y="10"/>
                    </a:lnTo>
                    <a:lnTo>
                      <a:pt x="30" y="11"/>
                    </a:lnTo>
                    <a:lnTo>
                      <a:pt x="35" y="13"/>
                    </a:lnTo>
                    <a:lnTo>
                      <a:pt x="35" y="11"/>
                    </a:lnTo>
                    <a:lnTo>
                      <a:pt x="37" y="11"/>
                    </a:lnTo>
                    <a:lnTo>
                      <a:pt x="40" y="16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3" y="28"/>
                    </a:lnTo>
                    <a:lnTo>
                      <a:pt x="43" y="31"/>
                    </a:lnTo>
                    <a:lnTo>
                      <a:pt x="48" y="33"/>
                    </a:lnTo>
                    <a:lnTo>
                      <a:pt x="53" y="33"/>
                    </a:lnTo>
                    <a:lnTo>
                      <a:pt x="58" y="35"/>
                    </a:lnTo>
                    <a:lnTo>
                      <a:pt x="65" y="35"/>
                    </a:lnTo>
                    <a:lnTo>
                      <a:pt x="73" y="35"/>
                    </a:lnTo>
                    <a:lnTo>
                      <a:pt x="81" y="35"/>
                    </a:lnTo>
                    <a:lnTo>
                      <a:pt x="90" y="35"/>
                    </a:lnTo>
                    <a:lnTo>
                      <a:pt x="93" y="35"/>
                    </a:lnTo>
                    <a:lnTo>
                      <a:pt x="95" y="36"/>
                    </a:lnTo>
                    <a:lnTo>
                      <a:pt x="98" y="35"/>
                    </a:lnTo>
                    <a:lnTo>
                      <a:pt x="103" y="40"/>
                    </a:lnTo>
                    <a:lnTo>
                      <a:pt x="105" y="40"/>
                    </a:lnTo>
                    <a:lnTo>
                      <a:pt x="101" y="44"/>
                    </a:lnTo>
                    <a:lnTo>
                      <a:pt x="101" y="49"/>
                    </a:lnTo>
                    <a:lnTo>
                      <a:pt x="98" y="58"/>
                    </a:lnTo>
                    <a:lnTo>
                      <a:pt x="95" y="59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0" y="63"/>
                    </a:lnTo>
                    <a:lnTo>
                      <a:pt x="88" y="61"/>
                    </a:lnTo>
                    <a:lnTo>
                      <a:pt x="85" y="64"/>
                    </a:lnTo>
                    <a:lnTo>
                      <a:pt x="83" y="68"/>
                    </a:lnTo>
                    <a:lnTo>
                      <a:pt x="81" y="69"/>
                    </a:lnTo>
                    <a:lnTo>
                      <a:pt x="81" y="71"/>
                    </a:lnTo>
                    <a:lnTo>
                      <a:pt x="83" y="78"/>
                    </a:lnTo>
                    <a:lnTo>
                      <a:pt x="86" y="79"/>
                    </a:lnTo>
                    <a:lnTo>
                      <a:pt x="86" y="81"/>
                    </a:lnTo>
                    <a:lnTo>
                      <a:pt x="91" y="84"/>
                    </a:lnTo>
                    <a:lnTo>
                      <a:pt x="95" y="89"/>
                    </a:lnTo>
                    <a:lnTo>
                      <a:pt x="98" y="89"/>
                    </a:lnTo>
                    <a:lnTo>
                      <a:pt x="98" y="86"/>
                    </a:lnTo>
                    <a:lnTo>
                      <a:pt x="96" y="84"/>
                    </a:lnTo>
                    <a:lnTo>
                      <a:pt x="98" y="81"/>
                    </a:lnTo>
                    <a:lnTo>
                      <a:pt x="98" y="79"/>
                    </a:lnTo>
                    <a:lnTo>
                      <a:pt x="100" y="78"/>
                    </a:lnTo>
                    <a:lnTo>
                      <a:pt x="98" y="74"/>
                    </a:lnTo>
                    <a:lnTo>
                      <a:pt x="101" y="74"/>
                    </a:lnTo>
                    <a:lnTo>
                      <a:pt x="105" y="76"/>
                    </a:lnTo>
                    <a:lnTo>
                      <a:pt x="108" y="74"/>
                    </a:lnTo>
                    <a:lnTo>
                      <a:pt x="110" y="78"/>
                    </a:lnTo>
                    <a:lnTo>
                      <a:pt x="111" y="81"/>
                    </a:lnTo>
                    <a:lnTo>
                      <a:pt x="113" y="86"/>
                    </a:lnTo>
                    <a:lnTo>
                      <a:pt x="113" y="91"/>
                    </a:lnTo>
                    <a:lnTo>
                      <a:pt x="115" y="94"/>
                    </a:lnTo>
                    <a:lnTo>
                      <a:pt x="116" y="103"/>
                    </a:lnTo>
                    <a:lnTo>
                      <a:pt x="118" y="109"/>
                    </a:lnTo>
                    <a:lnTo>
                      <a:pt x="120" y="113"/>
                    </a:lnTo>
                    <a:lnTo>
                      <a:pt x="121" y="114"/>
                    </a:lnTo>
                    <a:lnTo>
                      <a:pt x="121" y="116"/>
                    </a:lnTo>
                    <a:lnTo>
                      <a:pt x="123" y="118"/>
                    </a:lnTo>
                    <a:lnTo>
                      <a:pt x="123" y="119"/>
                    </a:lnTo>
                    <a:lnTo>
                      <a:pt x="123" y="119"/>
                    </a:lnTo>
                    <a:close/>
                    <a:moveTo>
                      <a:pt x="90" y="101"/>
                    </a:moveTo>
                    <a:lnTo>
                      <a:pt x="88" y="99"/>
                    </a:lnTo>
                    <a:lnTo>
                      <a:pt x="86" y="101"/>
                    </a:lnTo>
                    <a:lnTo>
                      <a:pt x="88" y="106"/>
                    </a:lnTo>
                    <a:lnTo>
                      <a:pt x="90" y="104"/>
                    </a:lnTo>
                    <a:lnTo>
                      <a:pt x="90" y="101"/>
                    </a:lnTo>
                    <a:lnTo>
                      <a:pt x="90" y="101"/>
                    </a:lnTo>
                    <a:close/>
                    <a:moveTo>
                      <a:pt x="78" y="99"/>
                    </a:moveTo>
                    <a:lnTo>
                      <a:pt x="80" y="104"/>
                    </a:lnTo>
                    <a:lnTo>
                      <a:pt x="80" y="108"/>
                    </a:lnTo>
                    <a:lnTo>
                      <a:pt x="81" y="111"/>
                    </a:lnTo>
                    <a:lnTo>
                      <a:pt x="85" y="106"/>
                    </a:lnTo>
                    <a:lnTo>
                      <a:pt x="83" y="103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78" y="99"/>
                    </a:lnTo>
                    <a:lnTo>
                      <a:pt x="78" y="99"/>
                    </a:lnTo>
                    <a:close/>
                    <a:moveTo>
                      <a:pt x="73" y="98"/>
                    </a:moveTo>
                    <a:lnTo>
                      <a:pt x="68" y="99"/>
                    </a:lnTo>
                    <a:lnTo>
                      <a:pt x="68" y="101"/>
                    </a:lnTo>
                    <a:lnTo>
                      <a:pt x="72" y="108"/>
                    </a:lnTo>
                    <a:lnTo>
                      <a:pt x="77" y="108"/>
                    </a:lnTo>
                    <a:lnTo>
                      <a:pt x="77" y="101"/>
                    </a:lnTo>
                    <a:lnTo>
                      <a:pt x="73" y="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1" name="Freeform 27">
                <a:extLst>
                  <a:ext uri="{FF2B5EF4-FFF2-40B4-BE49-F238E27FC236}">
                    <a16:creationId xmlns:a16="http://schemas.microsoft.com/office/drawing/2014/main" id="{8614A64C-6AC2-AB43-BD47-EB7B5EA6C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9478" y="2928348"/>
                <a:ext cx="39599" cy="20752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6" y="16"/>
                  </a:cxn>
                  <a:cxn ang="0">
                    <a:pos x="11" y="8"/>
                  </a:cxn>
                  <a:cxn ang="0">
                    <a:pos x="23" y="1"/>
                  </a:cxn>
                  <a:cxn ang="0">
                    <a:pos x="31" y="0"/>
                  </a:cxn>
                  <a:cxn ang="0">
                    <a:pos x="33" y="3"/>
                  </a:cxn>
                  <a:cxn ang="0">
                    <a:pos x="45" y="5"/>
                  </a:cxn>
                  <a:cxn ang="0">
                    <a:pos x="50" y="6"/>
                  </a:cxn>
                  <a:cxn ang="0">
                    <a:pos x="56" y="5"/>
                  </a:cxn>
                  <a:cxn ang="0">
                    <a:pos x="63" y="5"/>
                  </a:cxn>
                  <a:cxn ang="0">
                    <a:pos x="66" y="10"/>
                  </a:cxn>
                  <a:cxn ang="0">
                    <a:pos x="68" y="10"/>
                  </a:cxn>
                  <a:cxn ang="0">
                    <a:pos x="66" y="15"/>
                  </a:cxn>
                  <a:cxn ang="0">
                    <a:pos x="66" y="20"/>
                  </a:cxn>
                  <a:cxn ang="0">
                    <a:pos x="74" y="21"/>
                  </a:cxn>
                  <a:cxn ang="0">
                    <a:pos x="74" y="28"/>
                  </a:cxn>
                  <a:cxn ang="0">
                    <a:pos x="74" y="31"/>
                  </a:cxn>
                  <a:cxn ang="0">
                    <a:pos x="65" y="35"/>
                  </a:cxn>
                  <a:cxn ang="0">
                    <a:pos x="58" y="35"/>
                  </a:cxn>
                  <a:cxn ang="0">
                    <a:pos x="50" y="36"/>
                  </a:cxn>
                  <a:cxn ang="0">
                    <a:pos x="45" y="35"/>
                  </a:cxn>
                  <a:cxn ang="0">
                    <a:pos x="38" y="35"/>
                  </a:cxn>
                  <a:cxn ang="0">
                    <a:pos x="33" y="40"/>
                  </a:cxn>
                  <a:cxn ang="0">
                    <a:pos x="26" y="40"/>
                  </a:cxn>
                  <a:cxn ang="0">
                    <a:pos x="15" y="35"/>
                  </a:cxn>
                  <a:cxn ang="0">
                    <a:pos x="11" y="36"/>
                  </a:cxn>
                  <a:cxn ang="0">
                    <a:pos x="3" y="35"/>
                  </a:cxn>
                  <a:cxn ang="0">
                    <a:pos x="0" y="28"/>
                  </a:cxn>
                  <a:cxn ang="0">
                    <a:pos x="1" y="25"/>
                  </a:cxn>
                  <a:cxn ang="0">
                    <a:pos x="1" y="20"/>
                  </a:cxn>
                </a:cxnLst>
                <a:rect l="0" t="0" r="r" b="b"/>
                <a:pathLst>
                  <a:path w="74" h="40">
                    <a:moveTo>
                      <a:pt x="1" y="20"/>
                    </a:moveTo>
                    <a:lnTo>
                      <a:pt x="6" y="16"/>
                    </a:lnTo>
                    <a:lnTo>
                      <a:pt x="11" y="8"/>
                    </a:lnTo>
                    <a:lnTo>
                      <a:pt x="23" y="1"/>
                    </a:lnTo>
                    <a:lnTo>
                      <a:pt x="31" y="0"/>
                    </a:lnTo>
                    <a:lnTo>
                      <a:pt x="33" y="3"/>
                    </a:lnTo>
                    <a:lnTo>
                      <a:pt x="45" y="5"/>
                    </a:lnTo>
                    <a:lnTo>
                      <a:pt x="50" y="6"/>
                    </a:lnTo>
                    <a:lnTo>
                      <a:pt x="56" y="5"/>
                    </a:lnTo>
                    <a:lnTo>
                      <a:pt x="63" y="5"/>
                    </a:lnTo>
                    <a:lnTo>
                      <a:pt x="66" y="10"/>
                    </a:lnTo>
                    <a:lnTo>
                      <a:pt x="68" y="10"/>
                    </a:lnTo>
                    <a:lnTo>
                      <a:pt x="66" y="15"/>
                    </a:lnTo>
                    <a:lnTo>
                      <a:pt x="66" y="20"/>
                    </a:lnTo>
                    <a:lnTo>
                      <a:pt x="74" y="21"/>
                    </a:lnTo>
                    <a:lnTo>
                      <a:pt x="74" y="28"/>
                    </a:lnTo>
                    <a:lnTo>
                      <a:pt x="74" y="31"/>
                    </a:lnTo>
                    <a:lnTo>
                      <a:pt x="65" y="35"/>
                    </a:lnTo>
                    <a:lnTo>
                      <a:pt x="58" y="35"/>
                    </a:lnTo>
                    <a:lnTo>
                      <a:pt x="50" y="36"/>
                    </a:lnTo>
                    <a:lnTo>
                      <a:pt x="45" y="35"/>
                    </a:lnTo>
                    <a:lnTo>
                      <a:pt x="38" y="35"/>
                    </a:lnTo>
                    <a:lnTo>
                      <a:pt x="33" y="40"/>
                    </a:lnTo>
                    <a:lnTo>
                      <a:pt x="26" y="40"/>
                    </a:lnTo>
                    <a:lnTo>
                      <a:pt x="15" y="35"/>
                    </a:lnTo>
                    <a:lnTo>
                      <a:pt x="11" y="36"/>
                    </a:lnTo>
                    <a:lnTo>
                      <a:pt x="3" y="35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2" name="Freeform 28">
                <a:extLst>
                  <a:ext uri="{FF2B5EF4-FFF2-40B4-BE49-F238E27FC236}">
                    <a16:creationId xmlns:a16="http://schemas.microsoft.com/office/drawing/2014/main" id="{DBD4653D-94E9-524A-B939-BDDEFD778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34961" y="2902408"/>
                <a:ext cx="107025" cy="498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9" y="7"/>
                  </a:cxn>
                  <a:cxn ang="0">
                    <a:pos x="27" y="7"/>
                  </a:cxn>
                  <a:cxn ang="0">
                    <a:pos x="35" y="3"/>
                  </a:cxn>
                  <a:cxn ang="0">
                    <a:pos x="47" y="8"/>
                  </a:cxn>
                  <a:cxn ang="0">
                    <a:pos x="57" y="12"/>
                  </a:cxn>
                  <a:cxn ang="0">
                    <a:pos x="69" y="18"/>
                  </a:cxn>
                  <a:cxn ang="0">
                    <a:pos x="77" y="23"/>
                  </a:cxn>
                  <a:cxn ang="0">
                    <a:pos x="82" y="32"/>
                  </a:cxn>
                  <a:cxn ang="0">
                    <a:pos x="85" y="25"/>
                  </a:cxn>
                  <a:cxn ang="0">
                    <a:pos x="90" y="25"/>
                  </a:cxn>
                  <a:cxn ang="0">
                    <a:pos x="100" y="27"/>
                  </a:cxn>
                  <a:cxn ang="0">
                    <a:pos x="107" y="38"/>
                  </a:cxn>
                  <a:cxn ang="0">
                    <a:pos x="120" y="36"/>
                  </a:cxn>
                  <a:cxn ang="0">
                    <a:pos x="122" y="51"/>
                  </a:cxn>
                  <a:cxn ang="0">
                    <a:pos x="133" y="53"/>
                  </a:cxn>
                  <a:cxn ang="0">
                    <a:pos x="142" y="50"/>
                  </a:cxn>
                  <a:cxn ang="0">
                    <a:pos x="155" y="46"/>
                  </a:cxn>
                  <a:cxn ang="0">
                    <a:pos x="162" y="53"/>
                  </a:cxn>
                  <a:cxn ang="0">
                    <a:pos x="173" y="61"/>
                  </a:cxn>
                  <a:cxn ang="0">
                    <a:pos x="185" y="61"/>
                  </a:cxn>
                  <a:cxn ang="0">
                    <a:pos x="193" y="60"/>
                  </a:cxn>
                  <a:cxn ang="0">
                    <a:pos x="200" y="65"/>
                  </a:cxn>
                  <a:cxn ang="0">
                    <a:pos x="201" y="83"/>
                  </a:cxn>
                  <a:cxn ang="0">
                    <a:pos x="185" y="96"/>
                  </a:cxn>
                  <a:cxn ang="0">
                    <a:pos x="170" y="95"/>
                  </a:cxn>
                  <a:cxn ang="0">
                    <a:pos x="142" y="88"/>
                  </a:cxn>
                  <a:cxn ang="0">
                    <a:pos x="123" y="88"/>
                  </a:cxn>
                  <a:cxn ang="0">
                    <a:pos x="117" y="76"/>
                  </a:cxn>
                  <a:cxn ang="0">
                    <a:pos x="92" y="76"/>
                  </a:cxn>
                  <a:cxn ang="0">
                    <a:pos x="75" y="75"/>
                  </a:cxn>
                  <a:cxn ang="0">
                    <a:pos x="60" y="70"/>
                  </a:cxn>
                  <a:cxn ang="0">
                    <a:pos x="47" y="65"/>
                  </a:cxn>
                  <a:cxn ang="0">
                    <a:pos x="29" y="50"/>
                  </a:cxn>
                  <a:cxn ang="0">
                    <a:pos x="15" y="45"/>
                  </a:cxn>
                  <a:cxn ang="0">
                    <a:pos x="7" y="41"/>
                  </a:cxn>
                  <a:cxn ang="0">
                    <a:pos x="0" y="36"/>
                  </a:cxn>
                  <a:cxn ang="0">
                    <a:pos x="5" y="22"/>
                  </a:cxn>
                  <a:cxn ang="0">
                    <a:pos x="9" y="2"/>
                  </a:cxn>
                </a:cxnLst>
                <a:rect l="0" t="0" r="r" b="b"/>
                <a:pathLst>
                  <a:path w="201" h="96">
                    <a:moveTo>
                      <a:pt x="9" y="2"/>
                    </a:moveTo>
                    <a:lnTo>
                      <a:pt x="10" y="0"/>
                    </a:lnTo>
                    <a:lnTo>
                      <a:pt x="17" y="3"/>
                    </a:lnTo>
                    <a:lnTo>
                      <a:pt x="19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3"/>
                    </a:lnTo>
                    <a:lnTo>
                      <a:pt x="35" y="3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2" y="8"/>
                    </a:lnTo>
                    <a:lnTo>
                      <a:pt x="57" y="12"/>
                    </a:lnTo>
                    <a:lnTo>
                      <a:pt x="64" y="18"/>
                    </a:lnTo>
                    <a:lnTo>
                      <a:pt x="69" y="18"/>
                    </a:lnTo>
                    <a:lnTo>
                      <a:pt x="74" y="20"/>
                    </a:lnTo>
                    <a:lnTo>
                      <a:pt x="77" y="23"/>
                    </a:lnTo>
                    <a:lnTo>
                      <a:pt x="80" y="28"/>
                    </a:lnTo>
                    <a:lnTo>
                      <a:pt x="82" y="32"/>
                    </a:lnTo>
                    <a:lnTo>
                      <a:pt x="85" y="32"/>
                    </a:lnTo>
                    <a:lnTo>
                      <a:pt x="85" y="25"/>
                    </a:lnTo>
                    <a:lnTo>
                      <a:pt x="88" y="23"/>
                    </a:lnTo>
                    <a:lnTo>
                      <a:pt x="90" y="25"/>
                    </a:lnTo>
                    <a:lnTo>
                      <a:pt x="95" y="25"/>
                    </a:lnTo>
                    <a:lnTo>
                      <a:pt x="100" y="27"/>
                    </a:lnTo>
                    <a:lnTo>
                      <a:pt x="100" y="33"/>
                    </a:lnTo>
                    <a:lnTo>
                      <a:pt x="107" y="38"/>
                    </a:lnTo>
                    <a:lnTo>
                      <a:pt x="115" y="36"/>
                    </a:lnTo>
                    <a:lnTo>
                      <a:pt x="120" y="36"/>
                    </a:lnTo>
                    <a:lnTo>
                      <a:pt x="120" y="46"/>
                    </a:lnTo>
                    <a:lnTo>
                      <a:pt x="122" y="51"/>
                    </a:lnTo>
                    <a:lnTo>
                      <a:pt x="127" y="50"/>
                    </a:lnTo>
                    <a:lnTo>
                      <a:pt x="133" y="53"/>
                    </a:lnTo>
                    <a:lnTo>
                      <a:pt x="135" y="51"/>
                    </a:lnTo>
                    <a:lnTo>
                      <a:pt x="142" y="50"/>
                    </a:lnTo>
                    <a:lnTo>
                      <a:pt x="145" y="45"/>
                    </a:lnTo>
                    <a:lnTo>
                      <a:pt x="155" y="46"/>
                    </a:lnTo>
                    <a:lnTo>
                      <a:pt x="160" y="48"/>
                    </a:lnTo>
                    <a:lnTo>
                      <a:pt x="162" y="53"/>
                    </a:lnTo>
                    <a:lnTo>
                      <a:pt x="168" y="56"/>
                    </a:lnTo>
                    <a:lnTo>
                      <a:pt x="173" y="61"/>
                    </a:lnTo>
                    <a:lnTo>
                      <a:pt x="178" y="63"/>
                    </a:lnTo>
                    <a:lnTo>
                      <a:pt x="185" y="61"/>
                    </a:lnTo>
                    <a:lnTo>
                      <a:pt x="186" y="61"/>
                    </a:lnTo>
                    <a:lnTo>
                      <a:pt x="193" y="60"/>
                    </a:lnTo>
                    <a:lnTo>
                      <a:pt x="198" y="60"/>
                    </a:lnTo>
                    <a:lnTo>
                      <a:pt x="200" y="65"/>
                    </a:lnTo>
                    <a:lnTo>
                      <a:pt x="196" y="75"/>
                    </a:lnTo>
                    <a:lnTo>
                      <a:pt x="201" y="83"/>
                    </a:lnTo>
                    <a:lnTo>
                      <a:pt x="200" y="95"/>
                    </a:lnTo>
                    <a:lnTo>
                      <a:pt x="185" y="96"/>
                    </a:lnTo>
                    <a:lnTo>
                      <a:pt x="177" y="93"/>
                    </a:lnTo>
                    <a:lnTo>
                      <a:pt x="170" y="95"/>
                    </a:lnTo>
                    <a:lnTo>
                      <a:pt x="150" y="88"/>
                    </a:lnTo>
                    <a:lnTo>
                      <a:pt x="142" y="88"/>
                    </a:lnTo>
                    <a:lnTo>
                      <a:pt x="137" y="90"/>
                    </a:lnTo>
                    <a:lnTo>
                      <a:pt x="123" y="88"/>
                    </a:lnTo>
                    <a:lnTo>
                      <a:pt x="117" y="83"/>
                    </a:lnTo>
                    <a:lnTo>
                      <a:pt x="117" y="76"/>
                    </a:lnTo>
                    <a:lnTo>
                      <a:pt x="105" y="75"/>
                    </a:lnTo>
                    <a:lnTo>
                      <a:pt x="92" y="76"/>
                    </a:lnTo>
                    <a:lnTo>
                      <a:pt x="88" y="73"/>
                    </a:lnTo>
                    <a:lnTo>
                      <a:pt x="75" y="75"/>
                    </a:lnTo>
                    <a:lnTo>
                      <a:pt x="67" y="70"/>
                    </a:lnTo>
                    <a:lnTo>
                      <a:pt x="60" y="70"/>
                    </a:lnTo>
                    <a:lnTo>
                      <a:pt x="57" y="66"/>
                    </a:lnTo>
                    <a:lnTo>
                      <a:pt x="47" y="65"/>
                    </a:lnTo>
                    <a:lnTo>
                      <a:pt x="40" y="56"/>
                    </a:lnTo>
                    <a:lnTo>
                      <a:pt x="29" y="50"/>
                    </a:lnTo>
                    <a:lnTo>
                      <a:pt x="20" y="48"/>
                    </a:lnTo>
                    <a:lnTo>
                      <a:pt x="15" y="45"/>
                    </a:lnTo>
                    <a:lnTo>
                      <a:pt x="12" y="45"/>
                    </a:lnTo>
                    <a:lnTo>
                      <a:pt x="7" y="41"/>
                    </a:lnTo>
                    <a:lnTo>
                      <a:pt x="2" y="41"/>
                    </a:lnTo>
                    <a:lnTo>
                      <a:pt x="0" y="36"/>
                    </a:lnTo>
                    <a:lnTo>
                      <a:pt x="5" y="28"/>
                    </a:lnTo>
                    <a:lnTo>
                      <a:pt x="5" y="22"/>
                    </a:lnTo>
                    <a:lnTo>
                      <a:pt x="10" y="10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3" name="Freeform 29">
                <a:extLst>
                  <a:ext uri="{FF2B5EF4-FFF2-40B4-BE49-F238E27FC236}">
                    <a16:creationId xmlns:a16="http://schemas.microsoft.com/office/drawing/2014/main" id="{C3A46302-86CA-A144-A887-00643A383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7734" y="2818363"/>
                <a:ext cx="180872" cy="173278"/>
              </a:xfrm>
              <a:custGeom>
                <a:avLst/>
                <a:gdLst/>
                <a:ahLst/>
                <a:cxnLst>
                  <a:cxn ang="0">
                    <a:pos x="204" y="324"/>
                  </a:cxn>
                  <a:cxn ang="0">
                    <a:pos x="231" y="317"/>
                  </a:cxn>
                  <a:cxn ang="0">
                    <a:pos x="246" y="314"/>
                  </a:cxn>
                  <a:cxn ang="0">
                    <a:pos x="255" y="311"/>
                  </a:cxn>
                  <a:cxn ang="0">
                    <a:pos x="247" y="284"/>
                  </a:cxn>
                  <a:cxn ang="0">
                    <a:pos x="231" y="271"/>
                  </a:cxn>
                  <a:cxn ang="0">
                    <a:pos x="221" y="259"/>
                  </a:cxn>
                  <a:cxn ang="0">
                    <a:pos x="214" y="243"/>
                  </a:cxn>
                  <a:cxn ang="0">
                    <a:pos x="231" y="228"/>
                  </a:cxn>
                  <a:cxn ang="0">
                    <a:pos x="242" y="233"/>
                  </a:cxn>
                  <a:cxn ang="0">
                    <a:pos x="277" y="208"/>
                  </a:cxn>
                  <a:cxn ang="0">
                    <a:pos x="297" y="181"/>
                  </a:cxn>
                  <a:cxn ang="0">
                    <a:pos x="305" y="166"/>
                  </a:cxn>
                  <a:cxn ang="0">
                    <a:pos x="317" y="140"/>
                  </a:cxn>
                  <a:cxn ang="0">
                    <a:pos x="325" y="123"/>
                  </a:cxn>
                  <a:cxn ang="0">
                    <a:pos x="337" y="111"/>
                  </a:cxn>
                  <a:cxn ang="0">
                    <a:pos x="315" y="105"/>
                  </a:cxn>
                  <a:cxn ang="0">
                    <a:pos x="287" y="85"/>
                  </a:cxn>
                  <a:cxn ang="0">
                    <a:pos x="284" y="57"/>
                  </a:cxn>
                  <a:cxn ang="0">
                    <a:pos x="284" y="40"/>
                  </a:cxn>
                  <a:cxn ang="0">
                    <a:pos x="264" y="22"/>
                  </a:cxn>
                  <a:cxn ang="0">
                    <a:pos x="250" y="13"/>
                  </a:cxn>
                  <a:cxn ang="0">
                    <a:pos x="249" y="0"/>
                  </a:cxn>
                  <a:cxn ang="0">
                    <a:pos x="224" y="15"/>
                  </a:cxn>
                  <a:cxn ang="0">
                    <a:pos x="219" y="55"/>
                  </a:cxn>
                  <a:cxn ang="0">
                    <a:pos x="211" y="75"/>
                  </a:cxn>
                  <a:cxn ang="0">
                    <a:pos x="204" y="83"/>
                  </a:cxn>
                  <a:cxn ang="0">
                    <a:pos x="194" y="97"/>
                  </a:cxn>
                  <a:cxn ang="0">
                    <a:pos x="189" y="116"/>
                  </a:cxn>
                  <a:cxn ang="0">
                    <a:pos x="179" y="130"/>
                  </a:cxn>
                  <a:cxn ang="0">
                    <a:pos x="167" y="130"/>
                  </a:cxn>
                  <a:cxn ang="0">
                    <a:pos x="156" y="141"/>
                  </a:cxn>
                  <a:cxn ang="0">
                    <a:pos x="134" y="146"/>
                  </a:cxn>
                  <a:cxn ang="0">
                    <a:pos x="124" y="158"/>
                  </a:cxn>
                  <a:cxn ang="0">
                    <a:pos x="128" y="181"/>
                  </a:cxn>
                  <a:cxn ang="0">
                    <a:pos x="101" y="190"/>
                  </a:cxn>
                  <a:cxn ang="0">
                    <a:pos x="69" y="193"/>
                  </a:cxn>
                  <a:cxn ang="0">
                    <a:pos x="0" y="188"/>
                  </a:cxn>
                  <a:cxn ang="0">
                    <a:pos x="28" y="218"/>
                  </a:cxn>
                  <a:cxn ang="0">
                    <a:pos x="43" y="224"/>
                  </a:cxn>
                  <a:cxn ang="0">
                    <a:pos x="53" y="243"/>
                  </a:cxn>
                  <a:cxn ang="0">
                    <a:pos x="66" y="259"/>
                  </a:cxn>
                  <a:cxn ang="0">
                    <a:pos x="43" y="266"/>
                  </a:cxn>
                  <a:cxn ang="0">
                    <a:pos x="30" y="281"/>
                  </a:cxn>
                  <a:cxn ang="0">
                    <a:pos x="35" y="297"/>
                  </a:cxn>
                  <a:cxn ang="0">
                    <a:pos x="48" y="297"/>
                  </a:cxn>
                  <a:cxn ang="0">
                    <a:pos x="59" y="296"/>
                  </a:cxn>
                  <a:cxn ang="0">
                    <a:pos x="71" y="296"/>
                  </a:cxn>
                  <a:cxn ang="0">
                    <a:pos x="83" y="294"/>
                  </a:cxn>
                  <a:cxn ang="0">
                    <a:pos x="91" y="296"/>
                  </a:cxn>
                  <a:cxn ang="0">
                    <a:pos x="109" y="293"/>
                  </a:cxn>
                  <a:cxn ang="0">
                    <a:pos x="123" y="289"/>
                  </a:cxn>
                  <a:cxn ang="0">
                    <a:pos x="144" y="289"/>
                  </a:cxn>
                  <a:cxn ang="0">
                    <a:pos x="151" y="302"/>
                  </a:cxn>
                  <a:cxn ang="0">
                    <a:pos x="161" y="302"/>
                  </a:cxn>
                  <a:cxn ang="0">
                    <a:pos x="169" y="321"/>
                  </a:cxn>
                  <a:cxn ang="0">
                    <a:pos x="171" y="326"/>
                  </a:cxn>
                  <a:cxn ang="0">
                    <a:pos x="192" y="332"/>
                  </a:cxn>
                </a:cxnLst>
                <a:rect l="0" t="0" r="r" b="b"/>
                <a:pathLst>
                  <a:path w="339" h="336">
                    <a:moveTo>
                      <a:pt x="196" y="334"/>
                    </a:moveTo>
                    <a:lnTo>
                      <a:pt x="196" y="327"/>
                    </a:lnTo>
                    <a:lnTo>
                      <a:pt x="201" y="324"/>
                    </a:lnTo>
                    <a:lnTo>
                      <a:pt x="204" y="324"/>
                    </a:lnTo>
                    <a:lnTo>
                      <a:pt x="206" y="319"/>
                    </a:lnTo>
                    <a:lnTo>
                      <a:pt x="209" y="319"/>
                    </a:lnTo>
                    <a:lnTo>
                      <a:pt x="214" y="317"/>
                    </a:lnTo>
                    <a:lnTo>
                      <a:pt x="231" y="317"/>
                    </a:lnTo>
                    <a:lnTo>
                      <a:pt x="239" y="316"/>
                    </a:lnTo>
                    <a:lnTo>
                      <a:pt x="242" y="312"/>
                    </a:lnTo>
                    <a:lnTo>
                      <a:pt x="247" y="311"/>
                    </a:lnTo>
                    <a:lnTo>
                      <a:pt x="246" y="314"/>
                    </a:lnTo>
                    <a:lnTo>
                      <a:pt x="247" y="317"/>
                    </a:lnTo>
                    <a:lnTo>
                      <a:pt x="252" y="314"/>
                    </a:lnTo>
                    <a:lnTo>
                      <a:pt x="257" y="312"/>
                    </a:lnTo>
                    <a:lnTo>
                      <a:pt x="255" y="311"/>
                    </a:lnTo>
                    <a:lnTo>
                      <a:pt x="255" y="307"/>
                    </a:lnTo>
                    <a:lnTo>
                      <a:pt x="250" y="294"/>
                    </a:lnTo>
                    <a:lnTo>
                      <a:pt x="246" y="288"/>
                    </a:lnTo>
                    <a:lnTo>
                      <a:pt x="247" y="284"/>
                    </a:lnTo>
                    <a:lnTo>
                      <a:pt x="244" y="283"/>
                    </a:lnTo>
                    <a:lnTo>
                      <a:pt x="239" y="283"/>
                    </a:lnTo>
                    <a:lnTo>
                      <a:pt x="232" y="278"/>
                    </a:lnTo>
                    <a:lnTo>
                      <a:pt x="231" y="271"/>
                    </a:lnTo>
                    <a:lnTo>
                      <a:pt x="231" y="264"/>
                    </a:lnTo>
                    <a:lnTo>
                      <a:pt x="227" y="258"/>
                    </a:lnTo>
                    <a:lnTo>
                      <a:pt x="222" y="258"/>
                    </a:lnTo>
                    <a:lnTo>
                      <a:pt x="221" y="259"/>
                    </a:lnTo>
                    <a:lnTo>
                      <a:pt x="214" y="258"/>
                    </a:lnTo>
                    <a:lnTo>
                      <a:pt x="211" y="258"/>
                    </a:lnTo>
                    <a:lnTo>
                      <a:pt x="211" y="253"/>
                    </a:lnTo>
                    <a:lnTo>
                      <a:pt x="214" y="243"/>
                    </a:lnTo>
                    <a:lnTo>
                      <a:pt x="217" y="243"/>
                    </a:lnTo>
                    <a:lnTo>
                      <a:pt x="224" y="234"/>
                    </a:lnTo>
                    <a:lnTo>
                      <a:pt x="226" y="229"/>
                    </a:lnTo>
                    <a:lnTo>
                      <a:pt x="231" y="228"/>
                    </a:lnTo>
                    <a:lnTo>
                      <a:pt x="232" y="226"/>
                    </a:lnTo>
                    <a:lnTo>
                      <a:pt x="239" y="228"/>
                    </a:lnTo>
                    <a:lnTo>
                      <a:pt x="239" y="233"/>
                    </a:lnTo>
                    <a:lnTo>
                      <a:pt x="242" y="233"/>
                    </a:lnTo>
                    <a:lnTo>
                      <a:pt x="252" y="228"/>
                    </a:lnTo>
                    <a:lnTo>
                      <a:pt x="264" y="228"/>
                    </a:lnTo>
                    <a:lnTo>
                      <a:pt x="272" y="219"/>
                    </a:lnTo>
                    <a:lnTo>
                      <a:pt x="277" y="208"/>
                    </a:lnTo>
                    <a:lnTo>
                      <a:pt x="289" y="199"/>
                    </a:lnTo>
                    <a:lnTo>
                      <a:pt x="290" y="196"/>
                    </a:lnTo>
                    <a:lnTo>
                      <a:pt x="292" y="188"/>
                    </a:lnTo>
                    <a:lnTo>
                      <a:pt x="297" y="181"/>
                    </a:lnTo>
                    <a:lnTo>
                      <a:pt x="305" y="178"/>
                    </a:lnTo>
                    <a:lnTo>
                      <a:pt x="309" y="173"/>
                    </a:lnTo>
                    <a:lnTo>
                      <a:pt x="307" y="168"/>
                    </a:lnTo>
                    <a:lnTo>
                      <a:pt x="305" y="166"/>
                    </a:lnTo>
                    <a:lnTo>
                      <a:pt x="312" y="160"/>
                    </a:lnTo>
                    <a:lnTo>
                      <a:pt x="315" y="156"/>
                    </a:lnTo>
                    <a:lnTo>
                      <a:pt x="315" y="151"/>
                    </a:lnTo>
                    <a:lnTo>
                      <a:pt x="317" y="140"/>
                    </a:lnTo>
                    <a:lnTo>
                      <a:pt x="315" y="133"/>
                    </a:lnTo>
                    <a:lnTo>
                      <a:pt x="314" y="130"/>
                    </a:lnTo>
                    <a:lnTo>
                      <a:pt x="322" y="125"/>
                    </a:lnTo>
                    <a:lnTo>
                      <a:pt x="325" y="123"/>
                    </a:lnTo>
                    <a:lnTo>
                      <a:pt x="330" y="120"/>
                    </a:lnTo>
                    <a:lnTo>
                      <a:pt x="334" y="120"/>
                    </a:lnTo>
                    <a:lnTo>
                      <a:pt x="339" y="115"/>
                    </a:lnTo>
                    <a:lnTo>
                      <a:pt x="337" y="111"/>
                    </a:lnTo>
                    <a:lnTo>
                      <a:pt x="332" y="110"/>
                    </a:lnTo>
                    <a:lnTo>
                      <a:pt x="325" y="111"/>
                    </a:lnTo>
                    <a:lnTo>
                      <a:pt x="319" y="110"/>
                    </a:lnTo>
                    <a:lnTo>
                      <a:pt x="315" y="105"/>
                    </a:lnTo>
                    <a:lnTo>
                      <a:pt x="307" y="101"/>
                    </a:lnTo>
                    <a:lnTo>
                      <a:pt x="297" y="100"/>
                    </a:lnTo>
                    <a:lnTo>
                      <a:pt x="289" y="92"/>
                    </a:lnTo>
                    <a:lnTo>
                      <a:pt x="287" y="85"/>
                    </a:lnTo>
                    <a:lnTo>
                      <a:pt x="284" y="70"/>
                    </a:lnTo>
                    <a:lnTo>
                      <a:pt x="279" y="65"/>
                    </a:lnTo>
                    <a:lnTo>
                      <a:pt x="279" y="58"/>
                    </a:lnTo>
                    <a:lnTo>
                      <a:pt x="284" y="57"/>
                    </a:lnTo>
                    <a:lnTo>
                      <a:pt x="284" y="52"/>
                    </a:lnTo>
                    <a:lnTo>
                      <a:pt x="290" y="47"/>
                    </a:lnTo>
                    <a:lnTo>
                      <a:pt x="290" y="42"/>
                    </a:lnTo>
                    <a:lnTo>
                      <a:pt x="284" y="40"/>
                    </a:lnTo>
                    <a:lnTo>
                      <a:pt x="282" y="37"/>
                    </a:lnTo>
                    <a:lnTo>
                      <a:pt x="275" y="32"/>
                    </a:lnTo>
                    <a:lnTo>
                      <a:pt x="269" y="27"/>
                    </a:lnTo>
                    <a:lnTo>
                      <a:pt x="264" y="22"/>
                    </a:lnTo>
                    <a:lnTo>
                      <a:pt x="259" y="23"/>
                    </a:lnTo>
                    <a:lnTo>
                      <a:pt x="255" y="25"/>
                    </a:lnTo>
                    <a:lnTo>
                      <a:pt x="252" y="22"/>
                    </a:lnTo>
                    <a:lnTo>
                      <a:pt x="250" y="13"/>
                    </a:lnTo>
                    <a:lnTo>
                      <a:pt x="264" y="5"/>
                    </a:lnTo>
                    <a:lnTo>
                      <a:pt x="262" y="2"/>
                    </a:lnTo>
                    <a:lnTo>
                      <a:pt x="254" y="3"/>
                    </a:lnTo>
                    <a:lnTo>
                      <a:pt x="249" y="0"/>
                    </a:lnTo>
                    <a:lnTo>
                      <a:pt x="241" y="5"/>
                    </a:lnTo>
                    <a:lnTo>
                      <a:pt x="236" y="8"/>
                    </a:lnTo>
                    <a:lnTo>
                      <a:pt x="229" y="8"/>
                    </a:lnTo>
                    <a:lnTo>
                      <a:pt x="224" y="15"/>
                    </a:lnTo>
                    <a:lnTo>
                      <a:pt x="221" y="18"/>
                    </a:lnTo>
                    <a:lnTo>
                      <a:pt x="231" y="32"/>
                    </a:lnTo>
                    <a:lnTo>
                      <a:pt x="231" y="42"/>
                    </a:lnTo>
                    <a:lnTo>
                      <a:pt x="219" y="55"/>
                    </a:lnTo>
                    <a:lnTo>
                      <a:pt x="226" y="60"/>
                    </a:lnTo>
                    <a:lnTo>
                      <a:pt x="226" y="67"/>
                    </a:lnTo>
                    <a:lnTo>
                      <a:pt x="219" y="75"/>
                    </a:lnTo>
                    <a:lnTo>
                      <a:pt x="211" y="75"/>
                    </a:lnTo>
                    <a:lnTo>
                      <a:pt x="201" y="72"/>
                    </a:lnTo>
                    <a:lnTo>
                      <a:pt x="196" y="75"/>
                    </a:lnTo>
                    <a:lnTo>
                      <a:pt x="197" y="82"/>
                    </a:lnTo>
                    <a:lnTo>
                      <a:pt x="204" y="83"/>
                    </a:lnTo>
                    <a:lnTo>
                      <a:pt x="206" y="90"/>
                    </a:lnTo>
                    <a:lnTo>
                      <a:pt x="206" y="93"/>
                    </a:lnTo>
                    <a:lnTo>
                      <a:pt x="199" y="97"/>
                    </a:lnTo>
                    <a:lnTo>
                      <a:pt x="194" y="97"/>
                    </a:lnTo>
                    <a:lnTo>
                      <a:pt x="192" y="100"/>
                    </a:lnTo>
                    <a:lnTo>
                      <a:pt x="191" y="108"/>
                    </a:lnTo>
                    <a:lnTo>
                      <a:pt x="189" y="113"/>
                    </a:lnTo>
                    <a:lnTo>
                      <a:pt x="189" y="116"/>
                    </a:lnTo>
                    <a:lnTo>
                      <a:pt x="187" y="118"/>
                    </a:lnTo>
                    <a:lnTo>
                      <a:pt x="189" y="128"/>
                    </a:lnTo>
                    <a:lnTo>
                      <a:pt x="184" y="135"/>
                    </a:lnTo>
                    <a:lnTo>
                      <a:pt x="179" y="130"/>
                    </a:lnTo>
                    <a:lnTo>
                      <a:pt x="177" y="130"/>
                    </a:lnTo>
                    <a:lnTo>
                      <a:pt x="176" y="131"/>
                    </a:lnTo>
                    <a:lnTo>
                      <a:pt x="171" y="131"/>
                    </a:lnTo>
                    <a:lnTo>
                      <a:pt x="167" y="130"/>
                    </a:lnTo>
                    <a:lnTo>
                      <a:pt x="162" y="130"/>
                    </a:lnTo>
                    <a:lnTo>
                      <a:pt x="161" y="133"/>
                    </a:lnTo>
                    <a:lnTo>
                      <a:pt x="151" y="140"/>
                    </a:lnTo>
                    <a:lnTo>
                      <a:pt x="156" y="141"/>
                    </a:lnTo>
                    <a:lnTo>
                      <a:pt x="152" y="143"/>
                    </a:lnTo>
                    <a:lnTo>
                      <a:pt x="144" y="148"/>
                    </a:lnTo>
                    <a:lnTo>
                      <a:pt x="141" y="146"/>
                    </a:lnTo>
                    <a:lnTo>
                      <a:pt x="134" y="146"/>
                    </a:lnTo>
                    <a:lnTo>
                      <a:pt x="133" y="150"/>
                    </a:lnTo>
                    <a:lnTo>
                      <a:pt x="133" y="153"/>
                    </a:lnTo>
                    <a:lnTo>
                      <a:pt x="128" y="155"/>
                    </a:lnTo>
                    <a:lnTo>
                      <a:pt x="124" y="158"/>
                    </a:lnTo>
                    <a:lnTo>
                      <a:pt x="124" y="165"/>
                    </a:lnTo>
                    <a:lnTo>
                      <a:pt x="126" y="171"/>
                    </a:lnTo>
                    <a:lnTo>
                      <a:pt x="126" y="176"/>
                    </a:lnTo>
                    <a:lnTo>
                      <a:pt x="128" y="181"/>
                    </a:lnTo>
                    <a:lnTo>
                      <a:pt x="128" y="185"/>
                    </a:lnTo>
                    <a:lnTo>
                      <a:pt x="118" y="188"/>
                    </a:lnTo>
                    <a:lnTo>
                      <a:pt x="109" y="188"/>
                    </a:lnTo>
                    <a:lnTo>
                      <a:pt x="101" y="190"/>
                    </a:lnTo>
                    <a:lnTo>
                      <a:pt x="88" y="190"/>
                    </a:lnTo>
                    <a:lnTo>
                      <a:pt x="79" y="191"/>
                    </a:lnTo>
                    <a:lnTo>
                      <a:pt x="78" y="195"/>
                    </a:lnTo>
                    <a:lnTo>
                      <a:pt x="69" y="193"/>
                    </a:lnTo>
                    <a:lnTo>
                      <a:pt x="61" y="196"/>
                    </a:lnTo>
                    <a:lnTo>
                      <a:pt x="33" y="196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13" y="203"/>
                    </a:lnTo>
                    <a:lnTo>
                      <a:pt x="15" y="208"/>
                    </a:lnTo>
                    <a:lnTo>
                      <a:pt x="21" y="214"/>
                    </a:lnTo>
                    <a:lnTo>
                      <a:pt x="28" y="218"/>
                    </a:lnTo>
                    <a:lnTo>
                      <a:pt x="30" y="219"/>
                    </a:lnTo>
                    <a:lnTo>
                      <a:pt x="38" y="219"/>
                    </a:lnTo>
                    <a:lnTo>
                      <a:pt x="43" y="221"/>
                    </a:lnTo>
                    <a:lnTo>
                      <a:pt x="43" y="224"/>
                    </a:lnTo>
                    <a:lnTo>
                      <a:pt x="50" y="224"/>
                    </a:lnTo>
                    <a:lnTo>
                      <a:pt x="50" y="231"/>
                    </a:lnTo>
                    <a:lnTo>
                      <a:pt x="51" y="238"/>
                    </a:lnTo>
                    <a:lnTo>
                      <a:pt x="53" y="243"/>
                    </a:lnTo>
                    <a:lnTo>
                      <a:pt x="53" y="246"/>
                    </a:lnTo>
                    <a:lnTo>
                      <a:pt x="59" y="246"/>
                    </a:lnTo>
                    <a:lnTo>
                      <a:pt x="66" y="251"/>
                    </a:lnTo>
                    <a:lnTo>
                      <a:pt x="66" y="259"/>
                    </a:lnTo>
                    <a:lnTo>
                      <a:pt x="63" y="263"/>
                    </a:lnTo>
                    <a:lnTo>
                      <a:pt x="56" y="259"/>
                    </a:lnTo>
                    <a:lnTo>
                      <a:pt x="45" y="263"/>
                    </a:lnTo>
                    <a:lnTo>
                      <a:pt x="43" y="266"/>
                    </a:lnTo>
                    <a:lnTo>
                      <a:pt x="35" y="268"/>
                    </a:lnTo>
                    <a:lnTo>
                      <a:pt x="33" y="273"/>
                    </a:lnTo>
                    <a:lnTo>
                      <a:pt x="35" y="276"/>
                    </a:lnTo>
                    <a:lnTo>
                      <a:pt x="30" y="281"/>
                    </a:lnTo>
                    <a:lnTo>
                      <a:pt x="33" y="286"/>
                    </a:lnTo>
                    <a:lnTo>
                      <a:pt x="31" y="294"/>
                    </a:lnTo>
                    <a:lnTo>
                      <a:pt x="31" y="297"/>
                    </a:lnTo>
                    <a:lnTo>
                      <a:pt x="35" y="297"/>
                    </a:lnTo>
                    <a:lnTo>
                      <a:pt x="35" y="301"/>
                    </a:lnTo>
                    <a:lnTo>
                      <a:pt x="36" y="301"/>
                    </a:lnTo>
                    <a:lnTo>
                      <a:pt x="43" y="297"/>
                    </a:lnTo>
                    <a:lnTo>
                      <a:pt x="48" y="297"/>
                    </a:lnTo>
                    <a:lnTo>
                      <a:pt x="50" y="299"/>
                    </a:lnTo>
                    <a:lnTo>
                      <a:pt x="51" y="297"/>
                    </a:lnTo>
                    <a:lnTo>
                      <a:pt x="54" y="296"/>
                    </a:lnTo>
                    <a:lnTo>
                      <a:pt x="59" y="296"/>
                    </a:lnTo>
                    <a:lnTo>
                      <a:pt x="63" y="296"/>
                    </a:lnTo>
                    <a:lnTo>
                      <a:pt x="66" y="296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73" y="294"/>
                    </a:lnTo>
                    <a:lnTo>
                      <a:pt x="74" y="291"/>
                    </a:lnTo>
                    <a:lnTo>
                      <a:pt x="79" y="294"/>
                    </a:lnTo>
                    <a:lnTo>
                      <a:pt x="83" y="294"/>
                    </a:lnTo>
                    <a:lnTo>
                      <a:pt x="83" y="293"/>
                    </a:lnTo>
                    <a:lnTo>
                      <a:pt x="86" y="293"/>
                    </a:lnTo>
                    <a:lnTo>
                      <a:pt x="88" y="296"/>
                    </a:lnTo>
                    <a:lnTo>
                      <a:pt x="91" y="296"/>
                    </a:lnTo>
                    <a:lnTo>
                      <a:pt x="94" y="297"/>
                    </a:lnTo>
                    <a:lnTo>
                      <a:pt x="98" y="297"/>
                    </a:lnTo>
                    <a:lnTo>
                      <a:pt x="104" y="293"/>
                    </a:lnTo>
                    <a:lnTo>
                      <a:pt x="109" y="293"/>
                    </a:lnTo>
                    <a:lnTo>
                      <a:pt x="114" y="294"/>
                    </a:lnTo>
                    <a:lnTo>
                      <a:pt x="118" y="291"/>
                    </a:lnTo>
                    <a:lnTo>
                      <a:pt x="121" y="291"/>
                    </a:lnTo>
                    <a:lnTo>
                      <a:pt x="123" y="289"/>
                    </a:lnTo>
                    <a:lnTo>
                      <a:pt x="124" y="291"/>
                    </a:lnTo>
                    <a:lnTo>
                      <a:pt x="131" y="293"/>
                    </a:lnTo>
                    <a:lnTo>
                      <a:pt x="138" y="289"/>
                    </a:lnTo>
                    <a:lnTo>
                      <a:pt x="144" y="289"/>
                    </a:lnTo>
                    <a:lnTo>
                      <a:pt x="149" y="294"/>
                    </a:lnTo>
                    <a:lnTo>
                      <a:pt x="151" y="297"/>
                    </a:lnTo>
                    <a:lnTo>
                      <a:pt x="151" y="302"/>
                    </a:lnTo>
                    <a:lnTo>
                      <a:pt x="151" y="302"/>
                    </a:lnTo>
                    <a:lnTo>
                      <a:pt x="149" y="302"/>
                    </a:lnTo>
                    <a:lnTo>
                      <a:pt x="149" y="304"/>
                    </a:lnTo>
                    <a:lnTo>
                      <a:pt x="154" y="304"/>
                    </a:lnTo>
                    <a:lnTo>
                      <a:pt x="161" y="302"/>
                    </a:lnTo>
                    <a:lnTo>
                      <a:pt x="161" y="306"/>
                    </a:lnTo>
                    <a:lnTo>
                      <a:pt x="166" y="312"/>
                    </a:lnTo>
                    <a:lnTo>
                      <a:pt x="167" y="319"/>
                    </a:lnTo>
                    <a:lnTo>
                      <a:pt x="169" y="321"/>
                    </a:lnTo>
                    <a:lnTo>
                      <a:pt x="169" y="324"/>
                    </a:lnTo>
                    <a:lnTo>
                      <a:pt x="166" y="324"/>
                    </a:lnTo>
                    <a:lnTo>
                      <a:pt x="167" y="326"/>
                    </a:lnTo>
                    <a:lnTo>
                      <a:pt x="171" y="326"/>
                    </a:lnTo>
                    <a:lnTo>
                      <a:pt x="172" y="329"/>
                    </a:lnTo>
                    <a:lnTo>
                      <a:pt x="176" y="329"/>
                    </a:lnTo>
                    <a:lnTo>
                      <a:pt x="182" y="329"/>
                    </a:lnTo>
                    <a:lnTo>
                      <a:pt x="192" y="332"/>
                    </a:lnTo>
                    <a:lnTo>
                      <a:pt x="191" y="336"/>
                    </a:lnTo>
                    <a:lnTo>
                      <a:pt x="196" y="3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4" name="Freeform 30">
                <a:extLst>
                  <a:ext uri="{FF2B5EF4-FFF2-40B4-BE49-F238E27FC236}">
                    <a16:creationId xmlns:a16="http://schemas.microsoft.com/office/drawing/2014/main" id="{C8B8EFF2-A049-EB44-896D-943DADE5B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1514" y="2809025"/>
                <a:ext cx="95252" cy="68481"/>
              </a:xfrm>
              <a:custGeom>
                <a:avLst/>
                <a:gdLst/>
                <a:ahLst/>
                <a:cxnLst>
                  <a:cxn ang="0">
                    <a:pos x="90" y="131"/>
                  </a:cxn>
                  <a:cxn ang="0">
                    <a:pos x="103" y="114"/>
                  </a:cxn>
                  <a:cxn ang="0">
                    <a:pos x="113" y="108"/>
                  </a:cxn>
                  <a:cxn ang="0">
                    <a:pos x="132" y="116"/>
                  </a:cxn>
                  <a:cxn ang="0">
                    <a:pos x="145" y="114"/>
                  </a:cxn>
                  <a:cxn ang="0">
                    <a:pos x="153" y="121"/>
                  </a:cxn>
                  <a:cxn ang="0">
                    <a:pos x="170" y="119"/>
                  </a:cxn>
                  <a:cxn ang="0">
                    <a:pos x="175" y="124"/>
                  </a:cxn>
                  <a:cxn ang="0">
                    <a:pos x="177" y="111"/>
                  </a:cxn>
                  <a:cxn ang="0">
                    <a:pos x="168" y="99"/>
                  </a:cxn>
                  <a:cxn ang="0">
                    <a:pos x="163" y="79"/>
                  </a:cxn>
                  <a:cxn ang="0">
                    <a:pos x="152" y="71"/>
                  </a:cxn>
                  <a:cxn ang="0">
                    <a:pos x="142" y="53"/>
                  </a:cxn>
                  <a:cxn ang="0">
                    <a:pos x="123" y="46"/>
                  </a:cxn>
                  <a:cxn ang="0">
                    <a:pos x="118" y="41"/>
                  </a:cxn>
                  <a:cxn ang="0">
                    <a:pos x="98" y="39"/>
                  </a:cxn>
                  <a:cxn ang="0">
                    <a:pos x="92" y="34"/>
                  </a:cxn>
                  <a:cxn ang="0">
                    <a:pos x="85" y="24"/>
                  </a:cxn>
                  <a:cxn ang="0">
                    <a:pos x="72" y="3"/>
                  </a:cxn>
                  <a:cxn ang="0">
                    <a:pos x="65" y="0"/>
                  </a:cxn>
                  <a:cxn ang="0">
                    <a:pos x="60" y="3"/>
                  </a:cxn>
                  <a:cxn ang="0">
                    <a:pos x="54" y="5"/>
                  </a:cxn>
                  <a:cxn ang="0">
                    <a:pos x="47" y="1"/>
                  </a:cxn>
                  <a:cxn ang="0">
                    <a:pos x="44" y="3"/>
                  </a:cxn>
                  <a:cxn ang="0">
                    <a:pos x="29" y="15"/>
                  </a:cxn>
                  <a:cxn ang="0">
                    <a:pos x="14" y="21"/>
                  </a:cxn>
                  <a:cxn ang="0">
                    <a:pos x="2" y="38"/>
                  </a:cxn>
                  <a:cxn ang="0">
                    <a:pos x="9" y="39"/>
                  </a:cxn>
                  <a:cxn ang="0">
                    <a:pos x="19" y="43"/>
                  </a:cxn>
                  <a:cxn ang="0">
                    <a:pos x="32" y="53"/>
                  </a:cxn>
                  <a:cxn ang="0">
                    <a:pos x="40" y="58"/>
                  </a:cxn>
                  <a:cxn ang="0">
                    <a:pos x="34" y="68"/>
                  </a:cxn>
                  <a:cxn ang="0">
                    <a:pos x="29" y="74"/>
                  </a:cxn>
                  <a:cxn ang="0">
                    <a:pos x="34" y="86"/>
                  </a:cxn>
                  <a:cxn ang="0">
                    <a:pos x="39" y="108"/>
                  </a:cxn>
                  <a:cxn ang="0">
                    <a:pos x="57" y="117"/>
                  </a:cxn>
                  <a:cxn ang="0">
                    <a:pos x="69" y="126"/>
                  </a:cxn>
                  <a:cxn ang="0">
                    <a:pos x="82" y="126"/>
                  </a:cxn>
                  <a:cxn ang="0">
                    <a:pos x="89" y="131"/>
                  </a:cxn>
                </a:cxnLst>
                <a:rect l="0" t="0" r="r" b="b"/>
                <a:pathLst>
                  <a:path w="178" h="131">
                    <a:moveTo>
                      <a:pt x="89" y="131"/>
                    </a:moveTo>
                    <a:lnTo>
                      <a:pt x="90" y="131"/>
                    </a:lnTo>
                    <a:lnTo>
                      <a:pt x="97" y="119"/>
                    </a:lnTo>
                    <a:lnTo>
                      <a:pt x="103" y="114"/>
                    </a:lnTo>
                    <a:lnTo>
                      <a:pt x="110" y="113"/>
                    </a:lnTo>
                    <a:lnTo>
                      <a:pt x="113" y="108"/>
                    </a:lnTo>
                    <a:lnTo>
                      <a:pt x="118" y="108"/>
                    </a:lnTo>
                    <a:lnTo>
                      <a:pt x="132" y="116"/>
                    </a:lnTo>
                    <a:lnTo>
                      <a:pt x="138" y="113"/>
                    </a:lnTo>
                    <a:lnTo>
                      <a:pt x="145" y="114"/>
                    </a:lnTo>
                    <a:lnTo>
                      <a:pt x="147" y="121"/>
                    </a:lnTo>
                    <a:lnTo>
                      <a:pt x="153" y="121"/>
                    </a:lnTo>
                    <a:lnTo>
                      <a:pt x="163" y="126"/>
                    </a:lnTo>
                    <a:lnTo>
                      <a:pt x="170" y="119"/>
                    </a:lnTo>
                    <a:lnTo>
                      <a:pt x="175" y="121"/>
                    </a:lnTo>
                    <a:lnTo>
                      <a:pt x="175" y="124"/>
                    </a:lnTo>
                    <a:lnTo>
                      <a:pt x="178" y="119"/>
                    </a:lnTo>
                    <a:lnTo>
                      <a:pt x="177" y="111"/>
                    </a:lnTo>
                    <a:lnTo>
                      <a:pt x="173" y="101"/>
                    </a:lnTo>
                    <a:lnTo>
                      <a:pt x="168" y="99"/>
                    </a:lnTo>
                    <a:lnTo>
                      <a:pt x="163" y="91"/>
                    </a:lnTo>
                    <a:lnTo>
                      <a:pt x="163" y="79"/>
                    </a:lnTo>
                    <a:lnTo>
                      <a:pt x="160" y="74"/>
                    </a:lnTo>
                    <a:lnTo>
                      <a:pt x="152" y="71"/>
                    </a:lnTo>
                    <a:lnTo>
                      <a:pt x="145" y="64"/>
                    </a:lnTo>
                    <a:lnTo>
                      <a:pt x="142" y="53"/>
                    </a:lnTo>
                    <a:lnTo>
                      <a:pt x="133" y="49"/>
                    </a:lnTo>
                    <a:lnTo>
                      <a:pt x="123" y="46"/>
                    </a:lnTo>
                    <a:lnTo>
                      <a:pt x="123" y="41"/>
                    </a:lnTo>
                    <a:lnTo>
                      <a:pt x="118" y="41"/>
                    </a:lnTo>
                    <a:lnTo>
                      <a:pt x="108" y="41"/>
                    </a:lnTo>
                    <a:lnTo>
                      <a:pt x="98" y="39"/>
                    </a:lnTo>
                    <a:lnTo>
                      <a:pt x="97" y="36"/>
                    </a:lnTo>
                    <a:lnTo>
                      <a:pt x="92" y="34"/>
                    </a:lnTo>
                    <a:lnTo>
                      <a:pt x="92" y="28"/>
                    </a:lnTo>
                    <a:lnTo>
                      <a:pt x="85" y="24"/>
                    </a:lnTo>
                    <a:lnTo>
                      <a:pt x="75" y="10"/>
                    </a:lnTo>
                    <a:lnTo>
                      <a:pt x="72" y="3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4" y="1"/>
                    </a:lnTo>
                    <a:lnTo>
                      <a:pt x="60" y="3"/>
                    </a:lnTo>
                    <a:lnTo>
                      <a:pt x="57" y="3"/>
                    </a:lnTo>
                    <a:lnTo>
                      <a:pt x="54" y="5"/>
                    </a:lnTo>
                    <a:lnTo>
                      <a:pt x="50" y="1"/>
                    </a:lnTo>
                    <a:lnTo>
                      <a:pt x="47" y="1"/>
                    </a:lnTo>
                    <a:lnTo>
                      <a:pt x="44" y="3"/>
                    </a:lnTo>
                    <a:lnTo>
                      <a:pt x="44" y="3"/>
                    </a:lnTo>
                    <a:lnTo>
                      <a:pt x="39" y="11"/>
                    </a:lnTo>
                    <a:lnTo>
                      <a:pt x="29" y="15"/>
                    </a:lnTo>
                    <a:lnTo>
                      <a:pt x="12" y="18"/>
                    </a:lnTo>
                    <a:lnTo>
                      <a:pt x="14" y="21"/>
                    </a:lnTo>
                    <a:lnTo>
                      <a:pt x="0" y="29"/>
                    </a:lnTo>
                    <a:lnTo>
                      <a:pt x="2" y="38"/>
                    </a:lnTo>
                    <a:lnTo>
                      <a:pt x="5" y="41"/>
                    </a:lnTo>
                    <a:lnTo>
                      <a:pt x="9" y="39"/>
                    </a:lnTo>
                    <a:lnTo>
                      <a:pt x="14" y="38"/>
                    </a:lnTo>
                    <a:lnTo>
                      <a:pt x="19" y="43"/>
                    </a:lnTo>
                    <a:lnTo>
                      <a:pt x="25" y="48"/>
                    </a:lnTo>
                    <a:lnTo>
                      <a:pt x="32" y="53"/>
                    </a:lnTo>
                    <a:lnTo>
                      <a:pt x="34" y="56"/>
                    </a:lnTo>
                    <a:lnTo>
                      <a:pt x="40" y="58"/>
                    </a:lnTo>
                    <a:lnTo>
                      <a:pt x="40" y="63"/>
                    </a:lnTo>
                    <a:lnTo>
                      <a:pt x="34" y="68"/>
                    </a:lnTo>
                    <a:lnTo>
                      <a:pt x="34" y="73"/>
                    </a:lnTo>
                    <a:lnTo>
                      <a:pt x="29" y="74"/>
                    </a:lnTo>
                    <a:lnTo>
                      <a:pt x="29" y="81"/>
                    </a:lnTo>
                    <a:lnTo>
                      <a:pt x="34" y="86"/>
                    </a:lnTo>
                    <a:lnTo>
                      <a:pt x="37" y="101"/>
                    </a:lnTo>
                    <a:lnTo>
                      <a:pt x="39" y="108"/>
                    </a:lnTo>
                    <a:lnTo>
                      <a:pt x="47" y="116"/>
                    </a:lnTo>
                    <a:lnTo>
                      <a:pt x="57" y="117"/>
                    </a:lnTo>
                    <a:lnTo>
                      <a:pt x="65" y="121"/>
                    </a:lnTo>
                    <a:lnTo>
                      <a:pt x="69" y="126"/>
                    </a:lnTo>
                    <a:lnTo>
                      <a:pt x="75" y="127"/>
                    </a:lnTo>
                    <a:lnTo>
                      <a:pt x="82" y="126"/>
                    </a:lnTo>
                    <a:lnTo>
                      <a:pt x="87" y="127"/>
                    </a:lnTo>
                    <a:lnTo>
                      <a:pt x="89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5" name="Freeform 31">
                <a:extLst>
                  <a:ext uri="{FF2B5EF4-FFF2-40B4-BE49-F238E27FC236}">
                    <a16:creationId xmlns:a16="http://schemas.microsoft.com/office/drawing/2014/main" id="{A8609944-60D0-6246-A85B-FCAD341AC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4891" y="2793461"/>
                <a:ext cx="172310" cy="126586"/>
              </a:xfrm>
              <a:custGeom>
                <a:avLst/>
                <a:gdLst/>
                <a:ahLst/>
                <a:cxnLst>
                  <a:cxn ang="0">
                    <a:pos x="298" y="23"/>
                  </a:cxn>
                  <a:cxn ang="0">
                    <a:pos x="311" y="23"/>
                  </a:cxn>
                  <a:cxn ang="0">
                    <a:pos x="314" y="33"/>
                  </a:cxn>
                  <a:cxn ang="0">
                    <a:pos x="303" y="45"/>
                  </a:cxn>
                  <a:cxn ang="0">
                    <a:pos x="265" y="51"/>
                  </a:cxn>
                  <a:cxn ang="0">
                    <a:pos x="248" y="61"/>
                  </a:cxn>
                  <a:cxn ang="0">
                    <a:pos x="255" y="88"/>
                  </a:cxn>
                  <a:cxn ang="0">
                    <a:pos x="250" y="113"/>
                  </a:cxn>
                  <a:cxn ang="0">
                    <a:pos x="225" y="118"/>
                  </a:cxn>
                  <a:cxn ang="0">
                    <a:pos x="228" y="129"/>
                  </a:cxn>
                  <a:cxn ang="0">
                    <a:pos x="223" y="143"/>
                  </a:cxn>
                  <a:cxn ang="0">
                    <a:pos x="215" y="154"/>
                  </a:cxn>
                  <a:cxn ang="0">
                    <a:pos x="211" y="164"/>
                  </a:cxn>
                  <a:cxn ang="0">
                    <a:pos x="203" y="176"/>
                  </a:cxn>
                  <a:cxn ang="0">
                    <a:pos x="195" y="177"/>
                  </a:cxn>
                  <a:cxn ang="0">
                    <a:pos x="185" y="179"/>
                  </a:cxn>
                  <a:cxn ang="0">
                    <a:pos x="176" y="189"/>
                  </a:cxn>
                  <a:cxn ang="0">
                    <a:pos x="158" y="192"/>
                  </a:cxn>
                  <a:cxn ang="0">
                    <a:pos x="152" y="201"/>
                  </a:cxn>
                  <a:cxn ang="0">
                    <a:pos x="150" y="217"/>
                  </a:cxn>
                  <a:cxn ang="0">
                    <a:pos x="152" y="231"/>
                  </a:cxn>
                  <a:cxn ang="0">
                    <a:pos x="125" y="236"/>
                  </a:cxn>
                  <a:cxn ang="0">
                    <a:pos x="102" y="241"/>
                  </a:cxn>
                  <a:cxn ang="0">
                    <a:pos x="57" y="242"/>
                  </a:cxn>
                  <a:cxn ang="0">
                    <a:pos x="44" y="209"/>
                  </a:cxn>
                  <a:cxn ang="0">
                    <a:pos x="39" y="186"/>
                  </a:cxn>
                  <a:cxn ang="0">
                    <a:pos x="14" y="174"/>
                  </a:cxn>
                  <a:cxn ang="0">
                    <a:pos x="5" y="149"/>
                  </a:cxn>
                  <a:cxn ang="0">
                    <a:pos x="12" y="136"/>
                  </a:cxn>
                  <a:cxn ang="0">
                    <a:pos x="2" y="121"/>
                  </a:cxn>
                  <a:cxn ang="0">
                    <a:pos x="2" y="113"/>
                  </a:cxn>
                  <a:cxn ang="0">
                    <a:pos x="12" y="104"/>
                  </a:cxn>
                  <a:cxn ang="0">
                    <a:pos x="9" y="96"/>
                  </a:cxn>
                  <a:cxn ang="0">
                    <a:pos x="10" y="84"/>
                  </a:cxn>
                  <a:cxn ang="0">
                    <a:pos x="19" y="84"/>
                  </a:cxn>
                  <a:cxn ang="0">
                    <a:pos x="29" y="84"/>
                  </a:cxn>
                  <a:cxn ang="0">
                    <a:pos x="40" y="91"/>
                  </a:cxn>
                  <a:cxn ang="0">
                    <a:pos x="52" y="89"/>
                  </a:cxn>
                  <a:cxn ang="0">
                    <a:pos x="59" y="79"/>
                  </a:cxn>
                  <a:cxn ang="0">
                    <a:pos x="75" y="71"/>
                  </a:cxn>
                  <a:cxn ang="0">
                    <a:pos x="83" y="66"/>
                  </a:cxn>
                  <a:cxn ang="0">
                    <a:pos x="90" y="49"/>
                  </a:cxn>
                  <a:cxn ang="0">
                    <a:pos x="88" y="40"/>
                  </a:cxn>
                  <a:cxn ang="0">
                    <a:pos x="100" y="36"/>
                  </a:cxn>
                  <a:cxn ang="0">
                    <a:pos x="115" y="30"/>
                  </a:cxn>
                  <a:cxn ang="0">
                    <a:pos x="127" y="33"/>
                  </a:cxn>
                  <a:cxn ang="0">
                    <a:pos x="143" y="38"/>
                  </a:cxn>
                  <a:cxn ang="0">
                    <a:pos x="155" y="35"/>
                  </a:cxn>
                  <a:cxn ang="0">
                    <a:pos x="172" y="41"/>
                  </a:cxn>
                  <a:cxn ang="0">
                    <a:pos x="181" y="35"/>
                  </a:cxn>
                  <a:cxn ang="0">
                    <a:pos x="190" y="36"/>
                  </a:cxn>
                  <a:cxn ang="0">
                    <a:pos x="196" y="31"/>
                  </a:cxn>
                  <a:cxn ang="0">
                    <a:pos x="203" y="25"/>
                  </a:cxn>
                  <a:cxn ang="0">
                    <a:pos x="211" y="26"/>
                  </a:cxn>
                  <a:cxn ang="0">
                    <a:pos x="216" y="13"/>
                  </a:cxn>
                  <a:cxn ang="0">
                    <a:pos x="221" y="0"/>
                  </a:cxn>
                  <a:cxn ang="0">
                    <a:pos x="236" y="5"/>
                  </a:cxn>
                  <a:cxn ang="0">
                    <a:pos x="236" y="18"/>
                  </a:cxn>
                  <a:cxn ang="0">
                    <a:pos x="243" y="26"/>
                  </a:cxn>
                  <a:cxn ang="0">
                    <a:pos x="246" y="45"/>
                  </a:cxn>
                  <a:cxn ang="0">
                    <a:pos x="258" y="49"/>
                  </a:cxn>
                  <a:cxn ang="0">
                    <a:pos x="271" y="41"/>
                  </a:cxn>
                  <a:cxn ang="0">
                    <a:pos x="279" y="31"/>
                  </a:cxn>
                </a:cxnLst>
                <a:rect l="0" t="0" r="r" b="b"/>
                <a:pathLst>
                  <a:path w="323" h="242">
                    <a:moveTo>
                      <a:pt x="279" y="31"/>
                    </a:moveTo>
                    <a:lnTo>
                      <a:pt x="289" y="25"/>
                    </a:lnTo>
                    <a:lnTo>
                      <a:pt x="298" y="23"/>
                    </a:lnTo>
                    <a:lnTo>
                      <a:pt x="298" y="28"/>
                    </a:lnTo>
                    <a:lnTo>
                      <a:pt x="308" y="26"/>
                    </a:lnTo>
                    <a:lnTo>
                      <a:pt x="311" y="23"/>
                    </a:lnTo>
                    <a:lnTo>
                      <a:pt x="321" y="23"/>
                    </a:lnTo>
                    <a:lnTo>
                      <a:pt x="323" y="26"/>
                    </a:lnTo>
                    <a:lnTo>
                      <a:pt x="314" y="33"/>
                    </a:lnTo>
                    <a:lnTo>
                      <a:pt x="318" y="33"/>
                    </a:lnTo>
                    <a:lnTo>
                      <a:pt x="313" y="41"/>
                    </a:lnTo>
                    <a:lnTo>
                      <a:pt x="303" y="45"/>
                    </a:lnTo>
                    <a:lnTo>
                      <a:pt x="278" y="49"/>
                    </a:lnTo>
                    <a:lnTo>
                      <a:pt x="273" y="46"/>
                    </a:lnTo>
                    <a:lnTo>
                      <a:pt x="265" y="51"/>
                    </a:lnTo>
                    <a:lnTo>
                      <a:pt x="260" y="54"/>
                    </a:lnTo>
                    <a:lnTo>
                      <a:pt x="253" y="54"/>
                    </a:lnTo>
                    <a:lnTo>
                      <a:pt x="248" y="61"/>
                    </a:lnTo>
                    <a:lnTo>
                      <a:pt x="245" y="64"/>
                    </a:lnTo>
                    <a:lnTo>
                      <a:pt x="255" y="78"/>
                    </a:lnTo>
                    <a:lnTo>
                      <a:pt x="255" y="88"/>
                    </a:lnTo>
                    <a:lnTo>
                      <a:pt x="243" y="101"/>
                    </a:lnTo>
                    <a:lnTo>
                      <a:pt x="250" y="106"/>
                    </a:lnTo>
                    <a:lnTo>
                      <a:pt x="250" y="113"/>
                    </a:lnTo>
                    <a:lnTo>
                      <a:pt x="243" y="121"/>
                    </a:lnTo>
                    <a:lnTo>
                      <a:pt x="235" y="121"/>
                    </a:lnTo>
                    <a:lnTo>
                      <a:pt x="225" y="118"/>
                    </a:lnTo>
                    <a:lnTo>
                      <a:pt x="220" y="121"/>
                    </a:lnTo>
                    <a:lnTo>
                      <a:pt x="221" y="128"/>
                    </a:lnTo>
                    <a:lnTo>
                      <a:pt x="228" y="129"/>
                    </a:lnTo>
                    <a:lnTo>
                      <a:pt x="230" y="136"/>
                    </a:lnTo>
                    <a:lnTo>
                      <a:pt x="230" y="139"/>
                    </a:lnTo>
                    <a:lnTo>
                      <a:pt x="223" y="143"/>
                    </a:lnTo>
                    <a:lnTo>
                      <a:pt x="218" y="143"/>
                    </a:lnTo>
                    <a:lnTo>
                      <a:pt x="216" y="146"/>
                    </a:lnTo>
                    <a:lnTo>
                      <a:pt x="215" y="154"/>
                    </a:lnTo>
                    <a:lnTo>
                      <a:pt x="213" y="159"/>
                    </a:lnTo>
                    <a:lnTo>
                      <a:pt x="213" y="162"/>
                    </a:lnTo>
                    <a:lnTo>
                      <a:pt x="211" y="164"/>
                    </a:lnTo>
                    <a:lnTo>
                      <a:pt x="213" y="174"/>
                    </a:lnTo>
                    <a:lnTo>
                      <a:pt x="208" y="181"/>
                    </a:lnTo>
                    <a:lnTo>
                      <a:pt x="203" y="176"/>
                    </a:lnTo>
                    <a:lnTo>
                      <a:pt x="201" y="176"/>
                    </a:lnTo>
                    <a:lnTo>
                      <a:pt x="200" y="177"/>
                    </a:lnTo>
                    <a:lnTo>
                      <a:pt x="195" y="177"/>
                    </a:lnTo>
                    <a:lnTo>
                      <a:pt x="191" y="176"/>
                    </a:lnTo>
                    <a:lnTo>
                      <a:pt x="186" y="176"/>
                    </a:lnTo>
                    <a:lnTo>
                      <a:pt x="185" y="179"/>
                    </a:lnTo>
                    <a:lnTo>
                      <a:pt x="175" y="186"/>
                    </a:lnTo>
                    <a:lnTo>
                      <a:pt x="180" y="187"/>
                    </a:lnTo>
                    <a:lnTo>
                      <a:pt x="176" y="189"/>
                    </a:lnTo>
                    <a:lnTo>
                      <a:pt x="168" y="194"/>
                    </a:lnTo>
                    <a:lnTo>
                      <a:pt x="165" y="192"/>
                    </a:lnTo>
                    <a:lnTo>
                      <a:pt x="158" y="192"/>
                    </a:lnTo>
                    <a:lnTo>
                      <a:pt x="157" y="196"/>
                    </a:lnTo>
                    <a:lnTo>
                      <a:pt x="157" y="199"/>
                    </a:lnTo>
                    <a:lnTo>
                      <a:pt x="152" y="201"/>
                    </a:lnTo>
                    <a:lnTo>
                      <a:pt x="148" y="204"/>
                    </a:lnTo>
                    <a:lnTo>
                      <a:pt x="148" y="211"/>
                    </a:lnTo>
                    <a:lnTo>
                      <a:pt x="150" y="217"/>
                    </a:lnTo>
                    <a:lnTo>
                      <a:pt x="150" y="222"/>
                    </a:lnTo>
                    <a:lnTo>
                      <a:pt x="152" y="227"/>
                    </a:lnTo>
                    <a:lnTo>
                      <a:pt x="152" y="231"/>
                    </a:lnTo>
                    <a:lnTo>
                      <a:pt x="142" y="234"/>
                    </a:lnTo>
                    <a:lnTo>
                      <a:pt x="133" y="234"/>
                    </a:lnTo>
                    <a:lnTo>
                      <a:pt x="125" y="236"/>
                    </a:lnTo>
                    <a:lnTo>
                      <a:pt x="112" y="236"/>
                    </a:lnTo>
                    <a:lnTo>
                      <a:pt x="103" y="237"/>
                    </a:lnTo>
                    <a:lnTo>
                      <a:pt x="102" y="241"/>
                    </a:lnTo>
                    <a:lnTo>
                      <a:pt x="93" y="239"/>
                    </a:lnTo>
                    <a:lnTo>
                      <a:pt x="85" y="242"/>
                    </a:lnTo>
                    <a:lnTo>
                      <a:pt x="57" y="242"/>
                    </a:lnTo>
                    <a:lnTo>
                      <a:pt x="24" y="234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2" y="201"/>
                    </a:lnTo>
                    <a:lnTo>
                      <a:pt x="42" y="194"/>
                    </a:lnTo>
                    <a:lnTo>
                      <a:pt x="39" y="186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4" y="174"/>
                    </a:lnTo>
                    <a:lnTo>
                      <a:pt x="15" y="171"/>
                    </a:lnTo>
                    <a:lnTo>
                      <a:pt x="12" y="161"/>
                    </a:lnTo>
                    <a:lnTo>
                      <a:pt x="5" y="149"/>
                    </a:lnTo>
                    <a:lnTo>
                      <a:pt x="7" y="144"/>
                    </a:lnTo>
                    <a:lnTo>
                      <a:pt x="15" y="136"/>
                    </a:lnTo>
                    <a:lnTo>
                      <a:pt x="12" y="136"/>
                    </a:lnTo>
                    <a:lnTo>
                      <a:pt x="4" y="134"/>
                    </a:lnTo>
                    <a:lnTo>
                      <a:pt x="4" y="129"/>
                    </a:lnTo>
                    <a:lnTo>
                      <a:pt x="2" y="121"/>
                    </a:lnTo>
                    <a:lnTo>
                      <a:pt x="2" y="121"/>
                    </a:lnTo>
                    <a:lnTo>
                      <a:pt x="5" y="114"/>
                    </a:lnTo>
                    <a:lnTo>
                      <a:pt x="2" y="113"/>
                    </a:lnTo>
                    <a:lnTo>
                      <a:pt x="0" y="109"/>
                    </a:lnTo>
                    <a:lnTo>
                      <a:pt x="5" y="108"/>
                    </a:lnTo>
                    <a:lnTo>
                      <a:pt x="12" y="104"/>
                    </a:lnTo>
                    <a:lnTo>
                      <a:pt x="10" y="101"/>
                    </a:lnTo>
                    <a:lnTo>
                      <a:pt x="12" y="99"/>
                    </a:lnTo>
                    <a:lnTo>
                      <a:pt x="9" y="96"/>
                    </a:lnTo>
                    <a:lnTo>
                      <a:pt x="10" y="93"/>
                    </a:lnTo>
                    <a:lnTo>
                      <a:pt x="10" y="89"/>
                    </a:lnTo>
                    <a:lnTo>
                      <a:pt x="10" y="84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9" y="84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9" y="84"/>
                    </a:lnTo>
                    <a:lnTo>
                      <a:pt x="34" y="84"/>
                    </a:lnTo>
                    <a:lnTo>
                      <a:pt x="39" y="88"/>
                    </a:lnTo>
                    <a:lnTo>
                      <a:pt x="40" y="91"/>
                    </a:lnTo>
                    <a:lnTo>
                      <a:pt x="42" y="93"/>
                    </a:lnTo>
                    <a:lnTo>
                      <a:pt x="45" y="89"/>
                    </a:lnTo>
                    <a:lnTo>
                      <a:pt x="52" y="89"/>
                    </a:lnTo>
                    <a:lnTo>
                      <a:pt x="55" y="86"/>
                    </a:lnTo>
                    <a:lnTo>
                      <a:pt x="55" y="83"/>
                    </a:lnTo>
                    <a:lnTo>
                      <a:pt x="59" y="79"/>
                    </a:lnTo>
                    <a:lnTo>
                      <a:pt x="59" y="78"/>
                    </a:lnTo>
                    <a:lnTo>
                      <a:pt x="65" y="73"/>
                    </a:lnTo>
                    <a:lnTo>
                      <a:pt x="75" y="71"/>
                    </a:lnTo>
                    <a:lnTo>
                      <a:pt x="75" y="69"/>
                    </a:lnTo>
                    <a:lnTo>
                      <a:pt x="80" y="66"/>
                    </a:lnTo>
                    <a:lnTo>
                      <a:pt x="83" y="66"/>
                    </a:lnTo>
                    <a:lnTo>
                      <a:pt x="85" y="59"/>
                    </a:lnTo>
                    <a:lnTo>
                      <a:pt x="85" y="54"/>
                    </a:lnTo>
                    <a:lnTo>
                      <a:pt x="90" y="49"/>
                    </a:lnTo>
                    <a:lnTo>
                      <a:pt x="90" y="45"/>
                    </a:lnTo>
                    <a:lnTo>
                      <a:pt x="88" y="43"/>
                    </a:lnTo>
                    <a:lnTo>
                      <a:pt x="88" y="40"/>
                    </a:lnTo>
                    <a:lnTo>
                      <a:pt x="92" y="40"/>
                    </a:lnTo>
                    <a:lnTo>
                      <a:pt x="93" y="38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10" y="31"/>
                    </a:lnTo>
                    <a:lnTo>
                      <a:pt x="115" y="30"/>
                    </a:lnTo>
                    <a:lnTo>
                      <a:pt x="120" y="33"/>
                    </a:lnTo>
                    <a:lnTo>
                      <a:pt x="125" y="31"/>
                    </a:lnTo>
                    <a:lnTo>
                      <a:pt x="127" y="33"/>
                    </a:lnTo>
                    <a:lnTo>
                      <a:pt x="135" y="31"/>
                    </a:lnTo>
                    <a:lnTo>
                      <a:pt x="140" y="33"/>
                    </a:lnTo>
                    <a:lnTo>
                      <a:pt x="143" y="38"/>
                    </a:lnTo>
                    <a:lnTo>
                      <a:pt x="147" y="38"/>
                    </a:lnTo>
                    <a:lnTo>
                      <a:pt x="150" y="35"/>
                    </a:lnTo>
                    <a:lnTo>
                      <a:pt x="155" y="35"/>
                    </a:lnTo>
                    <a:lnTo>
                      <a:pt x="160" y="41"/>
                    </a:lnTo>
                    <a:lnTo>
                      <a:pt x="163" y="41"/>
                    </a:lnTo>
                    <a:lnTo>
                      <a:pt x="172" y="41"/>
                    </a:lnTo>
                    <a:lnTo>
                      <a:pt x="176" y="38"/>
                    </a:lnTo>
                    <a:lnTo>
                      <a:pt x="180" y="35"/>
                    </a:lnTo>
                    <a:lnTo>
                      <a:pt x="181" y="35"/>
                    </a:lnTo>
                    <a:lnTo>
                      <a:pt x="185" y="31"/>
                    </a:lnTo>
                    <a:lnTo>
                      <a:pt x="186" y="33"/>
                    </a:lnTo>
                    <a:lnTo>
                      <a:pt x="190" y="36"/>
                    </a:lnTo>
                    <a:lnTo>
                      <a:pt x="198" y="36"/>
                    </a:lnTo>
                    <a:lnTo>
                      <a:pt x="198" y="33"/>
                    </a:lnTo>
                    <a:lnTo>
                      <a:pt x="196" y="31"/>
                    </a:lnTo>
                    <a:lnTo>
                      <a:pt x="196" y="28"/>
                    </a:lnTo>
                    <a:lnTo>
                      <a:pt x="201" y="26"/>
                    </a:lnTo>
                    <a:lnTo>
                      <a:pt x="203" y="25"/>
                    </a:lnTo>
                    <a:lnTo>
                      <a:pt x="206" y="25"/>
                    </a:lnTo>
                    <a:lnTo>
                      <a:pt x="206" y="26"/>
                    </a:lnTo>
                    <a:lnTo>
                      <a:pt x="211" y="26"/>
                    </a:lnTo>
                    <a:lnTo>
                      <a:pt x="215" y="21"/>
                    </a:lnTo>
                    <a:lnTo>
                      <a:pt x="213" y="16"/>
                    </a:lnTo>
                    <a:lnTo>
                      <a:pt x="216" y="13"/>
                    </a:lnTo>
                    <a:lnTo>
                      <a:pt x="218" y="10"/>
                    </a:lnTo>
                    <a:lnTo>
                      <a:pt x="220" y="5"/>
                    </a:lnTo>
                    <a:lnTo>
                      <a:pt x="221" y="0"/>
                    </a:lnTo>
                    <a:lnTo>
                      <a:pt x="228" y="0"/>
                    </a:lnTo>
                    <a:lnTo>
                      <a:pt x="231" y="3"/>
                    </a:lnTo>
                    <a:lnTo>
                      <a:pt x="236" y="5"/>
                    </a:lnTo>
                    <a:lnTo>
                      <a:pt x="236" y="8"/>
                    </a:lnTo>
                    <a:lnTo>
                      <a:pt x="235" y="13"/>
                    </a:lnTo>
                    <a:lnTo>
                      <a:pt x="236" y="18"/>
                    </a:lnTo>
                    <a:lnTo>
                      <a:pt x="241" y="18"/>
                    </a:lnTo>
                    <a:lnTo>
                      <a:pt x="243" y="21"/>
                    </a:lnTo>
                    <a:lnTo>
                      <a:pt x="243" y="26"/>
                    </a:lnTo>
                    <a:lnTo>
                      <a:pt x="243" y="31"/>
                    </a:lnTo>
                    <a:lnTo>
                      <a:pt x="243" y="40"/>
                    </a:lnTo>
                    <a:lnTo>
                      <a:pt x="246" y="45"/>
                    </a:lnTo>
                    <a:lnTo>
                      <a:pt x="246" y="48"/>
                    </a:lnTo>
                    <a:lnTo>
                      <a:pt x="251" y="49"/>
                    </a:lnTo>
                    <a:lnTo>
                      <a:pt x="258" y="49"/>
                    </a:lnTo>
                    <a:lnTo>
                      <a:pt x="261" y="46"/>
                    </a:lnTo>
                    <a:lnTo>
                      <a:pt x="263" y="45"/>
                    </a:lnTo>
                    <a:lnTo>
                      <a:pt x="271" y="41"/>
                    </a:lnTo>
                    <a:lnTo>
                      <a:pt x="274" y="38"/>
                    </a:lnTo>
                    <a:lnTo>
                      <a:pt x="276" y="33"/>
                    </a:lnTo>
                    <a:lnTo>
                      <a:pt x="279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6" name="Freeform 70">
                <a:extLst>
                  <a:ext uri="{FF2B5EF4-FFF2-40B4-BE49-F238E27FC236}">
                    <a16:creationId xmlns:a16="http://schemas.microsoft.com/office/drawing/2014/main" id="{979FE550-B762-AD48-9413-94E930F8AA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4051" y="2754033"/>
                <a:ext cx="70636" cy="518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25" y="20"/>
                  </a:cxn>
                  <a:cxn ang="0">
                    <a:pos x="42" y="25"/>
                  </a:cxn>
                  <a:cxn ang="0">
                    <a:pos x="40" y="12"/>
                  </a:cxn>
                  <a:cxn ang="0">
                    <a:pos x="37" y="2"/>
                  </a:cxn>
                  <a:cxn ang="0">
                    <a:pos x="55" y="10"/>
                  </a:cxn>
                  <a:cxn ang="0">
                    <a:pos x="68" y="17"/>
                  </a:cxn>
                  <a:cxn ang="0">
                    <a:pos x="78" y="9"/>
                  </a:cxn>
                  <a:cxn ang="0">
                    <a:pos x="91" y="4"/>
                  </a:cxn>
                  <a:cxn ang="0">
                    <a:pos x="100" y="17"/>
                  </a:cxn>
                  <a:cxn ang="0">
                    <a:pos x="111" y="28"/>
                  </a:cxn>
                  <a:cxn ang="0">
                    <a:pos x="116" y="35"/>
                  </a:cxn>
                  <a:cxn ang="0">
                    <a:pos x="130" y="37"/>
                  </a:cxn>
                  <a:cxn ang="0">
                    <a:pos x="130" y="42"/>
                  </a:cxn>
                  <a:cxn ang="0">
                    <a:pos x="120" y="43"/>
                  </a:cxn>
                  <a:cxn ang="0">
                    <a:pos x="113" y="55"/>
                  </a:cxn>
                  <a:cxn ang="0">
                    <a:pos x="111" y="62"/>
                  </a:cxn>
                  <a:cxn ang="0">
                    <a:pos x="113" y="68"/>
                  </a:cxn>
                  <a:cxn ang="0">
                    <a:pos x="110" y="73"/>
                  </a:cxn>
                  <a:cxn ang="0">
                    <a:pos x="108" y="83"/>
                  </a:cxn>
                  <a:cxn ang="0">
                    <a:pos x="108" y="77"/>
                  </a:cxn>
                  <a:cxn ang="0">
                    <a:pos x="103" y="75"/>
                  </a:cxn>
                  <a:cxn ang="0">
                    <a:pos x="103" y="85"/>
                  </a:cxn>
                  <a:cxn ang="0">
                    <a:pos x="105" y="90"/>
                  </a:cxn>
                  <a:cxn ang="0">
                    <a:pos x="103" y="100"/>
                  </a:cxn>
                  <a:cxn ang="0">
                    <a:pos x="96" y="97"/>
                  </a:cxn>
                  <a:cxn ang="0">
                    <a:pos x="85" y="87"/>
                  </a:cxn>
                  <a:cxn ang="0">
                    <a:pos x="86" y="78"/>
                  </a:cxn>
                  <a:cxn ang="0">
                    <a:pos x="88" y="73"/>
                  </a:cxn>
                  <a:cxn ang="0">
                    <a:pos x="83" y="67"/>
                  </a:cxn>
                  <a:cxn ang="0">
                    <a:pos x="80" y="65"/>
                  </a:cxn>
                  <a:cxn ang="0">
                    <a:pos x="73" y="68"/>
                  </a:cxn>
                  <a:cxn ang="0">
                    <a:pos x="67" y="73"/>
                  </a:cxn>
                  <a:cxn ang="0">
                    <a:pos x="60" y="80"/>
                  </a:cxn>
                  <a:cxn ang="0">
                    <a:pos x="55" y="82"/>
                  </a:cxn>
                  <a:cxn ang="0">
                    <a:pos x="50" y="87"/>
                  </a:cxn>
                  <a:cxn ang="0">
                    <a:pos x="48" y="85"/>
                  </a:cxn>
                  <a:cxn ang="0">
                    <a:pos x="50" y="78"/>
                  </a:cxn>
                  <a:cxn ang="0">
                    <a:pos x="52" y="72"/>
                  </a:cxn>
                  <a:cxn ang="0">
                    <a:pos x="38" y="67"/>
                  </a:cxn>
                  <a:cxn ang="0">
                    <a:pos x="25" y="53"/>
                  </a:cxn>
                  <a:cxn ang="0">
                    <a:pos x="28" y="47"/>
                  </a:cxn>
                  <a:cxn ang="0">
                    <a:pos x="18" y="35"/>
                  </a:cxn>
                  <a:cxn ang="0">
                    <a:pos x="15" y="25"/>
                  </a:cxn>
                  <a:cxn ang="0">
                    <a:pos x="2" y="20"/>
                  </a:cxn>
                  <a:cxn ang="0">
                    <a:pos x="42" y="85"/>
                  </a:cxn>
                  <a:cxn ang="0">
                    <a:pos x="25" y="70"/>
                  </a:cxn>
                  <a:cxn ang="0">
                    <a:pos x="17" y="62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2" y="63"/>
                  </a:cxn>
                  <a:cxn ang="0">
                    <a:pos x="8" y="67"/>
                  </a:cxn>
                  <a:cxn ang="0">
                    <a:pos x="10" y="73"/>
                  </a:cxn>
                  <a:cxn ang="0">
                    <a:pos x="22" y="83"/>
                  </a:cxn>
                  <a:cxn ang="0">
                    <a:pos x="33" y="85"/>
                  </a:cxn>
                  <a:cxn ang="0">
                    <a:pos x="42" y="85"/>
                  </a:cxn>
                </a:cxnLst>
                <a:rect l="0" t="0" r="r" b="b"/>
                <a:pathLst>
                  <a:path w="133" h="100">
                    <a:moveTo>
                      <a:pt x="2" y="20"/>
                    </a:moveTo>
                    <a:lnTo>
                      <a:pt x="2" y="17"/>
                    </a:lnTo>
                    <a:lnTo>
                      <a:pt x="10" y="14"/>
                    </a:lnTo>
                    <a:lnTo>
                      <a:pt x="25" y="20"/>
                    </a:lnTo>
                    <a:lnTo>
                      <a:pt x="33" y="20"/>
                    </a:lnTo>
                    <a:lnTo>
                      <a:pt x="42" y="25"/>
                    </a:lnTo>
                    <a:lnTo>
                      <a:pt x="43" y="17"/>
                    </a:lnTo>
                    <a:lnTo>
                      <a:pt x="40" y="12"/>
                    </a:lnTo>
                    <a:lnTo>
                      <a:pt x="33" y="9"/>
                    </a:lnTo>
                    <a:lnTo>
                      <a:pt x="37" y="2"/>
                    </a:lnTo>
                    <a:lnTo>
                      <a:pt x="43" y="2"/>
                    </a:lnTo>
                    <a:lnTo>
                      <a:pt x="55" y="10"/>
                    </a:lnTo>
                    <a:lnTo>
                      <a:pt x="58" y="15"/>
                    </a:lnTo>
                    <a:lnTo>
                      <a:pt x="68" y="17"/>
                    </a:lnTo>
                    <a:lnTo>
                      <a:pt x="72" y="12"/>
                    </a:lnTo>
                    <a:lnTo>
                      <a:pt x="78" y="9"/>
                    </a:lnTo>
                    <a:lnTo>
                      <a:pt x="86" y="0"/>
                    </a:lnTo>
                    <a:lnTo>
                      <a:pt x="91" y="4"/>
                    </a:lnTo>
                    <a:lnTo>
                      <a:pt x="98" y="12"/>
                    </a:lnTo>
                    <a:lnTo>
                      <a:pt x="100" y="17"/>
                    </a:lnTo>
                    <a:lnTo>
                      <a:pt x="103" y="22"/>
                    </a:lnTo>
                    <a:lnTo>
                      <a:pt x="111" y="28"/>
                    </a:lnTo>
                    <a:lnTo>
                      <a:pt x="111" y="32"/>
                    </a:lnTo>
                    <a:lnTo>
                      <a:pt x="116" y="35"/>
                    </a:lnTo>
                    <a:lnTo>
                      <a:pt x="123" y="35"/>
                    </a:lnTo>
                    <a:lnTo>
                      <a:pt x="130" y="37"/>
                    </a:lnTo>
                    <a:lnTo>
                      <a:pt x="133" y="42"/>
                    </a:lnTo>
                    <a:lnTo>
                      <a:pt x="130" y="42"/>
                    </a:lnTo>
                    <a:lnTo>
                      <a:pt x="126" y="43"/>
                    </a:lnTo>
                    <a:lnTo>
                      <a:pt x="120" y="43"/>
                    </a:lnTo>
                    <a:lnTo>
                      <a:pt x="111" y="48"/>
                    </a:lnTo>
                    <a:lnTo>
                      <a:pt x="113" y="55"/>
                    </a:lnTo>
                    <a:lnTo>
                      <a:pt x="113" y="60"/>
                    </a:lnTo>
                    <a:lnTo>
                      <a:pt x="111" y="62"/>
                    </a:lnTo>
                    <a:lnTo>
                      <a:pt x="111" y="67"/>
                    </a:lnTo>
                    <a:lnTo>
                      <a:pt x="113" y="68"/>
                    </a:lnTo>
                    <a:lnTo>
                      <a:pt x="113" y="72"/>
                    </a:lnTo>
                    <a:lnTo>
                      <a:pt x="110" y="73"/>
                    </a:lnTo>
                    <a:lnTo>
                      <a:pt x="110" y="82"/>
                    </a:lnTo>
                    <a:lnTo>
                      <a:pt x="108" y="83"/>
                    </a:lnTo>
                    <a:lnTo>
                      <a:pt x="106" y="82"/>
                    </a:lnTo>
                    <a:lnTo>
                      <a:pt x="108" y="77"/>
                    </a:lnTo>
                    <a:lnTo>
                      <a:pt x="105" y="73"/>
                    </a:lnTo>
                    <a:lnTo>
                      <a:pt x="103" y="75"/>
                    </a:lnTo>
                    <a:lnTo>
                      <a:pt x="101" y="78"/>
                    </a:lnTo>
                    <a:lnTo>
                      <a:pt x="103" y="85"/>
                    </a:lnTo>
                    <a:lnTo>
                      <a:pt x="103" y="88"/>
                    </a:lnTo>
                    <a:lnTo>
                      <a:pt x="105" y="90"/>
                    </a:lnTo>
                    <a:lnTo>
                      <a:pt x="105" y="98"/>
                    </a:lnTo>
                    <a:lnTo>
                      <a:pt x="103" y="100"/>
                    </a:lnTo>
                    <a:lnTo>
                      <a:pt x="98" y="98"/>
                    </a:lnTo>
                    <a:lnTo>
                      <a:pt x="96" y="97"/>
                    </a:lnTo>
                    <a:lnTo>
                      <a:pt x="93" y="93"/>
                    </a:lnTo>
                    <a:lnTo>
                      <a:pt x="85" y="87"/>
                    </a:lnTo>
                    <a:lnTo>
                      <a:pt x="93" y="82"/>
                    </a:lnTo>
                    <a:lnTo>
                      <a:pt x="86" y="78"/>
                    </a:lnTo>
                    <a:lnTo>
                      <a:pt x="85" y="77"/>
                    </a:lnTo>
                    <a:lnTo>
                      <a:pt x="88" y="73"/>
                    </a:lnTo>
                    <a:lnTo>
                      <a:pt x="85" y="70"/>
                    </a:lnTo>
                    <a:lnTo>
                      <a:pt x="83" y="67"/>
                    </a:lnTo>
                    <a:lnTo>
                      <a:pt x="81" y="67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3" y="68"/>
                    </a:lnTo>
                    <a:lnTo>
                      <a:pt x="70" y="70"/>
                    </a:lnTo>
                    <a:lnTo>
                      <a:pt x="67" y="73"/>
                    </a:lnTo>
                    <a:lnTo>
                      <a:pt x="63" y="73"/>
                    </a:lnTo>
                    <a:lnTo>
                      <a:pt x="60" y="80"/>
                    </a:lnTo>
                    <a:lnTo>
                      <a:pt x="57" y="80"/>
                    </a:lnTo>
                    <a:lnTo>
                      <a:pt x="55" y="82"/>
                    </a:lnTo>
                    <a:lnTo>
                      <a:pt x="55" y="83"/>
                    </a:lnTo>
                    <a:lnTo>
                      <a:pt x="50" y="87"/>
                    </a:lnTo>
                    <a:lnTo>
                      <a:pt x="47" y="85"/>
                    </a:lnTo>
                    <a:lnTo>
                      <a:pt x="48" y="85"/>
                    </a:lnTo>
                    <a:lnTo>
                      <a:pt x="48" y="80"/>
                    </a:lnTo>
                    <a:lnTo>
                      <a:pt x="50" y="78"/>
                    </a:lnTo>
                    <a:lnTo>
                      <a:pt x="45" y="72"/>
                    </a:lnTo>
                    <a:lnTo>
                      <a:pt x="52" y="72"/>
                    </a:lnTo>
                    <a:lnTo>
                      <a:pt x="47" y="67"/>
                    </a:lnTo>
                    <a:lnTo>
                      <a:pt x="38" y="67"/>
                    </a:lnTo>
                    <a:lnTo>
                      <a:pt x="28" y="60"/>
                    </a:lnTo>
                    <a:lnTo>
                      <a:pt x="25" y="53"/>
                    </a:lnTo>
                    <a:lnTo>
                      <a:pt x="28" y="52"/>
                    </a:lnTo>
                    <a:lnTo>
                      <a:pt x="28" y="47"/>
                    </a:lnTo>
                    <a:lnTo>
                      <a:pt x="18" y="38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15" y="25"/>
                    </a:lnTo>
                    <a:lnTo>
                      <a:pt x="5" y="25"/>
                    </a:lnTo>
                    <a:lnTo>
                      <a:pt x="2" y="20"/>
                    </a:lnTo>
                    <a:lnTo>
                      <a:pt x="2" y="20"/>
                    </a:lnTo>
                    <a:close/>
                    <a:moveTo>
                      <a:pt x="42" y="85"/>
                    </a:moveTo>
                    <a:lnTo>
                      <a:pt x="32" y="72"/>
                    </a:lnTo>
                    <a:lnTo>
                      <a:pt x="25" y="70"/>
                    </a:lnTo>
                    <a:lnTo>
                      <a:pt x="22" y="62"/>
                    </a:lnTo>
                    <a:lnTo>
                      <a:pt x="17" y="62"/>
                    </a:lnTo>
                    <a:lnTo>
                      <a:pt x="15" y="65"/>
                    </a:lnTo>
                    <a:lnTo>
                      <a:pt x="8" y="58"/>
                    </a:lnTo>
                    <a:lnTo>
                      <a:pt x="3" y="62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5" y="67"/>
                    </a:lnTo>
                    <a:lnTo>
                      <a:pt x="8" y="67"/>
                    </a:lnTo>
                    <a:lnTo>
                      <a:pt x="10" y="70"/>
                    </a:lnTo>
                    <a:lnTo>
                      <a:pt x="10" y="73"/>
                    </a:lnTo>
                    <a:lnTo>
                      <a:pt x="20" y="78"/>
                    </a:lnTo>
                    <a:lnTo>
                      <a:pt x="22" y="83"/>
                    </a:lnTo>
                    <a:lnTo>
                      <a:pt x="27" y="85"/>
                    </a:lnTo>
                    <a:lnTo>
                      <a:pt x="33" y="85"/>
                    </a:lnTo>
                    <a:lnTo>
                      <a:pt x="40" y="90"/>
                    </a:lnTo>
                    <a:lnTo>
                      <a:pt x="42" y="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7" name="Freeform 71">
                <a:extLst>
                  <a:ext uri="{FF2B5EF4-FFF2-40B4-BE49-F238E27FC236}">
                    <a16:creationId xmlns:a16="http://schemas.microsoft.com/office/drawing/2014/main" id="{4739B7A4-DA46-A247-9F85-87E3B7994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7630" y="2787236"/>
                <a:ext cx="265422" cy="186766"/>
              </a:xfrm>
              <a:custGeom>
                <a:avLst/>
                <a:gdLst/>
                <a:ahLst/>
                <a:cxnLst>
                  <a:cxn ang="0">
                    <a:pos x="22" y="7"/>
                  </a:cxn>
                  <a:cxn ang="0">
                    <a:pos x="45" y="22"/>
                  </a:cxn>
                  <a:cxn ang="0">
                    <a:pos x="62" y="24"/>
                  </a:cxn>
                  <a:cxn ang="0">
                    <a:pos x="75" y="10"/>
                  </a:cxn>
                  <a:cxn ang="0">
                    <a:pos x="92" y="2"/>
                  </a:cxn>
                  <a:cxn ang="0">
                    <a:pos x="97" y="14"/>
                  </a:cxn>
                  <a:cxn ang="0">
                    <a:pos x="108" y="34"/>
                  </a:cxn>
                  <a:cxn ang="0">
                    <a:pos x="120" y="40"/>
                  </a:cxn>
                  <a:cxn ang="0">
                    <a:pos x="130" y="59"/>
                  </a:cxn>
                  <a:cxn ang="0">
                    <a:pos x="153" y="60"/>
                  </a:cxn>
                  <a:cxn ang="0">
                    <a:pos x="191" y="78"/>
                  </a:cxn>
                  <a:cxn ang="0">
                    <a:pos x="246" y="75"/>
                  </a:cxn>
                  <a:cxn ang="0">
                    <a:pos x="258" y="55"/>
                  </a:cxn>
                  <a:cxn ang="0">
                    <a:pos x="288" y="37"/>
                  </a:cxn>
                  <a:cxn ang="0">
                    <a:pos x="314" y="34"/>
                  </a:cxn>
                  <a:cxn ang="0">
                    <a:pos x="353" y="47"/>
                  </a:cxn>
                  <a:cxn ang="0">
                    <a:pos x="376" y="59"/>
                  </a:cxn>
                  <a:cxn ang="0">
                    <a:pos x="416" y="82"/>
                  </a:cxn>
                  <a:cxn ang="0">
                    <a:pos x="417" y="103"/>
                  </a:cxn>
                  <a:cxn ang="0">
                    <a:pos x="419" y="118"/>
                  </a:cxn>
                  <a:cxn ang="0">
                    <a:pos x="409" y="135"/>
                  </a:cxn>
                  <a:cxn ang="0">
                    <a:pos x="422" y="150"/>
                  </a:cxn>
                  <a:cxn ang="0">
                    <a:pos x="421" y="188"/>
                  </a:cxn>
                  <a:cxn ang="0">
                    <a:pos x="449" y="215"/>
                  </a:cxn>
                  <a:cxn ang="0">
                    <a:pos x="446" y="268"/>
                  </a:cxn>
                  <a:cxn ang="0">
                    <a:pos x="474" y="281"/>
                  </a:cxn>
                  <a:cxn ang="0">
                    <a:pos x="484" y="303"/>
                  </a:cxn>
                  <a:cxn ang="0">
                    <a:pos x="494" y="323"/>
                  </a:cxn>
                  <a:cxn ang="0">
                    <a:pos x="464" y="333"/>
                  </a:cxn>
                  <a:cxn ang="0">
                    <a:pos x="462" y="357"/>
                  </a:cxn>
                  <a:cxn ang="0">
                    <a:pos x="442" y="356"/>
                  </a:cxn>
                  <a:cxn ang="0">
                    <a:pos x="431" y="354"/>
                  </a:cxn>
                  <a:cxn ang="0">
                    <a:pos x="392" y="351"/>
                  </a:cxn>
                  <a:cxn ang="0">
                    <a:pos x="369" y="346"/>
                  </a:cxn>
                  <a:cxn ang="0">
                    <a:pos x="348" y="329"/>
                  </a:cxn>
                  <a:cxn ang="0">
                    <a:pos x="338" y="311"/>
                  </a:cxn>
                  <a:cxn ang="0">
                    <a:pos x="313" y="314"/>
                  </a:cxn>
                  <a:cxn ang="0">
                    <a:pos x="276" y="321"/>
                  </a:cxn>
                  <a:cxn ang="0">
                    <a:pos x="251" y="314"/>
                  </a:cxn>
                  <a:cxn ang="0">
                    <a:pos x="236" y="301"/>
                  </a:cxn>
                  <a:cxn ang="0">
                    <a:pos x="210" y="296"/>
                  </a:cxn>
                  <a:cxn ang="0">
                    <a:pos x="190" y="273"/>
                  </a:cxn>
                  <a:cxn ang="0">
                    <a:pos x="188" y="268"/>
                  </a:cxn>
                  <a:cxn ang="0">
                    <a:pos x="170" y="240"/>
                  </a:cxn>
                  <a:cxn ang="0">
                    <a:pos x="153" y="241"/>
                  </a:cxn>
                  <a:cxn ang="0">
                    <a:pos x="145" y="236"/>
                  </a:cxn>
                  <a:cxn ang="0">
                    <a:pos x="140" y="245"/>
                  </a:cxn>
                  <a:cxn ang="0">
                    <a:pos x="127" y="236"/>
                  </a:cxn>
                  <a:cxn ang="0">
                    <a:pos x="112" y="208"/>
                  </a:cxn>
                  <a:cxn ang="0">
                    <a:pos x="100" y="181"/>
                  </a:cxn>
                  <a:cxn ang="0">
                    <a:pos x="69" y="171"/>
                  </a:cxn>
                  <a:cxn ang="0">
                    <a:pos x="64" y="155"/>
                  </a:cxn>
                  <a:cxn ang="0">
                    <a:pos x="54" y="145"/>
                  </a:cxn>
                  <a:cxn ang="0">
                    <a:pos x="57" y="123"/>
                  </a:cxn>
                  <a:cxn ang="0">
                    <a:pos x="62" y="107"/>
                  </a:cxn>
                  <a:cxn ang="0">
                    <a:pos x="65" y="102"/>
                  </a:cxn>
                  <a:cxn ang="0">
                    <a:pos x="40" y="95"/>
                  </a:cxn>
                  <a:cxn ang="0">
                    <a:pos x="29" y="77"/>
                  </a:cxn>
                  <a:cxn ang="0">
                    <a:pos x="20" y="62"/>
                  </a:cxn>
                  <a:cxn ang="0">
                    <a:pos x="12" y="37"/>
                  </a:cxn>
                  <a:cxn ang="0">
                    <a:pos x="4" y="14"/>
                  </a:cxn>
                  <a:cxn ang="0">
                    <a:pos x="12" y="0"/>
                  </a:cxn>
                </a:cxnLst>
                <a:rect l="0" t="0" r="r" b="b"/>
                <a:pathLst>
                  <a:path w="497" h="361">
                    <a:moveTo>
                      <a:pt x="12" y="0"/>
                    </a:moveTo>
                    <a:lnTo>
                      <a:pt x="14" y="0"/>
                    </a:lnTo>
                    <a:lnTo>
                      <a:pt x="17" y="4"/>
                    </a:lnTo>
                    <a:lnTo>
                      <a:pt x="20" y="4"/>
                    </a:lnTo>
                    <a:lnTo>
                      <a:pt x="22" y="7"/>
                    </a:lnTo>
                    <a:lnTo>
                      <a:pt x="22" y="10"/>
                    </a:lnTo>
                    <a:lnTo>
                      <a:pt x="32" y="15"/>
                    </a:lnTo>
                    <a:lnTo>
                      <a:pt x="34" y="20"/>
                    </a:lnTo>
                    <a:lnTo>
                      <a:pt x="39" y="22"/>
                    </a:lnTo>
                    <a:lnTo>
                      <a:pt x="45" y="22"/>
                    </a:lnTo>
                    <a:lnTo>
                      <a:pt x="52" y="27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9" y="22"/>
                    </a:lnTo>
                    <a:lnTo>
                      <a:pt x="62" y="24"/>
                    </a:lnTo>
                    <a:lnTo>
                      <a:pt x="67" y="20"/>
                    </a:lnTo>
                    <a:lnTo>
                      <a:pt x="67" y="19"/>
                    </a:lnTo>
                    <a:lnTo>
                      <a:pt x="69" y="17"/>
                    </a:lnTo>
                    <a:lnTo>
                      <a:pt x="72" y="17"/>
                    </a:lnTo>
                    <a:lnTo>
                      <a:pt x="75" y="10"/>
                    </a:lnTo>
                    <a:lnTo>
                      <a:pt x="79" y="10"/>
                    </a:lnTo>
                    <a:lnTo>
                      <a:pt x="82" y="7"/>
                    </a:lnTo>
                    <a:lnTo>
                      <a:pt x="85" y="5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3" y="4"/>
                    </a:lnTo>
                    <a:lnTo>
                      <a:pt x="95" y="4"/>
                    </a:lnTo>
                    <a:lnTo>
                      <a:pt x="97" y="7"/>
                    </a:lnTo>
                    <a:lnTo>
                      <a:pt x="100" y="10"/>
                    </a:lnTo>
                    <a:lnTo>
                      <a:pt x="97" y="14"/>
                    </a:lnTo>
                    <a:lnTo>
                      <a:pt x="98" y="15"/>
                    </a:lnTo>
                    <a:lnTo>
                      <a:pt x="105" y="19"/>
                    </a:lnTo>
                    <a:lnTo>
                      <a:pt x="97" y="24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10" y="35"/>
                    </a:lnTo>
                    <a:lnTo>
                      <a:pt x="115" y="37"/>
                    </a:lnTo>
                    <a:lnTo>
                      <a:pt x="117" y="35"/>
                    </a:lnTo>
                    <a:lnTo>
                      <a:pt x="117" y="37"/>
                    </a:lnTo>
                    <a:lnTo>
                      <a:pt x="120" y="40"/>
                    </a:lnTo>
                    <a:lnTo>
                      <a:pt x="120" y="45"/>
                    </a:lnTo>
                    <a:lnTo>
                      <a:pt x="120" y="52"/>
                    </a:lnTo>
                    <a:lnTo>
                      <a:pt x="122" y="54"/>
                    </a:lnTo>
                    <a:lnTo>
                      <a:pt x="125" y="54"/>
                    </a:lnTo>
                    <a:lnTo>
                      <a:pt x="130" y="59"/>
                    </a:lnTo>
                    <a:lnTo>
                      <a:pt x="135" y="59"/>
                    </a:lnTo>
                    <a:lnTo>
                      <a:pt x="140" y="60"/>
                    </a:lnTo>
                    <a:lnTo>
                      <a:pt x="145" y="57"/>
                    </a:lnTo>
                    <a:lnTo>
                      <a:pt x="150" y="60"/>
                    </a:lnTo>
                    <a:lnTo>
                      <a:pt x="153" y="60"/>
                    </a:lnTo>
                    <a:lnTo>
                      <a:pt x="155" y="65"/>
                    </a:lnTo>
                    <a:lnTo>
                      <a:pt x="160" y="70"/>
                    </a:lnTo>
                    <a:lnTo>
                      <a:pt x="172" y="73"/>
                    </a:lnTo>
                    <a:lnTo>
                      <a:pt x="177" y="75"/>
                    </a:lnTo>
                    <a:lnTo>
                      <a:pt x="191" y="78"/>
                    </a:lnTo>
                    <a:lnTo>
                      <a:pt x="198" y="78"/>
                    </a:lnTo>
                    <a:lnTo>
                      <a:pt x="215" y="75"/>
                    </a:lnTo>
                    <a:lnTo>
                      <a:pt x="226" y="73"/>
                    </a:lnTo>
                    <a:lnTo>
                      <a:pt x="241" y="73"/>
                    </a:lnTo>
                    <a:lnTo>
                      <a:pt x="246" y="75"/>
                    </a:lnTo>
                    <a:lnTo>
                      <a:pt x="248" y="70"/>
                    </a:lnTo>
                    <a:lnTo>
                      <a:pt x="245" y="65"/>
                    </a:lnTo>
                    <a:lnTo>
                      <a:pt x="241" y="59"/>
                    </a:lnTo>
                    <a:lnTo>
                      <a:pt x="246" y="57"/>
                    </a:lnTo>
                    <a:lnTo>
                      <a:pt x="258" y="55"/>
                    </a:lnTo>
                    <a:lnTo>
                      <a:pt x="261" y="50"/>
                    </a:lnTo>
                    <a:lnTo>
                      <a:pt x="265" y="45"/>
                    </a:lnTo>
                    <a:lnTo>
                      <a:pt x="268" y="45"/>
                    </a:lnTo>
                    <a:lnTo>
                      <a:pt x="278" y="39"/>
                    </a:lnTo>
                    <a:lnTo>
                      <a:pt x="288" y="37"/>
                    </a:lnTo>
                    <a:lnTo>
                      <a:pt x="298" y="39"/>
                    </a:lnTo>
                    <a:lnTo>
                      <a:pt x="299" y="34"/>
                    </a:lnTo>
                    <a:lnTo>
                      <a:pt x="304" y="32"/>
                    </a:lnTo>
                    <a:lnTo>
                      <a:pt x="309" y="34"/>
                    </a:lnTo>
                    <a:lnTo>
                      <a:pt x="314" y="34"/>
                    </a:lnTo>
                    <a:lnTo>
                      <a:pt x="323" y="40"/>
                    </a:lnTo>
                    <a:lnTo>
                      <a:pt x="331" y="42"/>
                    </a:lnTo>
                    <a:lnTo>
                      <a:pt x="344" y="50"/>
                    </a:lnTo>
                    <a:lnTo>
                      <a:pt x="349" y="49"/>
                    </a:lnTo>
                    <a:lnTo>
                      <a:pt x="353" y="47"/>
                    </a:lnTo>
                    <a:lnTo>
                      <a:pt x="363" y="50"/>
                    </a:lnTo>
                    <a:lnTo>
                      <a:pt x="368" y="52"/>
                    </a:lnTo>
                    <a:lnTo>
                      <a:pt x="369" y="59"/>
                    </a:lnTo>
                    <a:lnTo>
                      <a:pt x="371" y="60"/>
                    </a:lnTo>
                    <a:lnTo>
                      <a:pt x="376" y="59"/>
                    </a:lnTo>
                    <a:lnTo>
                      <a:pt x="384" y="60"/>
                    </a:lnTo>
                    <a:lnTo>
                      <a:pt x="394" y="72"/>
                    </a:lnTo>
                    <a:lnTo>
                      <a:pt x="406" y="73"/>
                    </a:lnTo>
                    <a:lnTo>
                      <a:pt x="411" y="75"/>
                    </a:lnTo>
                    <a:lnTo>
                      <a:pt x="416" y="82"/>
                    </a:lnTo>
                    <a:lnTo>
                      <a:pt x="414" y="85"/>
                    </a:lnTo>
                    <a:lnTo>
                      <a:pt x="416" y="90"/>
                    </a:lnTo>
                    <a:lnTo>
                      <a:pt x="416" y="93"/>
                    </a:lnTo>
                    <a:lnTo>
                      <a:pt x="417" y="98"/>
                    </a:lnTo>
                    <a:lnTo>
                      <a:pt x="417" y="103"/>
                    </a:lnTo>
                    <a:lnTo>
                      <a:pt x="417" y="107"/>
                    </a:lnTo>
                    <a:lnTo>
                      <a:pt x="416" y="110"/>
                    </a:lnTo>
                    <a:lnTo>
                      <a:pt x="419" y="113"/>
                    </a:lnTo>
                    <a:lnTo>
                      <a:pt x="417" y="115"/>
                    </a:lnTo>
                    <a:lnTo>
                      <a:pt x="419" y="118"/>
                    </a:lnTo>
                    <a:lnTo>
                      <a:pt x="412" y="122"/>
                    </a:lnTo>
                    <a:lnTo>
                      <a:pt x="407" y="123"/>
                    </a:lnTo>
                    <a:lnTo>
                      <a:pt x="409" y="127"/>
                    </a:lnTo>
                    <a:lnTo>
                      <a:pt x="412" y="128"/>
                    </a:lnTo>
                    <a:lnTo>
                      <a:pt x="409" y="135"/>
                    </a:lnTo>
                    <a:lnTo>
                      <a:pt x="409" y="135"/>
                    </a:lnTo>
                    <a:lnTo>
                      <a:pt x="411" y="143"/>
                    </a:lnTo>
                    <a:lnTo>
                      <a:pt x="411" y="148"/>
                    </a:lnTo>
                    <a:lnTo>
                      <a:pt x="419" y="150"/>
                    </a:lnTo>
                    <a:lnTo>
                      <a:pt x="422" y="150"/>
                    </a:lnTo>
                    <a:lnTo>
                      <a:pt x="414" y="158"/>
                    </a:lnTo>
                    <a:lnTo>
                      <a:pt x="412" y="163"/>
                    </a:lnTo>
                    <a:lnTo>
                      <a:pt x="419" y="175"/>
                    </a:lnTo>
                    <a:lnTo>
                      <a:pt x="422" y="185"/>
                    </a:lnTo>
                    <a:lnTo>
                      <a:pt x="421" y="188"/>
                    </a:lnTo>
                    <a:lnTo>
                      <a:pt x="424" y="191"/>
                    </a:lnTo>
                    <a:lnTo>
                      <a:pt x="424" y="200"/>
                    </a:lnTo>
                    <a:lnTo>
                      <a:pt x="446" y="200"/>
                    </a:lnTo>
                    <a:lnTo>
                      <a:pt x="449" y="208"/>
                    </a:lnTo>
                    <a:lnTo>
                      <a:pt x="449" y="215"/>
                    </a:lnTo>
                    <a:lnTo>
                      <a:pt x="451" y="223"/>
                    </a:lnTo>
                    <a:lnTo>
                      <a:pt x="449" y="225"/>
                    </a:lnTo>
                    <a:lnTo>
                      <a:pt x="431" y="248"/>
                    </a:lnTo>
                    <a:lnTo>
                      <a:pt x="444" y="263"/>
                    </a:lnTo>
                    <a:lnTo>
                      <a:pt x="446" y="268"/>
                    </a:lnTo>
                    <a:lnTo>
                      <a:pt x="452" y="274"/>
                    </a:lnTo>
                    <a:lnTo>
                      <a:pt x="459" y="278"/>
                    </a:lnTo>
                    <a:lnTo>
                      <a:pt x="461" y="279"/>
                    </a:lnTo>
                    <a:lnTo>
                      <a:pt x="469" y="279"/>
                    </a:lnTo>
                    <a:lnTo>
                      <a:pt x="474" y="281"/>
                    </a:lnTo>
                    <a:lnTo>
                      <a:pt x="474" y="284"/>
                    </a:lnTo>
                    <a:lnTo>
                      <a:pt x="481" y="284"/>
                    </a:lnTo>
                    <a:lnTo>
                      <a:pt x="481" y="291"/>
                    </a:lnTo>
                    <a:lnTo>
                      <a:pt x="482" y="298"/>
                    </a:lnTo>
                    <a:lnTo>
                      <a:pt x="484" y="303"/>
                    </a:lnTo>
                    <a:lnTo>
                      <a:pt x="484" y="306"/>
                    </a:lnTo>
                    <a:lnTo>
                      <a:pt x="490" y="306"/>
                    </a:lnTo>
                    <a:lnTo>
                      <a:pt x="497" y="311"/>
                    </a:lnTo>
                    <a:lnTo>
                      <a:pt x="497" y="319"/>
                    </a:lnTo>
                    <a:lnTo>
                      <a:pt x="494" y="323"/>
                    </a:lnTo>
                    <a:lnTo>
                      <a:pt x="487" y="319"/>
                    </a:lnTo>
                    <a:lnTo>
                      <a:pt x="476" y="323"/>
                    </a:lnTo>
                    <a:lnTo>
                      <a:pt x="474" y="326"/>
                    </a:lnTo>
                    <a:lnTo>
                      <a:pt x="466" y="328"/>
                    </a:lnTo>
                    <a:lnTo>
                      <a:pt x="464" y="333"/>
                    </a:lnTo>
                    <a:lnTo>
                      <a:pt x="466" y="336"/>
                    </a:lnTo>
                    <a:lnTo>
                      <a:pt x="461" y="341"/>
                    </a:lnTo>
                    <a:lnTo>
                      <a:pt x="464" y="346"/>
                    </a:lnTo>
                    <a:lnTo>
                      <a:pt x="462" y="354"/>
                    </a:lnTo>
                    <a:lnTo>
                      <a:pt x="462" y="357"/>
                    </a:lnTo>
                    <a:lnTo>
                      <a:pt x="461" y="357"/>
                    </a:lnTo>
                    <a:lnTo>
                      <a:pt x="461" y="359"/>
                    </a:lnTo>
                    <a:lnTo>
                      <a:pt x="456" y="361"/>
                    </a:lnTo>
                    <a:lnTo>
                      <a:pt x="449" y="357"/>
                    </a:lnTo>
                    <a:lnTo>
                      <a:pt x="442" y="356"/>
                    </a:lnTo>
                    <a:lnTo>
                      <a:pt x="439" y="353"/>
                    </a:lnTo>
                    <a:lnTo>
                      <a:pt x="437" y="353"/>
                    </a:lnTo>
                    <a:lnTo>
                      <a:pt x="436" y="356"/>
                    </a:lnTo>
                    <a:lnTo>
                      <a:pt x="434" y="357"/>
                    </a:lnTo>
                    <a:lnTo>
                      <a:pt x="431" y="354"/>
                    </a:lnTo>
                    <a:lnTo>
                      <a:pt x="429" y="354"/>
                    </a:lnTo>
                    <a:lnTo>
                      <a:pt x="424" y="354"/>
                    </a:lnTo>
                    <a:lnTo>
                      <a:pt x="414" y="353"/>
                    </a:lnTo>
                    <a:lnTo>
                      <a:pt x="406" y="351"/>
                    </a:lnTo>
                    <a:lnTo>
                      <a:pt x="392" y="351"/>
                    </a:lnTo>
                    <a:lnTo>
                      <a:pt x="386" y="346"/>
                    </a:lnTo>
                    <a:lnTo>
                      <a:pt x="384" y="346"/>
                    </a:lnTo>
                    <a:lnTo>
                      <a:pt x="379" y="349"/>
                    </a:lnTo>
                    <a:lnTo>
                      <a:pt x="374" y="346"/>
                    </a:lnTo>
                    <a:lnTo>
                      <a:pt x="369" y="346"/>
                    </a:lnTo>
                    <a:lnTo>
                      <a:pt x="356" y="348"/>
                    </a:lnTo>
                    <a:lnTo>
                      <a:pt x="354" y="344"/>
                    </a:lnTo>
                    <a:lnTo>
                      <a:pt x="353" y="343"/>
                    </a:lnTo>
                    <a:lnTo>
                      <a:pt x="353" y="338"/>
                    </a:lnTo>
                    <a:lnTo>
                      <a:pt x="348" y="329"/>
                    </a:lnTo>
                    <a:lnTo>
                      <a:pt x="344" y="321"/>
                    </a:lnTo>
                    <a:lnTo>
                      <a:pt x="339" y="316"/>
                    </a:lnTo>
                    <a:lnTo>
                      <a:pt x="339" y="313"/>
                    </a:lnTo>
                    <a:lnTo>
                      <a:pt x="338" y="313"/>
                    </a:lnTo>
                    <a:lnTo>
                      <a:pt x="338" y="311"/>
                    </a:lnTo>
                    <a:lnTo>
                      <a:pt x="329" y="311"/>
                    </a:lnTo>
                    <a:lnTo>
                      <a:pt x="324" y="313"/>
                    </a:lnTo>
                    <a:lnTo>
                      <a:pt x="318" y="316"/>
                    </a:lnTo>
                    <a:lnTo>
                      <a:pt x="313" y="316"/>
                    </a:lnTo>
                    <a:lnTo>
                      <a:pt x="313" y="314"/>
                    </a:lnTo>
                    <a:lnTo>
                      <a:pt x="313" y="318"/>
                    </a:lnTo>
                    <a:lnTo>
                      <a:pt x="303" y="323"/>
                    </a:lnTo>
                    <a:lnTo>
                      <a:pt x="293" y="329"/>
                    </a:lnTo>
                    <a:lnTo>
                      <a:pt x="284" y="323"/>
                    </a:lnTo>
                    <a:lnTo>
                      <a:pt x="276" y="321"/>
                    </a:lnTo>
                    <a:lnTo>
                      <a:pt x="270" y="323"/>
                    </a:lnTo>
                    <a:lnTo>
                      <a:pt x="268" y="323"/>
                    </a:lnTo>
                    <a:lnTo>
                      <a:pt x="260" y="316"/>
                    </a:lnTo>
                    <a:lnTo>
                      <a:pt x="255" y="316"/>
                    </a:lnTo>
                    <a:lnTo>
                      <a:pt x="251" y="314"/>
                    </a:lnTo>
                    <a:lnTo>
                      <a:pt x="246" y="313"/>
                    </a:lnTo>
                    <a:lnTo>
                      <a:pt x="238" y="306"/>
                    </a:lnTo>
                    <a:lnTo>
                      <a:pt x="241" y="303"/>
                    </a:lnTo>
                    <a:lnTo>
                      <a:pt x="241" y="301"/>
                    </a:lnTo>
                    <a:lnTo>
                      <a:pt x="236" y="301"/>
                    </a:lnTo>
                    <a:lnTo>
                      <a:pt x="235" y="299"/>
                    </a:lnTo>
                    <a:lnTo>
                      <a:pt x="228" y="299"/>
                    </a:lnTo>
                    <a:lnTo>
                      <a:pt x="225" y="296"/>
                    </a:lnTo>
                    <a:lnTo>
                      <a:pt x="218" y="294"/>
                    </a:lnTo>
                    <a:lnTo>
                      <a:pt x="210" y="296"/>
                    </a:lnTo>
                    <a:lnTo>
                      <a:pt x="205" y="293"/>
                    </a:lnTo>
                    <a:lnTo>
                      <a:pt x="198" y="278"/>
                    </a:lnTo>
                    <a:lnTo>
                      <a:pt x="196" y="274"/>
                    </a:lnTo>
                    <a:lnTo>
                      <a:pt x="195" y="276"/>
                    </a:lnTo>
                    <a:lnTo>
                      <a:pt x="190" y="273"/>
                    </a:lnTo>
                    <a:lnTo>
                      <a:pt x="191" y="271"/>
                    </a:lnTo>
                    <a:lnTo>
                      <a:pt x="193" y="273"/>
                    </a:lnTo>
                    <a:lnTo>
                      <a:pt x="195" y="273"/>
                    </a:lnTo>
                    <a:lnTo>
                      <a:pt x="191" y="268"/>
                    </a:lnTo>
                    <a:lnTo>
                      <a:pt x="188" y="268"/>
                    </a:lnTo>
                    <a:lnTo>
                      <a:pt x="186" y="268"/>
                    </a:lnTo>
                    <a:lnTo>
                      <a:pt x="185" y="259"/>
                    </a:lnTo>
                    <a:lnTo>
                      <a:pt x="177" y="251"/>
                    </a:lnTo>
                    <a:lnTo>
                      <a:pt x="177" y="246"/>
                    </a:lnTo>
                    <a:lnTo>
                      <a:pt x="170" y="240"/>
                    </a:lnTo>
                    <a:lnTo>
                      <a:pt x="168" y="240"/>
                    </a:lnTo>
                    <a:lnTo>
                      <a:pt x="160" y="245"/>
                    </a:lnTo>
                    <a:lnTo>
                      <a:pt x="158" y="245"/>
                    </a:lnTo>
                    <a:lnTo>
                      <a:pt x="157" y="241"/>
                    </a:lnTo>
                    <a:lnTo>
                      <a:pt x="153" y="241"/>
                    </a:lnTo>
                    <a:lnTo>
                      <a:pt x="148" y="240"/>
                    </a:lnTo>
                    <a:lnTo>
                      <a:pt x="148" y="236"/>
                    </a:lnTo>
                    <a:lnTo>
                      <a:pt x="150" y="235"/>
                    </a:lnTo>
                    <a:lnTo>
                      <a:pt x="148" y="236"/>
                    </a:lnTo>
                    <a:lnTo>
                      <a:pt x="145" y="236"/>
                    </a:lnTo>
                    <a:lnTo>
                      <a:pt x="142" y="235"/>
                    </a:lnTo>
                    <a:lnTo>
                      <a:pt x="147" y="238"/>
                    </a:lnTo>
                    <a:lnTo>
                      <a:pt x="145" y="243"/>
                    </a:lnTo>
                    <a:lnTo>
                      <a:pt x="143" y="245"/>
                    </a:lnTo>
                    <a:lnTo>
                      <a:pt x="140" y="245"/>
                    </a:lnTo>
                    <a:lnTo>
                      <a:pt x="137" y="240"/>
                    </a:lnTo>
                    <a:lnTo>
                      <a:pt x="137" y="240"/>
                    </a:lnTo>
                    <a:lnTo>
                      <a:pt x="135" y="240"/>
                    </a:lnTo>
                    <a:lnTo>
                      <a:pt x="133" y="238"/>
                    </a:lnTo>
                    <a:lnTo>
                      <a:pt x="127" y="236"/>
                    </a:lnTo>
                    <a:lnTo>
                      <a:pt x="123" y="235"/>
                    </a:lnTo>
                    <a:lnTo>
                      <a:pt x="122" y="220"/>
                    </a:lnTo>
                    <a:lnTo>
                      <a:pt x="113" y="220"/>
                    </a:lnTo>
                    <a:lnTo>
                      <a:pt x="112" y="215"/>
                    </a:lnTo>
                    <a:lnTo>
                      <a:pt x="112" y="208"/>
                    </a:lnTo>
                    <a:lnTo>
                      <a:pt x="117" y="203"/>
                    </a:lnTo>
                    <a:lnTo>
                      <a:pt x="112" y="195"/>
                    </a:lnTo>
                    <a:lnTo>
                      <a:pt x="108" y="191"/>
                    </a:lnTo>
                    <a:lnTo>
                      <a:pt x="103" y="185"/>
                    </a:lnTo>
                    <a:lnTo>
                      <a:pt x="100" y="181"/>
                    </a:lnTo>
                    <a:lnTo>
                      <a:pt x="98" y="183"/>
                    </a:lnTo>
                    <a:lnTo>
                      <a:pt x="80" y="173"/>
                    </a:lnTo>
                    <a:lnTo>
                      <a:pt x="75" y="173"/>
                    </a:lnTo>
                    <a:lnTo>
                      <a:pt x="74" y="175"/>
                    </a:lnTo>
                    <a:lnTo>
                      <a:pt x="69" y="171"/>
                    </a:lnTo>
                    <a:lnTo>
                      <a:pt x="69" y="168"/>
                    </a:lnTo>
                    <a:lnTo>
                      <a:pt x="67" y="166"/>
                    </a:lnTo>
                    <a:lnTo>
                      <a:pt x="70" y="161"/>
                    </a:lnTo>
                    <a:lnTo>
                      <a:pt x="64" y="158"/>
                    </a:lnTo>
                    <a:lnTo>
                      <a:pt x="64" y="155"/>
                    </a:lnTo>
                    <a:lnTo>
                      <a:pt x="59" y="153"/>
                    </a:lnTo>
                    <a:lnTo>
                      <a:pt x="55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5"/>
                    </a:lnTo>
                    <a:lnTo>
                      <a:pt x="52" y="143"/>
                    </a:lnTo>
                    <a:lnTo>
                      <a:pt x="54" y="140"/>
                    </a:lnTo>
                    <a:lnTo>
                      <a:pt x="54" y="132"/>
                    </a:lnTo>
                    <a:lnTo>
                      <a:pt x="57" y="130"/>
                    </a:lnTo>
                    <a:lnTo>
                      <a:pt x="57" y="123"/>
                    </a:lnTo>
                    <a:lnTo>
                      <a:pt x="60" y="123"/>
                    </a:lnTo>
                    <a:lnTo>
                      <a:pt x="64" y="122"/>
                    </a:lnTo>
                    <a:lnTo>
                      <a:pt x="64" y="115"/>
                    </a:lnTo>
                    <a:lnTo>
                      <a:pt x="62" y="113"/>
                    </a:lnTo>
                    <a:lnTo>
                      <a:pt x="62" y="107"/>
                    </a:lnTo>
                    <a:lnTo>
                      <a:pt x="64" y="107"/>
                    </a:lnTo>
                    <a:lnTo>
                      <a:pt x="69" y="105"/>
                    </a:lnTo>
                    <a:lnTo>
                      <a:pt x="70" y="105"/>
                    </a:lnTo>
                    <a:lnTo>
                      <a:pt x="69" y="103"/>
                    </a:lnTo>
                    <a:lnTo>
                      <a:pt x="65" y="102"/>
                    </a:lnTo>
                    <a:lnTo>
                      <a:pt x="60" y="102"/>
                    </a:lnTo>
                    <a:lnTo>
                      <a:pt x="55" y="102"/>
                    </a:lnTo>
                    <a:lnTo>
                      <a:pt x="49" y="97"/>
                    </a:lnTo>
                    <a:lnTo>
                      <a:pt x="44" y="97"/>
                    </a:lnTo>
                    <a:lnTo>
                      <a:pt x="40" y="95"/>
                    </a:lnTo>
                    <a:lnTo>
                      <a:pt x="37" y="90"/>
                    </a:lnTo>
                    <a:lnTo>
                      <a:pt x="35" y="85"/>
                    </a:lnTo>
                    <a:lnTo>
                      <a:pt x="32" y="85"/>
                    </a:lnTo>
                    <a:lnTo>
                      <a:pt x="29" y="80"/>
                    </a:lnTo>
                    <a:lnTo>
                      <a:pt x="29" y="77"/>
                    </a:lnTo>
                    <a:lnTo>
                      <a:pt x="27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4" y="67"/>
                    </a:lnTo>
                    <a:lnTo>
                      <a:pt x="20" y="62"/>
                    </a:lnTo>
                    <a:lnTo>
                      <a:pt x="15" y="54"/>
                    </a:lnTo>
                    <a:lnTo>
                      <a:pt x="9" y="52"/>
                    </a:lnTo>
                    <a:lnTo>
                      <a:pt x="10" y="49"/>
                    </a:lnTo>
                    <a:lnTo>
                      <a:pt x="9" y="44"/>
                    </a:lnTo>
                    <a:lnTo>
                      <a:pt x="12" y="37"/>
                    </a:lnTo>
                    <a:lnTo>
                      <a:pt x="10" y="34"/>
                    </a:lnTo>
                    <a:lnTo>
                      <a:pt x="5" y="34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7" y="7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8" name="Freeform 74">
                <a:extLst>
                  <a:ext uri="{FF2B5EF4-FFF2-40B4-BE49-F238E27FC236}">
                    <a16:creationId xmlns:a16="http://schemas.microsoft.com/office/drawing/2014/main" id="{A942F238-ECF3-DF42-BF83-0CC972197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3048" y="2820439"/>
                <a:ext cx="126289" cy="104797"/>
              </a:xfrm>
              <a:custGeom>
                <a:avLst/>
                <a:gdLst/>
                <a:ahLst/>
                <a:cxnLst>
                  <a:cxn ang="0">
                    <a:pos x="234" y="173"/>
                  </a:cxn>
                  <a:cxn ang="0">
                    <a:pos x="224" y="170"/>
                  </a:cxn>
                  <a:cxn ang="0">
                    <a:pos x="214" y="155"/>
                  </a:cxn>
                  <a:cxn ang="0">
                    <a:pos x="213" y="143"/>
                  </a:cxn>
                  <a:cxn ang="0">
                    <a:pos x="213" y="130"/>
                  </a:cxn>
                  <a:cxn ang="0">
                    <a:pos x="204" y="120"/>
                  </a:cxn>
                  <a:cxn ang="0">
                    <a:pos x="199" y="118"/>
                  </a:cxn>
                  <a:cxn ang="0">
                    <a:pos x="176" y="108"/>
                  </a:cxn>
                  <a:cxn ang="0">
                    <a:pos x="170" y="106"/>
                  </a:cxn>
                  <a:cxn ang="0">
                    <a:pos x="168" y="101"/>
                  </a:cxn>
                  <a:cxn ang="0">
                    <a:pos x="165" y="93"/>
                  </a:cxn>
                  <a:cxn ang="0">
                    <a:pos x="160" y="88"/>
                  </a:cxn>
                  <a:cxn ang="0">
                    <a:pos x="153" y="85"/>
                  </a:cxn>
                  <a:cxn ang="0">
                    <a:pos x="155" y="80"/>
                  </a:cxn>
                  <a:cxn ang="0">
                    <a:pos x="155" y="75"/>
                  </a:cxn>
                  <a:cxn ang="0">
                    <a:pos x="158" y="65"/>
                  </a:cxn>
                  <a:cxn ang="0">
                    <a:pos x="161" y="58"/>
                  </a:cxn>
                  <a:cxn ang="0">
                    <a:pos x="165" y="50"/>
                  </a:cxn>
                  <a:cxn ang="0">
                    <a:pos x="163" y="42"/>
                  </a:cxn>
                  <a:cxn ang="0">
                    <a:pos x="170" y="40"/>
                  </a:cxn>
                  <a:cxn ang="0">
                    <a:pos x="170" y="38"/>
                  </a:cxn>
                  <a:cxn ang="0">
                    <a:pos x="161" y="37"/>
                  </a:cxn>
                  <a:cxn ang="0">
                    <a:pos x="150" y="32"/>
                  </a:cxn>
                  <a:cxn ang="0">
                    <a:pos x="141" y="30"/>
                  </a:cxn>
                  <a:cxn ang="0">
                    <a:pos x="136" y="20"/>
                  </a:cxn>
                  <a:cxn ang="0">
                    <a:pos x="130" y="15"/>
                  </a:cxn>
                  <a:cxn ang="0">
                    <a:pos x="128" y="7"/>
                  </a:cxn>
                  <a:cxn ang="0">
                    <a:pos x="118" y="7"/>
                  </a:cxn>
                  <a:cxn ang="0">
                    <a:pos x="113" y="2"/>
                  </a:cxn>
                  <a:cxn ang="0">
                    <a:pos x="105" y="2"/>
                  </a:cxn>
                  <a:cxn ang="0">
                    <a:pos x="86" y="0"/>
                  </a:cxn>
                  <a:cxn ang="0">
                    <a:pos x="78" y="2"/>
                  </a:cxn>
                  <a:cxn ang="0">
                    <a:pos x="72" y="7"/>
                  </a:cxn>
                  <a:cxn ang="0">
                    <a:pos x="67" y="12"/>
                  </a:cxn>
                  <a:cxn ang="0">
                    <a:pos x="52" y="17"/>
                  </a:cxn>
                  <a:cxn ang="0">
                    <a:pos x="47" y="32"/>
                  </a:cxn>
                  <a:cxn ang="0">
                    <a:pos x="52" y="47"/>
                  </a:cxn>
                  <a:cxn ang="0">
                    <a:pos x="48" y="58"/>
                  </a:cxn>
                  <a:cxn ang="0">
                    <a:pos x="45" y="68"/>
                  </a:cxn>
                  <a:cxn ang="0">
                    <a:pos x="0" y="100"/>
                  </a:cxn>
                  <a:cxn ang="0">
                    <a:pos x="0" y="100"/>
                  </a:cxn>
                  <a:cxn ang="0">
                    <a:pos x="33" y="131"/>
                  </a:cxn>
                  <a:cxn ang="0">
                    <a:pos x="193" y="203"/>
                  </a:cxn>
                  <a:cxn ang="0">
                    <a:pos x="203" y="183"/>
                  </a:cxn>
                  <a:cxn ang="0">
                    <a:pos x="223" y="181"/>
                  </a:cxn>
                  <a:cxn ang="0">
                    <a:pos x="231" y="181"/>
                  </a:cxn>
                  <a:cxn ang="0">
                    <a:pos x="236" y="175"/>
                  </a:cxn>
                </a:cxnLst>
                <a:rect l="0" t="0" r="r" b="b"/>
                <a:pathLst>
                  <a:path w="236" h="203">
                    <a:moveTo>
                      <a:pt x="236" y="175"/>
                    </a:moveTo>
                    <a:lnTo>
                      <a:pt x="234" y="173"/>
                    </a:lnTo>
                    <a:lnTo>
                      <a:pt x="228" y="171"/>
                    </a:lnTo>
                    <a:lnTo>
                      <a:pt x="224" y="170"/>
                    </a:lnTo>
                    <a:lnTo>
                      <a:pt x="223" y="155"/>
                    </a:lnTo>
                    <a:lnTo>
                      <a:pt x="214" y="155"/>
                    </a:lnTo>
                    <a:lnTo>
                      <a:pt x="213" y="150"/>
                    </a:lnTo>
                    <a:lnTo>
                      <a:pt x="213" y="143"/>
                    </a:lnTo>
                    <a:lnTo>
                      <a:pt x="218" y="138"/>
                    </a:lnTo>
                    <a:lnTo>
                      <a:pt x="213" y="130"/>
                    </a:lnTo>
                    <a:lnTo>
                      <a:pt x="209" y="126"/>
                    </a:lnTo>
                    <a:lnTo>
                      <a:pt x="204" y="120"/>
                    </a:lnTo>
                    <a:lnTo>
                      <a:pt x="201" y="116"/>
                    </a:lnTo>
                    <a:lnTo>
                      <a:pt x="199" y="118"/>
                    </a:lnTo>
                    <a:lnTo>
                      <a:pt x="181" y="108"/>
                    </a:lnTo>
                    <a:lnTo>
                      <a:pt x="176" y="108"/>
                    </a:lnTo>
                    <a:lnTo>
                      <a:pt x="175" y="110"/>
                    </a:lnTo>
                    <a:lnTo>
                      <a:pt x="170" y="106"/>
                    </a:lnTo>
                    <a:lnTo>
                      <a:pt x="170" y="103"/>
                    </a:lnTo>
                    <a:lnTo>
                      <a:pt x="168" y="101"/>
                    </a:lnTo>
                    <a:lnTo>
                      <a:pt x="171" y="96"/>
                    </a:lnTo>
                    <a:lnTo>
                      <a:pt x="165" y="93"/>
                    </a:lnTo>
                    <a:lnTo>
                      <a:pt x="165" y="90"/>
                    </a:lnTo>
                    <a:lnTo>
                      <a:pt x="160" y="88"/>
                    </a:lnTo>
                    <a:lnTo>
                      <a:pt x="156" y="87"/>
                    </a:lnTo>
                    <a:lnTo>
                      <a:pt x="153" y="85"/>
                    </a:lnTo>
                    <a:lnTo>
                      <a:pt x="153" y="83"/>
                    </a:lnTo>
                    <a:lnTo>
                      <a:pt x="155" y="80"/>
                    </a:lnTo>
                    <a:lnTo>
                      <a:pt x="153" y="78"/>
                    </a:lnTo>
                    <a:lnTo>
                      <a:pt x="155" y="75"/>
                    </a:lnTo>
                    <a:lnTo>
                      <a:pt x="155" y="67"/>
                    </a:lnTo>
                    <a:lnTo>
                      <a:pt x="158" y="65"/>
                    </a:lnTo>
                    <a:lnTo>
                      <a:pt x="158" y="58"/>
                    </a:lnTo>
                    <a:lnTo>
                      <a:pt x="161" y="58"/>
                    </a:lnTo>
                    <a:lnTo>
                      <a:pt x="165" y="57"/>
                    </a:lnTo>
                    <a:lnTo>
                      <a:pt x="165" y="50"/>
                    </a:lnTo>
                    <a:lnTo>
                      <a:pt x="163" y="48"/>
                    </a:lnTo>
                    <a:lnTo>
                      <a:pt x="163" y="42"/>
                    </a:lnTo>
                    <a:lnTo>
                      <a:pt x="165" y="42"/>
                    </a:lnTo>
                    <a:lnTo>
                      <a:pt x="170" y="40"/>
                    </a:lnTo>
                    <a:lnTo>
                      <a:pt x="171" y="40"/>
                    </a:lnTo>
                    <a:lnTo>
                      <a:pt x="170" y="38"/>
                    </a:lnTo>
                    <a:lnTo>
                      <a:pt x="166" y="37"/>
                    </a:lnTo>
                    <a:lnTo>
                      <a:pt x="161" y="37"/>
                    </a:lnTo>
                    <a:lnTo>
                      <a:pt x="156" y="37"/>
                    </a:lnTo>
                    <a:lnTo>
                      <a:pt x="150" y="32"/>
                    </a:lnTo>
                    <a:lnTo>
                      <a:pt x="145" y="32"/>
                    </a:lnTo>
                    <a:lnTo>
                      <a:pt x="141" y="30"/>
                    </a:lnTo>
                    <a:lnTo>
                      <a:pt x="138" y="25"/>
                    </a:lnTo>
                    <a:lnTo>
                      <a:pt x="136" y="20"/>
                    </a:lnTo>
                    <a:lnTo>
                      <a:pt x="133" y="20"/>
                    </a:lnTo>
                    <a:lnTo>
                      <a:pt x="130" y="15"/>
                    </a:lnTo>
                    <a:lnTo>
                      <a:pt x="130" y="12"/>
                    </a:lnTo>
                    <a:lnTo>
                      <a:pt x="128" y="7"/>
                    </a:lnTo>
                    <a:lnTo>
                      <a:pt x="123" y="7"/>
                    </a:lnTo>
                    <a:lnTo>
                      <a:pt x="118" y="7"/>
                    </a:lnTo>
                    <a:lnTo>
                      <a:pt x="113" y="5"/>
                    </a:lnTo>
                    <a:lnTo>
                      <a:pt x="113" y="2"/>
                    </a:lnTo>
                    <a:lnTo>
                      <a:pt x="110" y="0"/>
                    </a:lnTo>
                    <a:lnTo>
                      <a:pt x="105" y="2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3" y="2"/>
                    </a:lnTo>
                    <a:lnTo>
                      <a:pt x="78" y="2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68" y="12"/>
                    </a:lnTo>
                    <a:lnTo>
                      <a:pt x="67" y="12"/>
                    </a:lnTo>
                    <a:lnTo>
                      <a:pt x="62" y="15"/>
                    </a:lnTo>
                    <a:lnTo>
                      <a:pt x="52" y="17"/>
                    </a:lnTo>
                    <a:lnTo>
                      <a:pt x="48" y="25"/>
                    </a:lnTo>
                    <a:lnTo>
                      <a:pt x="47" y="32"/>
                    </a:lnTo>
                    <a:lnTo>
                      <a:pt x="52" y="40"/>
                    </a:lnTo>
                    <a:lnTo>
                      <a:pt x="52" y="47"/>
                    </a:lnTo>
                    <a:lnTo>
                      <a:pt x="48" y="55"/>
                    </a:lnTo>
                    <a:lnTo>
                      <a:pt x="48" y="58"/>
                    </a:lnTo>
                    <a:lnTo>
                      <a:pt x="48" y="63"/>
                    </a:lnTo>
                    <a:lnTo>
                      <a:pt x="45" y="68"/>
                    </a:lnTo>
                    <a:lnTo>
                      <a:pt x="43" y="72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12" y="128"/>
                    </a:lnTo>
                    <a:lnTo>
                      <a:pt x="33" y="131"/>
                    </a:lnTo>
                    <a:lnTo>
                      <a:pt x="146" y="203"/>
                    </a:lnTo>
                    <a:lnTo>
                      <a:pt x="193" y="203"/>
                    </a:lnTo>
                    <a:lnTo>
                      <a:pt x="198" y="194"/>
                    </a:lnTo>
                    <a:lnTo>
                      <a:pt x="203" y="183"/>
                    </a:lnTo>
                    <a:lnTo>
                      <a:pt x="214" y="178"/>
                    </a:lnTo>
                    <a:lnTo>
                      <a:pt x="223" y="181"/>
                    </a:lnTo>
                    <a:lnTo>
                      <a:pt x="228" y="180"/>
                    </a:lnTo>
                    <a:lnTo>
                      <a:pt x="231" y="181"/>
                    </a:lnTo>
                    <a:lnTo>
                      <a:pt x="233" y="176"/>
                    </a:lnTo>
                    <a:lnTo>
                      <a:pt x="236" y="17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29" name="Freeform 75">
                <a:extLst>
                  <a:ext uri="{FF2B5EF4-FFF2-40B4-BE49-F238E27FC236}">
                    <a16:creationId xmlns:a16="http://schemas.microsoft.com/office/drawing/2014/main" id="{791C819D-26BD-084A-B56D-13BA12209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5792" y="2912784"/>
                <a:ext cx="22475" cy="20752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5" y="16"/>
                  </a:cxn>
                  <a:cxn ang="0">
                    <a:pos x="10" y="5"/>
                  </a:cxn>
                  <a:cxn ang="0">
                    <a:pos x="21" y="0"/>
                  </a:cxn>
                  <a:cxn ang="0">
                    <a:pos x="30" y="3"/>
                  </a:cxn>
                  <a:cxn ang="0">
                    <a:pos x="35" y="2"/>
                  </a:cxn>
                  <a:cxn ang="0">
                    <a:pos x="38" y="3"/>
                  </a:cxn>
                  <a:cxn ang="0">
                    <a:pos x="36" y="3"/>
                  </a:cxn>
                  <a:cxn ang="0">
                    <a:pos x="40" y="13"/>
                  </a:cxn>
                  <a:cxn ang="0">
                    <a:pos x="25" y="16"/>
                  </a:cxn>
                  <a:cxn ang="0">
                    <a:pos x="35" y="21"/>
                  </a:cxn>
                  <a:cxn ang="0">
                    <a:pos x="36" y="20"/>
                  </a:cxn>
                  <a:cxn ang="0">
                    <a:pos x="38" y="23"/>
                  </a:cxn>
                  <a:cxn ang="0">
                    <a:pos x="38" y="26"/>
                  </a:cxn>
                  <a:cxn ang="0">
                    <a:pos x="40" y="30"/>
                  </a:cxn>
                  <a:cxn ang="0">
                    <a:pos x="40" y="30"/>
                  </a:cxn>
                  <a:cxn ang="0">
                    <a:pos x="38" y="30"/>
                  </a:cxn>
                  <a:cxn ang="0">
                    <a:pos x="41" y="33"/>
                  </a:cxn>
                  <a:cxn ang="0">
                    <a:pos x="26" y="40"/>
                  </a:cxn>
                  <a:cxn ang="0">
                    <a:pos x="25" y="31"/>
                  </a:cxn>
                  <a:cxn ang="0">
                    <a:pos x="3" y="25"/>
                  </a:cxn>
                  <a:cxn ang="0">
                    <a:pos x="0" y="25"/>
                  </a:cxn>
                </a:cxnLst>
                <a:rect l="0" t="0" r="r" b="b"/>
                <a:pathLst>
                  <a:path w="41" h="40">
                    <a:moveTo>
                      <a:pt x="0" y="25"/>
                    </a:moveTo>
                    <a:lnTo>
                      <a:pt x="5" y="16"/>
                    </a:lnTo>
                    <a:lnTo>
                      <a:pt x="10" y="5"/>
                    </a:lnTo>
                    <a:lnTo>
                      <a:pt x="21" y="0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8" y="3"/>
                    </a:lnTo>
                    <a:lnTo>
                      <a:pt x="36" y="3"/>
                    </a:lnTo>
                    <a:lnTo>
                      <a:pt x="40" y="13"/>
                    </a:lnTo>
                    <a:lnTo>
                      <a:pt x="25" y="16"/>
                    </a:lnTo>
                    <a:lnTo>
                      <a:pt x="35" y="21"/>
                    </a:lnTo>
                    <a:lnTo>
                      <a:pt x="36" y="20"/>
                    </a:lnTo>
                    <a:lnTo>
                      <a:pt x="38" y="23"/>
                    </a:lnTo>
                    <a:lnTo>
                      <a:pt x="38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41" y="33"/>
                    </a:lnTo>
                    <a:lnTo>
                      <a:pt x="26" y="40"/>
                    </a:lnTo>
                    <a:lnTo>
                      <a:pt x="25" y="31"/>
                    </a:lnTo>
                    <a:lnTo>
                      <a:pt x="3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0" name="Freeform 76">
                <a:extLst>
                  <a:ext uri="{FF2B5EF4-FFF2-40B4-BE49-F238E27FC236}">
                    <a16:creationId xmlns:a16="http://schemas.microsoft.com/office/drawing/2014/main" id="{3F38831F-8D21-4A42-8DD2-1D12E2DAE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7428" y="2844303"/>
                <a:ext cx="29967" cy="14526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3" y="23"/>
                  </a:cxn>
                  <a:cxn ang="0">
                    <a:pos x="0" y="20"/>
                  </a:cxn>
                  <a:cxn ang="0">
                    <a:pos x="0" y="15"/>
                  </a:cxn>
                  <a:cxn ang="0">
                    <a:pos x="3" y="13"/>
                  </a:cxn>
                  <a:cxn ang="0">
                    <a:pos x="6" y="10"/>
                  </a:cxn>
                  <a:cxn ang="0">
                    <a:pos x="10" y="11"/>
                  </a:cxn>
                  <a:cxn ang="0">
                    <a:pos x="13" y="11"/>
                  </a:cxn>
                  <a:cxn ang="0">
                    <a:pos x="15" y="8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5" y="8"/>
                  </a:cxn>
                  <a:cxn ang="0">
                    <a:pos x="31" y="8"/>
                  </a:cxn>
                  <a:cxn ang="0">
                    <a:pos x="41" y="3"/>
                  </a:cxn>
                  <a:cxn ang="0">
                    <a:pos x="49" y="0"/>
                  </a:cxn>
                  <a:cxn ang="0">
                    <a:pos x="53" y="0"/>
                  </a:cxn>
                  <a:cxn ang="0">
                    <a:pos x="54" y="0"/>
                  </a:cxn>
                  <a:cxn ang="0">
                    <a:pos x="51" y="1"/>
                  </a:cxn>
                  <a:cxn ang="0">
                    <a:pos x="46" y="5"/>
                  </a:cxn>
                  <a:cxn ang="0">
                    <a:pos x="40" y="11"/>
                  </a:cxn>
                  <a:cxn ang="0">
                    <a:pos x="41" y="15"/>
                  </a:cxn>
                  <a:cxn ang="0">
                    <a:pos x="41" y="20"/>
                  </a:cxn>
                  <a:cxn ang="0">
                    <a:pos x="35" y="18"/>
                  </a:cxn>
                  <a:cxn ang="0">
                    <a:pos x="31" y="20"/>
                  </a:cxn>
                  <a:cxn ang="0">
                    <a:pos x="26" y="25"/>
                  </a:cxn>
                  <a:cxn ang="0">
                    <a:pos x="21" y="25"/>
                  </a:cxn>
                  <a:cxn ang="0">
                    <a:pos x="18" y="28"/>
                  </a:cxn>
                  <a:cxn ang="0">
                    <a:pos x="15" y="26"/>
                  </a:cxn>
                  <a:cxn ang="0">
                    <a:pos x="8" y="26"/>
                  </a:cxn>
                </a:cxnLst>
                <a:rect l="0" t="0" r="r" b="b"/>
                <a:pathLst>
                  <a:path w="54" h="28">
                    <a:moveTo>
                      <a:pt x="8" y="26"/>
                    </a:moveTo>
                    <a:lnTo>
                      <a:pt x="3" y="23"/>
                    </a:lnTo>
                    <a:lnTo>
                      <a:pt x="0" y="20"/>
                    </a:lnTo>
                    <a:lnTo>
                      <a:pt x="0" y="15"/>
                    </a:lnTo>
                    <a:lnTo>
                      <a:pt x="3" y="13"/>
                    </a:lnTo>
                    <a:lnTo>
                      <a:pt x="6" y="10"/>
                    </a:lnTo>
                    <a:lnTo>
                      <a:pt x="10" y="11"/>
                    </a:lnTo>
                    <a:lnTo>
                      <a:pt x="13" y="11"/>
                    </a:lnTo>
                    <a:lnTo>
                      <a:pt x="15" y="8"/>
                    </a:lnTo>
                    <a:lnTo>
                      <a:pt x="15" y="5"/>
                    </a:lnTo>
                    <a:lnTo>
                      <a:pt x="20" y="5"/>
                    </a:lnTo>
                    <a:lnTo>
                      <a:pt x="25" y="8"/>
                    </a:lnTo>
                    <a:lnTo>
                      <a:pt x="31" y="8"/>
                    </a:lnTo>
                    <a:lnTo>
                      <a:pt x="41" y="3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5"/>
                    </a:lnTo>
                    <a:lnTo>
                      <a:pt x="40" y="11"/>
                    </a:lnTo>
                    <a:lnTo>
                      <a:pt x="41" y="15"/>
                    </a:lnTo>
                    <a:lnTo>
                      <a:pt x="41" y="20"/>
                    </a:lnTo>
                    <a:lnTo>
                      <a:pt x="35" y="18"/>
                    </a:lnTo>
                    <a:lnTo>
                      <a:pt x="31" y="20"/>
                    </a:lnTo>
                    <a:lnTo>
                      <a:pt x="26" y="25"/>
                    </a:lnTo>
                    <a:lnTo>
                      <a:pt x="21" y="25"/>
                    </a:lnTo>
                    <a:lnTo>
                      <a:pt x="18" y="28"/>
                    </a:lnTo>
                    <a:lnTo>
                      <a:pt x="15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1" name="Freeform 77">
                <a:extLst>
                  <a:ext uri="{FF2B5EF4-FFF2-40B4-BE49-F238E27FC236}">
                    <a16:creationId xmlns:a16="http://schemas.microsoft.com/office/drawing/2014/main" id="{69F77A11-C9BE-F547-B810-E3FA8B6CE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0238" y="2823552"/>
                <a:ext cx="81339" cy="63293"/>
              </a:xfrm>
              <a:custGeom>
                <a:avLst/>
                <a:gdLst/>
                <a:ahLst/>
                <a:cxnLst>
                  <a:cxn ang="0">
                    <a:pos x="123" y="67"/>
                  </a:cxn>
                  <a:cxn ang="0">
                    <a:pos x="128" y="58"/>
                  </a:cxn>
                  <a:cxn ang="0">
                    <a:pos x="128" y="50"/>
                  </a:cxn>
                  <a:cxn ang="0">
                    <a:pos x="132" y="35"/>
                  </a:cxn>
                  <a:cxn ang="0">
                    <a:pos x="128" y="20"/>
                  </a:cxn>
                  <a:cxn ang="0">
                    <a:pos x="142" y="10"/>
                  </a:cxn>
                  <a:cxn ang="0">
                    <a:pos x="148" y="7"/>
                  </a:cxn>
                  <a:cxn ang="0">
                    <a:pos x="150" y="0"/>
                  </a:cxn>
                  <a:cxn ang="0">
                    <a:pos x="133" y="3"/>
                  </a:cxn>
                  <a:cxn ang="0">
                    <a:pos x="117" y="3"/>
                  </a:cxn>
                  <a:cxn ang="0">
                    <a:pos x="102" y="5"/>
                  </a:cxn>
                  <a:cxn ang="0">
                    <a:pos x="92" y="10"/>
                  </a:cxn>
                  <a:cxn ang="0">
                    <a:pos x="78" y="12"/>
                  </a:cxn>
                  <a:cxn ang="0">
                    <a:pos x="68" y="8"/>
                  </a:cxn>
                  <a:cxn ang="0">
                    <a:pos x="52" y="8"/>
                  </a:cxn>
                  <a:cxn ang="0">
                    <a:pos x="45" y="10"/>
                  </a:cxn>
                  <a:cxn ang="0">
                    <a:pos x="30" y="13"/>
                  </a:cxn>
                  <a:cxn ang="0">
                    <a:pos x="22" y="17"/>
                  </a:cxn>
                  <a:cxn ang="0">
                    <a:pos x="19" y="27"/>
                  </a:cxn>
                  <a:cxn ang="0">
                    <a:pos x="14" y="32"/>
                  </a:cxn>
                  <a:cxn ang="0">
                    <a:pos x="4" y="32"/>
                  </a:cxn>
                  <a:cxn ang="0">
                    <a:pos x="0" y="33"/>
                  </a:cxn>
                  <a:cxn ang="0">
                    <a:pos x="5" y="48"/>
                  </a:cxn>
                  <a:cxn ang="0">
                    <a:pos x="5" y="58"/>
                  </a:cxn>
                  <a:cxn ang="0">
                    <a:pos x="15" y="67"/>
                  </a:cxn>
                  <a:cxn ang="0">
                    <a:pos x="22" y="73"/>
                  </a:cxn>
                  <a:cxn ang="0">
                    <a:pos x="24" y="83"/>
                  </a:cxn>
                  <a:cxn ang="0">
                    <a:pos x="19" y="85"/>
                  </a:cxn>
                  <a:cxn ang="0">
                    <a:pos x="12" y="93"/>
                  </a:cxn>
                  <a:cxn ang="0">
                    <a:pos x="7" y="98"/>
                  </a:cxn>
                  <a:cxn ang="0">
                    <a:pos x="12" y="103"/>
                  </a:cxn>
                  <a:cxn ang="0">
                    <a:pos x="12" y="113"/>
                  </a:cxn>
                  <a:cxn ang="0">
                    <a:pos x="22" y="116"/>
                  </a:cxn>
                  <a:cxn ang="0">
                    <a:pos x="29" y="120"/>
                  </a:cxn>
                  <a:cxn ang="0">
                    <a:pos x="80" y="95"/>
                  </a:cxn>
                </a:cxnLst>
                <a:rect l="0" t="0" r="r" b="b"/>
                <a:pathLst>
                  <a:path w="152" h="123">
                    <a:moveTo>
                      <a:pt x="80" y="95"/>
                    </a:moveTo>
                    <a:lnTo>
                      <a:pt x="123" y="67"/>
                    </a:lnTo>
                    <a:lnTo>
                      <a:pt x="125" y="63"/>
                    </a:lnTo>
                    <a:lnTo>
                      <a:pt x="128" y="58"/>
                    </a:lnTo>
                    <a:lnTo>
                      <a:pt x="128" y="53"/>
                    </a:lnTo>
                    <a:lnTo>
                      <a:pt x="128" y="50"/>
                    </a:lnTo>
                    <a:lnTo>
                      <a:pt x="132" y="42"/>
                    </a:lnTo>
                    <a:lnTo>
                      <a:pt x="132" y="35"/>
                    </a:lnTo>
                    <a:lnTo>
                      <a:pt x="127" y="27"/>
                    </a:lnTo>
                    <a:lnTo>
                      <a:pt x="128" y="20"/>
                    </a:lnTo>
                    <a:lnTo>
                      <a:pt x="132" y="12"/>
                    </a:lnTo>
                    <a:lnTo>
                      <a:pt x="142" y="10"/>
                    </a:lnTo>
                    <a:lnTo>
                      <a:pt x="147" y="7"/>
                    </a:lnTo>
                    <a:lnTo>
                      <a:pt x="148" y="7"/>
                    </a:lnTo>
                    <a:lnTo>
                      <a:pt x="152" y="2"/>
                    </a:lnTo>
                    <a:lnTo>
                      <a:pt x="150" y="0"/>
                    </a:lnTo>
                    <a:lnTo>
                      <a:pt x="142" y="0"/>
                    </a:lnTo>
                    <a:lnTo>
                      <a:pt x="133" y="3"/>
                    </a:lnTo>
                    <a:lnTo>
                      <a:pt x="120" y="2"/>
                    </a:lnTo>
                    <a:lnTo>
                      <a:pt x="117" y="3"/>
                    </a:lnTo>
                    <a:lnTo>
                      <a:pt x="110" y="3"/>
                    </a:lnTo>
                    <a:lnTo>
                      <a:pt x="102" y="5"/>
                    </a:lnTo>
                    <a:lnTo>
                      <a:pt x="97" y="8"/>
                    </a:lnTo>
                    <a:lnTo>
                      <a:pt x="92" y="10"/>
                    </a:lnTo>
                    <a:lnTo>
                      <a:pt x="90" y="12"/>
                    </a:lnTo>
                    <a:lnTo>
                      <a:pt x="78" y="12"/>
                    </a:lnTo>
                    <a:lnTo>
                      <a:pt x="72" y="10"/>
                    </a:lnTo>
                    <a:lnTo>
                      <a:pt x="68" y="8"/>
                    </a:lnTo>
                    <a:lnTo>
                      <a:pt x="65" y="7"/>
                    </a:lnTo>
                    <a:lnTo>
                      <a:pt x="52" y="8"/>
                    </a:lnTo>
                    <a:lnTo>
                      <a:pt x="49" y="10"/>
                    </a:lnTo>
                    <a:lnTo>
                      <a:pt x="45" y="10"/>
                    </a:lnTo>
                    <a:lnTo>
                      <a:pt x="34" y="15"/>
                    </a:lnTo>
                    <a:lnTo>
                      <a:pt x="30" y="13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0" y="23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14" y="32"/>
                    </a:lnTo>
                    <a:lnTo>
                      <a:pt x="9" y="33"/>
                    </a:lnTo>
                    <a:lnTo>
                      <a:pt x="4" y="32"/>
                    </a:lnTo>
                    <a:lnTo>
                      <a:pt x="4" y="33"/>
                    </a:lnTo>
                    <a:lnTo>
                      <a:pt x="0" y="33"/>
                    </a:lnTo>
                    <a:lnTo>
                      <a:pt x="2" y="40"/>
                    </a:lnTo>
                    <a:lnTo>
                      <a:pt x="5" y="48"/>
                    </a:lnTo>
                    <a:lnTo>
                      <a:pt x="7" y="53"/>
                    </a:lnTo>
                    <a:lnTo>
                      <a:pt x="5" y="58"/>
                    </a:lnTo>
                    <a:lnTo>
                      <a:pt x="5" y="67"/>
                    </a:lnTo>
                    <a:lnTo>
                      <a:pt x="15" y="67"/>
                    </a:lnTo>
                    <a:lnTo>
                      <a:pt x="19" y="72"/>
                    </a:lnTo>
                    <a:lnTo>
                      <a:pt x="22" y="73"/>
                    </a:lnTo>
                    <a:lnTo>
                      <a:pt x="22" y="80"/>
                    </a:lnTo>
                    <a:lnTo>
                      <a:pt x="24" y="83"/>
                    </a:lnTo>
                    <a:lnTo>
                      <a:pt x="20" y="85"/>
                    </a:lnTo>
                    <a:lnTo>
                      <a:pt x="19" y="85"/>
                    </a:lnTo>
                    <a:lnTo>
                      <a:pt x="14" y="87"/>
                    </a:lnTo>
                    <a:lnTo>
                      <a:pt x="12" y="93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9" y="100"/>
                    </a:lnTo>
                    <a:lnTo>
                      <a:pt x="12" y="103"/>
                    </a:lnTo>
                    <a:lnTo>
                      <a:pt x="14" y="110"/>
                    </a:lnTo>
                    <a:lnTo>
                      <a:pt x="12" y="113"/>
                    </a:lnTo>
                    <a:lnTo>
                      <a:pt x="14" y="113"/>
                    </a:lnTo>
                    <a:lnTo>
                      <a:pt x="22" y="116"/>
                    </a:lnTo>
                    <a:lnTo>
                      <a:pt x="27" y="120"/>
                    </a:lnTo>
                    <a:lnTo>
                      <a:pt x="29" y="120"/>
                    </a:lnTo>
                    <a:lnTo>
                      <a:pt x="32" y="123"/>
                    </a:lnTo>
                    <a:lnTo>
                      <a:pt x="80" y="95"/>
                    </a:lnTo>
                    <a:lnTo>
                      <a:pt x="80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2" name="Freeform 78">
                <a:extLst>
                  <a:ext uri="{FF2B5EF4-FFF2-40B4-BE49-F238E27FC236}">
                    <a16:creationId xmlns:a16="http://schemas.microsoft.com/office/drawing/2014/main" id="{F61E599B-9034-A345-9D8A-32A0F3B33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4184" y="2874393"/>
                <a:ext cx="20334" cy="49804"/>
              </a:xfrm>
              <a:custGeom>
                <a:avLst/>
                <a:gdLst/>
                <a:ahLst/>
                <a:cxnLst>
                  <a:cxn ang="0">
                    <a:pos x="24" y="96"/>
                  </a:cxn>
                  <a:cxn ang="0">
                    <a:pos x="27" y="91"/>
                  </a:cxn>
                  <a:cxn ang="0">
                    <a:pos x="27" y="91"/>
                  </a:cxn>
                  <a:cxn ang="0">
                    <a:pos x="27" y="88"/>
                  </a:cxn>
                  <a:cxn ang="0">
                    <a:pos x="29" y="87"/>
                  </a:cxn>
                  <a:cxn ang="0">
                    <a:pos x="29" y="82"/>
                  </a:cxn>
                  <a:cxn ang="0">
                    <a:pos x="30" y="77"/>
                  </a:cxn>
                  <a:cxn ang="0">
                    <a:pos x="30" y="70"/>
                  </a:cxn>
                  <a:cxn ang="0">
                    <a:pos x="32" y="68"/>
                  </a:cxn>
                  <a:cxn ang="0">
                    <a:pos x="32" y="63"/>
                  </a:cxn>
                  <a:cxn ang="0">
                    <a:pos x="34" y="58"/>
                  </a:cxn>
                  <a:cxn ang="0">
                    <a:pos x="32" y="55"/>
                  </a:cxn>
                  <a:cxn ang="0">
                    <a:pos x="34" y="47"/>
                  </a:cxn>
                  <a:cxn ang="0">
                    <a:pos x="32" y="47"/>
                  </a:cxn>
                  <a:cxn ang="0">
                    <a:pos x="29" y="47"/>
                  </a:cxn>
                  <a:cxn ang="0">
                    <a:pos x="25" y="48"/>
                  </a:cxn>
                  <a:cxn ang="0">
                    <a:pos x="22" y="47"/>
                  </a:cxn>
                  <a:cxn ang="0">
                    <a:pos x="24" y="40"/>
                  </a:cxn>
                  <a:cxn ang="0">
                    <a:pos x="24" y="30"/>
                  </a:cxn>
                  <a:cxn ang="0">
                    <a:pos x="22" y="27"/>
                  </a:cxn>
                  <a:cxn ang="0">
                    <a:pos x="24" y="22"/>
                  </a:cxn>
                  <a:cxn ang="0">
                    <a:pos x="29" y="22"/>
                  </a:cxn>
                  <a:cxn ang="0">
                    <a:pos x="30" y="25"/>
                  </a:cxn>
                  <a:cxn ang="0">
                    <a:pos x="32" y="25"/>
                  </a:cxn>
                  <a:cxn ang="0">
                    <a:pos x="35" y="22"/>
                  </a:cxn>
                  <a:cxn ang="0">
                    <a:pos x="35" y="20"/>
                  </a:cxn>
                  <a:cxn ang="0">
                    <a:pos x="35" y="20"/>
                  </a:cxn>
                  <a:cxn ang="0">
                    <a:pos x="35" y="18"/>
                  </a:cxn>
                  <a:cxn ang="0">
                    <a:pos x="34" y="15"/>
                  </a:cxn>
                  <a:cxn ang="0">
                    <a:pos x="35" y="8"/>
                  </a:cxn>
                  <a:cxn ang="0">
                    <a:pos x="35" y="2"/>
                  </a:cxn>
                  <a:cxn ang="0">
                    <a:pos x="37" y="0"/>
                  </a:cxn>
                  <a:cxn ang="0">
                    <a:pos x="35" y="0"/>
                  </a:cxn>
                  <a:cxn ang="0">
                    <a:pos x="32" y="5"/>
                  </a:cxn>
                  <a:cxn ang="0">
                    <a:pos x="25" y="5"/>
                  </a:cxn>
                  <a:cxn ang="0">
                    <a:pos x="22" y="3"/>
                  </a:cxn>
                  <a:cxn ang="0">
                    <a:pos x="17" y="10"/>
                  </a:cxn>
                  <a:cxn ang="0">
                    <a:pos x="15" y="25"/>
                  </a:cxn>
                  <a:cxn ang="0">
                    <a:pos x="7" y="38"/>
                  </a:cxn>
                  <a:cxn ang="0">
                    <a:pos x="0" y="47"/>
                  </a:cxn>
                  <a:cxn ang="0">
                    <a:pos x="4" y="48"/>
                  </a:cxn>
                  <a:cxn ang="0">
                    <a:pos x="7" y="55"/>
                  </a:cxn>
                  <a:cxn ang="0">
                    <a:pos x="10" y="63"/>
                  </a:cxn>
                  <a:cxn ang="0">
                    <a:pos x="17" y="72"/>
                  </a:cxn>
                  <a:cxn ang="0">
                    <a:pos x="22" y="83"/>
                  </a:cxn>
                  <a:cxn ang="0">
                    <a:pos x="20" y="88"/>
                  </a:cxn>
                  <a:cxn ang="0">
                    <a:pos x="24" y="96"/>
                  </a:cxn>
                </a:cxnLst>
                <a:rect l="0" t="0" r="r" b="b"/>
                <a:pathLst>
                  <a:path w="37" h="96">
                    <a:moveTo>
                      <a:pt x="24" y="96"/>
                    </a:moveTo>
                    <a:lnTo>
                      <a:pt x="27" y="91"/>
                    </a:lnTo>
                    <a:lnTo>
                      <a:pt x="27" y="91"/>
                    </a:lnTo>
                    <a:lnTo>
                      <a:pt x="27" y="88"/>
                    </a:lnTo>
                    <a:lnTo>
                      <a:pt x="29" y="87"/>
                    </a:lnTo>
                    <a:lnTo>
                      <a:pt x="29" y="82"/>
                    </a:lnTo>
                    <a:lnTo>
                      <a:pt x="30" y="77"/>
                    </a:lnTo>
                    <a:lnTo>
                      <a:pt x="30" y="70"/>
                    </a:lnTo>
                    <a:lnTo>
                      <a:pt x="32" y="68"/>
                    </a:lnTo>
                    <a:lnTo>
                      <a:pt x="32" y="63"/>
                    </a:lnTo>
                    <a:lnTo>
                      <a:pt x="34" y="58"/>
                    </a:lnTo>
                    <a:lnTo>
                      <a:pt x="32" y="55"/>
                    </a:lnTo>
                    <a:lnTo>
                      <a:pt x="34" y="47"/>
                    </a:lnTo>
                    <a:lnTo>
                      <a:pt x="32" y="47"/>
                    </a:lnTo>
                    <a:lnTo>
                      <a:pt x="29" y="47"/>
                    </a:lnTo>
                    <a:lnTo>
                      <a:pt x="25" y="48"/>
                    </a:lnTo>
                    <a:lnTo>
                      <a:pt x="22" y="47"/>
                    </a:lnTo>
                    <a:lnTo>
                      <a:pt x="24" y="40"/>
                    </a:lnTo>
                    <a:lnTo>
                      <a:pt x="24" y="30"/>
                    </a:lnTo>
                    <a:lnTo>
                      <a:pt x="22" y="27"/>
                    </a:lnTo>
                    <a:lnTo>
                      <a:pt x="24" y="22"/>
                    </a:lnTo>
                    <a:lnTo>
                      <a:pt x="29" y="22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5" y="22"/>
                    </a:lnTo>
                    <a:lnTo>
                      <a:pt x="35" y="20"/>
                    </a:lnTo>
                    <a:lnTo>
                      <a:pt x="35" y="20"/>
                    </a:lnTo>
                    <a:lnTo>
                      <a:pt x="35" y="18"/>
                    </a:lnTo>
                    <a:lnTo>
                      <a:pt x="34" y="15"/>
                    </a:lnTo>
                    <a:lnTo>
                      <a:pt x="35" y="8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2" y="5"/>
                    </a:lnTo>
                    <a:lnTo>
                      <a:pt x="25" y="5"/>
                    </a:lnTo>
                    <a:lnTo>
                      <a:pt x="22" y="3"/>
                    </a:lnTo>
                    <a:lnTo>
                      <a:pt x="17" y="10"/>
                    </a:lnTo>
                    <a:lnTo>
                      <a:pt x="15" y="25"/>
                    </a:lnTo>
                    <a:lnTo>
                      <a:pt x="7" y="38"/>
                    </a:lnTo>
                    <a:lnTo>
                      <a:pt x="0" y="47"/>
                    </a:lnTo>
                    <a:lnTo>
                      <a:pt x="4" y="48"/>
                    </a:lnTo>
                    <a:lnTo>
                      <a:pt x="7" y="55"/>
                    </a:lnTo>
                    <a:lnTo>
                      <a:pt x="10" y="63"/>
                    </a:lnTo>
                    <a:lnTo>
                      <a:pt x="17" y="72"/>
                    </a:lnTo>
                    <a:lnTo>
                      <a:pt x="22" y="83"/>
                    </a:lnTo>
                    <a:lnTo>
                      <a:pt x="20" y="88"/>
                    </a:lnTo>
                    <a:lnTo>
                      <a:pt x="24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3" name="Freeform 79">
                <a:extLst>
                  <a:ext uri="{FF2B5EF4-FFF2-40B4-BE49-F238E27FC236}">
                    <a16:creationId xmlns:a16="http://schemas.microsoft.com/office/drawing/2014/main" id="{A7B52D81-770B-194F-8B70-590C873BF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2378" y="2874393"/>
                <a:ext cx="5351" cy="10376"/>
              </a:xfrm>
              <a:custGeom>
                <a:avLst/>
                <a:gdLst/>
                <a:ahLst/>
                <a:cxnLst>
                  <a:cxn ang="0">
                    <a:pos x="1" y="20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1" y="8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8" y="5"/>
                  </a:cxn>
                  <a:cxn ang="0">
                    <a:pos x="10" y="12"/>
                  </a:cxn>
                  <a:cxn ang="0">
                    <a:pos x="8" y="15"/>
                  </a:cxn>
                  <a:cxn ang="0">
                    <a:pos x="8" y="15"/>
                  </a:cxn>
                  <a:cxn ang="0">
                    <a:pos x="5" y="18"/>
                  </a:cxn>
                  <a:cxn ang="0">
                    <a:pos x="3" y="20"/>
                  </a:cxn>
                  <a:cxn ang="0">
                    <a:pos x="1" y="20"/>
                  </a:cxn>
                </a:cxnLst>
                <a:rect l="0" t="0" r="r" b="b"/>
                <a:pathLst>
                  <a:path w="10" h="20">
                    <a:moveTo>
                      <a:pt x="1" y="20"/>
                    </a:moveTo>
                    <a:lnTo>
                      <a:pt x="1" y="18"/>
                    </a:lnTo>
                    <a:lnTo>
                      <a:pt x="0" y="15"/>
                    </a:lnTo>
                    <a:lnTo>
                      <a:pt x="1" y="8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10" y="12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5" y="18"/>
                    </a:lnTo>
                    <a:lnTo>
                      <a:pt x="3" y="20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4" name="Freeform 80">
                <a:extLst>
                  <a:ext uri="{FF2B5EF4-FFF2-40B4-BE49-F238E27FC236}">
                    <a16:creationId xmlns:a16="http://schemas.microsoft.com/office/drawing/2014/main" id="{F4F9E5B1-1DA4-3448-872E-D2B714255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5957" y="2884769"/>
                <a:ext cx="7491" cy="14526"/>
              </a:xfrm>
              <a:custGeom>
                <a:avLst/>
                <a:gdLst/>
                <a:ahLst/>
                <a:cxnLst>
                  <a:cxn ang="0">
                    <a:pos x="10" y="25"/>
                  </a:cxn>
                  <a:cxn ang="0">
                    <a:pos x="7" y="25"/>
                  </a:cxn>
                  <a:cxn ang="0">
                    <a:pos x="3" y="26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8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7" y="0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3" y="5"/>
                  </a:cxn>
                  <a:cxn ang="0">
                    <a:pos x="13" y="6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5"/>
                  </a:cxn>
                  <a:cxn ang="0">
                    <a:pos x="10" y="25"/>
                  </a:cxn>
                </a:cxnLst>
                <a:rect l="0" t="0" r="r" b="b"/>
                <a:pathLst>
                  <a:path w="13" h="26">
                    <a:moveTo>
                      <a:pt x="10" y="25"/>
                    </a:moveTo>
                    <a:lnTo>
                      <a:pt x="7" y="25"/>
                    </a:lnTo>
                    <a:lnTo>
                      <a:pt x="3" y="26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7" y="0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5"/>
                    </a:lnTo>
                    <a:lnTo>
                      <a:pt x="10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5" name="Freeform 81">
                <a:extLst>
                  <a:ext uri="{FF2B5EF4-FFF2-40B4-BE49-F238E27FC236}">
                    <a16:creationId xmlns:a16="http://schemas.microsoft.com/office/drawing/2014/main" id="{B38AC0AD-C9B1-4E49-9428-47CEA84D6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5957" y="2857792"/>
                <a:ext cx="17124" cy="18677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3" y="36"/>
                  </a:cxn>
                  <a:cxn ang="0">
                    <a:pos x="10" y="36"/>
                  </a:cxn>
                  <a:cxn ang="0">
                    <a:pos x="13" y="31"/>
                  </a:cxn>
                  <a:cxn ang="0">
                    <a:pos x="17" y="31"/>
                  </a:cxn>
                  <a:cxn ang="0">
                    <a:pos x="20" y="26"/>
                  </a:cxn>
                  <a:cxn ang="0">
                    <a:pos x="22" y="20"/>
                  </a:cxn>
                  <a:cxn ang="0">
                    <a:pos x="27" y="18"/>
                  </a:cxn>
                  <a:cxn ang="0">
                    <a:pos x="28" y="18"/>
                  </a:cxn>
                  <a:cxn ang="0">
                    <a:pos x="32" y="16"/>
                  </a:cxn>
                  <a:cxn ang="0">
                    <a:pos x="30" y="13"/>
                  </a:cxn>
                  <a:cxn ang="0">
                    <a:pos x="30" y="6"/>
                  </a:cxn>
                  <a:cxn ang="0">
                    <a:pos x="27" y="5"/>
                  </a:cxn>
                  <a:cxn ang="0">
                    <a:pos x="23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0" y="1"/>
                  </a:cxn>
                  <a:cxn ang="0">
                    <a:pos x="8" y="18"/>
                  </a:cxn>
                  <a:cxn ang="0">
                    <a:pos x="5" y="23"/>
                  </a:cxn>
                  <a:cxn ang="0">
                    <a:pos x="0" y="28"/>
                  </a:cxn>
                  <a:cxn ang="0">
                    <a:pos x="0" y="34"/>
                  </a:cxn>
                  <a:cxn ang="0">
                    <a:pos x="0" y="34"/>
                  </a:cxn>
                </a:cxnLst>
                <a:rect l="0" t="0" r="r" b="b"/>
                <a:pathLst>
                  <a:path w="32" h="36">
                    <a:moveTo>
                      <a:pt x="0" y="34"/>
                    </a:moveTo>
                    <a:lnTo>
                      <a:pt x="3" y="36"/>
                    </a:lnTo>
                    <a:lnTo>
                      <a:pt x="10" y="36"/>
                    </a:lnTo>
                    <a:lnTo>
                      <a:pt x="13" y="31"/>
                    </a:lnTo>
                    <a:lnTo>
                      <a:pt x="17" y="31"/>
                    </a:lnTo>
                    <a:lnTo>
                      <a:pt x="20" y="26"/>
                    </a:lnTo>
                    <a:lnTo>
                      <a:pt x="22" y="20"/>
                    </a:lnTo>
                    <a:lnTo>
                      <a:pt x="27" y="18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30" y="13"/>
                    </a:lnTo>
                    <a:lnTo>
                      <a:pt x="30" y="6"/>
                    </a:lnTo>
                    <a:lnTo>
                      <a:pt x="27" y="5"/>
                    </a:lnTo>
                    <a:lnTo>
                      <a:pt x="23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8" y="18"/>
                    </a:lnTo>
                    <a:lnTo>
                      <a:pt x="5" y="23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6" name="Freeform 82">
                <a:extLst>
                  <a:ext uri="{FF2B5EF4-FFF2-40B4-BE49-F238E27FC236}">
                    <a16:creationId xmlns:a16="http://schemas.microsoft.com/office/drawing/2014/main" id="{D3D05CEE-3645-AA46-A0BA-59A73BE2E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7027" y="2872318"/>
                <a:ext cx="52442" cy="57068"/>
              </a:xfrm>
              <a:custGeom>
                <a:avLst/>
                <a:gdLst/>
                <a:ahLst/>
                <a:cxnLst>
                  <a:cxn ang="0">
                    <a:pos x="3" y="94"/>
                  </a:cxn>
                  <a:cxn ang="0">
                    <a:pos x="3" y="94"/>
                  </a:cxn>
                  <a:cxn ang="0">
                    <a:pos x="3" y="91"/>
                  </a:cxn>
                  <a:cxn ang="0">
                    <a:pos x="5" y="90"/>
                  </a:cxn>
                  <a:cxn ang="0">
                    <a:pos x="5" y="85"/>
                  </a:cxn>
                  <a:cxn ang="0">
                    <a:pos x="6" y="80"/>
                  </a:cxn>
                  <a:cxn ang="0">
                    <a:pos x="6" y="73"/>
                  </a:cxn>
                  <a:cxn ang="0">
                    <a:pos x="8" y="71"/>
                  </a:cxn>
                  <a:cxn ang="0">
                    <a:pos x="8" y="66"/>
                  </a:cxn>
                  <a:cxn ang="0">
                    <a:pos x="10" y="61"/>
                  </a:cxn>
                  <a:cxn ang="0">
                    <a:pos x="8" y="58"/>
                  </a:cxn>
                  <a:cxn ang="0">
                    <a:pos x="10" y="41"/>
                  </a:cxn>
                  <a:cxn ang="0">
                    <a:pos x="10" y="38"/>
                  </a:cxn>
                  <a:cxn ang="0">
                    <a:pos x="11" y="31"/>
                  </a:cxn>
                  <a:cxn ang="0">
                    <a:pos x="11" y="30"/>
                  </a:cxn>
                  <a:cxn ang="0">
                    <a:pos x="11" y="26"/>
                  </a:cxn>
                  <a:cxn ang="0">
                    <a:pos x="11" y="23"/>
                  </a:cxn>
                  <a:cxn ang="0">
                    <a:pos x="13" y="23"/>
                  </a:cxn>
                  <a:cxn ang="0">
                    <a:pos x="15" y="21"/>
                  </a:cxn>
                  <a:cxn ang="0">
                    <a:pos x="18" y="18"/>
                  </a:cxn>
                  <a:cxn ang="0">
                    <a:pos x="20" y="18"/>
                  </a:cxn>
                  <a:cxn ang="0">
                    <a:pos x="28" y="21"/>
                  </a:cxn>
                  <a:cxn ang="0">
                    <a:pos x="33" y="25"/>
                  </a:cxn>
                  <a:cxn ang="0">
                    <a:pos x="35" y="25"/>
                  </a:cxn>
                  <a:cxn ang="0">
                    <a:pos x="38" y="28"/>
                  </a:cxn>
                  <a:cxn ang="0">
                    <a:pos x="86" y="0"/>
                  </a:cxn>
                  <a:cxn ang="0">
                    <a:pos x="98" y="28"/>
                  </a:cxn>
                  <a:cxn ang="0">
                    <a:pos x="96" y="28"/>
                  </a:cxn>
                  <a:cxn ang="0">
                    <a:pos x="88" y="36"/>
                  </a:cxn>
                  <a:cxn ang="0">
                    <a:pos x="53" y="46"/>
                  </a:cxn>
                  <a:cxn ang="0">
                    <a:pos x="79" y="75"/>
                  </a:cxn>
                  <a:cxn ang="0">
                    <a:pos x="70" y="85"/>
                  </a:cxn>
                  <a:cxn ang="0">
                    <a:pos x="68" y="91"/>
                  </a:cxn>
                  <a:cxn ang="0">
                    <a:pos x="50" y="94"/>
                  </a:cxn>
                  <a:cxn ang="0">
                    <a:pos x="33" y="109"/>
                  </a:cxn>
                  <a:cxn ang="0">
                    <a:pos x="8" y="103"/>
                  </a:cxn>
                  <a:cxn ang="0">
                    <a:pos x="0" y="103"/>
                  </a:cxn>
                  <a:cxn ang="0">
                    <a:pos x="1" y="103"/>
                  </a:cxn>
                  <a:cxn ang="0">
                    <a:pos x="3" y="96"/>
                  </a:cxn>
                  <a:cxn ang="0">
                    <a:pos x="3" y="94"/>
                  </a:cxn>
                  <a:cxn ang="0">
                    <a:pos x="3" y="94"/>
                  </a:cxn>
                </a:cxnLst>
                <a:rect l="0" t="0" r="r" b="b"/>
                <a:pathLst>
                  <a:path w="98" h="109">
                    <a:moveTo>
                      <a:pt x="3" y="94"/>
                    </a:moveTo>
                    <a:lnTo>
                      <a:pt x="3" y="94"/>
                    </a:lnTo>
                    <a:lnTo>
                      <a:pt x="3" y="91"/>
                    </a:lnTo>
                    <a:lnTo>
                      <a:pt x="5" y="90"/>
                    </a:lnTo>
                    <a:lnTo>
                      <a:pt x="5" y="85"/>
                    </a:lnTo>
                    <a:lnTo>
                      <a:pt x="6" y="80"/>
                    </a:lnTo>
                    <a:lnTo>
                      <a:pt x="6" y="73"/>
                    </a:lnTo>
                    <a:lnTo>
                      <a:pt x="8" y="71"/>
                    </a:lnTo>
                    <a:lnTo>
                      <a:pt x="8" y="66"/>
                    </a:lnTo>
                    <a:lnTo>
                      <a:pt x="10" y="61"/>
                    </a:lnTo>
                    <a:lnTo>
                      <a:pt x="8" y="58"/>
                    </a:lnTo>
                    <a:lnTo>
                      <a:pt x="10" y="41"/>
                    </a:lnTo>
                    <a:lnTo>
                      <a:pt x="10" y="38"/>
                    </a:lnTo>
                    <a:lnTo>
                      <a:pt x="11" y="31"/>
                    </a:lnTo>
                    <a:lnTo>
                      <a:pt x="11" y="30"/>
                    </a:lnTo>
                    <a:lnTo>
                      <a:pt x="11" y="26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8" y="21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8" y="28"/>
                    </a:lnTo>
                    <a:lnTo>
                      <a:pt x="86" y="0"/>
                    </a:lnTo>
                    <a:lnTo>
                      <a:pt x="98" y="28"/>
                    </a:lnTo>
                    <a:lnTo>
                      <a:pt x="96" y="28"/>
                    </a:lnTo>
                    <a:lnTo>
                      <a:pt x="88" y="36"/>
                    </a:lnTo>
                    <a:lnTo>
                      <a:pt x="53" y="46"/>
                    </a:lnTo>
                    <a:lnTo>
                      <a:pt x="79" y="75"/>
                    </a:lnTo>
                    <a:lnTo>
                      <a:pt x="70" y="85"/>
                    </a:lnTo>
                    <a:lnTo>
                      <a:pt x="68" y="91"/>
                    </a:lnTo>
                    <a:lnTo>
                      <a:pt x="50" y="94"/>
                    </a:lnTo>
                    <a:lnTo>
                      <a:pt x="33" y="109"/>
                    </a:lnTo>
                    <a:lnTo>
                      <a:pt x="8" y="103"/>
                    </a:lnTo>
                    <a:lnTo>
                      <a:pt x="0" y="103"/>
                    </a:lnTo>
                    <a:lnTo>
                      <a:pt x="1" y="103"/>
                    </a:lnTo>
                    <a:lnTo>
                      <a:pt x="3" y="96"/>
                    </a:lnTo>
                    <a:lnTo>
                      <a:pt x="3" y="94"/>
                    </a:lnTo>
                    <a:lnTo>
                      <a:pt x="3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7" name="Freeform 83">
                <a:extLst>
                  <a:ext uri="{FF2B5EF4-FFF2-40B4-BE49-F238E27FC236}">
                    <a16:creationId xmlns:a16="http://schemas.microsoft.com/office/drawing/2014/main" id="{0D491FDD-95E9-314F-9AE7-4E6B9AC34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5957" y="2886844"/>
                <a:ext cx="269703" cy="200255"/>
              </a:xfrm>
              <a:custGeom>
                <a:avLst/>
                <a:gdLst/>
                <a:ahLst/>
                <a:cxnLst>
                  <a:cxn ang="0">
                    <a:pos x="306" y="81"/>
                  </a:cxn>
                  <a:cxn ang="0">
                    <a:pos x="121" y="3"/>
                  </a:cxn>
                  <a:cxn ang="0">
                    <a:pos x="55" y="18"/>
                  </a:cxn>
                  <a:cxn ang="0">
                    <a:pos x="70" y="63"/>
                  </a:cxn>
                  <a:cxn ang="0">
                    <a:pos x="10" y="75"/>
                  </a:cxn>
                  <a:cxn ang="0">
                    <a:pos x="2" y="93"/>
                  </a:cxn>
                  <a:cxn ang="0">
                    <a:pos x="3" y="100"/>
                  </a:cxn>
                  <a:cxn ang="0">
                    <a:pos x="13" y="103"/>
                  </a:cxn>
                  <a:cxn ang="0">
                    <a:pos x="23" y="118"/>
                  </a:cxn>
                  <a:cxn ang="0">
                    <a:pos x="32" y="128"/>
                  </a:cxn>
                  <a:cxn ang="0">
                    <a:pos x="42" y="143"/>
                  </a:cxn>
                  <a:cxn ang="0">
                    <a:pos x="48" y="153"/>
                  </a:cxn>
                  <a:cxn ang="0">
                    <a:pos x="62" y="168"/>
                  </a:cxn>
                  <a:cxn ang="0">
                    <a:pos x="65" y="179"/>
                  </a:cxn>
                  <a:cxn ang="0">
                    <a:pos x="70" y="189"/>
                  </a:cxn>
                  <a:cxn ang="0">
                    <a:pos x="81" y="193"/>
                  </a:cxn>
                  <a:cxn ang="0">
                    <a:pos x="98" y="206"/>
                  </a:cxn>
                  <a:cxn ang="0">
                    <a:pos x="103" y="214"/>
                  </a:cxn>
                  <a:cxn ang="0">
                    <a:pos x="111" y="233"/>
                  </a:cxn>
                  <a:cxn ang="0">
                    <a:pos x="108" y="244"/>
                  </a:cxn>
                  <a:cxn ang="0">
                    <a:pos x="113" y="262"/>
                  </a:cxn>
                  <a:cxn ang="0">
                    <a:pos x="131" y="282"/>
                  </a:cxn>
                  <a:cxn ang="0">
                    <a:pos x="143" y="287"/>
                  </a:cxn>
                  <a:cxn ang="0">
                    <a:pos x="153" y="297"/>
                  </a:cxn>
                  <a:cxn ang="0">
                    <a:pos x="161" y="302"/>
                  </a:cxn>
                  <a:cxn ang="0">
                    <a:pos x="173" y="329"/>
                  </a:cxn>
                  <a:cxn ang="0">
                    <a:pos x="196" y="356"/>
                  </a:cxn>
                  <a:cxn ang="0">
                    <a:pos x="211" y="369"/>
                  </a:cxn>
                  <a:cxn ang="0">
                    <a:pos x="224" y="362"/>
                  </a:cxn>
                  <a:cxn ang="0">
                    <a:pos x="229" y="342"/>
                  </a:cxn>
                  <a:cxn ang="0">
                    <a:pos x="273" y="356"/>
                  </a:cxn>
                  <a:cxn ang="0">
                    <a:pos x="339" y="331"/>
                  </a:cxn>
                  <a:cxn ang="0">
                    <a:pos x="498" y="223"/>
                  </a:cxn>
                  <a:cxn ang="0">
                    <a:pos x="419" y="219"/>
                  </a:cxn>
                  <a:cxn ang="0">
                    <a:pos x="409" y="188"/>
                  </a:cxn>
                  <a:cxn ang="0">
                    <a:pos x="404" y="184"/>
                  </a:cxn>
                  <a:cxn ang="0">
                    <a:pos x="402" y="181"/>
                  </a:cxn>
                  <a:cxn ang="0">
                    <a:pos x="390" y="176"/>
                  </a:cxn>
                  <a:cxn ang="0">
                    <a:pos x="384" y="169"/>
                  </a:cxn>
                  <a:cxn ang="0">
                    <a:pos x="367" y="145"/>
                  </a:cxn>
                  <a:cxn ang="0">
                    <a:pos x="366" y="133"/>
                  </a:cxn>
                  <a:cxn ang="0">
                    <a:pos x="361" y="126"/>
                  </a:cxn>
                  <a:cxn ang="0">
                    <a:pos x="346" y="111"/>
                  </a:cxn>
                  <a:cxn ang="0">
                    <a:pos x="351" y="111"/>
                  </a:cxn>
                  <a:cxn ang="0">
                    <a:pos x="336" y="106"/>
                  </a:cxn>
                  <a:cxn ang="0">
                    <a:pos x="326" y="88"/>
                  </a:cxn>
                  <a:cxn ang="0">
                    <a:pos x="322" y="83"/>
                  </a:cxn>
                </a:cxnLst>
                <a:rect l="0" t="0" r="r" b="b"/>
                <a:pathLst>
                  <a:path w="503" h="385">
                    <a:moveTo>
                      <a:pt x="322" y="83"/>
                    </a:moveTo>
                    <a:lnTo>
                      <a:pt x="307" y="90"/>
                    </a:lnTo>
                    <a:lnTo>
                      <a:pt x="306" y="81"/>
                    </a:lnTo>
                    <a:lnTo>
                      <a:pt x="284" y="75"/>
                    </a:lnTo>
                    <a:lnTo>
                      <a:pt x="234" y="75"/>
                    </a:lnTo>
                    <a:lnTo>
                      <a:pt x="121" y="3"/>
                    </a:lnTo>
                    <a:lnTo>
                      <a:pt x="98" y="0"/>
                    </a:lnTo>
                    <a:lnTo>
                      <a:pt x="90" y="8"/>
                    </a:lnTo>
                    <a:lnTo>
                      <a:pt x="55" y="18"/>
                    </a:lnTo>
                    <a:lnTo>
                      <a:pt x="81" y="47"/>
                    </a:lnTo>
                    <a:lnTo>
                      <a:pt x="72" y="57"/>
                    </a:lnTo>
                    <a:lnTo>
                      <a:pt x="70" y="63"/>
                    </a:lnTo>
                    <a:lnTo>
                      <a:pt x="52" y="66"/>
                    </a:lnTo>
                    <a:lnTo>
                      <a:pt x="35" y="81"/>
                    </a:lnTo>
                    <a:lnTo>
                      <a:pt x="10" y="75"/>
                    </a:lnTo>
                    <a:lnTo>
                      <a:pt x="2" y="75"/>
                    </a:lnTo>
                    <a:lnTo>
                      <a:pt x="2" y="83"/>
                    </a:lnTo>
                    <a:lnTo>
                      <a:pt x="2" y="93"/>
                    </a:lnTo>
                    <a:lnTo>
                      <a:pt x="0" y="98"/>
                    </a:lnTo>
                    <a:lnTo>
                      <a:pt x="0" y="101"/>
                    </a:lnTo>
                    <a:lnTo>
                      <a:pt x="3" y="100"/>
                    </a:lnTo>
                    <a:lnTo>
                      <a:pt x="5" y="101"/>
                    </a:lnTo>
                    <a:lnTo>
                      <a:pt x="8" y="100"/>
                    </a:lnTo>
                    <a:lnTo>
                      <a:pt x="13" y="103"/>
                    </a:lnTo>
                    <a:lnTo>
                      <a:pt x="12" y="103"/>
                    </a:lnTo>
                    <a:lnTo>
                      <a:pt x="23" y="115"/>
                    </a:lnTo>
                    <a:lnTo>
                      <a:pt x="23" y="118"/>
                    </a:lnTo>
                    <a:lnTo>
                      <a:pt x="27" y="120"/>
                    </a:lnTo>
                    <a:lnTo>
                      <a:pt x="27" y="125"/>
                    </a:lnTo>
                    <a:lnTo>
                      <a:pt x="32" y="128"/>
                    </a:lnTo>
                    <a:lnTo>
                      <a:pt x="35" y="128"/>
                    </a:lnTo>
                    <a:lnTo>
                      <a:pt x="42" y="140"/>
                    </a:lnTo>
                    <a:lnTo>
                      <a:pt x="42" y="143"/>
                    </a:lnTo>
                    <a:lnTo>
                      <a:pt x="43" y="146"/>
                    </a:lnTo>
                    <a:lnTo>
                      <a:pt x="48" y="148"/>
                    </a:lnTo>
                    <a:lnTo>
                      <a:pt x="48" y="153"/>
                    </a:lnTo>
                    <a:lnTo>
                      <a:pt x="52" y="156"/>
                    </a:lnTo>
                    <a:lnTo>
                      <a:pt x="57" y="158"/>
                    </a:lnTo>
                    <a:lnTo>
                      <a:pt x="62" y="168"/>
                    </a:lnTo>
                    <a:lnTo>
                      <a:pt x="65" y="171"/>
                    </a:lnTo>
                    <a:lnTo>
                      <a:pt x="67" y="178"/>
                    </a:lnTo>
                    <a:lnTo>
                      <a:pt x="65" y="179"/>
                    </a:lnTo>
                    <a:lnTo>
                      <a:pt x="65" y="183"/>
                    </a:lnTo>
                    <a:lnTo>
                      <a:pt x="70" y="186"/>
                    </a:lnTo>
                    <a:lnTo>
                      <a:pt x="70" y="189"/>
                    </a:lnTo>
                    <a:lnTo>
                      <a:pt x="73" y="193"/>
                    </a:lnTo>
                    <a:lnTo>
                      <a:pt x="76" y="189"/>
                    </a:lnTo>
                    <a:lnTo>
                      <a:pt x="81" y="193"/>
                    </a:lnTo>
                    <a:lnTo>
                      <a:pt x="90" y="196"/>
                    </a:lnTo>
                    <a:lnTo>
                      <a:pt x="96" y="201"/>
                    </a:lnTo>
                    <a:lnTo>
                      <a:pt x="98" y="206"/>
                    </a:lnTo>
                    <a:lnTo>
                      <a:pt x="100" y="206"/>
                    </a:lnTo>
                    <a:lnTo>
                      <a:pt x="100" y="211"/>
                    </a:lnTo>
                    <a:lnTo>
                      <a:pt x="103" y="214"/>
                    </a:lnTo>
                    <a:lnTo>
                      <a:pt x="105" y="221"/>
                    </a:lnTo>
                    <a:lnTo>
                      <a:pt x="110" y="224"/>
                    </a:lnTo>
                    <a:lnTo>
                      <a:pt x="111" y="233"/>
                    </a:lnTo>
                    <a:lnTo>
                      <a:pt x="111" y="234"/>
                    </a:lnTo>
                    <a:lnTo>
                      <a:pt x="110" y="243"/>
                    </a:lnTo>
                    <a:lnTo>
                      <a:pt x="108" y="244"/>
                    </a:lnTo>
                    <a:lnTo>
                      <a:pt x="110" y="248"/>
                    </a:lnTo>
                    <a:lnTo>
                      <a:pt x="113" y="254"/>
                    </a:lnTo>
                    <a:lnTo>
                      <a:pt x="113" y="262"/>
                    </a:lnTo>
                    <a:lnTo>
                      <a:pt x="118" y="267"/>
                    </a:lnTo>
                    <a:lnTo>
                      <a:pt x="118" y="269"/>
                    </a:lnTo>
                    <a:lnTo>
                      <a:pt x="131" y="282"/>
                    </a:lnTo>
                    <a:lnTo>
                      <a:pt x="135" y="284"/>
                    </a:lnTo>
                    <a:lnTo>
                      <a:pt x="140" y="284"/>
                    </a:lnTo>
                    <a:lnTo>
                      <a:pt x="143" y="287"/>
                    </a:lnTo>
                    <a:lnTo>
                      <a:pt x="146" y="287"/>
                    </a:lnTo>
                    <a:lnTo>
                      <a:pt x="153" y="294"/>
                    </a:lnTo>
                    <a:lnTo>
                      <a:pt x="153" y="297"/>
                    </a:lnTo>
                    <a:lnTo>
                      <a:pt x="160" y="297"/>
                    </a:lnTo>
                    <a:lnTo>
                      <a:pt x="158" y="301"/>
                    </a:lnTo>
                    <a:lnTo>
                      <a:pt x="161" y="302"/>
                    </a:lnTo>
                    <a:lnTo>
                      <a:pt x="168" y="321"/>
                    </a:lnTo>
                    <a:lnTo>
                      <a:pt x="173" y="324"/>
                    </a:lnTo>
                    <a:lnTo>
                      <a:pt x="173" y="329"/>
                    </a:lnTo>
                    <a:lnTo>
                      <a:pt x="191" y="346"/>
                    </a:lnTo>
                    <a:lnTo>
                      <a:pt x="194" y="346"/>
                    </a:lnTo>
                    <a:lnTo>
                      <a:pt x="196" y="356"/>
                    </a:lnTo>
                    <a:lnTo>
                      <a:pt x="203" y="357"/>
                    </a:lnTo>
                    <a:lnTo>
                      <a:pt x="208" y="369"/>
                    </a:lnTo>
                    <a:lnTo>
                      <a:pt x="211" y="369"/>
                    </a:lnTo>
                    <a:lnTo>
                      <a:pt x="216" y="370"/>
                    </a:lnTo>
                    <a:lnTo>
                      <a:pt x="218" y="365"/>
                    </a:lnTo>
                    <a:lnTo>
                      <a:pt x="224" y="362"/>
                    </a:lnTo>
                    <a:lnTo>
                      <a:pt x="219" y="356"/>
                    </a:lnTo>
                    <a:lnTo>
                      <a:pt x="223" y="344"/>
                    </a:lnTo>
                    <a:lnTo>
                      <a:pt x="229" y="342"/>
                    </a:lnTo>
                    <a:lnTo>
                      <a:pt x="238" y="347"/>
                    </a:lnTo>
                    <a:lnTo>
                      <a:pt x="253" y="347"/>
                    </a:lnTo>
                    <a:lnTo>
                      <a:pt x="273" y="356"/>
                    </a:lnTo>
                    <a:lnTo>
                      <a:pt x="294" y="365"/>
                    </a:lnTo>
                    <a:lnTo>
                      <a:pt x="296" y="385"/>
                    </a:lnTo>
                    <a:lnTo>
                      <a:pt x="339" y="331"/>
                    </a:lnTo>
                    <a:lnTo>
                      <a:pt x="500" y="287"/>
                    </a:lnTo>
                    <a:lnTo>
                      <a:pt x="503" y="239"/>
                    </a:lnTo>
                    <a:lnTo>
                      <a:pt x="498" y="223"/>
                    </a:lnTo>
                    <a:lnTo>
                      <a:pt x="498" y="223"/>
                    </a:lnTo>
                    <a:lnTo>
                      <a:pt x="490" y="229"/>
                    </a:lnTo>
                    <a:lnTo>
                      <a:pt x="419" y="219"/>
                    </a:lnTo>
                    <a:lnTo>
                      <a:pt x="414" y="203"/>
                    </a:lnTo>
                    <a:lnTo>
                      <a:pt x="409" y="196"/>
                    </a:lnTo>
                    <a:lnTo>
                      <a:pt x="409" y="188"/>
                    </a:lnTo>
                    <a:lnTo>
                      <a:pt x="409" y="188"/>
                    </a:lnTo>
                    <a:lnTo>
                      <a:pt x="407" y="189"/>
                    </a:lnTo>
                    <a:lnTo>
                      <a:pt x="404" y="184"/>
                    </a:lnTo>
                    <a:lnTo>
                      <a:pt x="405" y="183"/>
                    </a:lnTo>
                    <a:lnTo>
                      <a:pt x="407" y="181"/>
                    </a:lnTo>
                    <a:lnTo>
                      <a:pt x="402" y="181"/>
                    </a:lnTo>
                    <a:lnTo>
                      <a:pt x="402" y="179"/>
                    </a:lnTo>
                    <a:lnTo>
                      <a:pt x="399" y="179"/>
                    </a:lnTo>
                    <a:lnTo>
                      <a:pt x="390" y="176"/>
                    </a:lnTo>
                    <a:lnTo>
                      <a:pt x="389" y="174"/>
                    </a:lnTo>
                    <a:lnTo>
                      <a:pt x="389" y="174"/>
                    </a:lnTo>
                    <a:lnTo>
                      <a:pt x="384" y="169"/>
                    </a:lnTo>
                    <a:lnTo>
                      <a:pt x="382" y="164"/>
                    </a:lnTo>
                    <a:lnTo>
                      <a:pt x="371" y="150"/>
                    </a:lnTo>
                    <a:lnTo>
                      <a:pt x="367" y="145"/>
                    </a:lnTo>
                    <a:lnTo>
                      <a:pt x="371" y="145"/>
                    </a:lnTo>
                    <a:lnTo>
                      <a:pt x="371" y="143"/>
                    </a:lnTo>
                    <a:lnTo>
                      <a:pt x="366" y="133"/>
                    </a:lnTo>
                    <a:lnTo>
                      <a:pt x="366" y="130"/>
                    </a:lnTo>
                    <a:lnTo>
                      <a:pt x="362" y="126"/>
                    </a:lnTo>
                    <a:lnTo>
                      <a:pt x="361" y="126"/>
                    </a:lnTo>
                    <a:lnTo>
                      <a:pt x="352" y="115"/>
                    </a:lnTo>
                    <a:lnTo>
                      <a:pt x="349" y="115"/>
                    </a:lnTo>
                    <a:lnTo>
                      <a:pt x="346" y="111"/>
                    </a:lnTo>
                    <a:lnTo>
                      <a:pt x="347" y="110"/>
                    </a:lnTo>
                    <a:lnTo>
                      <a:pt x="349" y="110"/>
                    </a:lnTo>
                    <a:lnTo>
                      <a:pt x="351" y="111"/>
                    </a:lnTo>
                    <a:lnTo>
                      <a:pt x="349" y="108"/>
                    </a:lnTo>
                    <a:lnTo>
                      <a:pt x="344" y="108"/>
                    </a:lnTo>
                    <a:lnTo>
                      <a:pt x="336" y="106"/>
                    </a:lnTo>
                    <a:lnTo>
                      <a:pt x="331" y="95"/>
                    </a:lnTo>
                    <a:lnTo>
                      <a:pt x="329" y="90"/>
                    </a:lnTo>
                    <a:lnTo>
                      <a:pt x="326" y="88"/>
                    </a:lnTo>
                    <a:lnTo>
                      <a:pt x="326" y="85"/>
                    </a:lnTo>
                    <a:lnTo>
                      <a:pt x="324" y="85"/>
                    </a:lnTo>
                    <a:lnTo>
                      <a:pt x="322" y="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8" name="Freeform 84">
                <a:extLst>
                  <a:ext uri="{FF2B5EF4-FFF2-40B4-BE49-F238E27FC236}">
                    <a16:creationId xmlns:a16="http://schemas.microsoft.com/office/drawing/2014/main" id="{C300C08D-6CB0-0E44-87B0-377E6B77B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3585" y="2960513"/>
                <a:ext cx="10702" cy="19715"/>
              </a:xfrm>
              <a:custGeom>
                <a:avLst/>
                <a:gdLst/>
                <a:ahLst/>
                <a:cxnLst>
                  <a:cxn ang="0">
                    <a:pos x="15" y="36"/>
                  </a:cxn>
                  <a:cxn ang="0">
                    <a:pos x="12" y="36"/>
                  </a:cxn>
                  <a:cxn ang="0">
                    <a:pos x="3" y="33"/>
                  </a:cxn>
                  <a:cxn ang="0">
                    <a:pos x="2" y="31"/>
                  </a:cxn>
                  <a:cxn ang="0">
                    <a:pos x="3" y="30"/>
                  </a:cxn>
                  <a:cxn ang="0">
                    <a:pos x="3" y="26"/>
                  </a:cxn>
                  <a:cxn ang="0">
                    <a:pos x="2" y="23"/>
                  </a:cxn>
                  <a:cxn ang="0">
                    <a:pos x="0" y="21"/>
                  </a:cxn>
                  <a:cxn ang="0">
                    <a:pos x="2" y="15"/>
                  </a:cxn>
                  <a:cxn ang="0">
                    <a:pos x="3" y="15"/>
                  </a:cxn>
                  <a:cxn ang="0">
                    <a:pos x="5" y="15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3" y="5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3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15" y="13"/>
                  </a:cxn>
                  <a:cxn ang="0">
                    <a:pos x="15" y="13"/>
                  </a:cxn>
                  <a:cxn ang="0">
                    <a:pos x="15" y="21"/>
                  </a:cxn>
                  <a:cxn ang="0">
                    <a:pos x="17" y="21"/>
                  </a:cxn>
                  <a:cxn ang="0">
                    <a:pos x="20" y="25"/>
                  </a:cxn>
                  <a:cxn ang="0">
                    <a:pos x="18" y="36"/>
                  </a:cxn>
                  <a:cxn ang="0">
                    <a:pos x="15" y="36"/>
                  </a:cxn>
                  <a:cxn ang="0">
                    <a:pos x="15" y="36"/>
                  </a:cxn>
                </a:cxnLst>
                <a:rect l="0" t="0" r="r" b="b"/>
                <a:pathLst>
                  <a:path w="20" h="36">
                    <a:moveTo>
                      <a:pt x="15" y="36"/>
                    </a:moveTo>
                    <a:lnTo>
                      <a:pt x="12" y="36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3" y="30"/>
                    </a:lnTo>
                    <a:lnTo>
                      <a:pt x="3" y="26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20" y="25"/>
                    </a:lnTo>
                    <a:lnTo>
                      <a:pt x="18" y="36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39" name="Freeform 85">
                <a:extLst>
                  <a:ext uri="{FF2B5EF4-FFF2-40B4-BE49-F238E27FC236}">
                    <a16:creationId xmlns:a16="http://schemas.microsoft.com/office/drawing/2014/main" id="{E25B344C-DA2B-104E-AA67-C75092469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4287" y="2962588"/>
                <a:ext cx="62074" cy="43579"/>
              </a:xfrm>
              <a:custGeom>
                <a:avLst/>
                <a:gdLst/>
                <a:ahLst/>
                <a:cxnLst>
                  <a:cxn ang="0">
                    <a:pos x="0" y="42"/>
                  </a:cxn>
                  <a:cxn ang="0">
                    <a:pos x="0" y="50"/>
                  </a:cxn>
                  <a:cxn ang="0">
                    <a:pos x="5" y="57"/>
                  </a:cxn>
                  <a:cxn ang="0">
                    <a:pos x="10" y="73"/>
                  </a:cxn>
                  <a:cxn ang="0">
                    <a:pos x="81" y="83"/>
                  </a:cxn>
                  <a:cxn ang="0">
                    <a:pos x="89" y="77"/>
                  </a:cxn>
                  <a:cxn ang="0">
                    <a:pos x="109" y="18"/>
                  </a:cxn>
                  <a:cxn ang="0">
                    <a:pos x="114" y="18"/>
                  </a:cxn>
                  <a:cxn ang="0">
                    <a:pos x="114" y="12"/>
                  </a:cxn>
                  <a:cxn ang="0">
                    <a:pos x="113" y="9"/>
                  </a:cxn>
                  <a:cxn ang="0">
                    <a:pos x="111" y="10"/>
                  </a:cxn>
                  <a:cxn ang="0">
                    <a:pos x="109" y="9"/>
                  </a:cxn>
                  <a:cxn ang="0">
                    <a:pos x="109" y="9"/>
                  </a:cxn>
                  <a:cxn ang="0">
                    <a:pos x="108" y="9"/>
                  </a:cxn>
                  <a:cxn ang="0">
                    <a:pos x="106" y="0"/>
                  </a:cxn>
                  <a:cxn ang="0">
                    <a:pos x="104" y="0"/>
                  </a:cxn>
                  <a:cxn ang="0">
                    <a:pos x="104" y="4"/>
                  </a:cxn>
                  <a:cxn ang="0">
                    <a:pos x="103" y="5"/>
                  </a:cxn>
                  <a:cxn ang="0">
                    <a:pos x="88" y="14"/>
                  </a:cxn>
                  <a:cxn ang="0">
                    <a:pos x="88" y="18"/>
                  </a:cxn>
                  <a:cxn ang="0">
                    <a:pos x="73" y="30"/>
                  </a:cxn>
                  <a:cxn ang="0">
                    <a:pos x="71" y="33"/>
                  </a:cxn>
                  <a:cxn ang="0">
                    <a:pos x="73" y="33"/>
                  </a:cxn>
                  <a:cxn ang="0">
                    <a:pos x="74" y="37"/>
                  </a:cxn>
                  <a:cxn ang="0">
                    <a:pos x="68" y="42"/>
                  </a:cxn>
                  <a:cxn ang="0">
                    <a:pos x="66" y="40"/>
                  </a:cxn>
                  <a:cxn ang="0">
                    <a:pos x="64" y="40"/>
                  </a:cxn>
                  <a:cxn ang="0">
                    <a:pos x="61" y="40"/>
                  </a:cxn>
                  <a:cxn ang="0">
                    <a:pos x="61" y="45"/>
                  </a:cxn>
                  <a:cxn ang="0">
                    <a:pos x="60" y="45"/>
                  </a:cxn>
                  <a:cxn ang="0">
                    <a:pos x="60" y="47"/>
                  </a:cxn>
                  <a:cxn ang="0">
                    <a:pos x="51" y="48"/>
                  </a:cxn>
                  <a:cxn ang="0">
                    <a:pos x="46" y="48"/>
                  </a:cxn>
                  <a:cxn ang="0">
                    <a:pos x="45" y="45"/>
                  </a:cxn>
                  <a:cxn ang="0">
                    <a:pos x="40" y="47"/>
                  </a:cxn>
                  <a:cxn ang="0">
                    <a:pos x="38" y="45"/>
                  </a:cxn>
                  <a:cxn ang="0">
                    <a:pos x="35" y="45"/>
                  </a:cxn>
                  <a:cxn ang="0">
                    <a:pos x="26" y="43"/>
                  </a:cxn>
                  <a:cxn ang="0">
                    <a:pos x="16" y="52"/>
                  </a:cxn>
                  <a:cxn ang="0">
                    <a:pos x="11" y="50"/>
                  </a:cxn>
                  <a:cxn ang="0">
                    <a:pos x="8" y="50"/>
                  </a:cxn>
                  <a:cxn ang="0">
                    <a:pos x="5" y="52"/>
                  </a:cxn>
                  <a:cxn ang="0">
                    <a:pos x="3" y="42"/>
                  </a:cxn>
                  <a:cxn ang="0">
                    <a:pos x="1" y="43"/>
                  </a:cxn>
                  <a:cxn ang="0">
                    <a:pos x="0" y="42"/>
                  </a:cxn>
                </a:cxnLst>
                <a:rect l="0" t="0" r="r" b="b"/>
                <a:pathLst>
                  <a:path w="114" h="83">
                    <a:moveTo>
                      <a:pt x="0" y="42"/>
                    </a:moveTo>
                    <a:lnTo>
                      <a:pt x="0" y="50"/>
                    </a:lnTo>
                    <a:lnTo>
                      <a:pt x="5" y="57"/>
                    </a:lnTo>
                    <a:lnTo>
                      <a:pt x="10" y="73"/>
                    </a:lnTo>
                    <a:lnTo>
                      <a:pt x="81" y="83"/>
                    </a:lnTo>
                    <a:lnTo>
                      <a:pt x="89" y="77"/>
                    </a:lnTo>
                    <a:lnTo>
                      <a:pt x="109" y="18"/>
                    </a:lnTo>
                    <a:lnTo>
                      <a:pt x="114" y="18"/>
                    </a:lnTo>
                    <a:lnTo>
                      <a:pt x="114" y="12"/>
                    </a:lnTo>
                    <a:lnTo>
                      <a:pt x="113" y="9"/>
                    </a:lnTo>
                    <a:lnTo>
                      <a:pt x="111" y="10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08" y="9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4" y="4"/>
                    </a:lnTo>
                    <a:lnTo>
                      <a:pt x="103" y="5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73" y="30"/>
                    </a:lnTo>
                    <a:lnTo>
                      <a:pt x="71" y="33"/>
                    </a:lnTo>
                    <a:lnTo>
                      <a:pt x="73" y="33"/>
                    </a:lnTo>
                    <a:lnTo>
                      <a:pt x="74" y="37"/>
                    </a:lnTo>
                    <a:lnTo>
                      <a:pt x="68" y="42"/>
                    </a:lnTo>
                    <a:lnTo>
                      <a:pt x="66" y="40"/>
                    </a:lnTo>
                    <a:lnTo>
                      <a:pt x="64" y="40"/>
                    </a:lnTo>
                    <a:lnTo>
                      <a:pt x="61" y="40"/>
                    </a:lnTo>
                    <a:lnTo>
                      <a:pt x="61" y="45"/>
                    </a:lnTo>
                    <a:lnTo>
                      <a:pt x="60" y="45"/>
                    </a:lnTo>
                    <a:lnTo>
                      <a:pt x="60" y="47"/>
                    </a:lnTo>
                    <a:lnTo>
                      <a:pt x="51" y="48"/>
                    </a:lnTo>
                    <a:lnTo>
                      <a:pt x="46" y="48"/>
                    </a:lnTo>
                    <a:lnTo>
                      <a:pt x="45" y="45"/>
                    </a:lnTo>
                    <a:lnTo>
                      <a:pt x="40" y="47"/>
                    </a:lnTo>
                    <a:lnTo>
                      <a:pt x="38" y="45"/>
                    </a:lnTo>
                    <a:lnTo>
                      <a:pt x="35" y="45"/>
                    </a:lnTo>
                    <a:lnTo>
                      <a:pt x="26" y="43"/>
                    </a:lnTo>
                    <a:lnTo>
                      <a:pt x="16" y="52"/>
                    </a:lnTo>
                    <a:lnTo>
                      <a:pt x="11" y="50"/>
                    </a:lnTo>
                    <a:lnTo>
                      <a:pt x="8" y="50"/>
                    </a:lnTo>
                    <a:lnTo>
                      <a:pt x="5" y="52"/>
                    </a:lnTo>
                    <a:lnTo>
                      <a:pt x="3" y="42"/>
                    </a:lnTo>
                    <a:lnTo>
                      <a:pt x="1" y="43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40" name="Freeform 86">
                <a:extLst>
                  <a:ext uri="{FF2B5EF4-FFF2-40B4-BE49-F238E27FC236}">
                    <a16:creationId xmlns:a16="http://schemas.microsoft.com/office/drawing/2014/main" id="{503E2E1C-7EC9-6B48-AEA5-1E3B12FF12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86060" y="2956363"/>
                <a:ext cx="97392" cy="121398"/>
              </a:xfrm>
              <a:custGeom>
                <a:avLst/>
                <a:gdLst/>
                <a:ahLst/>
                <a:cxnLst>
                  <a:cxn ang="0">
                    <a:pos x="70" y="152"/>
                  </a:cxn>
                  <a:cxn ang="0">
                    <a:pos x="68" y="88"/>
                  </a:cxn>
                  <a:cxn ang="0">
                    <a:pos x="93" y="29"/>
                  </a:cxn>
                  <a:cxn ang="0">
                    <a:pos x="103" y="51"/>
                  </a:cxn>
                  <a:cxn ang="0">
                    <a:pos x="117" y="64"/>
                  </a:cxn>
                  <a:cxn ang="0">
                    <a:pos x="127" y="64"/>
                  </a:cxn>
                  <a:cxn ang="0">
                    <a:pos x="141" y="66"/>
                  </a:cxn>
                  <a:cxn ang="0">
                    <a:pos x="151" y="64"/>
                  </a:cxn>
                  <a:cxn ang="0">
                    <a:pos x="160" y="79"/>
                  </a:cxn>
                  <a:cxn ang="0">
                    <a:pos x="166" y="86"/>
                  </a:cxn>
                  <a:cxn ang="0">
                    <a:pos x="180" y="93"/>
                  </a:cxn>
                  <a:cxn ang="0">
                    <a:pos x="181" y="99"/>
                  </a:cxn>
                  <a:cxn ang="0">
                    <a:pos x="178" y="108"/>
                  </a:cxn>
                  <a:cxn ang="0">
                    <a:pos x="168" y="123"/>
                  </a:cxn>
                  <a:cxn ang="0">
                    <a:pos x="160" y="132"/>
                  </a:cxn>
                  <a:cxn ang="0">
                    <a:pos x="155" y="144"/>
                  </a:cxn>
                  <a:cxn ang="0">
                    <a:pos x="148" y="142"/>
                  </a:cxn>
                  <a:cxn ang="0">
                    <a:pos x="150" y="137"/>
                  </a:cxn>
                  <a:cxn ang="0">
                    <a:pos x="146" y="139"/>
                  </a:cxn>
                  <a:cxn ang="0">
                    <a:pos x="141" y="144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7" y="161"/>
                  </a:cxn>
                  <a:cxn ang="0">
                    <a:pos x="137" y="166"/>
                  </a:cxn>
                  <a:cxn ang="0">
                    <a:pos x="141" y="176"/>
                  </a:cxn>
                  <a:cxn ang="0">
                    <a:pos x="130" y="179"/>
                  </a:cxn>
                  <a:cxn ang="0">
                    <a:pos x="123" y="179"/>
                  </a:cxn>
                  <a:cxn ang="0">
                    <a:pos x="108" y="189"/>
                  </a:cxn>
                  <a:cxn ang="0">
                    <a:pos x="107" y="197"/>
                  </a:cxn>
                  <a:cxn ang="0">
                    <a:pos x="100" y="201"/>
                  </a:cxn>
                  <a:cxn ang="0">
                    <a:pos x="85" y="202"/>
                  </a:cxn>
                  <a:cxn ang="0">
                    <a:pos x="80" y="207"/>
                  </a:cxn>
                  <a:cxn ang="0">
                    <a:pos x="80" y="212"/>
                  </a:cxn>
                  <a:cxn ang="0">
                    <a:pos x="82" y="216"/>
                  </a:cxn>
                  <a:cxn ang="0">
                    <a:pos x="80" y="217"/>
                  </a:cxn>
                  <a:cxn ang="0">
                    <a:pos x="72" y="225"/>
                  </a:cxn>
                  <a:cxn ang="0">
                    <a:pos x="63" y="224"/>
                  </a:cxn>
                  <a:cxn ang="0">
                    <a:pos x="50" y="227"/>
                  </a:cxn>
                  <a:cxn ang="0">
                    <a:pos x="42" y="232"/>
                  </a:cxn>
                  <a:cxn ang="0">
                    <a:pos x="35" y="230"/>
                  </a:cxn>
                  <a:cxn ang="0">
                    <a:pos x="19" y="217"/>
                  </a:cxn>
                  <a:cxn ang="0">
                    <a:pos x="0" y="182"/>
                  </a:cxn>
                  <a:cxn ang="0">
                    <a:pos x="2" y="171"/>
                  </a:cxn>
                  <a:cxn ang="0">
                    <a:pos x="88" y="16"/>
                  </a:cxn>
                  <a:cxn ang="0">
                    <a:pos x="92" y="6"/>
                  </a:cxn>
                  <a:cxn ang="0">
                    <a:pos x="92" y="5"/>
                  </a:cxn>
                  <a:cxn ang="0">
                    <a:pos x="92" y="1"/>
                  </a:cxn>
                  <a:cxn ang="0">
                    <a:pos x="92" y="0"/>
                  </a:cxn>
                  <a:cxn ang="0">
                    <a:pos x="87" y="1"/>
                  </a:cxn>
                  <a:cxn ang="0">
                    <a:pos x="85" y="8"/>
                  </a:cxn>
                  <a:cxn ang="0">
                    <a:pos x="83" y="8"/>
                  </a:cxn>
                  <a:cxn ang="0">
                    <a:pos x="85" y="11"/>
                  </a:cxn>
                  <a:cxn ang="0">
                    <a:pos x="88" y="20"/>
                  </a:cxn>
                </a:cxnLst>
                <a:rect l="0" t="0" r="r" b="b"/>
                <a:pathLst>
                  <a:path w="181" h="232">
                    <a:moveTo>
                      <a:pt x="2" y="171"/>
                    </a:moveTo>
                    <a:lnTo>
                      <a:pt x="70" y="152"/>
                    </a:lnTo>
                    <a:lnTo>
                      <a:pt x="73" y="104"/>
                    </a:lnTo>
                    <a:lnTo>
                      <a:pt x="68" y="88"/>
                    </a:lnTo>
                    <a:lnTo>
                      <a:pt x="88" y="29"/>
                    </a:lnTo>
                    <a:lnTo>
                      <a:pt x="93" y="29"/>
                    </a:lnTo>
                    <a:lnTo>
                      <a:pt x="95" y="41"/>
                    </a:lnTo>
                    <a:lnTo>
                      <a:pt x="103" y="51"/>
                    </a:lnTo>
                    <a:lnTo>
                      <a:pt x="103" y="54"/>
                    </a:lnTo>
                    <a:lnTo>
                      <a:pt x="117" y="64"/>
                    </a:lnTo>
                    <a:lnTo>
                      <a:pt x="123" y="66"/>
                    </a:lnTo>
                    <a:lnTo>
                      <a:pt x="127" y="64"/>
                    </a:lnTo>
                    <a:lnTo>
                      <a:pt x="132" y="64"/>
                    </a:lnTo>
                    <a:lnTo>
                      <a:pt x="141" y="66"/>
                    </a:lnTo>
                    <a:lnTo>
                      <a:pt x="148" y="64"/>
                    </a:lnTo>
                    <a:lnTo>
                      <a:pt x="151" y="64"/>
                    </a:lnTo>
                    <a:lnTo>
                      <a:pt x="158" y="73"/>
                    </a:lnTo>
                    <a:lnTo>
                      <a:pt x="160" y="79"/>
                    </a:lnTo>
                    <a:lnTo>
                      <a:pt x="163" y="83"/>
                    </a:lnTo>
                    <a:lnTo>
                      <a:pt x="166" y="86"/>
                    </a:lnTo>
                    <a:lnTo>
                      <a:pt x="175" y="93"/>
                    </a:lnTo>
                    <a:lnTo>
                      <a:pt x="180" y="93"/>
                    </a:lnTo>
                    <a:lnTo>
                      <a:pt x="181" y="94"/>
                    </a:lnTo>
                    <a:lnTo>
                      <a:pt x="181" y="99"/>
                    </a:lnTo>
                    <a:lnTo>
                      <a:pt x="178" y="104"/>
                    </a:lnTo>
                    <a:lnTo>
                      <a:pt x="178" y="108"/>
                    </a:lnTo>
                    <a:lnTo>
                      <a:pt x="178" y="111"/>
                    </a:lnTo>
                    <a:lnTo>
                      <a:pt x="168" y="123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6" y="136"/>
                    </a:lnTo>
                    <a:lnTo>
                      <a:pt x="155" y="144"/>
                    </a:lnTo>
                    <a:lnTo>
                      <a:pt x="151" y="142"/>
                    </a:lnTo>
                    <a:lnTo>
                      <a:pt x="148" y="142"/>
                    </a:lnTo>
                    <a:lnTo>
                      <a:pt x="150" y="139"/>
                    </a:lnTo>
                    <a:lnTo>
                      <a:pt x="150" y="137"/>
                    </a:lnTo>
                    <a:lnTo>
                      <a:pt x="148" y="137"/>
                    </a:lnTo>
                    <a:lnTo>
                      <a:pt x="146" y="139"/>
                    </a:lnTo>
                    <a:lnTo>
                      <a:pt x="143" y="142"/>
                    </a:lnTo>
                    <a:lnTo>
                      <a:pt x="141" y="144"/>
                    </a:lnTo>
                    <a:lnTo>
                      <a:pt x="143" y="146"/>
                    </a:lnTo>
                    <a:lnTo>
                      <a:pt x="141" y="147"/>
                    </a:lnTo>
                    <a:lnTo>
                      <a:pt x="137" y="154"/>
                    </a:lnTo>
                    <a:lnTo>
                      <a:pt x="137" y="157"/>
                    </a:lnTo>
                    <a:lnTo>
                      <a:pt x="135" y="161"/>
                    </a:lnTo>
                    <a:lnTo>
                      <a:pt x="137" y="161"/>
                    </a:lnTo>
                    <a:lnTo>
                      <a:pt x="138" y="166"/>
                    </a:lnTo>
                    <a:lnTo>
                      <a:pt x="137" y="166"/>
                    </a:lnTo>
                    <a:lnTo>
                      <a:pt x="140" y="174"/>
                    </a:lnTo>
                    <a:lnTo>
                      <a:pt x="141" y="176"/>
                    </a:lnTo>
                    <a:lnTo>
                      <a:pt x="141" y="177"/>
                    </a:lnTo>
                    <a:lnTo>
                      <a:pt x="130" y="179"/>
                    </a:lnTo>
                    <a:lnTo>
                      <a:pt x="127" y="181"/>
                    </a:lnTo>
                    <a:lnTo>
                      <a:pt x="123" y="179"/>
                    </a:lnTo>
                    <a:lnTo>
                      <a:pt x="118" y="179"/>
                    </a:lnTo>
                    <a:lnTo>
                      <a:pt x="108" y="189"/>
                    </a:lnTo>
                    <a:lnTo>
                      <a:pt x="108" y="196"/>
                    </a:lnTo>
                    <a:lnTo>
                      <a:pt x="107" y="197"/>
                    </a:lnTo>
                    <a:lnTo>
                      <a:pt x="102" y="202"/>
                    </a:lnTo>
                    <a:lnTo>
                      <a:pt x="100" y="201"/>
                    </a:lnTo>
                    <a:lnTo>
                      <a:pt x="93" y="202"/>
                    </a:lnTo>
                    <a:lnTo>
                      <a:pt x="85" y="202"/>
                    </a:lnTo>
                    <a:lnTo>
                      <a:pt x="83" y="204"/>
                    </a:lnTo>
                    <a:lnTo>
                      <a:pt x="80" y="207"/>
                    </a:lnTo>
                    <a:lnTo>
                      <a:pt x="80" y="209"/>
                    </a:lnTo>
                    <a:lnTo>
                      <a:pt x="80" y="212"/>
                    </a:lnTo>
                    <a:lnTo>
                      <a:pt x="82" y="212"/>
                    </a:lnTo>
                    <a:lnTo>
                      <a:pt x="82" y="216"/>
                    </a:lnTo>
                    <a:lnTo>
                      <a:pt x="80" y="216"/>
                    </a:lnTo>
                    <a:lnTo>
                      <a:pt x="80" y="217"/>
                    </a:lnTo>
                    <a:lnTo>
                      <a:pt x="75" y="224"/>
                    </a:lnTo>
                    <a:lnTo>
                      <a:pt x="72" y="225"/>
                    </a:lnTo>
                    <a:lnTo>
                      <a:pt x="68" y="222"/>
                    </a:lnTo>
                    <a:lnTo>
                      <a:pt x="63" y="224"/>
                    </a:lnTo>
                    <a:lnTo>
                      <a:pt x="58" y="224"/>
                    </a:lnTo>
                    <a:lnTo>
                      <a:pt x="50" y="227"/>
                    </a:lnTo>
                    <a:lnTo>
                      <a:pt x="45" y="227"/>
                    </a:lnTo>
                    <a:lnTo>
                      <a:pt x="42" y="232"/>
                    </a:lnTo>
                    <a:lnTo>
                      <a:pt x="37" y="232"/>
                    </a:lnTo>
                    <a:lnTo>
                      <a:pt x="35" y="230"/>
                    </a:lnTo>
                    <a:lnTo>
                      <a:pt x="32" y="232"/>
                    </a:lnTo>
                    <a:lnTo>
                      <a:pt x="19" y="217"/>
                    </a:lnTo>
                    <a:lnTo>
                      <a:pt x="22" y="207"/>
                    </a:lnTo>
                    <a:lnTo>
                      <a:pt x="0" y="182"/>
                    </a:lnTo>
                    <a:lnTo>
                      <a:pt x="2" y="171"/>
                    </a:lnTo>
                    <a:lnTo>
                      <a:pt x="2" y="171"/>
                    </a:lnTo>
                    <a:close/>
                    <a:moveTo>
                      <a:pt x="88" y="20"/>
                    </a:moveTo>
                    <a:lnTo>
                      <a:pt x="88" y="16"/>
                    </a:lnTo>
                    <a:lnTo>
                      <a:pt x="90" y="13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92" y="5"/>
                    </a:lnTo>
                    <a:lnTo>
                      <a:pt x="90" y="3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92" y="0"/>
                    </a:lnTo>
                    <a:lnTo>
                      <a:pt x="90" y="1"/>
                    </a:lnTo>
                    <a:lnTo>
                      <a:pt x="87" y="1"/>
                    </a:lnTo>
                    <a:lnTo>
                      <a:pt x="87" y="6"/>
                    </a:lnTo>
                    <a:lnTo>
                      <a:pt x="85" y="8"/>
                    </a:lnTo>
                    <a:lnTo>
                      <a:pt x="83" y="6"/>
                    </a:lnTo>
                    <a:lnTo>
                      <a:pt x="83" y="8"/>
                    </a:lnTo>
                    <a:lnTo>
                      <a:pt x="83" y="11"/>
                    </a:lnTo>
                    <a:lnTo>
                      <a:pt x="85" y="11"/>
                    </a:lnTo>
                    <a:lnTo>
                      <a:pt x="87" y="20"/>
                    </a:lnTo>
                    <a:lnTo>
                      <a:pt x="88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41" name="Freeform 87">
                <a:extLst>
                  <a:ext uri="{FF2B5EF4-FFF2-40B4-BE49-F238E27FC236}">
                    <a16:creationId xmlns:a16="http://schemas.microsoft.com/office/drawing/2014/main" id="{64A1D46E-CB0B-5445-81BA-88802F9D7F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5122" y="3045595"/>
                <a:ext cx="157326" cy="85082"/>
              </a:xfrm>
              <a:custGeom>
                <a:avLst/>
                <a:gdLst/>
                <a:ahLst/>
                <a:cxnLst>
                  <a:cxn ang="0">
                    <a:pos x="7" y="63"/>
                  </a:cxn>
                  <a:cxn ang="0">
                    <a:pos x="14" y="59"/>
                  </a:cxn>
                  <a:cxn ang="0">
                    <a:pos x="15" y="50"/>
                  </a:cxn>
                  <a:cxn ang="0">
                    <a:pos x="25" y="36"/>
                  </a:cxn>
                  <a:cxn ang="0">
                    <a:pos x="49" y="41"/>
                  </a:cxn>
                  <a:cxn ang="0">
                    <a:pos x="90" y="59"/>
                  </a:cxn>
                  <a:cxn ang="0">
                    <a:pos x="135" y="25"/>
                  </a:cxn>
                  <a:cxn ang="0">
                    <a:pos x="226" y="11"/>
                  </a:cxn>
                  <a:cxn ang="0">
                    <a:pos x="245" y="46"/>
                  </a:cxn>
                  <a:cxn ang="0">
                    <a:pos x="253" y="61"/>
                  </a:cxn>
                  <a:cxn ang="0">
                    <a:pos x="236" y="73"/>
                  </a:cxn>
                  <a:cxn ang="0">
                    <a:pos x="236" y="79"/>
                  </a:cxn>
                  <a:cxn ang="0">
                    <a:pos x="238" y="84"/>
                  </a:cxn>
                  <a:cxn ang="0">
                    <a:pos x="221" y="89"/>
                  </a:cxn>
                  <a:cxn ang="0">
                    <a:pos x="198" y="96"/>
                  </a:cxn>
                  <a:cxn ang="0">
                    <a:pos x="168" y="106"/>
                  </a:cxn>
                  <a:cxn ang="0">
                    <a:pos x="162" y="108"/>
                  </a:cxn>
                  <a:cxn ang="0">
                    <a:pos x="150" y="121"/>
                  </a:cxn>
                  <a:cxn ang="0">
                    <a:pos x="145" y="119"/>
                  </a:cxn>
                  <a:cxn ang="0">
                    <a:pos x="138" y="123"/>
                  </a:cxn>
                  <a:cxn ang="0">
                    <a:pos x="132" y="119"/>
                  </a:cxn>
                  <a:cxn ang="0">
                    <a:pos x="123" y="129"/>
                  </a:cxn>
                  <a:cxn ang="0">
                    <a:pos x="110" y="131"/>
                  </a:cxn>
                  <a:cxn ang="0">
                    <a:pos x="93" y="134"/>
                  </a:cxn>
                  <a:cxn ang="0">
                    <a:pos x="85" y="133"/>
                  </a:cxn>
                  <a:cxn ang="0">
                    <a:pos x="82" y="133"/>
                  </a:cxn>
                  <a:cxn ang="0">
                    <a:pos x="72" y="136"/>
                  </a:cxn>
                  <a:cxn ang="0">
                    <a:pos x="67" y="143"/>
                  </a:cxn>
                  <a:cxn ang="0">
                    <a:pos x="57" y="149"/>
                  </a:cxn>
                  <a:cxn ang="0">
                    <a:pos x="50" y="148"/>
                  </a:cxn>
                  <a:cxn ang="0">
                    <a:pos x="42" y="152"/>
                  </a:cxn>
                  <a:cxn ang="0">
                    <a:pos x="34" y="151"/>
                  </a:cxn>
                  <a:cxn ang="0">
                    <a:pos x="27" y="149"/>
                  </a:cxn>
                  <a:cxn ang="0">
                    <a:pos x="20" y="138"/>
                  </a:cxn>
                  <a:cxn ang="0">
                    <a:pos x="20" y="131"/>
                  </a:cxn>
                  <a:cxn ang="0">
                    <a:pos x="14" y="119"/>
                  </a:cxn>
                  <a:cxn ang="0">
                    <a:pos x="5" y="93"/>
                  </a:cxn>
                  <a:cxn ang="0">
                    <a:pos x="2" y="89"/>
                  </a:cxn>
                  <a:cxn ang="0">
                    <a:pos x="4" y="86"/>
                  </a:cxn>
                  <a:cxn ang="0">
                    <a:pos x="7" y="84"/>
                  </a:cxn>
                  <a:cxn ang="0">
                    <a:pos x="5" y="66"/>
                  </a:cxn>
                  <a:cxn ang="0">
                    <a:pos x="4" y="63"/>
                  </a:cxn>
                  <a:cxn ang="0">
                    <a:pos x="241" y="161"/>
                  </a:cxn>
                  <a:cxn ang="0">
                    <a:pos x="241" y="164"/>
                  </a:cxn>
                  <a:cxn ang="0">
                    <a:pos x="236" y="162"/>
                  </a:cxn>
                  <a:cxn ang="0">
                    <a:pos x="268" y="154"/>
                  </a:cxn>
                  <a:cxn ang="0">
                    <a:pos x="271" y="149"/>
                  </a:cxn>
                  <a:cxn ang="0">
                    <a:pos x="276" y="152"/>
                  </a:cxn>
                  <a:cxn ang="0">
                    <a:pos x="283" y="151"/>
                  </a:cxn>
                  <a:cxn ang="0">
                    <a:pos x="291" y="152"/>
                  </a:cxn>
                  <a:cxn ang="0">
                    <a:pos x="294" y="154"/>
                  </a:cxn>
                  <a:cxn ang="0">
                    <a:pos x="289" y="157"/>
                  </a:cxn>
                  <a:cxn ang="0">
                    <a:pos x="276" y="161"/>
                  </a:cxn>
                  <a:cxn ang="0">
                    <a:pos x="269" y="157"/>
                  </a:cxn>
                </a:cxnLst>
                <a:rect l="0" t="0" r="r" b="b"/>
                <a:pathLst>
                  <a:path w="294" h="164">
                    <a:moveTo>
                      <a:pt x="4" y="63"/>
                    </a:moveTo>
                    <a:lnTo>
                      <a:pt x="7" y="63"/>
                    </a:lnTo>
                    <a:lnTo>
                      <a:pt x="12" y="64"/>
                    </a:lnTo>
                    <a:lnTo>
                      <a:pt x="14" y="59"/>
                    </a:lnTo>
                    <a:lnTo>
                      <a:pt x="20" y="56"/>
                    </a:lnTo>
                    <a:lnTo>
                      <a:pt x="15" y="50"/>
                    </a:lnTo>
                    <a:lnTo>
                      <a:pt x="19" y="38"/>
                    </a:lnTo>
                    <a:lnTo>
                      <a:pt x="25" y="36"/>
                    </a:lnTo>
                    <a:lnTo>
                      <a:pt x="34" y="41"/>
                    </a:lnTo>
                    <a:lnTo>
                      <a:pt x="49" y="41"/>
                    </a:lnTo>
                    <a:lnTo>
                      <a:pt x="69" y="50"/>
                    </a:lnTo>
                    <a:lnTo>
                      <a:pt x="90" y="59"/>
                    </a:lnTo>
                    <a:lnTo>
                      <a:pt x="92" y="79"/>
                    </a:lnTo>
                    <a:lnTo>
                      <a:pt x="135" y="25"/>
                    </a:lnTo>
                    <a:lnTo>
                      <a:pt x="228" y="0"/>
                    </a:lnTo>
                    <a:lnTo>
                      <a:pt x="226" y="11"/>
                    </a:lnTo>
                    <a:lnTo>
                      <a:pt x="248" y="36"/>
                    </a:lnTo>
                    <a:lnTo>
                      <a:pt x="245" y="46"/>
                    </a:lnTo>
                    <a:lnTo>
                      <a:pt x="258" y="61"/>
                    </a:lnTo>
                    <a:lnTo>
                      <a:pt x="253" y="61"/>
                    </a:lnTo>
                    <a:lnTo>
                      <a:pt x="245" y="64"/>
                    </a:lnTo>
                    <a:lnTo>
                      <a:pt x="236" y="73"/>
                    </a:lnTo>
                    <a:lnTo>
                      <a:pt x="235" y="78"/>
                    </a:lnTo>
                    <a:lnTo>
                      <a:pt x="236" y="79"/>
                    </a:lnTo>
                    <a:lnTo>
                      <a:pt x="236" y="81"/>
                    </a:lnTo>
                    <a:lnTo>
                      <a:pt x="238" y="84"/>
                    </a:lnTo>
                    <a:lnTo>
                      <a:pt x="226" y="86"/>
                    </a:lnTo>
                    <a:lnTo>
                      <a:pt x="221" y="89"/>
                    </a:lnTo>
                    <a:lnTo>
                      <a:pt x="213" y="94"/>
                    </a:lnTo>
                    <a:lnTo>
                      <a:pt x="198" y="96"/>
                    </a:lnTo>
                    <a:lnTo>
                      <a:pt x="195" y="99"/>
                    </a:lnTo>
                    <a:lnTo>
                      <a:pt x="168" y="106"/>
                    </a:lnTo>
                    <a:lnTo>
                      <a:pt x="167" y="106"/>
                    </a:lnTo>
                    <a:lnTo>
                      <a:pt x="162" y="108"/>
                    </a:lnTo>
                    <a:lnTo>
                      <a:pt x="157" y="116"/>
                    </a:lnTo>
                    <a:lnTo>
                      <a:pt x="150" y="121"/>
                    </a:lnTo>
                    <a:lnTo>
                      <a:pt x="147" y="121"/>
                    </a:lnTo>
                    <a:lnTo>
                      <a:pt x="145" y="119"/>
                    </a:lnTo>
                    <a:lnTo>
                      <a:pt x="142" y="121"/>
                    </a:lnTo>
                    <a:lnTo>
                      <a:pt x="138" y="123"/>
                    </a:lnTo>
                    <a:lnTo>
                      <a:pt x="135" y="119"/>
                    </a:lnTo>
                    <a:lnTo>
                      <a:pt x="132" y="119"/>
                    </a:lnTo>
                    <a:lnTo>
                      <a:pt x="123" y="126"/>
                    </a:lnTo>
                    <a:lnTo>
                      <a:pt x="123" y="129"/>
                    </a:lnTo>
                    <a:lnTo>
                      <a:pt x="120" y="131"/>
                    </a:lnTo>
                    <a:lnTo>
                      <a:pt x="110" y="131"/>
                    </a:lnTo>
                    <a:lnTo>
                      <a:pt x="98" y="136"/>
                    </a:lnTo>
                    <a:lnTo>
                      <a:pt x="93" y="134"/>
                    </a:lnTo>
                    <a:lnTo>
                      <a:pt x="93" y="133"/>
                    </a:lnTo>
                    <a:lnTo>
                      <a:pt x="85" y="133"/>
                    </a:lnTo>
                    <a:lnTo>
                      <a:pt x="85" y="133"/>
                    </a:lnTo>
                    <a:lnTo>
                      <a:pt x="82" y="133"/>
                    </a:lnTo>
                    <a:lnTo>
                      <a:pt x="78" y="133"/>
                    </a:lnTo>
                    <a:lnTo>
                      <a:pt x="72" y="136"/>
                    </a:lnTo>
                    <a:lnTo>
                      <a:pt x="69" y="143"/>
                    </a:lnTo>
                    <a:lnTo>
                      <a:pt x="67" y="143"/>
                    </a:lnTo>
                    <a:lnTo>
                      <a:pt x="62" y="148"/>
                    </a:lnTo>
                    <a:lnTo>
                      <a:pt x="57" y="149"/>
                    </a:lnTo>
                    <a:lnTo>
                      <a:pt x="55" y="148"/>
                    </a:lnTo>
                    <a:lnTo>
                      <a:pt x="50" y="148"/>
                    </a:lnTo>
                    <a:lnTo>
                      <a:pt x="45" y="151"/>
                    </a:lnTo>
                    <a:lnTo>
                      <a:pt x="42" y="152"/>
                    </a:lnTo>
                    <a:lnTo>
                      <a:pt x="35" y="151"/>
                    </a:lnTo>
                    <a:lnTo>
                      <a:pt x="34" y="151"/>
                    </a:lnTo>
                    <a:lnTo>
                      <a:pt x="29" y="152"/>
                    </a:lnTo>
                    <a:lnTo>
                      <a:pt x="27" y="149"/>
                    </a:lnTo>
                    <a:lnTo>
                      <a:pt x="25" y="143"/>
                    </a:lnTo>
                    <a:lnTo>
                      <a:pt x="20" y="138"/>
                    </a:lnTo>
                    <a:lnTo>
                      <a:pt x="17" y="133"/>
                    </a:lnTo>
                    <a:lnTo>
                      <a:pt x="20" y="131"/>
                    </a:lnTo>
                    <a:lnTo>
                      <a:pt x="20" y="124"/>
                    </a:lnTo>
                    <a:lnTo>
                      <a:pt x="14" y="119"/>
                    </a:lnTo>
                    <a:lnTo>
                      <a:pt x="10" y="99"/>
                    </a:lnTo>
                    <a:lnTo>
                      <a:pt x="5" y="93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78"/>
                    </a:lnTo>
                    <a:lnTo>
                      <a:pt x="5" y="66"/>
                    </a:lnTo>
                    <a:lnTo>
                      <a:pt x="4" y="63"/>
                    </a:lnTo>
                    <a:lnTo>
                      <a:pt x="4" y="63"/>
                    </a:lnTo>
                    <a:close/>
                    <a:moveTo>
                      <a:pt x="236" y="162"/>
                    </a:moveTo>
                    <a:lnTo>
                      <a:pt x="241" y="161"/>
                    </a:lnTo>
                    <a:lnTo>
                      <a:pt x="248" y="164"/>
                    </a:lnTo>
                    <a:lnTo>
                      <a:pt x="241" y="164"/>
                    </a:lnTo>
                    <a:lnTo>
                      <a:pt x="236" y="162"/>
                    </a:lnTo>
                    <a:lnTo>
                      <a:pt x="236" y="162"/>
                    </a:lnTo>
                    <a:close/>
                    <a:moveTo>
                      <a:pt x="266" y="156"/>
                    </a:moveTo>
                    <a:lnTo>
                      <a:pt x="268" y="154"/>
                    </a:lnTo>
                    <a:lnTo>
                      <a:pt x="269" y="151"/>
                    </a:lnTo>
                    <a:lnTo>
                      <a:pt x="271" y="149"/>
                    </a:lnTo>
                    <a:lnTo>
                      <a:pt x="274" y="149"/>
                    </a:lnTo>
                    <a:lnTo>
                      <a:pt x="276" y="152"/>
                    </a:lnTo>
                    <a:lnTo>
                      <a:pt x="279" y="152"/>
                    </a:lnTo>
                    <a:lnTo>
                      <a:pt x="283" y="151"/>
                    </a:lnTo>
                    <a:lnTo>
                      <a:pt x="288" y="151"/>
                    </a:lnTo>
                    <a:lnTo>
                      <a:pt x="291" y="152"/>
                    </a:lnTo>
                    <a:lnTo>
                      <a:pt x="294" y="152"/>
                    </a:lnTo>
                    <a:lnTo>
                      <a:pt x="294" y="154"/>
                    </a:lnTo>
                    <a:lnTo>
                      <a:pt x="293" y="156"/>
                    </a:lnTo>
                    <a:lnTo>
                      <a:pt x="289" y="157"/>
                    </a:lnTo>
                    <a:lnTo>
                      <a:pt x="284" y="159"/>
                    </a:lnTo>
                    <a:lnTo>
                      <a:pt x="276" y="161"/>
                    </a:lnTo>
                    <a:lnTo>
                      <a:pt x="271" y="159"/>
                    </a:lnTo>
                    <a:lnTo>
                      <a:pt x="269" y="157"/>
                    </a:lnTo>
                    <a:lnTo>
                      <a:pt x="266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42" name="Freeform 94">
                <a:extLst>
                  <a:ext uri="{FF2B5EF4-FFF2-40B4-BE49-F238E27FC236}">
                    <a16:creationId xmlns:a16="http://schemas.microsoft.com/office/drawing/2014/main" id="{9AC3EF7A-70D1-FC4E-8F77-079400854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9180" y="3028994"/>
                <a:ext cx="29967" cy="23865"/>
              </a:xfrm>
              <a:custGeom>
                <a:avLst/>
                <a:gdLst/>
                <a:ahLst/>
                <a:cxnLst>
                  <a:cxn ang="0">
                    <a:pos x="50" y="2"/>
                  </a:cxn>
                  <a:cxn ang="0">
                    <a:pos x="45" y="0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8" y="0"/>
                  </a:cxn>
                  <a:cxn ang="0">
                    <a:pos x="33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3" y="2"/>
                  </a:cxn>
                  <a:cxn ang="0">
                    <a:pos x="18" y="5"/>
                  </a:cxn>
                  <a:cxn ang="0">
                    <a:pos x="15" y="5"/>
                  </a:cxn>
                  <a:cxn ang="0">
                    <a:pos x="13" y="8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32"/>
                  </a:cxn>
                  <a:cxn ang="0">
                    <a:pos x="5" y="35"/>
                  </a:cxn>
                  <a:cxn ang="0">
                    <a:pos x="5" y="38"/>
                  </a:cxn>
                  <a:cxn ang="0">
                    <a:pos x="8" y="42"/>
                  </a:cxn>
                  <a:cxn ang="0">
                    <a:pos x="13" y="42"/>
                  </a:cxn>
                  <a:cxn ang="0">
                    <a:pos x="17" y="43"/>
                  </a:cxn>
                  <a:cxn ang="0">
                    <a:pos x="20" y="43"/>
                  </a:cxn>
                  <a:cxn ang="0">
                    <a:pos x="25" y="47"/>
                  </a:cxn>
                  <a:cxn ang="0">
                    <a:pos x="28" y="45"/>
                  </a:cxn>
                  <a:cxn ang="0">
                    <a:pos x="30" y="40"/>
                  </a:cxn>
                  <a:cxn ang="0">
                    <a:pos x="33" y="40"/>
                  </a:cxn>
                  <a:cxn ang="0">
                    <a:pos x="37" y="42"/>
                  </a:cxn>
                  <a:cxn ang="0">
                    <a:pos x="40" y="37"/>
                  </a:cxn>
                  <a:cxn ang="0">
                    <a:pos x="40" y="35"/>
                  </a:cxn>
                  <a:cxn ang="0">
                    <a:pos x="45" y="33"/>
                  </a:cxn>
                  <a:cxn ang="0">
                    <a:pos x="48" y="32"/>
                  </a:cxn>
                  <a:cxn ang="0">
                    <a:pos x="48" y="27"/>
                  </a:cxn>
                  <a:cxn ang="0">
                    <a:pos x="50" y="20"/>
                  </a:cxn>
                  <a:cxn ang="0">
                    <a:pos x="53" y="18"/>
                  </a:cxn>
                  <a:cxn ang="0">
                    <a:pos x="53" y="15"/>
                  </a:cxn>
                  <a:cxn ang="0">
                    <a:pos x="57" y="10"/>
                  </a:cxn>
                  <a:cxn ang="0">
                    <a:pos x="55" y="5"/>
                  </a:cxn>
                  <a:cxn ang="0">
                    <a:pos x="50" y="2"/>
                  </a:cxn>
                </a:cxnLst>
                <a:rect l="0" t="0" r="r" b="b"/>
                <a:pathLst>
                  <a:path w="57" h="47">
                    <a:moveTo>
                      <a:pt x="50" y="2"/>
                    </a:moveTo>
                    <a:lnTo>
                      <a:pt x="45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3" y="2"/>
                    </a:lnTo>
                    <a:lnTo>
                      <a:pt x="18" y="5"/>
                    </a:lnTo>
                    <a:lnTo>
                      <a:pt x="15" y="5"/>
                    </a:lnTo>
                    <a:lnTo>
                      <a:pt x="13" y="8"/>
                    </a:lnTo>
                    <a:lnTo>
                      <a:pt x="5" y="13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32"/>
                    </a:lnTo>
                    <a:lnTo>
                      <a:pt x="5" y="35"/>
                    </a:lnTo>
                    <a:lnTo>
                      <a:pt x="5" y="38"/>
                    </a:lnTo>
                    <a:lnTo>
                      <a:pt x="8" y="42"/>
                    </a:lnTo>
                    <a:lnTo>
                      <a:pt x="13" y="42"/>
                    </a:lnTo>
                    <a:lnTo>
                      <a:pt x="17" y="43"/>
                    </a:lnTo>
                    <a:lnTo>
                      <a:pt x="20" y="43"/>
                    </a:lnTo>
                    <a:lnTo>
                      <a:pt x="25" y="47"/>
                    </a:lnTo>
                    <a:lnTo>
                      <a:pt x="28" y="45"/>
                    </a:lnTo>
                    <a:lnTo>
                      <a:pt x="30" y="40"/>
                    </a:lnTo>
                    <a:lnTo>
                      <a:pt x="33" y="40"/>
                    </a:lnTo>
                    <a:lnTo>
                      <a:pt x="37" y="42"/>
                    </a:lnTo>
                    <a:lnTo>
                      <a:pt x="40" y="37"/>
                    </a:lnTo>
                    <a:lnTo>
                      <a:pt x="40" y="35"/>
                    </a:lnTo>
                    <a:lnTo>
                      <a:pt x="45" y="33"/>
                    </a:lnTo>
                    <a:lnTo>
                      <a:pt x="48" y="32"/>
                    </a:lnTo>
                    <a:lnTo>
                      <a:pt x="48" y="27"/>
                    </a:lnTo>
                    <a:lnTo>
                      <a:pt x="50" y="20"/>
                    </a:lnTo>
                    <a:lnTo>
                      <a:pt x="53" y="18"/>
                    </a:lnTo>
                    <a:lnTo>
                      <a:pt x="53" y="15"/>
                    </a:lnTo>
                    <a:lnTo>
                      <a:pt x="57" y="10"/>
                    </a:lnTo>
                    <a:lnTo>
                      <a:pt x="55" y="5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43" name="Freeform 95">
                <a:extLst>
                  <a:ext uri="{FF2B5EF4-FFF2-40B4-BE49-F238E27FC236}">
                    <a16:creationId xmlns:a16="http://schemas.microsoft.com/office/drawing/2014/main" id="{0C712831-57FC-5242-BED2-7DFA28700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0878" y="2506050"/>
                <a:ext cx="795194" cy="520869"/>
              </a:xfrm>
              <a:custGeom>
                <a:avLst/>
                <a:gdLst/>
                <a:ahLst/>
                <a:cxnLst>
                  <a:cxn ang="0">
                    <a:pos x="1435" y="174"/>
                  </a:cxn>
                  <a:cxn ang="0">
                    <a:pos x="1385" y="158"/>
                  </a:cxn>
                  <a:cxn ang="0">
                    <a:pos x="1343" y="129"/>
                  </a:cxn>
                  <a:cxn ang="0">
                    <a:pos x="1287" y="114"/>
                  </a:cxn>
                  <a:cxn ang="0">
                    <a:pos x="1242" y="50"/>
                  </a:cxn>
                  <a:cxn ang="0">
                    <a:pos x="1206" y="13"/>
                  </a:cxn>
                  <a:cxn ang="0">
                    <a:pos x="1141" y="2"/>
                  </a:cxn>
                  <a:cxn ang="0">
                    <a:pos x="1081" y="40"/>
                  </a:cxn>
                  <a:cxn ang="0">
                    <a:pos x="1096" y="101"/>
                  </a:cxn>
                  <a:cxn ang="0">
                    <a:pos x="1049" y="148"/>
                  </a:cxn>
                  <a:cxn ang="0">
                    <a:pos x="1147" y="237"/>
                  </a:cxn>
                  <a:cxn ang="0">
                    <a:pos x="1083" y="284"/>
                  </a:cxn>
                  <a:cxn ang="0">
                    <a:pos x="980" y="335"/>
                  </a:cxn>
                  <a:cxn ang="0">
                    <a:pos x="853" y="430"/>
                  </a:cxn>
                  <a:cxn ang="0">
                    <a:pos x="646" y="408"/>
                  </a:cxn>
                  <a:cxn ang="0">
                    <a:pos x="551" y="340"/>
                  </a:cxn>
                  <a:cxn ang="0">
                    <a:pos x="480" y="274"/>
                  </a:cxn>
                  <a:cxn ang="0">
                    <a:pos x="415" y="246"/>
                  </a:cxn>
                  <a:cxn ang="0">
                    <a:pos x="367" y="249"/>
                  </a:cxn>
                  <a:cxn ang="0">
                    <a:pos x="304" y="335"/>
                  </a:cxn>
                  <a:cxn ang="0">
                    <a:pos x="267" y="372"/>
                  </a:cxn>
                  <a:cxn ang="0">
                    <a:pos x="202" y="420"/>
                  </a:cxn>
                  <a:cxn ang="0">
                    <a:pos x="66" y="440"/>
                  </a:cxn>
                  <a:cxn ang="0">
                    <a:pos x="43" y="492"/>
                  </a:cxn>
                  <a:cxn ang="0">
                    <a:pos x="21" y="568"/>
                  </a:cxn>
                  <a:cxn ang="0">
                    <a:pos x="71" y="571"/>
                  </a:cxn>
                  <a:cxn ang="0">
                    <a:pos x="132" y="593"/>
                  </a:cxn>
                  <a:cxn ang="0">
                    <a:pos x="217" y="609"/>
                  </a:cxn>
                  <a:cxn ang="0">
                    <a:pos x="295" y="711"/>
                  </a:cxn>
                  <a:cxn ang="0">
                    <a:pos x="352" y="766"/>
                  </a:cxn>
                  <a:cxn ang="0">
                    <a:pos x="443" y="791"/>
                  </a:cxn>
                  <a:cxn ang="0">
                    <a:pos x="546" y="820"/>
                  </a:cxn>
                  <a:cxn ang="0">
                    <a:pos x="651" y="812"/>
                  </a:cxn>
                  <a:cxn ang="0">
                    <a:pos x="737" y="792"/>
                  </a:cxn>
                  <a:cxn ang="0">
                    <a:pos x="797" y="869"/>
                  </a:cxn>
                  <a:cxn ang="0">
                    <a:pos x="809" y="923"/>
                  </a:cxn>
                  <a:cxn ang="0">
                    <a:pos x="845" y="975"/>
                  </a:cxn>
                  <a:cxn ang="0">
                    <a:pos x="900" y="953"/>
                  </a:cxn>
                  <a:cxn ang="0">
                    <a:pos x="978" y="933"/>
                  </a:cxn>
                  <a:cxn ang="0">
                    <a:pos x="1048" y="973"/>
                  </a:cxn>
                  <a:cxn ang="0">
                    <a:pos x="1089" y="1003"/>
                  </a:cxn>
                  <a:cxn ang="0">
                    <a:pos x="1104" y="980"/>
                  </a:cxn>
                  <a:cxn ang="0">
                    <a:pos x="1166" y="947"/>
                  </a:cxn>
                  <a:cxn ang="0">
                    <a:pos x="1214" y="943"/>
                  </a:cxn>
                  <a:cxn ang="0">
                    <a:pos x="1259" y="913"/>
                  </a:cxn>
                  <a:cxn ang="0">
                    <a:pos x="1289" y="885"/>
                  </a:cxn>
                  <a:cxn ang="0">
                    <a:pos x="1299" y="864"/>
                  </a:cxn>
                  <a:cxn ang="0">
                    <a:pos x="1310" y="830"/>
                  </a:cxn>
                  <a:cxn ang="0">
                    <a:pos x="1337" y="792"/>
                  </a:cxn>
                  <a:cxn ang="0">
                    <a:pos x="1342" y="756"/>
                  </a:cxn>
                  <a:cxn ang="0">
                    <a:pos x="1290" y="739"/>
                  </a:cxn>
                  <a:cxn ang="0">
                    <a:pos x="1257" y="688"/>
                  </a:cxn>
                  <a:cxn ang="0">
                    <a:pos x="1315" y="683"/>
                  </a:cxn>
                  <a:cxn ang="0">
                    <a:pos x="1250" y="586"/>
                  </a:cxn>
                  <a:cxn ang="0">
                    <a:pos x="1310" y="548"/>
                  </a:cxn>
                  <a:cxn ang="0">
                    <a:pos x="1249" y="526"/>
                  </a:cxn>
                  <a:cxn ang="0">
                    <a:pos x="1184" y="511"/>
                  </a:cxn>
                  <a:cxn ang="0">
                    <a:pos x="1234" y="448"/>
                  </a:cxn>
                  <a:cxn ang="0">
                    <a:pos x="1265" y="473"/>
                  </a:cxn>
                  <a:cxn ang="0">
                    <a:pos x="1287" y="473"/>
                  </a:cxn>
                  <a:cxn ang="0">
                    <a:pos x="1451" y="344"/>
                  </a:cxn>
                  <a:cxn ang="0">
                    <a:pos x="1451" y="266"/>
                  </a:cxn>
                  <a:cxn ang="0">
                    <a:pos x="1485" y="229"/>
                  </a:cxn>
                </a:cxnLst>
                <a:rect l="0" t="0" r="r" b="b"/>
                <a:pathLst>
                  <a:path w="1486" h="1005">
                    <a:moveTo>
                      <a:pt x="1483" y="176"/>
                    </a:moveTo>
                    <a:lnTo>
                      <a:pt x="1481" y="174"/>
                    </a:lnTo>
                    <a:lnTo>
                      <a:pt x="1481" y="171"/>
                    </a:lnTo>
                    <a:lnTo>
                      <a:pt x="1476" y="166"/>
                    </a:lnTo>
                    <a:lnTo>
                      <a:pt x="1476" y="164"/>
                    </a:lnTo>
                    <a:lnTo>
                      <a:pt x="1478" y="163"/>
                    </a:lnTo>
                    <a:lnTo>
                      <a:pt x="1476" y="158"/>
                    </a:lnTo>
                    <a:lnTo>
                      <a:pt x="1475" y="156"/>
                    </a:lnTo>
                    <a:lnTo>
                      <a:pt x="1470" y="156"/>
                    </a:lnTo>
                    <a:lnTo>
                      <a:pt x="1468" y="154"/>
                    </a:lnTo>
                    <a:lnTo>
                      <a:pt x="1463" y="153"/>
                    </a:lnTo>
                    <a:lnTo>
                      <a:pt x="1461" y="154"/>
                    </a:lnTo>
                    <a:lnTo>
                      <a:pt x="1456" y="154"/>
                    </a:lnTo>
                    <a:lnTo>
                      <a:pt x="1455" y="158"/>
                    </a:lnTo>
                    <a:lnTo>
                      <a:pt x="1453" y="161"/>
                    </a:lnTo>
                    <a:lnTo>
                      <a:pt x="1451" y="161"/>
                    </a:lnTo>
                    <a:lnTo>
                      <a:pt x="1448" y="161"/>
                    </a:lnTo>
                    <a:lnTo>
                      <a:pt x="1448" y="166"/>
                    </a:lnTo>
                    <a:lnTo>
                      <a:pt x="1443" y="166"/>
                    </a:lnTo>
                    <a:lnTo>
                      <a:pt x="1440" y="166"/>
                    </a:lnTo>
                    <a:lnTo>
                      <a:pt x="1438" y="169"/>
                    </a:lnTo>
                    <a:lnTo>
                      <a:pt x="1438" y="173"/>
                    </a:lnTo>
                    <a:lnTo>
                      <a:pt x="1435" y="174"/>
                    </a:lnTo>
                    <a:lnTo>
                      <a:pt x="1433" y="179"/>
                    </a:lnTo>
                    <a:lnTo>
                      <a:pt x="1433" y="181"/>
                    </a:lnTo>
                    <a:lnTo>
                      <a:pt x="1431" y="183"/>
                    </a:lnTo>
                    <a:lnTo>
                      <a:pt x="1428" y="184"/>
                    </a:lnTo>
                    <a:lnTo>
                      <a:pt x="1421" y="186"/>
                    </a:lnTo>
                    <a:lnTo>
                      <a:pt x="1420" y="186"/>
                    </a:lnTo>
                    <a:lnTo>
                      <a:pt x="1415" y="186"/>
                    </a:lnTo>
                    <a:lnTo>
                      <a:pt x="1413" y="188"/>
                    </a:lnTo>
                    <a:lnTo>
                      <a:pt x="1412" y="189"/>
                    </a:lnTo>
                    <a:lnTo>
                      <a:pt x="1410" y="186"/>
                    </a:lnTo>
                    <a:lnTo>
                      <a:pt x="1407" y="183"/>
                    </a:lnTo>
                    <a:lnTo>
                      <a:pt x="1403" y="183"/>
                    </a:lnTo>
                    <a:lnTo>
                      <a:pt x="1400" y="184"/>
                    </a:lnTo>
                    <a:lnTo>
                      <a:pt x="1397" y="186"/>
                    </a:lnTo>
                    <a:lnTo>
                      <a:pt x="1395" y="184"/>
                    </a:lnTo>
                    <a:lnTo>
                      <a:pt x="1392" y="179"/>
                    </a:lnTo>
                    <a:lnTo>
                      <a:pt x="1390" y="178"/>
                    </a:lnTo>
                    <a:lnTo>
                      <a:pt x="1385" y="173"/>
                    </a:lnTo>
                    <a:lnTo>
                      <a:pt x="1385" y="169"/>
                    </a:lnTo>
                    <a:lnTo>
                      <a:pt x="1387" y="168"/>
                    </a:lnTo>
                    <a:lnTo>
                      <a:pt x="1387" y="164"/>
                    </a:lnTo>
                    <a:lnTo>
                      <a:pt x="1385" y="161"/>
                    </a:lnTo>
                    <a:lnTo>
                      <a:pt x="1385" y="158"/>
                    </a:lnTo>
                    <a:lnTo>
                      <a:pt x="1380" y="158"/>
                    </a:lnTo>
                    <a:lnTo>
                      <a:pt x="1380" y="154"/>
                    </a:lnTo>
                    <a:lnTo>
                      <a:pt x="1380" y="151"/>
                    </a:lnTo>
                    <a:lnTo>
                      <a:pt x="1382" y="149"/>
                    </a:lnTo>
                    <a:lnTo>
                      <a:pt x="1383" y="146"/>
                    </a:lnTo>
                    <a:lnTo>
                      <a:pt x="1380" y="146"/>
                    </a:lnTo>
                    <a:lnTo>
                      <a:pt x="1378" y="146"/>
                    </a:lnTo>
                    <a:lnTo>
                      <a:pt x="1377" y="148"/>
                    </a:lnTo>
                    <a:lnTo>
                      <a:pt x="1373" y="148"/>
                    </a:lnTo>
                    <a:lnTo>
                      <a:pt x="1370" y="148"/>
                    </a:lnTo>
                    <a:lnTo>
                      <a:pt x="1367" y="148"/>
                    </a:lnTo>
                    <a:lnTo>
                      <a:pt x="1365" y="146"/>
                    </a:lnTo>
                    <a:lnTo>
                      <a:pt x="1363" y="146"/>
                    </a:lnTo>
                    <a:lnTo>
                      <a:pt x="1362" y="144"/>
                    </a:lnTo>
                    <a:lnTo>
                      <a:pt x="1357" y="143"/>
                    </a:lnTo>
                    <a:lnTo>
                      <a:pt x="1355" y="141"/>
                    </a:lnTo>
                    <a:lnTo>
                      <a:pt x="1353" y="138"/>
                    </a:lnTo>
                    <a:lnTo>
                      <a:pt x="1352" y="138"/>
                    </a:lnTo>
                    <a:lnTo>
                      <a:pt x="1350" y="136"/>
                    </a:lnTo>
                    <a:lnTo>
                      <a:pt x="1348" y="134"/>
                    </a:lnTo>
                    <a:lnTo>
                      <a:pt x="1347" y="134"/>
                    </a:lnTo>
                    <a:lnTo>
                      <a:pt x="1343" y="131"/>
                    </a:lnTo>
                    <a:lnTo>
                      <a:pt x="1343" y="129"/>
                    </a:lnTo>
                    <a:lnTo>
                      <a:pt x="1342" y="128"/>
                    </a:lnTo>
                    <a:lnTo>
                      <a:pt x="1338" y="128"/>
                    </a:lnTo>
                    <a:lnTo>
                      <a:pt x="1337" y="131"/>
                    </a:lnTo>
                    <a:lnTo>
                      <a:pt x="1335" y="129"/>
                    </a:lnTo>
                    <a:lnTo>
                      <a:pt x="1332" y="131"/>
                    </a:lnTo>
                    <a:lnTo>
                      <a:pt x="1332" y="133"/>
                    </a:lnTo>
                    <a:lnTo>
                      <a:pt x="1328" y="131"/>
                    </a:lnTo>
                    <a:lnTo>
                      <a:pt x="1327" y="129"/>
                    </a:lnTo>
                    <a:lnTo>
                      <a:pt x="1325" y="128"/>
                    </a:lnTo>
                    <a:lnTo>
                      <a:pt x="1320" y="128"/>
                    </a:lnTo>
                    <a:lnTo>
                      <a:pt x="1319" y="126"/>
                    </a:lnTo>
                    <a:lnTo>
                      <a:pt x="1320" y="124"/>
                    </a:lnTo>
                    <a:lnTo>
                      <a:pt x="1320" y="123"/>
                    </a:lnTo>
                    <a:lnTo>
                      <a:pt x="1317" y="123"/>
                    </a:lnTo>
                    <a:lnTo>
                      <a:pt x="1314" y="124"/>
                    </a:lnTo>
                    <a:lnTo>
                      <a:pt x="1309" y="124"/>
                    </a:lnTo>
                    <a:lnTo>
                      <a:pt x="1307" y="124"/>
                    </a:lnTo>
                    <a:lnTo>
                      <a:pt x="1305" y="124"/>
                    </a:lnTo>
                    <a:lnTo>
                      <a:pt x="1302" y="124"/>
                    </a:lnTo>
                    <a:lnTo>
                      <a:pt x="1299" y="124"/>
                    </a:lnTo>
                    <a:lnTo>
                      <a:pt x="1297" y="121"/>
                    </a:lnTo>
                    <a:lnTo>
                      <a:pt x="1294" y="119"/>
                    </a:lnTo>
                    <a:lnTo>
                      <a:pt x="1287" y="114"/>
                    </a:lnTo>
                    <a:lnTo>
                      <a:pt x="1285" y="111"/>
                    </a:lnTo>
                    <a:lnTo>
                      <a:pt x="1285" y="108"/>
                    </a:lnTo>
                    <a:lnTo>
                      <a:pt x="1285" y="105"/>
                    </a:lnTo>
                    <a:lnTo>
                      <a:pt x="1282" y="103"/>
                    </a:lnTo>
                    <a:lnTo>
                      <a:pt x="1279" y="103"/>
                    </a:lnTo>
                    <a:lnTo>
                      <a:pt x="1279" y="98"/>
                    </a:lnTo>
                    <a:lnTo>
                      <a:pt x="1277" y="96"/>
                    </a:lnTo>
                    <a:lnTo>
                      <a:pt x="1277" y="91"/>
                    </a:lnTo>
                    <a:lnTo>
                      <a:pt x="1275" y="88"/>
                    </a:lnTo>
                    <a:lnTo>
                      <a:pt x="1265" y="83"/>
                    </a:lnTo>
                    <a:lnTo>
                      <a:pt x="1262" y="78"/>
                    </a:lnTo>
                    <a:lnTo>
                      <a:pt x="1260" y="75"/>
                    </a:lnTo>
                    <a:lnTo>
                      <a:pt x="1259" y="71"/>
                    </a:lnTo>
                    <a:lnTo>
                      <a:pt x="1255" y="73"/>
                    </a:lnTo>
                    <a:lnTo>
                      <a:pt x="1255" y="71"/>
                    </a:lnTo>
                    <a:lnTo>
                      <a:pt x="1255" y="70"/>
                    </a:lnTo>
                    <a:lnTo>
                      <a:pt x="1255" y="66"/>
                    </a:lnTo>
                    <a:lnTo>
                      <a:pt x="1252" y="65"/>
                    </a:lnTo>
                    <a:lnTo>
                      <a:pt x="1250" y="61"/>
                    </a:lnTo>
                    <a:lnTo>
                      <a:pt x="1249" y="60"/>
                    </a:lnTo>
                    <a:lnTo>
                      <a:pt x="1247" y="56"/>
                    </a:lnTo>
                    <a:lnTo>
                      <a:pt x="1244" y="53"/>
                    </a:lnTo>
                    <a:lnTo>
                      <a:pt x="1242" y="50"/>
                    </a:lnTo>
                    <a:lnTo>
                      <a:pt x="1237" y="46"/>
                    </a:lnTo>
                    <a:lnTo>
                      <a:pt x="1237" y="45"/>
                    </a:lnTo>
                    <a:lnTo>
                      <a:pt x="1239" y="41"/>
                    </a:lnTo>
                    <a:lnTo>
                      <a:pt x="1237" y="40"/>
                    </a:lnTo>
                    <a:lnTo>
                      <a:pt x="1230" y="40"/>
                    </a:lnTo>
                    <a:lnTo>
                      <a:pt x="1230" y="38"/>
                    </a:lnTo>
                    <a:lnTo>
                      <a:pt x="1230" y="35"/>
                    </a:lnTo>
                    <a:lnTo>
                      <a:pt x="1229" y="33"/>
                    </a:lnTo>
                    <a:lnTo>
                      <a:pt x="1229" y="30"/>
                    </a:lnTo>
                    <a:lnTo>
                      <a:pt x="1227" y="26"/>
                    </a:lnTo>
                    <a:lnTo>
                      <a:pt x="1224" y="26"/>
                    </a:lnTo>
                    <a:lnTo>
                      <a:pt x="1224" y="25"/>
                    </a:lnTo>
                    <a:lnTo>
                      <a:pt x="1222" y="23"/>
                    </a:lnTo>
                    <a:lnTo>
                      <a:pt x="1221" y="23"/>
                    </a:lnTo>
                    <a:lnTo>
                      <a:pt x="1217" y="21"/>
                    </a:lnTo>
                    <a:lnTo>
                      <a:pt x="1216" y="20"/>
                    </a:lnTo>
                    <a:lnTo>
                      <a:pt x="1217" y="18"/>
                    </a:lnTo>
                    <a:lnTo>
                      <a:pt x="1216" y="16"/>
                    </a:lnTo>
                    <a:lnTo>
                      <a:pt x="1212" y="15"/>
                    </a:lnTo>
                    <a:lnTo>
                      <a:pt x="1211" y="16"/>
                    </a:lnTo>
                    <a:lnTo>
                      <a:pt x="1209" y="15"/>
                    </a:lnTo>
                    <a:lnTo>
                      <a:pt x="1206" y="15"/>
                    </a:lnTo>
                    <a:lnTo>
                      <a:pt x="1206" y="13"/>
                    </a:lnTo>
                    <a:lnTo>
                      <a:pt x="1206" y="12"/>
                    </a:lnTo>
                    <a:lnTo>
                      <a:pt x="1204" y="8"/>
                    </a:lnTo>
                    <a:lnTo>
                      <a:pt x="1201" y="8"/>
                    </a:lnTo>
                    <a:lnTo>
                      <a:pt x="1199" y="8"/>
                    </a:lnTo>
                    <a:lnTo>
                      <a:pt x="1197" y="5"/>
                    </a:lnTo>
                    <a:lnTo>
                      <a:pt x="1194" y="7"/>
                    </a:lnTo>
                    <a:lnTo>
                      <a:pt x="1191" y="7"/>
                    </a:lnTo>
                    <a:lnTo>
                      <a:pt x="1189" y="5"/>
                    </a:lnTo>
                    <a:lnTo>
                      <a:pt x="1187" y="7"/>
                    </a:lnTo>
                    <a:lnTo>
                      <a:pt x="1187" y="10"/>
                    </a:lnTo>
                    <a:lnTo>
                      <a:pt x="1186" y="10"/>
                    </a:lnTo>
                    <a:lnTo>
                      <a:pt x="1181" y="8"/>
                    </a:lnTo>
                    <a:lnTo>
                      <a:pt x="1179" y="7"/>
                    </a:lnTo>
                    <a:lnTo>
                      <a:pt x="1176" y="8"/>
                    </a:lnTo>
                    <a:lnTo>
                      <a:pt x="1171" y="8"/>
                    </a:lnTo>
                    <a:lnTo>
                      <a:pt x="1169" y="7"/>
                    </a:lnTo>
                    <a:lnTo>
                      <a:pt x="1167" y="3"/>
                    </a:lnTo>
                    <a:lnTo>
                      <a:pt x="1159" y="3"/>
                    </a:lnTo>
                    <a:lnTo>
                      <a:pt x="1156" y="0"/>
                    </a:lnTo>
                    <a:lnTo>
                      <a:pt x="1152" y="0"/>
                    </a:lnTo>
                    <a:lnTo>
                      <a:pt x="1149" y="0"/>
                    </a:lnTo>
                    <a:lnTo>
                      <a:pt x="1147" y="0"/>
                    </a:lnTo>
                    <a:lnTo>
                      <a:pt x="1141" y="2"/>
                    </a:lnTo>
                    <a:lnTo>
                      <a:pt x="1139" y="5"/>
                    </a:lnTo>
                    <a:lnTo>
                      <a:pt x="1137" y="5"/>
                    </a:lnTo>
                    <a:lnTo>
                      <a:pt x="1136" y="7"/>
                    </a:lnTo>
                    <a:lnTo>
                      <a:pt x="1131" y="7"/>
                    </a:lnTo>
                    <a:lnTo>
                      <a:pt x="1127" y="7"/>
                    </a:lnTo>
                    <a:lnTo>
                      <a:pt x="1122" y="5"/>
                    </a:lnTo>
                    <a:lnTo>
                      <a:pt x="1119" y="8"/>
                    </a:lnTo>
                    <a:lnTo>
                      <a:pt x="1116" y="8"/>
                    </a:lnTo>
                    <a:lnTo>
                      <a:pt x="1113" y="12"/>
                    </a:lnTo>
                    <a:lnTo>
                      <a:pt x="1109" y="13"/>
                    </a:lnTo>
                    <a:lnTo>
                      <a:pt x="1106" y="13"/>
                    </a:lnTo>
                    <a:lnTo>
                      <a:pt x="1106" y="13"/>
                    </a:lnTo>
                    <a:lnTo>
                      <a:pt x="1103" y="13"/>
                    </a:lnTo>
                    <a:lnTo>
                      <a:pt x="1099" y="15"/>
                    </a:lnTo>
                    <a:lnTo>
                      <a:pt x="1093" y="15"/>
                    </a:lnTo>
                    <a:lnTo>
                      <a:pt x="1091" y="18"/>
                    </a:lnTo>
                    <a:lnTo>
                      <a:pt x="1091" y="20"/>
                    </a:lnTo>
                    <a:lnTo>
                      <a:pt x="1086" y="25"/>
                    </a:lnTo>
                    <a:lnTo>
                      <a:pt x="1086" y="28"/>
                    </a:lnTo>
                    <a:lnTo>
                      <a:pt x="1083" y="30"/>
                    </a:lnTo>
                    <a:lnTo>
                      <a:pt x="1083" y="33"/>
                    </a:lnTo>
                    <a:lnTo>
                      <a:pt x="1081" y="35"/>
                    </a:lnTo>
                    <a:lnTo>
                      <a:pt x="1081" y="40"/>
                    </a:lnTo>
                    <a:lnTo>
                      <a:pt x="1083" y="41"/>
                    </a:lnTo>
                    <a:lnTo>
                      <a:pt x="1086" y="41"/>
                    </a:lnTo>
                    <a:lnTo>
                      <a:pt x="1091" y="38"/>
                    </a:lnTo>
                    <a:lnTo>
                      <a:pt x="1094" y="38"/>
                    </a:lnTo>
                    <a:lnTo>
                      <a:pt x="1098" y="38"/>
                    </a:lnTo>
                    <a:lnTo>
                      <a:pt x="1101" y="43"/>
                    </a:lnTo>
                    <a:lnTo>
                      <a:pt x="1103" y="48"/>
                    </a:lnTo>
                    <a:lnTo>
                      <a:pt x="1106" y="50"/>
                    </a:lnTo>
                    <a:lnTo>
                      <a:pt x="1106" y="53"/>
                    </a:lnTo>
                    <a:lnTo>
                      <a:pt x="1108" y="56"/>
                    </a:lnTo>
                    <a:lnTo>
                      <a:pt x="1108" y="61"/>
                    </a:lnTo>
                    <a:lnTo>
                      <a:pt x="1104" y="63"/>
                    </a:lnTo>
                    <a:lnTo>
                      <a:pt x="1101" y="68"/>
                    </a:lnTo>
                    <a:lnTo>
                      <a:pt x="1099" y="73"/>
                    </a:lnTo>
                    <a:lnTo>
                      <a:pt x="1098" y="75"/>
                    </a:lnTo>
                    <a:lnTo>
                      <a:pt x="1094" y="80"/>
                    </a:lnTo>
                    <a:lnTo>
                      <a:pt x="1094" y="83"/>
                    </a:lnTo>
                    <a:lnTo>
                      <a:pt x="1096" y="86"/>
                    </a:lnTo>
                    <a:lnTo>
                      <a:pt x="1096" y="88"/>
                    </a:lnTo>
                    <a:lnTo>
                      <a:pt x="1096" y="93"/>
                    </a:lnTo>
                    <a:lnTo>
                      <a:pt x="1099" y="96"/>
                    </a:lnTo>
                    <a:lnTo>
                      <a:pt x="1099" y="100"/>
                    </a:lnTo>
                    <a:lnTo>
                      <a:pt x="1096" y="101"/>
                    </a:lnTo>
                    <a:lnTo>
                      <a:pt x="1094" y="105"/>
                    </a:lnTo>
                    <a:lnTo>
                      <a:pt x="1096" y="108"/>
                    </a:lnTo>
                    <a:lnTo>
                      <a:pt x="1096" y="114"/>
                    </a:lnTo>
                    <a:lnTo>
                      <a:pt x="1096" y="116"/>
                    </a:lnTo>
                    <a:lnTo>
                      <a:pt x="1096" y="123"/>
                    </a:lnTo>
                    <a:lnTo>
                      <a:pt x="1098" y="123"/>
                    </a:lnTo>
                    <a:lnTo>
                      <a:pt x="1099" y="124"/>
                    </a:lnTo>
                    <a:lnTo>
                      <a:pt x="1103" y="123"/>
                    </a:lnTo>
                    <a:lnTo>
                      <a:pt x="1104" y="124"/>
                    </a:lnTo>
                    <a:lnTo>
                      <a:pt x="1104" y="128"/>
                    </a:lnTo>
                    <a:lnTo>
                      <a:pt x="1103" y="133"/>
                    </a:lnTo>
                    <a:lnTo>
                      <a:pt x="1099" y="136"/>
                    </a:lnTo>
                    <a:lnTo>
                      <a:pt x="1091" y="138"/>
                    </a:lnTo>
                    <a:lnTo>
                      <a:pt x="1086" y="141"/>
                    </a:lnTo>
                    <a:lnTo>
                      <a:pt x="1074" y="151"/>
                    </a:lnTo>
                    <a:lnTo>
                      <a:pt x="1071" y="151"/>
                    </a:lnTo>
                    <a:lnTo>
                      <a:pt x="1068" y="148"/>
                    </a:lnTo>
                    <a:lnTo>
                      <a:pt x="1061" y="148"/>
                    </a:lnTo>
                    <a:lnTo>
                      <a:pt x="1056" y="148"/>
                    </a:lnTo>
                    <a:lnTo>
                      <a:pt x="1056" y="146"/>
                    </a:lnTo>
                    <a:lnTo>
                      <a:pt x="1051" y="146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44" y="181"/>
                    </a:lnTo>
                    <a:lnTo>
                      <a:pt x="1046" y="189"/>
                    </a:lnTo>
                    <a:lnTo>
                      <a:pt x="1043" y="194"/>
                    </a:lnTo>
                    <a:lnTo>
                      <a:pt x="1044" y="199"/>
                    </a:lnTo>
                    <a:lnTo>
                      <a:pt x="1041" y="209"/>
                    </a:lnTo>
                    <a:lnTo>
                      <a:pt x="1044" y="216"/>
                    </a:lnTo>
                    <a:lnTo>
                      <a:pt x="1056" y="221"/>
                    </a:lnTo>
                    <a:lnTo>
                      <a:pt x="1064" y="216"/>
                    </a:lnTo>
                    <a:lnTo>
                      <a:pt x="1074" y="216"/>
                    </a:lnTo>
                    <a:lnTo>
                      <a:pt x="1084" y="217"/>
                    </a:lnTo>
                    <a:lnTo>
                      <a:pt x="1089" y="221"/>
                    </a:lnTo>
                    <a:lnTo>
                      <a:pt x="1094" y="212"/>
                    </a:lnTo>
                    <a:lnTo>
                      <a:pt x="1094" y="209"/>
                    </a:lnTo>
                    <a:lnTo>
                      <a:pt x="1094" y="204"/>
                    </a:lnTo>
                    <a:lnTo>
                      <a:pt x="1101" y="203"/>
                    </a:lnTo>
                    <a:lnTo>
                      <a:pt x="1104" y="201"/>
                    </a:lnTo>
                    <a:lnTo>
                      <a:pt x="1114" y="203"/>
                    </a:lnTo>
                    <a:lnTo>
                      <a:pt x="1121" y="209"/>
                    </a:lnTo>
                    <a:lnTo>
                      <a:pt x="1129" y="217"/>
                    </a:lnTo>
                    <a:lnTo>
                      <a:pt x="1136" y="226"/>
                    </a:lnTo>
                    <a:lnTo>
                      <a:pt x="1146" y="231"/>
                    </a:lnTo>
                    <a:lnTo>
                      <a:pt x="1146" y="234"/>
                    </a:lnTo>
                    <a:lnTo>
                      <a:pt x="1147" y="237"/>
                    </a:lnTo>
                    <a:lnTo>
                      <a:pt x="1147" y="242"/>
                    </a:lnTo>
                    <a:lnTo>
                      <a:pt x="1146" y="244"/>
                    </a:lnTo>
                    <a:lnTo>
                      <a:pt x="1146" y="247"/>
                    </a:lnTo>
                    <a:lnTo>
                      <a:pt x="1144" y="249"/>
                    </a:lnTo>
                    <a:lnTo>
                      <a:pt x="1139" y="249"/>
                    </a:lnTo>
                    <a:lnTo>
                      <a:pt x="1137" y="247"/>
                    </a:lnTo>
                    <a:lnTo>
                      <a:pt x="1132" y="247"/>
                    </a:lnTo>
                    <a:lnTo>
                      <a:pt x="1129" y="249"/>
                    </a:lnTo>
                    <a:lnTo>
                      <a:pt x="1122" y="247"/>
                    </a:lnTo>
                    <a:lnTo>
                      <a:pt x="1119" y="247"/>
                    </a:lnTo>
                    <a:lnTo>
                      <a:pt x="1114" y="252"/>
                    </a:lnTo>
                    <a:lnTo>
                      <a:pt x="1108" y="257"/>
                    </a:lnTo>
                    <a:lnTo>
                      <a:pt x="1104" y="261"/>
                    </a:lnTo>
                    <a:lnTo>
                      <a:pt x="1099" y="257"/>
                    </a:lnTo>
                    <a:lnTo>
                      <a:pt x="1098" y="257"/>
                    </a:lnTo>
                    <a:lnTo>
                      <a:pt x="1098" y="262"/>
                    </a:lnTo>
                    <a:lnTo>
                      <a:pt x="1096" y="264"/>
                    </a:lnTo>
                    <a:lnTo>
                      <a:pt x="1093" y="264"/>
                    </a:lnTo>
                    <a:lnTo>
                      <a:pt x="1089" y="264"/>
                    </a:lnTo>
                    <a:lnTo>
                      <a:pt x="1088" y="267"/>
                    </a:lnTo>
                    <a:lnTo>
                      <a:pt x="1084" y="272"/>
                    </a:lnTo>
                    <a:lnTo>
                      <a:pt x="1083" y="279"/>
                    </a:lnTo>
                    <a:lnTo>
                      <a:pt x="1083" y="284"/>
                    </a:lnTo>
                    <a:lnTo>
                      <a:pt x="1081" y="287"/>
                    </a:lnTo>
                    <a:lnTo>
                      <a:pt x="1074" y="287"/>
                    </a:lnTo>
                    <a:lnTo>
                      <a:pt x="1064" y="294"/>
                    </a:lnTo>
                    <a:lnTo>
                      <a:pt x="1059" y="294"/>
                    </a:lnTo>
                    <a:lnTo>
                      <a:pt x="1053" y="294"/>
                    </a:lnTo>
                    <a:lnTo>
                      <a:pt x="1049" y="296"/>
                    </a:lnTo>
                    <a:lnTo>
                      <a:pt x="1046" y="304"/>
                    </a:lnTo>
                    <a:lnTo>
                      <a:pt x="1041" y="307"/>
                    </a:lnTo>
                    <a:lnTo>
                      <a:pt x="1036" y="310"/>
                    </a:lnTo>
                    <a:lnTo>
                      <a:pt x="1033" y="314"/>
                    </a:lnTo>
                    <a:lnTo>
                      <a:pt x="1031" y="317"/>
                    </a:lnTo>
                    <a:lnTo>
                      <a:pt x="1028" y="317"/>
                    </a:lnTo>
                    <a:lnTo>
                      <a:pt x="1023" y="315"/>
                    </a:lnTo>
                    <a:lnTo>
                      <a:pt x="1018" y="314"/>
                    </a:lnTo>
                    <a:lnTo>
                      <a:pt x="1010" y="312"/>
                    </a:lnTo>
                    <a:lnTo>
                      <a:pt x="1005" y="307"/>
                    </a:lnTo>
                    <a:lnTo>
                      <a:pt x="998" y="307"/>
                    </a:lnTo>
                    <a:lnTo>
                      <a:pt x="988" y="309"/>
                    </a:lnTo>
                    <a:lnTo>
                      <a:pt x="983" y="314"/>
                    </a:lnTo>
                    <a:lnTo>
                      <a:pt x="980" y="317"/>
                    </a:lnTo>
                    <a:lnTo>
                      <a:pt x="980" y="327"/>
                    </a:lnTo>
                    <a:lnTo>
                      <a:pt x="980" y="332"/>
                    </a:lnTo>
                    <a:lnTo>
                      <a:pt x="980" y="335"/>
                    </a:lnTo>
                    <a:lnTo>
                      <a:pt x="990" y="342"/>
                    </a:lnTo>
                    <a:lnTo>
                      <a:pt x="1000" y="347"/>
                    </a:lnTo>
                    <a:lnTo>
                      <a:pt x="1000" y="350"/>
                    </a:lnTo>
                    <a:lnTo>
                      <a:pt x="998" y="354"/>
                    </a:lnTo>
                    <a:lnTo>
                      <a:pt x="995" y="359"/>
                    </a:lnTo>
                    <a:lnTo>
                      <a:pt x="985" y="369"/>
                    </a:lnTo>
                    <a:lnTo>
                      <a:pt x="978" y="379"/>
                    </a:lnTo>
                    <a:lnTo>
                      <a:pt x="975" y="385"/>
                    </a:lnTo>
                    <a:lnTo>
                      <a:pt x="970" y="385"/>
                    </a:lnTo>
                    <a:lnTo>
                      <a:pt x="963" y="389"/>
                    </a:lnTo>
                    <a:lnTo>
                      <a:pt x="956" y="389"/>
                    </a:lnTo>
                    <a:lnTo>
                      <a:pt x="950" y="392"/>
                    </a:lnTo>
                    <a:lnTo>
                      <a:pt x="943" y="397"/>
                    </a:lnTo>
                    <a:lnTo>
                      <a:pt x="936" y="397"/>
                    </a:lnTo>
                    <a:lnTo>
                      <a:pt x="926" y="399"/>
                    </a:lnTo>
                    <a:lnTo>
                      <a:pt x="920" y="400"/>
                    </a:lnTo>
                    <a:lnTo>
                      <a:pt x="912" y="402"/>
                    </a:lnTo>
                    <a:lnTo>
                      <a:pt x="895" y="407"/>
                    </a:lnTo>
                    <a:lnTo>
                      <a:pt x="882" y="412"/>
                    </a:lnTo>
                    <a:lnTo>
                      <a:pt x="875" y="418"/>
                    </a:lnTo>
                    <a:lnTo>
                      <a:pt x="863" y="427"/>
                    </a:lnTo>
                    <a:lnTo>
                      <a:pt x="860" y="430"/>
                    </a:lnTo>
                    <a:lnTo>
                      <a:pt x="853" y="430"/>
                    </a:lnTo>
                    <a:lnTo>
                      <a:pt x="847" y="427"/>
                    </a:lnTo>
                    <a:lnTo>
                      <a:pt x="847" y="425"/>
                    </a:lnTo>
                    <a:lnTo>
                      <a:pt x="845" y="422"/>
                    </a:lnTo>
                    <a:lnTo>
                      <a:pt x="835" y="425"/>
                    </a:lnTo>
                    <a:lnTo>
                      <a:pt x="827" y="425"/>
                    </a:lnTo>
                    <a:lnTo>
                      <a:pt x="819" y="422"/>
                    </a:lnTo>
                    <a:lnTo>
                      <a:pt x="812" y="422"/>
                    </a:lnTo>
                    <a:lnTo>
                      <a:pt x="797" y="415"/>
                    </a:lnTo>
                    <a:lnTo>
                      <a:pt x="780" y="410"/>
                    </a:lnTo>
                    <a:lnTo>
                      <a:pt x="774" y="402"/>
                    </a:lnTo>
                    <a:lnTo>
                      <a:pt x="767" y="402"/>
                    </a:lnTo>
                    <a:lnTo>
                      <a:pt x="749" y="400"/>
                    </a:lnTo>
                    <a:lnTo>
                      <a:pt x="734" y="400"/>
                    </a:lnTo>
                    <a:lnTo>
                      <a:pt x="730" y="400"/>
                    </a:lnTo>
                    <a:lnTo>
                      <a:pt x="727" y="402"/>
                    </a:lnTo>
                    <a:lnTo>
                      <a:pt x="727" y="404"/>
                    </a:lnTo>
                    <a:lnTo>
                      <a:pt x="719" y="407"/>
                    </a:lnTo>
                    <a:lnTo>
                      <a:pt x="707" y="407"/>
                    </a:lnTo>
                    <a:lnTo>
                      <a:pt x="687" y="407"/>
                    </a:lnTo>
                    <a:lnTo>
                      <a:pt x="672" y="407"/>
                    </a:lnTo>
                    <a:lnTo>
                      <a:pt x="661" y="407"/>
                    </a:lnTo>
                    <a:lnTo>
                      <a:pt x="651" y="407"/>
                    </a:lnTo>
                    <a:lnTo>
                      <a:pt x="646" y="408"/>
                    </a:lnTo>
                    <a:lnTo>
                      <a:pt x="642" y="407"/>
                    </a:lnTo>
                    <a:lnTo>
                      <a:pt x="637" y="397"/>
                    </a:lnTo>
                    <a:lnTo>
                      <a:pt x="634" y="392"/>
                    </a:lnTo>
                    <a:lnTo>
                      <a:pt x="629" y="385"/>
                    </a:lnTo>
                    <a:lnTo>
                      <a:pt x="626" y="380"/>
                    </a:lnTo>
                    <a:lnTo>
                      <a:pt x="623" y="375"/>
                    </a:lnTo>
                    <a:lnTo>
                      <a:pt x="623" y="372"/>
                    </a:lnTo>
                    <a:lnTo>
                      <a:pt x="619" y="369"/>
                    </a:lnTo>
                    <a:lnTo>
                      <a:pt x="616" y="367"/>
                    </a:lnTo>
                    <a:lnTo>
                      <a:pt x="613" y="367"/>
                    </a:lnTo>
                    <a:lnTo>
                      <a:pt x="613" y="364"/>
                    </a:lnTo>
                    <a:lnTo>
                      <a:pt x="611" y="360"/>
                    </a:lnTo>
                    <a:lnTo>
                      <a:pt x="609" y="360"/>
                    </a:lnTo>
                    <a:lnTo>
                      <a:pt x="608" y="360"/>
                    </a:lnTo>
                    <a:lnTo>
                      <a:pt x="601" y="360"/>
                    </a:lnTo>
                    <a:lnTo>
                      <a:pt x="594" y="357"/>
                    </a:lnTo>
                    <a:lnTo>
                      <a:pt x="586" y="352"/>
                    </a:lnTo>
                    <a:lnTo>
                      <a:pt x="583" y="350"/>
                    </a:lnTo>
                    <a:lnTo>
                      <a:pt x="581" y="350"/>
                    </a:lnTo>
                    <a:lnTo>
                      <a:pt x="576" y="350"/>
                    </a:lnTo>
                    <a:lnTo>
                      <a:pt x="574" y="347"/>
                    </a:lnTo>
                    <a:lnTo>
                      <a:pt x="566" y="344"/>
                    </a:lnTo>
                    <a:lnTo>
                      <a:pt x="551" y="340"/>
                    </a:lnTo>
                    <a:lnTo>
                      <a:pt x="549" y="340"/>
                    </a:lnTo>
                    <a:lnTo>
                      <a:pt x="546" y="342"/>
                    </a:lnTo>
                    <a:lnTo>
                      <a:pt x="539" y="342"/>
                    </a:lnTo>
                    <a:lnTo>
                      <a:pt x="529" y="342"/>
                    </a:lnTo>
                    <a:lnTo>
                      <a:pt x="506" y="339"/>
                    </a:lnTo>
                    <a:lnTo>
                      <a:pt x="501" y="335"/>
                    </a:lnTo>
                    <a:lnTo>
                      <a:pt x="495" y="329"/>
                    </a:lnTo>
                    <a:lnTo>
                      <a:pt x="495" y="324"/>
                    </a:lnTo>
                    <a:lnTo>
                      <a:pt x="495" y="320"/>
                    </a:lnTo>
                    <a:lnTo>
                      <a:pt x="496" y="319"/>
                    </a:lnTo>
                    <a:lnTo>
                      <a:pt x="500" y="317"/>
                    </a:lnTo>
                    <a:lnTo>
                      <a:pt x="501" y="312"/>
                    </a:lnTo>
                    <a:lnTo>
                      <a:pt x="498" y="309"/>
                    </a:lnTo>
                    <a:lnTo>
                      <a:pt x="496" y="304"/>
                    </a:lnTo>
                    <a:lnTo>
                      <a:pt x="498" y="302"/>
                    </a:lnTo>
                    <a:lnTo>
                      <a:pt x="498" y="297"/>
                    </a:lnTo>
                    <a:lnTo>
                      <a:pt x="496" y="294"/>
                    </a:lnTo>
                    <a:lnTo>
                      <a:pt x="493" y="289"/>
                    </a:lnTo>
                    <a:lnTo>
                      <a:pt x="490" y="287"/>
                    </a:lnTo>
                    <a:lnTo>
                      <a:pt x="485" y="286"/>
                    </a:lnTo>
                    <a:lnTo>
                      <a:pt x="483" y="281"/>
                    </a:lnTo>
                    <a:lnTo>
                      <a:pt x="481" y="279"/>
                    </a:lnTo>
                    <a:lnTo>
                      <a:pt x="480" y="274"/>
                    </a:lnTo>
                    <a:lnTo>
                      <a:pt x="480" y="271"/>
                    </a:lnTo>
                    <a:lnTo>
                      <a:pt x="476" y="267"/>
                    </a:lnTo>
                    <a:lnTo>
                      <a:pt x="473" y="264"/>
                    </a:lnTo>
                    <a:lnTo>
                      <a:pt x="470" y="264"/>
                    </a:lnTo>
                    <a:lnTo>
                      <a:pt x="466" y="261"/>
                    </a:lnTo>
                    <a:lnTo>
                      <a:pt x="463" y="259"/>
                    </a:lnTo>
                    <a:lnTo>
                      <a:pt x="460" y="259"/>
                    </a:lnTo>
                    <a:lnTo>
                      <a:pt x="456" y="262"/>
                    </a:lnTo>
                    <a:lnTo>
                      <a:pt x="455" y="262"/>
                    </a:lnTo>
                    <a:lnTo>
                      <a:pt x="451" y="262"/>
                    </a:lnTo>
                    <a:lnTo>
                      <a:pt x="448" y="257"/>
                    </a:lnTo>
                    <a:lnTo>
                      <a:pt x="446" y="256"/>
                    </a:lnTo>
                    <a:lnTo>
                      <a:pt x="441" y="256"/>
                    </a:lnTo>
                    <a:lnTo>
                      <a:pt x="438" y="259"/>
                    </a:lnTo>
                    <a:lnTo>
                      <a:pt x="435" y="261"/>
                    </a:lnTo>
                    <a:lnTo>
                      <a:pt x="435" y="262"/>
                    </a:lnTo>
                    <a:lnTo>
                      <a:pt x="433" y="262"/>
                    </a:lnTo>
                    <a:lnTo>
                      <a:pt x="428" y="261"/>
                    </a:lnTo>
                    <a:lnTo>
                      <a:pt x="427" y="257"/>
                    </a:lnTo>
                    <a:lnTo>
                      <a:pt x="427" y="256"/>
                    </a:lnTo>
                    <a:lnTo>
                      <a:pt x="423" y="251"/>
                    </a:lnTo>
                    <a:lnTo>
                      <a:pt x="418" y="249"/>
                    </a:lnTo>
                    <a:lnTo>
                      <a:pt x="415" y="246"/>
                    </a:lnTo>
                    <a:lnTo>
                      <a:pt x="412" y="244"/>
                    </a:lnTo>
                    <a:lnTo>
                      <a:pt x="410" y="242"/>
                    </a:lnTo>
                    <a:lnTo>
                      <a:pt x="408" y="239"/>
                    </a:lnTo>
                    <a:lnTo>
                      <a:pt x="408" y="236"/>
                    </a:lnTo>
                    <a:lnTo>
                      <a:pt x="407" y="234"/>
                    </a:lnTo>
                    <a:lnTo>
                      <a:pt x="405" y="234"/>
                    </a:lnTo>
                    <a:lnTo>
                      <a:pt x="405" y="236"/>
                    </a:lnTo>
                    <a:lnTo>
                      <a:pt x="403" y="236"/>
                    </a:lnTo>
                    <a:lnTo>
                      <a:pt x="402" y="232"/>
                    </a:lnTo>
                    <a:lnTo>
                      <a:pt x="400" y="232"/>
                    </a:lnTo>
                    <a:lnTo>
                      <a:pt x="400" y="227"/>
                    </a:lnTo>
                    <a:lnTo>
                      <a:pt x="400" y="224"/>
                    </a:lnTo>
                    <a:lnTo>
                      <a:pt x="398" y="224"/>
                    </a:lnTo>
                    <a:lnTo>
                      <a:pt x="393" y="222"/>
                    </a:lnTo>
                    <a:lnTo>
                      <a:pt x="390" y="222"/>
                    </a:lnTo>
                    <a:lnTo>
                      <a:pt x="392" y="224"/>
                    </a:lnTo>
                    <a:lnTo>
                      <a:pt x="387" y="227"/>
                    </a:lnTo>
                    <a:lnTo>
                      <a:pt x="383" y="229"/>
                    </a:lnTo>
                    <a:lnTo>
                      <a:pt x="377" y="236"/>
                    </a:lnTo>
                    <a:lnTo>
                      <a:pt x="377" y="239"/>
                    </a:lnTo>
                    <a:lnTo>
                      <a:pt x="377" y="242"/>
                    </a:lnTo>
                    <a:lnTo>
                      <a:pt x="375" y="247"/>
                    </a:lnTo>
                    <a:lnTo>
                      <a:pt x="367" y="249"/>
                    </a:lnTo>
                    <a:lnTo>
                      <a:pt x="363" y="252"/>
                    </a:lnTo>
                    <a:lnTo>
                      <a:pt x="362" y="257"/>
                    </a:lnTo>
                    <a:lnTo>
                      <a:pt x="362" y="266"/>
                    </a:lnTo>
                    <a:lnTo>
                      <a:pt x="367" y="276"/>
                    </a:lnTo>
                    <a:lnTo>
                      <a:pt x="372" y="281"/>
                    </a:lnTo>
                    <a:lnTo>
                      <a:pt x="372" y="284"/>
                    </a:lnTo>
                    <a:lnTo>
                      <a:pt x="365" y="289"/>
                    </a:lnTo>
                    <a:lnTo>
                      <a:pt x="360" y="291"/>
                    </a:lnTo>
                    <a:lnTo>
                      <a:pt x="355" y="296"/>
                    </a:lnTo>
                    <a:lnTo>
                      <a:pt x="352" y="297"/>
                    </a:lnTo>
                    <a:lnTo>
                      <a:pt x="350" y="296"/>
                    </a:lnTo>
                    <a:lnTo>
                      <a:pt x="348" y="294"/>
                    </a:lnTo>
                    <a:lnTo>
                      <a:pt x="345" y="294"/>
                    </a:lnTo>
                    <a:lnTo>
                      <a:pt x="335" y="296"/>
                    </a:lnTo>
                    <a:lnTo>
                      <a:pt x="329" y="296"/>
                    </a:lnTo>
                    <a:lnTo>
                      <a:pt x="319" y="292"/>
                    </a:lnTo>
                    <a:lnTo>
                      <a:pt x="314" y="291"/>
                    </a:lnTo>
                    <a:lnTo>
                      <a:pt x="310" y="292"/>
                    </a:lnTo>
                    <a:lnTo>
                      <a:pt x="309" y="302"/>
                    </a:lnTo>
                    <a:lnTo>
                      <a:pt x="307" y="307"/>
                    </a:lnTo>
                    <a:lnTo>
                      <a:pt x="305" y="312"/>
                    </a:lnTo>
                    <a:lnTo>
                      <a:pt x="304" y="325"/>
                    </a:lnTo>
                    <a:lnTo>
                      <a:pt x="304" y="335"/>
                    </a:lnTo>
                    <a:lnTo>
                      <a:pt x="302" y="339"/>
                    </a:lnTo>
                    <a:lnTo>
                      <a:pt x="305" y="340"/>
                    </a:lnTo>
                    <a:lnTo>
                      <a:pt x="310" y="342"/>
                    </a:lnTo>
                    <a:lnTo>
                      <a:pt x="309" y="347"/>
                    </a:lnTo>
                    <a:lnTo>
                      <a:pt x="309" y="350"/>
                    </a:lnTo>
                    <a:lnTo>
                      <a:pt x="305" y="350"/>
                    </a:lnTo>
                    <a:lnTo>
                      <a:pt x="302" y="352"/>
                    </a:lnTo>
                    <a:lnTo>
                      <a:pt x="299" y="352"/>
                    </a:lnTo>
                    <a:lnTo>
                      <a:pt x="295" y="350"/>
                    </a:lnTo>
                    <a:lnTo>
                      <a:pt x="292" y="350"/>
                    </a:lnTo>
                    <a:lnTo>
                      <a:pt x="287" y="352"/>
                    </a:lnTo>
                    <a:lnTo>
                      <a:pt x="275" y="354"/>
                    </a:lnTo>
                    <a:lnTo>
                      <a:pt x="269" y="357"/>
                    </a:lnTo>
                    <a:lnTo>
                      <a:pt x="265" y="357"/>
                    </a:lnTo>
                    <a:lnTo>
                      <a:pt x="262" y="355"/>
                    </a:lnTo>
                    <a:lnTo>
                      <a:pt x="259" y="357"/>
                    </a:lnTo>
                    <a:lnTo>
                      <a:pt x="254" y="360"/>
                    </a:lnTo>
                    <a:lnTo>
                      <a:pt x="254" y="364"/>
                    </a:lnTo>
                    <a:lnTo>
                      <a:pt x="257" y="367"/>
                    </a:lnTo>
                    <a:lnTo>
                      <a:pt x="264" y="367"/>
                    </a:lnTo>
                    <a:lnTo>
                      <a:pt x="270" y="367"/>
                    </a:lnTo>
                    <a:lnTo>
                      <a:pt x="270" y="369"/>
                    </a:lnTo>
                    <a:lnTo>
                      <a:pt x="267" y="372"/>
                    </a:lnTo>
                    <a:lnTo>
                      <a:pt x="269" y="379"/>
                    </a:lnTo>
                    <a:lnTo>
                      <a:pt x="269" y="382"/>
                    </a:lnTo>
                    <a:lnTo>
                      <a:pt x="272" y="385"/>
                    </a:lnTo>
                    <a:lnTo>
                      <a:pt x="272" y="389"/>
                    </a:lnTo>
                    <a:lnTo>
                      <a:pt x="277" y="395"/>
                    </a:lnTo>
                    <a:lnTo>
                      <a:pt x="277" y="400"/>
                    </a:lnTo>
                    <a:lnTo>
                      <a:pt x="284" y="404"/>
                    </a:lnTo>
                    <a:lnTo>
                      <a:pt x="285" y="412"/>
                    </a:lnTo>
                    <a:lnTo>
                      <a:pt x="282" y="413"/>
                    </a:lnTo>
                    <a:lnTo>
                      <a:pt x="280" y="418"/>
                    </a:lnTo>
                    <a:lnTo>
                      <a:pt x="285" y="422"/>
                    </a:lnTo>
                    <a:lnTo>
                      <a:pt x="282" y="423"/>
                    </a:lnTo>
                    <a:lnTo>
                      <a:pt x="282" y="427"/>
                    </a:lnTo>
                    <a:lnTo>
                      <a:pt x="277" y="428"/>
                    </a:lnTo>
                    <a:lnTo>
                      <a:pt x="277" y="435"/>
                    </a:lnTo>
                    <a:lnTo>
                      <a:pt x="272" y="437"/>
                    </a:lnTo>
                    <a:lnTo>
                      <a:pt x="262" y="435"/>
                    </a:lnTo>
                    <a:lnTo>
                      <a:pt x="252" y="423"/>
                    </a:lnTo>
                    <a:lnTo>
                      <a:pt x="247" y="425"/>
                    </a:lnTo>
                    <a:lnTo>
                      <a:pt x="237" y="422"/>
                    </a:lnTo>
                    <a:lnTo>
                      <a:pt x="222" y="420"/>
                    </a:lnTo>
                    <a:lnTo>
                      <a:pt x="216" y="423"/>
                    </a:lnTo>
                    <a:lnTo>
                      <a:pt x="202" y="420"/>
                    </a:lnTo>
                    <a:lnTo>
                      <a:pt x="191" y="422"/>
                    </a:lnTo>
                    <a:lnTo>
                      <a:pt x="186" y="423"/>
                    </a:lnTo>
                    <a:lnTo>
                      <a:pt x="179" y="422"/>
                    </a:lnTo>
                    <a:lnTo>
                      <a:pt x="176" y="425"/>
                    </a:lnTo>
                    <a:lnTo>
                      <a:pt x="171" y="427"/>
                    </a:lnTo>
                    <a:lnTo>
                      <a:pt x="157" y="425"/>
                    </a:lnTo>
                    <a:lnTo>
                      <a:pt x="147" y="423"/>
                    </a:lnTo>
                    <a:lnTo>
                      <a:pt x="142" y="420"/>
                    </a:lnTo>
                    <a:lnTo>
                      <a:pt x="134" y="420"/>
                    </a:lnTo>
                    <a:lnTo>
                      <a:pt x="132" y="422"/>
                    </a:lnTo>
                    <a:lnTo>
                      <a:pt x="126" y="422"/>
                    </a:lnTo>
                    <a:lnTo>
                      <a:pt x="123" y="420"/>
                    </a:lnTo>
                    <a:lnTo>
                      <a:pt x="119" y="422"/>
                    </a:lnTo>
                    <a:lnTo>
                      <a:pt x="119" y="427"/>
                    </a:lnTo>
                    <a:lnTo>
                      <a:pt x="121" y="432"/>
                    </a:lnTo>
                    <a:lnTo>
                      <a:pt x="121" y="437"/>
                    </a:lnTo>
                    <a:lnTo>
                      <a:pt x="114" y="438"/>
                    </a:lnTo>
                    <a:lnTo>
                      <a:pt x="99" y="438"/>
                    </a:lnTo>
                    <a:lnTo>
                      <a:pt x="81" y="437"/>
                    </a:lnTo>
                    <a:lnTo>
                      <a:pt x="76" y="435"/>
                    </a:lnTo>
                    <a:lnTo>
                      <a:pt x="69" y="433"/>
                    </a:lnTo>
                    <a:lnTo>
                      <a:pt x="64" y="438"/>
                    </a:lnTo>
                    <a:lnTo>
                      <a:pt x="66" y="440"/>
                    </a:lnTo>
                    <a:lnTo>
                      <a:pt x="61" y="443"/>
                    </a:lnTo>
                    <a:lnTo>
                      <a:pt x="59" y="445"/>
                    </a:lnTo>
                    <a:lnTo>
                      <a:pt x="63" y="447"/>
                    </a:lnTo>
                    <a:lnTo>
                      <a:pt x="63" y="450"/>
                    </a:lnTo>
                    <a:lnTo>
                      <a:pt x="54" y="462"/>
                    </a:lnTo>
                    <a:lnTo>
                      <a:pt x="51" y="467"/>
                    </a:lnTo>
                    <a:lnTo>
                      <a:pt x="56" y="470"/>
                    </a:lnTo>
                    <a:lnTo>
                      <a:pt x="66" y="472"/>
                    </a:lnTo>
                    <a:lnTo>
                      <a:pt x="71" y="477"/>
                    </a:lnTo>
                    <a:lnTo>
                      <a:pt x="76" y="477"/>
                    </a:lnTo>
                    <a:lnTo>
                      <a:pt x="79" y="473"/>
                    </a:lnTo>
                    <a:lnTo>
                      <a:pt x="81" y="467"/>
                    </a:lnTo>
                    <a:lnTo>
                      <a:pt x="83" y="468"/>
                    </a:lnTo>
                    <a:lnTo>
                      <a:pt x="96" y="477"/>
                    </a:lnTo>
                    <a:lnTo>
                      <a:pt x="96" y="480"/>
                    </a:lnTo>
                    <a:lnTo>
                      <a:pt x="89" y="488"/>
                    </a:lnTo>
                    <a:lnTo>
                      <a:pt x="81" y="487"/>
                    </a:lnTo>
                    <a:lnTo>
                      <a:pt x="69" y="488"/>
                    </a:lnTo>
                    <a:lnTo>
                      <a:pt x="68" y="485"/>
                    </a:lnTo>
                    <a:lnTo>
                      <a:pt x="63" y="482"/>
                    </a:lnTo>
                    <a:lnTo>
                      <a:pt x="54" y="488"/>
                    </a:lnTo>
                    <a:lnTo>
                      <a:pt x="49" y="488"/>
                    </a:lnTo>
                    <a:lnTo>
                      <a:pt x="43" y="492"/>
                    </a:lnTo>
                    <a:lnTo>
                      <a:pt x="38" y="493"/>
                    </a:lnTo>
                    <a:lnTo>
                      <a:pt x="36" y="500"/>
                    </a:lnTo>
                    <a:lnTo>
                      <a:pt x="44" y="503"/>
                    </a:lnTo>
                    <a:lnTo>
                      <a:pt x="44" y="506"/>
                    </a:lnTo>
                    <a:lnTo>
                      <a:pt x="36" y="510"/>
                    </a:lnTo>
                    <a:lnTo>
                      <a:pt x="26" y="511"/>
                    </a:lnTo>
                    <a:lnTo>
                      <a:pt x="28" y="513"/>
                    </a:lnTo>
                    <a:lnTo>
                      <a:pt x="30" y="518"/>
                    </a:lnTo>
                    <a:lnTo>
                      <a:pt x="20" y="520"/>
                    </a:lnTo>
                    <a:lnTo>
                      <a:pt x="20" y="525"/>
                    </a:lnTo>
                    <a:lnTo>
                      <a:pt x="15" y="526"/>
                    </a:lnTo>
                    <a:lnTo>
                      <a:pt x="5" y="525"/>
                    </a:lnTo>
                    <a:lnTo>
                      <a:pt x="0" y="528"/>
                    </a:lnTo>
                    <a:lnTo>
                      <a:pt x="0" y="535"/>
                    </a:lnTo>
                    <a:lnTo>
                      <a:pt x="5" y="543"/>
                    </a:lnTo>
                    <a:lnTo>
                      <a:pt x="10" y="541"/>
                    </a:lnTo>
                    <a:lnTo>
                      <a:pt x="16" y="541"/>
                    </a:lnTo>
                    <a:lnTo>
                      <a:pt x="18" y="546"/>
                    </a:lnTo>
                    <a:lnTo>
                      <a:pt x="15" y="551"/>
                    </a:lnTo>
                    <a:lnTo>
                      <a:pt x="18" y="556"/>
                    </a:lnTo>
                    <a:lnTo>
                      <a:pt x="23" y="558"/>
                    </a:lnTo>
                    <a:lnTo>
                      <a:pt x="23" y="565"/>
                    </a:lnTo>
                    <a:lnTo>
                      <a:pt x="21" y="568"/>
                    </a:lnTo>
                    <a:lnTo>
                      <a:pt x="16" y="578"/>
                    </a:lnTo>
                    <a:lnTo>
                      <a:pt x="15" y="591"/>
                    </a:lnTo>
                    <a:lnTo>
                      <a:pt x="13" y="590"/>
                    </a:lnTo>
                    <a:lnTo>
                      <a:pt x="18" y="596"/>
                    </a:lnTo>
                    <a:lnTo>
                      <a:pt x="21" y="596"/>
                    </a:lnTo>
                    <a:lnTo>
                      <a:pt x="30" y="595"/>
                    </a:lnTo>
                    <a:lnTo>
                      <a:pt x="34" y="593"/>
                    </a:lnTo>
                    <a:lnTo>
                      <a:pt x="38" y="590"/>
                    </a:lnTo>
                    <a:lnTo>
                      <a:pt x="39" y="588"/>
                    </a:lnTo>
                    <a:lnTo>
                      <a:pt x="43" y="586"/>
                    </a:lnTo>
                    <a:lnTo>
                      <a:pt x="44" y="588"/>
                    </a:lnTo>
                    <a:lnTo>
                      <a:pt x="48" y="591"/>
                    </a:lnTo>
                    <a:lnTo>
                      <a:pt x="56" y="591"/>
                    </a:lnTo>
                    <a:lnTo>
                      <a:pt x="56" y="588"/>
                    </a:lnTo>
                    <a:lnTo>
                      <a:pt x="54" y="586"/>
                    </a:lnTo>
                    <a:lnTo>
                      <a:pt x="54" y="583"/>
                    </a:lnTo>
                    <a:lnTo>
                      <a:pt x="59" y="581"/>
                    </a:lnTo>
                    <a:lnTo>
                      <a:pt x="61" y="580"/>
                    </a:lnTo>
                    <a:lnTo>
                      <a:pt x="64" y="580"/>
                    </a:lnTo>
                    <a:lnTo>
                      <a:pt x="64" y="581"/>
                    </a:lnTo>
                    <a:lnTo>
                      <a:pt x="69" y="581"/>
                    </a:lnTo>
                    <a:lnTo>
                      <a:pt x="73" y="576"/>
                    </a:lnTo>
                    <a:lnTo>
                      <a:pt x="71" y="571"/>
                    </a:lnTo>
                    <a:lnTo>
                      <a:pt x="74" y="568"/>
                    </a:lnTo>
                    <a:lnTo>
                      <a:pt x="76" y="565"/>
                    </a:lnTo>
                    <a:lnTo>
                      <a:pt x="78" y="560"/>
                    </a:lnTo>
                    <a:lnTo>
                      <a:pt x="79" y="555"/>
                    </a:lnTo>
                    <a:lnTo>
                      <a:pt x="86" y="555"/>
                    </a:lnTo>
                    <a:lnTo>
                      <a:pt x="89" y="558"/>
                    </a:lnTo>
                    <a:lnTo>
                      <a:pt x="94" y="560"/>
                    </a:lnTo>
                    <a:lnTo>
                      <a:pt x="94" y="563"/>
                    </a:lnTo>
                    <a:lnTo>
                      <a:pt x="93" y="568"/>
                    </a:lnTo>
                    <a:lnTo>
                      <a:pt x="94" y="573"/>
                    </a:lnTo>
                    <a:lnTo>
                      <a:pt x="99" y="573"/>
                    </a:lnTo>
                    <a:lnTo>
                      <a:pt x="101" y="576"/>
                    </a:lnTo>
                    <a:lnTo>
                      <a:pt x="101" y="581"/>
                    </a:lnTo>
                    <a:lnTo>
                      <a:pt x="101" y="586"/>
                    </a:lnTo>
                    <a:lnTo>
                      <a:pt x="101" y="595"/>
                    </a:lnTo>
                    <a:lnTo>
                      <a:pt x="104" y="600"/>
                    </a:lnTo>
                    <a:lnTo>
                      <a:pt x="104" y="603"/>
                    </a:lnTo>
                    <a:lnTo>
                      <a:pt x="109" y="604"/>
                    </a:lnTo>
                    <a:lnTo>
                      <a:pt x="116" y="604"/>
                    </a:lnTo>
                    <a:lnTo>
                      <a:pt x="119" y="601"/>
                    </a:lnTo>
                    <a:lnTo>
                      <a:pt x="121" y="600"/>
                    </a:lnTo>
                    <a:lnTo>
                      <a:pt x="129" y="595"/>
                    </a:lnTo>
                    <a:lnTo>
                      <a:pt x="132" y="593"/>
                    </a:lnTo>
                    <a:lnTo>
                      <a:pt x="134" y="588"/>
                    </a:lnTo>
                    <a:lnTo>
                      <a:pt x="137" y="586"/>
                    </a:lnTo>
                    <a:lnTo>
                      <a:pt x="147" y="580"/>
                    </a:lnTo>
                    <a:lnTo>
                      <a:pt x="156" y="578"/>
                    </a:lnTo>
                    <a:lnTo>
                      <a:pt x="156" y="583"/>
                    </a:lnTo>
                    <a:lnTo>
                      <a:pt x="166" y="581"/>
                    </a:lnTo>
                    <a:lnTo>
                      <a:pt x="169" y="578"/>
                    </a:lnTo>
                    <a:lnTo>
                      <a:pt x="179" y="578"/>
                    </a:lnTo>
                    <a:lnTo>
                      <a:pt x="181" y="581"/>
                    </a:lnTo>
                    <a:lnTo>
                      <a:pt x="172" y="588"/>
                    </a:lnTo>
                    <a:lnTo>
                      <a:pt x="176" y="588"/>
                    </a:lnTo>
                    <a:lnTo>
                      <a:pt x="176" y="588"/>
                    </a:lnTo>
                    <a:lnTo>
                      <a:pt x="179" y="586"/>
                    </a:lnTo>
                    <a:lnTo>
                      <a:pt x="182" y="586"/>
                    </a:lnTo>
                    <a:lnTo>
                      <a:pt x="186" y="590"/>
                    </a:lnTo>
                    <a:lnTo>
                      <a:pt x="189" y="588"/>
                    </a:lnTo>
                    <a:lnTo>
                      <a:pt x="192" y="588"/>
                    </a:lnTo>
                    <a:lnTo>
                      <a:pt x="196" y="586"/>
                    </a:lnTo>
                    <a:lnTo>
                      <a:pt x="197" y="585"/>
                    </a:lnTo>
                    <a:lnTo>
                      <a:pt x="201" y="585"/>
                    </a:lnTo>
                    <a:lnTo>
                      <a:pt x="204" y="588"/>
                    </a:lnTo>
                    <a:lnTo>
                      <a:pt x="207" y="595"/>
                    </a:lnTo>
                    <a:lnTo>
                      <a:pt x="217" y="609"/>
                    </a:lnTo>
                    <a:lnTo>
                      <a:pt x="224" y="613"/>
                    </a:lnTo>
                    <a:lnTo>
                      <a:pt x="224" y="619"/>
                    </a:lnTo>
                    <a:lnTo>
                      <a:pt x="229" y="621"/>
                    </a:lnTo>
                    <a:lnTo>
                      <a:pt x="230" y="624"/>
                    </a:lnTo>
                    <a:lnTo>
                      <a:pt x="240" y="626"/>
                    </a:lnTo>
                    <a:lnTo>
                      <a:pt x="250" y="626"/>
                    </a:lnTo>
                    <a:lnTo>
                      <a:pt x="255" y="626"/>
                    </a:lnTo>
                    <a:lnTo>
                      <a:pt x="255" y="631"/>
                    </a:lnTo>
                    <a:lnTo>
                      <a:pt x="265" y="634"/>
                    </a:lnTo>
                    <a:lnTo>
                      <a:pt x="274" y="638"/>
                    </a:lnTo>
                    <a:lnTo>
                      <a:pt x="277" y="649"/>
                    </a:lnTo>
                    <a:lnTo>
                      <a:pt x="284" y="656"/>
                    </a:lnTo>
                    <a:lnTo>
                      <a:pt x="292" y="659"/>
                    </a:lnTo>
                    <a:lnTo>
                      <a:pt x="295" y="664"/>
                    </a:lnTo>
                    <a:lnTo>
                      <a:pt x="295" y="676"/>
                    </a:lnTo>
                    <a:lnTo>
                      <a:pt x="300" y="684"/>
                    </a:lnTo>
                    <a:lnTo>
                      <a:pt x="305" y="686"/>
                    </a:lnTo>
                    <a:lnTo>
                      <a:pt x="309" y="696"/>
                    </a:lnTo>
                    <a:lnTo>
                      <a:pt x="310" y="704"/>
                    </a:lnTo>
                    <a:lnTo>
                      <a:pt x="307" y="709"/>
                    </a:lnTo>
                    <a:lnTo>
                      <a:pt x="307" y="706"/>
                    </a:lnTo>
                    <a:lnTo>
                      <a:pt x="302" y="704"/>
                    </a:lnTo>
                    <a:lnTo>
                      <a:pt x="295" y="711"/>
                    </a:lnTo>
                    <a:lnTo>
                      <a:pt x="295" y="711"/>
                    </a:lnTo>
                    <a:lnTo>
                      <a:pt x="297" y="714"/>
                    </a:lnTo>
                    <a:lnTo>
                      <a:pt x="297" y="717"/>
                    </a:lnTo>
                    <a:lnTo>
                      <a:pt x="304" y="721"/>
                    </a:lnTo>
                    <a:lnTo>
                      <a:pt x="304" y="729"/>
                    </a:lnTo>
                    <a:lnTo>
                      <a:pt x="305" y="732"/>
                    </a:lnTo>
                    <a:lnTo>
                      <a:pt x="304" y="736"/>
                    </a:lnTo>
                    <a:lnTo>
                      <a:pt x="307" y="737"/>
                    </a:lnTo>
                    <a:lnTo>
                      <a:pt x="309" y="741"/>
                    </a:lnTo>
                    <a:lnTo>
                      <a:pt x="309" y="744"/>
                    </a:lnTo>
                    <a:lnTo>
                      <a:pt x="312" y="744"/>
                    </a:lnTo>
                    <a:lnTo>
                      <a:pt x="314" y="749"/>
                    </a:lnTo>
                    <a:lnTo>
                      <a:pt x="319" y="752"/>
                    </a:lnTo>
                    <a:lnTo>
                      <a:pt x="322" y="747"/>
                    </a:lnTo>
                    <a:lnTo>
                      <a:pt x="327" y="747"/>
                    </a:lnTo>
                    <a:lnTo>
                      <a:pt x="329" y="751"/>
                    </a:lnTo>
                    <a:lnTo>
                      <a:pt x="335" y="751"/>
                    </a:lnTo>
                    <a:lnTo>
                      <a:pt x="340" y="756"/>
                    </a:lnTo>
                    <a:lnTo>
                      <a:pt x="343" y="757"/>
                    </a:lnTo>
                    <a:lnTo>
                      <a:pt x="345" y="762"/>
                    </a:lnTo>
                    <a:lnTo>
                      <a:pt x="350" y="762"/>
                    </a:lnTo>
                    <a:lnTo>
                      <a:pt x="352" y="766"/>
                    </a:lnTo>
                    <a:lnTo>
                      <a:pt x="352" y="766"/>
                    </a:lnTo>
                    <a:lnTo>
                      <a:pt x="353" y="764"/>
                    </a:lnTo>
                    <a:lnTo>
                      <a:pt x="360" y="767"/>
                    </a:lnTo>
                    <a:lnTo>
                      <a:pt x="362" y="771"/>
                    </a:lnTo>
                    <a:lnTo>
                      <a:pt x="367" y="771"/>
                    </a:lnTo>
                    <a:lnTo>
                      <a:pt x="370" y="771"/>
                    </a:lnTo>
                    <a:lnTo>
                      <a:pt x="373" y="767"/>
                    </a:lnTo>
                    <a:lnTo>
                      <a:pt x="378" y="767"/>
                    </a:lnTo>
                    <a:lnTo>
                      <a:pt x="387" y="771"/>
                    </a:lnTo>
                    <a:lnTo>
                      <a:pt x="390" y="772"/>
                    </a:lnTo>
                    <a:lnTo>
                      <a:pt x="395" y="772"/>
                    </a:lnTo>
                    <a:lnTo>
                      <a:pt x="400" y="774"/>
                    </a:lnTo>
                    <a:lnTo>
                      <a:pt x="407" y="782"/>
                    </a:lnTo>
                    <a:lnTo>
                      <a:pt x="412" y="782"/>
                    </a:lnTo>
                    <a:lnTo>
                      <a:pt x="417" y="784"/>
                    </a:lnTo>
                    <a:lnTo>
                      <a:pt x="420" y="787"/>
                    </a:lnTo>
                    <a:lnTo>
                      <a:pt x="423" y="792"/>
                    </a:lnTo>
                    <a:lnTo>
                      <a:pt x="425" y="796"/>
                    </a:lnTo>
                    <a:lnTo>
                      <a:pt x="428" y="796"/>
                    </a:lnTo>
                    <a:lnTo>
                      <a:pt x="428" y="789"/>
                    </a:lnTo>
                    <a:lnTo>
                      <a:pt x="431" y="786"/>
                    </a:lnTo>
                    <a:lnTo>
                      <a:pt x="433" y="789"/>
                    </a:lnTo>
                    <a:lnTo>
                      <a:pt x="438" y="789"/>
                    </a:lnTo>
                    <a:lnTo>
                      <a:pt x="443" y="791"/>
                    </a:lnTo>
                    <a:lnTo>
                      <a:pt x="443" y="797"/>
                    </a:lnTo>
                    <a:lnTo>
                      <a:pt x="450" y="802"/>
                    </a:lnTo>
                    <a:lnTo>
                      <a:pt x="458" y="800"/>
                    </a:lnTo>
                    <a:lnTo>
                      <a:pt x="463" y="800"/>
                    </a:lnTo>
                    <a:lnTo>
                      <a:pt x="463" y="810"/>
                    </a:lnTo>
                    <a:lnTo>
                      <a:pt x="465" y="815"/>
                    </a:lnTo>
                    <a:lnTo>
                      <a:pt x="470" y="814"/>
                    </a:lnTo>
                    <a:lnTo>
                      <a:pt x="476" y="817"/>
                    </a:lnTo>
                    <a:lnTo>
                      <a:pt x="478" y="814"/>
                    </a:lnTo>
                    <a:lnTo>
                      <a:pt x="485" y="814"/>
                    </a:lnTo>
                    <a:lnTo>
                      <a:pt x="488" y="809"/>
                    </a:lnTo>
                    <a:lnTo>
                      <a:pt x="498" y="810"/>
                    </a:lnTo>
                    <a:lnTo>
                      <a:pt x="503" y="812"/>
                    </a:lnTo>
                    <a:lnTo>
                      <a:pt x="505" y="817"/>
                    </a:lnTo>
                    <a:lnTo>
                      <a:pt x="511" y="820"/>
                    </a:lnTo>
                    <a:lnTo>
                      <a:pt x="516" y="825"/>
                    </a:lnTo>
                    <a:lnTo>
                      <a:pt x="521" y="827"/>
                    </a:lnTo>
                    <a:lnTo>
                      <a:pt x="528" y="825"/>
                    </a:lnTo>
                    <a:lnTo>
                      <a:pt x="529" y="825"/>
                    </a:lnTo>
                    <a:lnTo>
                      <a:pt x="536" y="824"/>
                    </a:lnTo>
                    <a:lnTo>
                      <a:pt x="541" y="824"/>
                    </a:lnTo>
                    <a:lnTo>
                      <a:pt x="541" y="824"/>
                    </a:lnTo>
                    <a:lnTo>
                      <a:pt x="546" y="820"/>
                    </a:lnTo>
                    <a:lnTo>
                      <a:pt x="551" y="820"/>
                    </a:lnTo>
                    <a:lnTo>
                      <a:pt x="554" y="824"/>
                    </a:lnTo>
                    <a:lnTo>
                      <a:pt x="554" y="830"/>
                    </a:lnTo>
                    <a:lnTo>
                      <a:pt x="559" y="834"/>
                    </a:lnTo>
                    <a:lnTo>
                      <a:pt x="559" y="834"/>
                    </a:lnTo>
                    <a:lnTo>
                      <a:pt x="564" y="830"/>
                    </a:lnTo>
                    <a:lnTo>
                      <a:pt x="569" y="822"/>
                    </a:lnTo>
                    <a:lnTo>
                      <a:pt x="581" y="815"/>
                    </a:lnTo>
                    <a:lnTo>
                      <a:pt x="589" y="814"/>
                    </a:lnTo>
                    <a:lnTo>
                      <a:pt x="591" y="817"/>
                    </a:lnTo>
                    <a:lnTo>
                      <a:pt x="603" y="819"/>
                    </a:lnTo>
                    <a:lnTo>
                      <a:pt x="608" y="820"/>
                    </a:lnTo>
                    <a:lnTo>
                      <a:pt x="614" y="819"/>
                    </a:lnTo>
                    <a:lnTo>
                      <a:pt x="621" y="819"/>
                    </a:lnTo>
                    <a:lnTo>
                      <a:pt x="624" y="824"/>
                    </a:lnTo>
                    <a:lnTo>
                      <a:pt x="626" y="824"/>
                    </a:lnTo>
                    <a:lnTo>
                      <a:pt x="629" y="824"/>
                    </a:lnTo>
                    <a:lnTo>
                      <a:pt x="637" y="820"/>
                    </a:lnTo>
                    <a:lnTo>
                      <a:pt x="641" y="820"/>
                    </a:lnTo>
                    <a:lnTo>
                      <a:pt x="644" y="815"/>
                    </a:lnTo>
                    <a:lnTo>
                      <a:pt x="647" y="814"/>
                    </a:lnTo>
                    <a:lnTo>
                      <a:pt x="651" y="814"/>
                    </a:lnTo>
                    <a:lnTo>
                      <a:pt x="651" y="812"/>
                    </a:lnTo>
                    <a:lnTo>
                      <a:pt x="656" y="810"/>
                    </a:lnTo>
                    <a:lnTo>
                      <a:pt x="657" y="805"/>
                    </a:lnTo>
                    <a:lnTo>
                      <a:pt x="662" y="800"/>
                    </a:lnTo>
                    <a:lnTo>
                      <a:pt x="667" y="800"/>
                    </a:lnTo>
                    <a:lnTo>
                      <a:pt x="676" y="799"/>
                    </a:lnTo>
                    <a:lnTo>
                      <a:pt x="682" y="792"/>
                    </a:lnTo>
                    <a:lnTo>
                      <a:pt x="681" y="787"/>
                    </a:lnTo>
                    <a:lnTo>
                      <a:pt x="684" y="787"/>
                    </a:lnTo>
                    <a:lnTo>
                      <a:pt x="691" y="784"/>
                    </a:lnTo>
                    <a:lnTo>
                      <a:pt x="694" y="789"/>
                    </a:lnTo>
                    <a:lnTo>
                      <a:pt x="701" y="787"/>
                    </a:lnTo>
                    <a:lnTo>
                      <a:pt x="711" y="791"/>
                    </a:lnTo>
                    <a:lnTo>
                      <a:pt x="712" y="789"/>
                    </a:lnTo>
                    <a:lnTo>
                      <a:pt x="712" y="784"/>
                    </a:lnTo>
                    <a:lnTo>
                      <a:pt x="722" y="779"/>
                    </a:lnTo>
                    <a:lnTo>
                      <a:pt x="725" y="779"/>
                    </a:lnTo>
                    <a:lnTo>
                      <a:pt x="729" y="782"/>
                    </a:lnTo>
                    <a:lnTo>
                      <a:pt x="732" y="782"/>
                    </a:lnTo>
                    <a:lnTo>
                      <a:pt x="734" y="784"/>
                    </a:lnTo>
                    <a:lnTo>
                      <a:pt x="730" y="791"/>
                    </a:lnTo>
                    <a:lnTo>
                      <a:pt x="732" y="794"/>
                    </a:lnTo>
                    <a:lnTo>
                      <a:pt x="735" y="792"/>
                    </a:lnTo>
                    <a:lnTo>
                      <a:pt x="737" y="792"/>
                    </a:lnTo>
                    <a:lnTo>
                      <a:pt x="739" y="796"/>
                    </a:lnTo>
                    <a:lnTo>
                      <a:pt x="742" y="799"/>
                    </a:lnTo>
                    <a:lnTo>
                      <a:pt x="742" y="802"/>
                    </a:lnTo>
                    <a:lnTo>
                      <a:pt x="739" y="807"/>
                    </a:lnTo>
                    <a:lnTo>
                      <a:pt x="740" y="810"/>
                    </a:lnTo>
                    <a:lnTo>
                      <a:pt x="745" y="810"/>
                    </a:lnTo>
                    <a:lnTo>
                      <a:pt x="749" y="810"/>
                    </a:lnTo>
                    <a:lnTo>
                      <a:pt x="752" y="812"/>
                    </a:lnTo>
                    <a:lnTo>
                      <a:pt x="757" y="815"/>
                    </a:lnTo>
                    <a:lnTo>
                      <a:pt x="760" y="814"/>
                    </a:lnTo>
                    <a:lnTo>
                      <a:pt x="765" y="815"/>
                    </a:lnTo>
                    <a:lnTo>
                      <a:pt x="770" y="814"/>
                    </a:lnTo>
                    <a:lnTo>
                      <a:pt x="775" y="814"/>
                    </a:lnTo>
                    <a:lnTo>
                      <a:pt x="779" y="819"/>
                    </a:lnTo>
                    <a:lnTo>
                      <a:pt x="784" y="822"/>
                    </a:lnTo>
                    <a:lnTo>
                      <a:pt x="784" y="829"/>
                    </a:lnTo>
                    <a:lnTo>
                      <a:pt x="789" y="829"/>
                    </a:lnTo>
                    <a:lnTo>
                      <a:pt x="794" y="834"/>
                    </a:lnTo>
                    <a:lnTo>
                      <a:pt x="794" y="840"/>
                    </a:lnTo>
                    <a:lnTo>
                      <a:pt x="797" y="847"/>
                    </a:lnTo>
                    <a:lnTo>
                      <a:pt x="797" y="854"/>
                    </a:lnTo>
                    <a:lnTo>
                      <a:pt x="797" y="864"/>
                    </a:lnTo>
                    <a:lnTo>
                      <a:pt x="797" y="869"/>
                    </a:lnTo>
                    <a:lnTo>
                      <a:pt x="795" y="870"/>
                    </a:lnTo>
                    <a:lnTo>
                      <a:pt x="790" y="872"/>
                    </a:lnTo>
                    <a:lnTo>
                      <a:pt x="790" y="877"/>
                    </a:lnTo>
                    <a:lnTo>
                      <a:pt x="787" y="877"/>
                    </a:lnTo>
                    <a:lnTo>
                      <a:pt x="787" y="880"/>
                    </a:lnTo>
                    <a:lnTo>
                      <a:pt x="789" y="885"/>
                    </a:lnTo>
                    <a:lnTo>
                      <a:pt x="787" y="887"/>
                    </a:lnTo>
                    <a:lnTo>
                      <a:pt x="784" y="887"/>
                    </a:lnTo>
                    <a:lnTo>
                      <a:pt x="780" y="889"/>
                    </a:lnTo>
                    <a:lnTo>
                      <a:pt x="779" y="894"/>
                    </a:lnTo>
                    <a:lnTo>
                      <a:pt x="780" y="895"/>
                    </a:lnTo>
                    <a:lnTo>
                      <a:pt x="779" y="898"/>
                    </a:lnTo>
                    <a:lnTo>
                      <a:pt x="779" y="903"/>
                    </a:lnTo>
                    <a:lnTo>
                      <a:pt x="782" y="905"/>
                    </a:lnTo>
                    <a:lnTo>
                      <a:pt x="784" y="907"/>
                    </a:lnTo>
                    <a:lnTo>
                      <a:pt x="787" y="910"/>
                    </a:lnTo>
                    <a:lnTo>
                      <a:pt x="787" y="915"/>
                    </a:lnTo>
                    <a:lnTo>
                      <a:pt x="789" y="920"/>
                    </a:lnTo>
                    <a:lnTo>
                      <a:pt x="795" y="917"/>
                    </a:lnTo>
                    <a:lnTo>
                      <a:pt x="805" y="915"/>
                    </a:lnTo>
                    <a:lnTo>
                      <a:pt x="807" y="918"/>
                    </a:lnTo>
                    <a:lnTo>
                      <a:pt x="805" y="920"/>
                    </a:lnTo>
                    <a:lnTo>
                      <a:pt x="809" y="923"/>
                    </a:lnTo>
                    <a:lnTo>
                      <a:pt x="815" y="922"/>
                    </a:lnTo>
                    <a:lnTo>
                      <a:pt x="815" y="925"/>
                    </a:lnTo>
                    <a:lnTo>
                      <a:pt x="814" y="928"/>
                    </a:lnTo>
                    <a:lnTo>
                      <a:pt x="817" y="932"/>
                    </a:lnTo>
                    <a:lnTo>
                      <a:pt x="824" y="933"/>
                    </a:lnTo>
                    <a:lnTo>
                      <a:pt x="822" y="935"/>
                    </a:lnTo>
                    <a:lnTo>
                      <a:pt x="824" y="938"/>
                    </a:lnTo>
                    <a:lnTo>
                      <a:pt x="825" y="937"/>
                    </a:lnTo>
                    <a:lnTo>
                      <a:pt x="832" y="937"/>
                    </a:lnTo>
                    <a:lnTo>
                      <a:pt x="837" y="938"/>
                    </a:lnTo>
                    <a:lnTo>
                      <a:pt x="837" y="942"/>
                    </a:lnTo>
                    <a:lnTo>
                      <a:pt x="835" y="947"/>
                    </a:lnTo>
                    <a:lnTo>
                      <a:pt x="835" y="948"/>
                    </a:lnTo>
                    <a:lnTo>
                      <a:pt x="828" y="957"/>
                    </a:lnTo>
                    <a:lnTo>
                      <a:pt x="825" y="960"/>
                    </a:lnTo>
                    <a:lnTo>
                      <a:pt x="825" y="963"/>
                    </a:lnTo>
                    <a:lnTo>
                      <a:pt x="828" y="962"/>
                    </a:lnTo>
                    <a:lnTo>
                      <a:pt x="837" y="963"/>
                    </a:lnTo>
                    <a:lnTo>
                      <a:pt x="838" y="963"/>
                    </a:lnTo>
                    <a:lnTo>
                      <a:pt x="842" y="962"/>
                    </a:lnTo>
                    <a:lnTo>
                      <a:pt x="845" y="965"/>
                    </a:lnTo>
                    <a:lnTo>
                      <a:pt x="843" y="970"/>
                    </a:lnTo>
                    <a:lnTo>
                      <a:pt x="845" y="975"/>
                    </a:lnTo>
                    <a:lnTo>
                      <a:pt x="850" y="977"/>
                    </a:lnTo>
                    <a:lnTo>
                      <a:pt x="853" y="975"/>
                    </a:lnTo>
                    <a:lnTo>
                      <a:pt x="860" y="975"/>
                    </a:lnTo>
                    <a:lnTo>
                      <a:pt x="870" y="970"/>
                    </a:lnTo>
                    <a:lnTo>
                      <a:pt x="875" y="972"/>
                    </a:lnTo>
                    <a:lnTo>
                      <a:pt x="875" y="975"/>
                    </a:lnTo>
                    <a:lnTo>
                      <a:pt x="868" y="982"/>
                    </a:lnTo>
                    <a:lnTo>
                      <a:pt x="872" y="977"/>
                    </a:lnTo>
                    <a:lnTo>
                      <a:pt x="875" y="980"/>
                    </a:lnTo>
                    <a:lnTo>
                      <a:pt x="878" y="983"/>
                    </a:lnTo>
                    <a:lnTo>
                      <a:pt x="883" y="982"/>
                    </a:lnTo>
                    <a:lnTo>
                      <a:pt x="888" y="982"/>
                    </a:lnTo>
                    <a:lnTo>
                      <a:pt x="887" y="977"/>
                    </a:lnTo>
                    <a:lnTo>
                      <a:pt x="887" y="972"/>
                    </a:lnTo>
                    <a:lnTo>
                      <a:pt x="885" y="967"/>
                    </a:lnTo>
                    <a:lnTo>
                      <a:pt x="885" y="960"/>
                    </a:lnTo>
                    <a:lnTo>
                      <a:pt x="888" y="957"/>
                    </a:lnTo>
                    <a:lnTo>
                      <a:pt x="888" y="955"/>
                    </a:lnTo>
                    <a:lnTo>
                      <a:pt x="897" y="953"/>
                    </a:lnTo>
                    <a:lnTo>
                      <a:pt x="898" y="957"/>
                    </a:lnTo>
                    <a:lnTo>
                      <a:pt x="897" y="955"/>
                    </a:lnTo>
                    <a:lnTo>
                      <a:pt x="898" y="953"/>
                    </a:lnTo>
                    <a:lnTo>
                      <a:pt x="900" y="953"/>
                    </a:lnTo>
                    <a:lnTo>
                      <a:pt x="902" y="950"/>
                    </a:lnTo>
                    <a:lnTo>
                      <a:pt x="905" y="948"/>
                    </a:lnTo>
                    <a:lnTo>
                      <a:pt x="910" y="947"/>
                    </a:lnTo>
                    <a:lnTo>
                      <a:pt x="913" y="947"/>
                    </a:lnTo>
                    <a:lnTo>
                      <a:pt x="912" y="950"/>
                    </a:lnTo>
                    <a:lnTo>
                      <a:pt x="915" y="952"/>
                    </a:lnTo>
                    <a:lnTo>
                      <a:pt x="918" y="952"/>
                    </a:lnTo>
                    <a:lnTo>
                      <a:pt x="918" y="948"/>
                    </a:lnTo>
                    <a:lnTo>
                      <a:pt x="922" y="945"/>
                    </a:lnTo>
                    <a:lnTo>
                      <a:pt x="926" y="950"/>
                    </a:lnTo>
                    <a:lnTo>
                      <a:pt x="930" y="947"/>
                    </a:lnTo>
                    <a:lnTo>
                      <a:pt x="933" y="947"/>
                    </a:lnTo>
                    <a:lnTo>
                      <a:pt x="933" y="950"/>
                    </a:lnTo>
                    <a:lnTo>
                      <a:pt x="940" y="947"/>
                    </a:lnTo>
                    <a:lnTo>
                      <a:pt x="940" y="943"/>
                    </a:lnTo>
                    <a:lnTo>
                      <a:pt x="946" y="942"/>
                    </a:lnTo>
                    <a:lnTo>
                      <a:pt x="951" y="945"/>
                    </a:lnTo>
                    <a:lnTo>
                      <a:pt x="958" y="943"/>
                    </a:lnTo>
                    <a:lnTo>
                      <a:pt x="958" y="935"/>
                    </a:lnTo>
                    <a:lnTo>
                      <a:pt x="963" y="933"/>
                    </a:lnTo>
                    <a:lnTo>
                      <a:pt x="970" y="933"/>
                    </a:lnTo>
                    <a:lnTo>
                      <a:pt x="973" y="930"/>
                    </a:lnTo>
                    <a:lnTo>
                      <a:pt x="978" y="933"/>
                    </a:lnTo>
                    <a:lnTo>
                      <a:pt x="978" y="937"/>
                    </a:lnTo>
                    <a:lnTo>
                      <a:pt x="983" y="938"/>
                    </a:lnTo>
                    <a:lnTo>
                      <a:pt x="986" y="940"/>
                    </a:lnTo>
                    <a:lnTo>
                      <a:pt x="996" y="940"/>
                    </a:lnTo>
                    <a:lnTo>
                      <a:pt x="998" y="943"/>
                    </a:lnTo>
                    <a:lnTo>
                      <a:pt x="1005" y="940"/>
                    </a:lnTo>
                    <a:lnTo>
                      <a:pt x="1010" y="943"/>
                    </a:lnTo>
                    <a:lnTo>
                      <a:pt x="1008" y="947"/>
                    </a:lnTo>
                    <a:lnTo>
                      <a:pt x="1005" y="948"/>
                    </a:lnTo>
                    <a:lnTo>
                      <a:pt x="1003" y="957"/>
                    </a:lnTo>
                    <a:lnTo>
                      <a:pt x="1005" y="957"/>
                    </a:lnTo>
                    <a:lnTo>
                      <a:pt x="1006" y="962"/>
                    </a:lnTo>
                    <a:lnTo>
                      <a:pt x="1016" y="965"/>
                    </a:lnTo>
                    <a:lnTo>
                      <a:pt x="1018" y="968"/>
                    </a:lnTo>
                    <a:lnTo>
                      <a:pt x="1023" y="970"/>
                    </a:lnTo>
                    <a:lnTo>
                      <a:pt x="1028" y="972"/>
                    </a:lnTo>
                    <a:lnTo>
                      <a:pt x="1033" y="970"/>
                    </a:lnTo>
                    <a:lnTo>
                      <a:pt x="1034" y="972"/>
                    </a:lnTo>
                    <a:lnTo>
                      <a:pt x="1038" y="972"/>
                    </a:lnTo>
                    <a:lnTo>
                      <a:pt x="1041" y="973"/>
                    </a:lnTo>
                    <a:lnTo>
                      <a:pt x="1043" y="973"/>
                    </a:lnTo>
                    <a:lnTo>
                      <a:pt x="1044" y="973"/>
                    </a:lnTo>
                    <a:lnTo>
                      <a:pt x="1048" y="973"/>
                    </a:lnTo>
                    <a:lnTo>
                      <a:pt x="1051" y="972"/>
                    </a:lnTo>
                    <a:lnTo>
                      <a:pt x="1051" y="970"/>
                    </a:lnTo>
                    <a:lnTo>
                      <a:pt x="1053" y="965"/>
                    </a:lnTo>
                    <a:lnTo>
                      <a:pt x="1054" y="970"/>
                    </a:lnTo>
                    <a:lnTo>
                      <a:pt x="1059" y="973"/>
                    </a:lnTo>
                    <a:lnTo>
                      <a:pt x="1061" y="973"/>
                    </a:lnTo>
                    <a:lnTo>
                      <a:pt x="1068" y="978"/>
                    </a:lnTo>
                    <a:lnTo>
                      <a:pt x="1071" y="977"/>
                    </a:lnTo>
                    <a:lnTo>
                      <a:pt x="1074" y="977"/>
                    </a:lnTo>
                    <a:lnTo>
                      <a:pt x="1076" y="973"/>
                    </a:lnTo>
                    <a:lnTo>
                      <a:pt x="1079" y="977"/>
                    </a:lnTo>
                    <a:lnTo>
                      <a:pt x="1083" y="975"/>
                    </a:lnTo>
                    <a:lnTo>
                      <a:pt x="1086" y="977"/>
                    </a:lnTo>
                    <a:lnTo>
                      <a:pt x="1086" y="978"/>
                    </a:lnTo>
                    <a:lnTo>
                      <a:pt x="1083" y="978"/>
                    </a:lnTo>
                    <a:lnTo>
                      <a:pt x="1081" y="982"/>
                    </a:lnTo>
                    <a:lnTo>
                      <a:pt x="1078" y="985"/>
                    </a:lnTo>
                    <a:lnTo>
                      <a:pt x="1078" y="988"/>
                    </a:lnTo>
                    <a:lnTo>
                      <a:pt x="1084" y="995"/>
                    </a:lnTo>
                    <a:lnTo>
                      <a:pt x="1088" y="998"/>
                    </a:lnTo>
                    <a:lnTo>
                      <a:pt x="1088" y="1000"/>
                    </a:lnTo>
                    <a:lnTo>
                      <a:pt x="1088" y="1005"/>
                    </a:lnTo>
                    <a:lnTo>
                      <a:pt x="1089" y="1003"/>
                    </a:lnTo>
                    <a:lnTo>
                      <a:pt x="1091" y="1000"/>
                    </a:lnTo>
                    <a:lnTo>
                      <a:pt x="1096" y="1001"/>
                    </a:lnTo>
                    <a:lnTo>
                      <a:pt x="1096" y="1003"/>
                    </a:lnTo>
                    <a:lnTo>
                      <a:pt x="1099" y="1003"/>
                    </a:lnTo>
                    <a:lnTo>
                      <a:pt x="1103" y="998"/>
                    </a:lnTo>
                    <a:lnTo>
                      <a:pt x="1103" y="995"/>
                    </a:lnTo>
                    <a:lnTo>
                      <a:pt x="1099" y="995"/>
                    </a:lnTo>
                    <a:lnTo>
                      <a:pt x="1099" y="995"/>
                    </a:lnTo>
                    <a:lnTo>
                      <a:pt x="1098" y="990"/>
                    </a:lnTo>
                    <a:lnTo>
                      <a:pt x="1094" y="990"/>
                    </a:lnTo>
                    <a:lnTo>
                      <a:pt x="1093" y="985"/>
                    </a:lnTo>
                    <a:lnTo>
                      <a:pt x="1094" y="983"/>
                    </a:lnTo>
                    <a:lnTo>
                      <a:pt x="1098" y="982"/>
                    </a:lnTo>
                    <a:lnTo>
                      <a:pt x="1098" y="978"/>
                    </a:lnTo>
                    <a:lnTo>
                      <a:pt x="1098" y="977"/>
                    </a:lnTo>
                    <a:lnTo>
                      <a:pt x="1099" y="977"/>
                    </a:lnTo>
                    <a:lnTo>
                      <a:pt x="1101" y="975"/>
                    </a:lnTo>
                    <a:lnTo>
                      <a:pt x="1101" y="975"/>
                    </a:lnTo>
                    <a:lnTo>
                      <a:pt x="1101" y="977"/>
                    </a:lnTo>
                    <a:lnTo>
                      <a:pt x="1103" y="977"/>
                    </a:lnTo>
                    <a:lnTo>
                      <a:pt x="1103" y="978"/>
                    </a:lnTo>
                    <a:lnTo>
                      <a:pt x="1103" y="978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4" y="980"/>
                    </a:lnTo>
                    <a:lnTo>
                      <a:pt x="1108" y="978"/>
                    </a:lnTo>
                    <a:lnTo>
                      <a:pt x="1113" y="978"/>
                    </a:lnTo>
                    <a:lnTo>
                      <a:pt x="1114" y="975"/>
                    </a:lnTo>
                    <a:lnTo>
                      <a:pt x="1118" y="975"/>
                    </a:lnTo>
                    <a:lnTo>
                      <a:pt x="1122" y="975"/>
                    </a:lnTo>
                    <a:lnTo>
                      <a:pt x="1127" y="972"/>
                    </a:lnTo>
                    <a:lnTo>
                      <a:pt x="1126" y="968"/>
                    </a:lnTo>
                    <a:lnTo>
                      <a:pt x="1129" y="968"/>
                    </a:lnTo>
                    <a:lnTo>
                      <a:pt x="1134" y="968"/>
                    </a:lnTo>
                    <a:lnTo>
                      <a:pt x="1139" y="970"/>
                    </a:lnTo>
                    <a:lnTo>
                      <a:pt x="1142" y="968"/>
                    </a:lnTo>
                    <a:lnTo>
                      <a:pt x="1147" y="967"/>
                    </a:lnTo>
                    <a:lnTo>
                      <a:pt x="1152" y="962"/>
                    </a:lnTo>
                    <a:lnTo>
                      <a:pt x="1156" y="958"/>
                    </a:lnTo>
                    <a:lnTo>
                      <a:pt x="1156" y="957"/>
                    </a:lnTo>
                    <a:lnTo>
                      <a:pt x="1157" y="957"/>
                    </a:lnTo>
                    <a:lnTo>
                      <a:pt x="1159" y="958"/>
                    </a:lnTo>
                    <a:lnTo>
                      <a:pt x="1161" y="957"/>
                    </a:lnTo>
                    <a:lnTo>
                      <a:pt x="1164" y="953"/>
                    </a:lnTo>
                    <a:lnTo>
                      <a:pt x="1167" y="952"/>
                    </a:lnTo>
                    <a:lnTo>
                      <a:pt x="1166" y="947"/>
                    </a:lnTo>
                    <a:lnTo>
                      <a:pt x="1166" y="943"/>
                    </a:lnTo>
                    <a:lnTo>
                      <a:pt x="1166" y="940"/>
                    </a:lnTo>
                    <a:lnTo>
                      <a:pt x="1164" y="937"/>
                    </a:lnTo>
                    <a:lnTo>
                      <a:pt x="1167" y="940"/>
                    </a:lnTo>
                    <a:lnTo>
                      <a:pt x="1172" y="942"/>
                    </a:lnTo>
                    <a:lnTo>
                      <a:pt x="1174" y="945"/>
                    </a:lnTo>
                    <a:lnTo>
                      <a:pt x="1179" y="950"/>
                    </a:lnTo>
                    <a:lnTo>
                      <a:pt x="1182" y="948"/>
                    </a:lnTo>
                    <a:lnTo>
                      <a:pt x="1179" y="952"/>
                    </a:lnTo>
                    <a:lnTo>
                      <a:pt x="1176" y="953"/>
                    </a:lnTo>
                    <a:lnTo>
                      <a:pt x="1177" y="955"/>
                    </a:lnTo>
                    <a:lnTo>
                      <a:pt x="1186" y="952"/>
                    </a:lnTo>
                    <a:lnTo>
                      <a:pt x="1186" y="947"/>
                    </a:lnTo>
                    <a:lnTo>
                      <a:pt x="1191" y="945"/>
                    </a:lnTo>
                    <a:lnTo>
                      <a:pt x="1192" y="943"/>
                    </a:lnTo>
                    <a:lnTo>
                      <a:pt x="1196" y="945"/>
                    </a:lnTo>
                    <a:lnTo>
                      <a:pt x="1201" y="945"/>
                    </a:lnTo>
                    <a:lnTo>
                      <a:pt x="1201" y="942"/>
                    </a:lnTo>
                    <a:lnTo>
                      <a:pt x="1204" y="942"/>
                    </a:lnTo>
                    <a:lnTo>
                      <a:pt x="1206" y="938"/>
                    </a:lnTo>
                    <a:lnTo>
                      <a:pt x="1207" y="942"/>
                    </a:lnTo>
                    <a:lnTo>
                      <a:pt x="1211" y="945"/>
                    </a:lnTo>
                    <a:lnTo>
                      <a:pt x="1214" y="943"/>
                    </a:lnTo>
                    <a:lnTo>
                      <a:pt x="1214" y="940"/>
                    </a:lnTo>
                    <a:lnTo>
                      <a:pt x="1217" y="940"/>
                    </a:lnTo>
                    <a:lnTo>
                      <a:pt x="1217" y="940"/>
                    </a:lnTo>
                    <a:lnTo>
                      <a:pt x="1221" y="940"/>
                    </a:lnTo>
                    <a:lnTo>
                      <a:pt x="1222" y="938"/>
                    </a:lnTo>
                    <a:lnTo>
                      <a:pt x="1227" y="938"/>
                    </a:lnTo>
                    <a:lnTo>
                      <a:pt x="1230" y="935"/>
                    </a:lnTo>
                    <a:lnTo>
                      <a:pt x="1232" y="933"/>
                    </a:lnTo>
                    <a:lnTo>
                      <a:pt x="1232" y="937"/>
                    </a:lnTo>
                    <a:lnTo>
                      <a:pt x="1234" y="933"/>
                    </a:lnTo>
                    <a:lnTo>
                      <a:pt x="1237" y="935"/>
                    </a:lnTo>
                    <a:lnTo>
                      <a:pt x="1240" y="933"/>
                    </a:lnTo>
                    <a:lnTo>
                      <a:pt x="1239" y="930"/>
                    </a:lnTo>
                    <a:lnTo>
                      <a:pt x="1240" y="927"/>
                    </a:lnTo>
                    <a:lnTo>
                      <a:pt x="1242" y="923"/>
                    </a:lnTo>
                    <a:lnTo>
                      <a:pt x="1240" y="918"/>
                    </a:lnTo>
                    <a:lnTo>
                      <a:pt x="1244" y="918"/>
                    </a:lnTo>
                    <a:lnTo>
                      <a:pt x="1245" y="917"/>
                    </a:lnTo>
                    <a:lnTo>
                      <a:pt x="1250" y="917"/>
                    </a:lnTo>
                    <a:lnTo>
                      <a:pt x="1252" y="918"/>
                    </a:lnTo>
                    <a:lnTo>
                      <a:pt x="1255" y="918"/>
                    </a:lnTo>
                    <a:lnTo>
                      <a:pt x="1257" y="913"/>
                    </a:lnTo>
                    <a:lnTo>
                      <a:pt x="1259" y="913"/>
                    </a:lnTo>
                    <a:lnTo>
                      <a:pt x="1260" y="910"/>
                    </a:lnTo>
                    <a:lnTo>
                      <a:pt x="1262" y="908"/>
                    </a:lnTo>
                    <a:lnTo>
                      <a:pt x="1262" y="912"/>
                    </a:lnTo>
                    <a:lnTo>
                      <a:pt x="1264" y="910"/>
                    </a:lnTo>
                    <a:lnTo>
                      <a:pt x="1267" y="907"/>
                    </a:lnTo>
                    <a:lnTo>
                      <a:pt x="1270" y="908"/>
                    </a:lnTo>
                    <a:lnTo>
                      <a:pt x="1270" y="905"/>
                    </a:lnTo>
                    <a:lnTo>
                      <a:pt x="1274" y="905"/>
                    </a:lnTo>
                    <a:lnTo>
                      <a:pt x="1275" y="900"/>
                    </a:lnTo>
                    <a:lnTo>
                      <a:pt x="1270" y="900"/>
                    </a:lnTo>
                    <a:lnTo>
                      <a:pt x="1267" y="902"/>
                    </a:lnTo>
                    <a:lnTo>
                      <a:pt x="1262" y="897"/>
                    </a:lnTo>
                    <a:lnTo>
                      <a:pt x="1269" y="897"/>
                    </a:lnTo>
                    <a:lnTo>
                      <a:pt x="1274" y="892"/>
                    </a:lnTo>
                    <a:lnTo>
                      <a:pt x="1275" y="894"/>
                    </a:lnTo>
                    <a:lnTo>
                      <a:pt x="1277" y="892"/>
                    </a:lnTo>
                    <a:lnTo>
                      <a:pt x="1284" y="895"/>
                    </a:lnTo>
                    <a:lnTo>
                      <a:pt x="1285" y="890"/>
                    </a:lnTo>
                    <a:lnTo>
                      <a:pt x="1282" y="890"/>
                    </a:lnTo>
                    <a:lnTo>
                      <a:pt x="1280" y="887"/>
                    </a:lnTo>
                    <a:lnTo>
                      <a:pt x="1280" y="885"/>
                    </a:lnTo>
                    <a:lnTo>
                      <a:pt x="1285" y="887"/>
                    </a:lnTo>
                    <a:lnTo>
                      <a:pt x="1289" y="885"/>
                    </a:lnTo>
                    <a:lnTo>
                      <a:pt x="1289" y="884"/>
                    </a:lnTo>
                    <a:lnTo>
                      <a:pt x="1285" y="884"/>
                    </a:lnTo>
                    <a:lnTo>
                      <a:pt x="1284" y="880"/>
                    </a:lnTo>
                    <a:lnTo>
                      <a:pt x="1282" y="877"/>
                    </a:lnTo>
                    <a:lnTo>
                      <a:pt x="1285" y="877"/>
                    </a:lnTo>
                    <a:lnTo>
                      <a:pt x="1287" y="879"/>
                    </a:lnTo>
                    <a:lnTo>
                      <a:pt x="1289" y="879"/>
                    </a:lnTo>
                    <a:lnTo>
                      <a:pt x="1290" y="882"/>
                    </a:lnTo>
                    <a:lnTo>
                      <a:pt x="1290" y="877"/>
                    </a:lnTo>
                    <a:lnTo>
                      <a:pt x="1287" y="875"/>
                    </a:lnTo>
                    <a:lnTo>
                      <a:pt x="1287" y="872"/>
                    </a:lnTo>
                    <a:lnTo>
                      <a:pt x="1290" y="872"/>
                    </a:lnTo>
                    <a:lnTo>
                      <a:pt x="1292" y="869"/>
                    </a:lnTo>
                    <a:lnTo>
                      <a:pt x="1295" y="872"/>
                    </a:lnTo>
                    <a:lnTo>
                      <a:pt x="1295" y="875"/>
                    </a:lnTo>
                    <a:lnTo>
                      <a:pt x="1297" y="875"/>
                    </a:lnTo>
                    <a:lnTo>
                      <a:pt x="1300" y="879"/>
                    </a:lnTo>
                    <a:lnTo>
                      <a:pt x="1300" y="874"/>
                    </a:lnTo>
                    <a:lnTo>
                      <a:pt x="1299" y="870"/>
                    </a:lnTo>
                    <a:lnTo>
                      <a:pt x="1297" y="870"/>
                    </a:lnTo>
                    <a:lnTo>
                      <a:pt x="1295" y="867"/>
                    </a:lnTo>
                    <a:lnTo>
                      <a:pt x="1299" y="867"/>
                    </a:lnTo>
                    <a:lnTo>
                      <a:pt x="1299" y="864"/>
                    </a:lnTo>
                    <a:lnTo>
                      <a:pt x="1295" y="862"/>
                    </a:lnTo>
                    <a:lnTo>
                      <a:pt x="1300" y="859"/>
                    </a:lnTo>
                    <a:lnTo>
                      <a:pt x="1299" y="855"/>
                    </a:lnTo>
                    <a:lnTo>
                      <a:pt x="1294" y="855"/>
                    </a:lnTo>
                    <a:lnTo>
                      <a:pt x="1292" y="857"/>
                    </a:lnTo>
                    <a:lnTo>
                      <a:pt x="1294" y="854"/>
                    </a:lnTo>
                    <a:lnTo>
                      <a:pt x="1299" y="850"/>
                    </a:lnTo>
                    <a:lnTo>
                      <a:pt x="1307" y="849"/>
                    </a:lnTo>
                    <a:lnTo>
                      <a:pt x="1304" y="845"/>
                    </a:lnTo>
                    <a:lnTo>
                      <a:pt x="1300" y="849"/>
                    </a:lnTo>
                    <a:lnTo>
                      <a:pt x="1295" y="844"/>
                    </a:lnTo>
                    <a:lnTo>
                      <a:pt x="1300" y="844"/>
                    </a:lnTo>
                    <a:lnTo>
                      <a:pt x="1297" y="839"/>
                    </a:lnTo>
                    <a:lnTo>
                      <a:pt x="1294" y="839"/>
                    </a:lnTo>
                    <a:lnTo>
                      <a:pt x="1295" y="837"/>
                    </a:lnTo>
                    <a:lnTo>
                      <a:pt x="1294" y="835"/>
                    </a:lnTo>
                    <a:lnTo>
                      <a:pt x="1297" y="835"/>
                    </a:lnTo>
                    <a:lnTo>
                      <a:pt x="1297" y="832"/>
                    </a:lnTo>
                    <a:lnTo>
                      <a:pt x="1299" y="832"/>
                    </a:lnTo>
                    <a:lnTo>
                      <a:pt x="1302" y="832"/>
                    </a:lnTo>
                    <a:lnTo>
                      <a:pt x="1302" y="835"/>
                    </a:lnTo>
                    <a:lnTo>
                      <a:pt x="1305" y="835"/>
                    </a:lnTo>
                    <a:lnTo>
                      <a:pt x="1310" y="830"/>
                    </a:lnTo>
                    <a:lnTo>
                      <a:pt x="1310" y="827"/>
                    </a:lnTo>
                    <a:lnTo>
                      <a:pt x="1317" y="827"/>
                    </a:lnTo>
                    <a:lnTo>
                      <a:pt x="1314" y="824"/>
                    </a:lnTo>
                    <a:lnTo>
                      <a:pt x="1309" y="824"/>
                    </a:lnTo>
                    <a:lnTo>
                      <a:pt x="1310" y="820"/>
                    </a:lnTo>
                    <a:lnTo>
                      <a:pt x="1314" y="824"/>
                    </a:lnTo>
                    <a:lnTo>
                      <a:pt x="1319" y="822"/>
                    </a:lnTo>
                    <a:lnTo>
                      <a:pt x="1317" y="817"/>
                    </a:lnTo>
                    <a:lnTo>
                      <a:pt x="1319" y="815"/>
                    </a:lnTo>
                    <a:lnTo>
                      <a:pt x="1317" y="814"/>
                    </a:lnTo>
                    <a:lnTo>
                      <a:pt x="1317" y="810"/>
                    </a:lnTo>
                    <a:lnTo>
                      <a:pt x="1320" y="809"/>
                    </a:lnTo>
                    <a:lnTo>
                      <a:pt x="1319" y="805"/>
                    </a:lnTo>
                    <a:lnTo>
                      <a:pt x="1319" y="804"/>
                    </a:lnTo>
                    <a:lnTo>
                      <a:pt x="1314" y="802"/>
                    </a:lnTo>
                    <a:lnTo>
                      <a:pt x="1320" y="804"/>
                    </a:lnTo>
                    <a:lnTo>
                      <a:pt x="1323" y="802"/>
                    </a:lnTo>
                    <a:lnTo>
                      <a:pt x="1327" y="794"/>
                    </a:lnTo>
                    <a:lnTo>
                      <a:pt x="1330" y="794"/>
                    </a:lnTo>
                    <a:lnTo>
                      <a:pt x="1332" y="797"/>
                    </a:lnTo>
                    <a:lnTo>
                      <a:pt x="1333" y="799"/>
                    </a:lnTo>
                    <a:lnTo>
                      <a:pt x="1333" y="794"/>
                    </a:lnTo>
                    <a:lnTo>
                      <a:pt x="1337" y="792"/>
                    </a:lnTo>
                    <a:lnTo>
                      <a:pt x="1335" y="787"/>
                    </a:lnTo>
                    <a:lnTo>
                      <a:pt x="1330" y="787"/>
                    </a:lnTo>
                    <a:lnTo>
                      <a:pt x="1328" y="786"/>
                    </a:lnTo>
                    <a:lnTo>
                      <a:pt x="1330" y="784"/>
                    </a:lnTo>
                    <a:lnTo>
                      <a:pt x="1333" y="786"/>
                    </a:lnTo>
                    <a:lnTo>
                      <a:pt x="1335" y="782"/>
                    </a:lnTo>
                    <a:lnTo>
                      <a:pt x="1333" y="781"/>
                    </a:lnTo>
                    <a:lnTo>
                      <a:pt x="1330" y="779"/>
                    </a:lnTo>
                    <a:lnTo>
                      <a:pt x="1333" y="776"/>
                    </a:lnTo>
                    <a:lnTo>
                      <a:pt x="1335" y="777"/>
                    </a:lnTo>
                    <a:lnTo>
                      <a:pt x="1337" y="774"/>
                    </a:lnTo>
                    <a:lnTo>
                      <a:pt x="1333" y="772"/>
                    </a:lnTo>
                    <a:lnTo>
                      <a:pt x="1325" y="772"/>
                    </a:lnTo>
                    <a:lnTo>
                      <a:pt x="1327" y="771"/>
                    </a:lnTo>
                    <a:lnTo>
                      <a:pt x="1332" y="767"/>
                    </a:lnTo>
                    <a:lnTo>
                      <a:pt x="1335" y="767"/>
                    </a:lnTo>
                    <a:lnTo>
                      <a:pt x="1337" y="767"/>
                    </a:lnTo>
                    <a:lnTo>
                      <a:pt x="1338" y="764"/>
                    </a:lnTo>
                    <a:lnTo>
                      <a:pt x="1342" y="766"/>
                    </a:lnTo>
                    <a:lnTo>
                      <a:pt x="1342" y="767"/>
                    </a:lnTo>
                    <a:lnTo>
                      <a:pt x="1345" y="766"/>
                    </a:lnTo>
                    <a:lnTo>
                      <a:pt x="1343" y="762"/>
                    </a:lnTo>
                    <a:lnTo>
                      <a:pt x="1342" y="756"/>
                    </a:lnTo>
                    <a:lnTo>
                      <a:pt x="1340" y="756"/>
                    </a:lnTo>
                    <a:lnTo>
                      <a:pt x="1337" y="757"/>
                    </a:lnTo>
                    <a:lnTo>
                      <a:pt x="1337" y="759"/>
                    </a:lnTo>
                    <a:lnTo>
                      <a:pt x="1337" y="761"/>
                    </a:lnTo>
                    <a:lnTo>
                      <a:pt x="1332" y="759"/>
                    </a:lnTo>
                    <a:lnTo>
                      <a:pt x="1327" y="764"/>
                    </a:lnTo>
                    <a:lnTo>
                      <a:pt x="1323" y="764"/>
                    </a:lnTo>
                    <a:lnTo>
                      <a:pt x="1323" y="761"/>
                    </a:lnTo>
                    <a:lnTo>
                      <a:pt x="1330" y="759"/>
                    </a:lnTo>
                    <a:lnTo>
                      <a:pt x="1340" y="749"/>
                    </a:lnTo>
                    <a:lnTo>
                      <a:pt x="1340" y="749"/>
                    </a:lnTo>
                    <a:lnTo>
                      <a:pt x="1335" y="749"/>
                    </a:lnTo>
                    <a:lnTo>
                      <a:pt x="1333" y="746"/>
                    </a:lnTo>
                    <a:lnTo>
                      <a:pt x="1332" y="747"/>
                    </a:lnTo>
                    <a:lnTo>
                      <a:pt x="1323" y="739"/>
                    </a:lnTo>
                    <a:lnTo>
                      <a:pt x="1319" y="737"/>
                    </a:lnTo>
                    <a:lnTo>
                      <a:pt x="1310" y="744"/>
                    </a:lnTo>
                    <a:lnTo>
                      <a:pt x="1307" y="742"/>
                    </a:lnTo>
                    <a:lnTo>
                      <a:pt x="1302" y="736"/>
                    </a:lnTo>
                    <a:lnTo>
                      <a:pt x="1297" y="737"/>
                    </a:lnTo>
                    <a:lnTo>
                      <a:pt x="1292" y="741"/>
                    </a:lnTo>
                    <a:lnTo>
                      <a:pt x="1290" y="744"/>
                    </a:lnTo>
                    <a:lnTo>
                      <a:pt x="1290" y="739"/>
                    </a:lnTo>
                    <a:lnTo>
                      <a:pt x="1297" y="736"/>
                    </a:lnTo>
                    <a:lnTo>
                      <a:pt x="1300" y="736"/>
                    </a:lnTo>
                    <a:lnTo>
                      <a:pt x="1302" y="734"/>
                    </a:lnTo>
                    <a:lnTo>
                      <a:pt x="1309" y="736"/>
                    </a:lnTo>
                    <a:lnTo>
                      <a:pt x="1314" y="734"/>
                    </a:lnTo>
                    <a:lnTo>
                      <a:pt x="1314" y="731"/>
                    </a:lnTo>
                    <a:lnTo>
                      <a:pt x="1315" y="729"/>
                    </a:lnTo>
                    <a:lnTo>
                      <a:pt x="1319" y="729"/>
                    </a:lnTo>
                    <a:lnTo>
                      <a:pt x="1323" y="722"/>
                    </a:lnTo>
                    <a:lnTo>
                      <a:pt x="1330" y="722"/>
                    </a:lnTo>
                    <a:lnTo>
                      <a:pt x="1330" y="719"/>
                    </a:lnTo>
                    <a:lnTo>
                      <a:pt x="1325" y="711"/>
                    </a:lnTo>
                    <a:lnTo>
                      <a:pt x="1312" y="704"/>
                    </a:lnTo>
                    <a:lnTo>
                      <a:pt x="1305" y="699"/>
                    </a:lnTo>
                    <a:lnTo>
                      <a:pt x="1295" y="691"/>
                    </a:lnTo>
                    <a:lnTo>
                      <a:pt x="1290" y="691"/>
                    </a:lnTo>
                    <a:lnTo>
                      <a:pt x="1282" y="696"/>
                    </a:lnTo>
                    <a:lnTo>
                      <a:pt x="1279" y="694"/>
                    </a:lnTo>
                    <a:lnTo>
                      <a:pt x="1272" y="689"/>
                    </a:lnTo>
                    <a:lnTo>
                      <a:pt x="1272" y="688"/>
                    </a:lnTo>
                    <a:lnTo>
                      <a:pt x="1269" y="686"/>
                    </a:lnTo>
                    <a:lnTo>
                      <a:pt x="1264" y="688"/>
                    </a:lnTo>
                    <a:lnTo>
                      <a:pt x="1257" y="688"/>
                    </a:lnTo>
                    <a:lnTo>
                      <a:pt x="1252" y="689"/>
                    </a:lnTo>
                    <a:lnTo>
                      <a:pt x="1245" y="698"/>
                    </a:lnTo>
                    <a:lnTo>
                      <a:pt x="1252" y="688"/>
                    </a:lnTo>
                    <a:lnTo>
                      <a:pt x="1255" y="684"/>
                    </a:lnTo>
                    <a:lnTo>
                      <a:pt x="1259" y="686"/>
                    </a:lnTo>
                    <a:lnTo>
                      <a:pt x="1262" y="686"/>
                    </a:lnTo>
                    <a:lnTo>
                      <a:pt x="1264" y="684"/>
                    </a:lnTo>
                    <a:lnTo>
                      <a:pt x="1267" y="686"/>
                    </a:lnTo>
                    <a:lnTo>
                      <a:pt x="1274" y="683"/>
                    </a:lnTo>
                    <a:lnTo>
                      <a:pt x="1275" y="689"/>
                    </a:lnTo>
                    <a:lnTo>
                      <a:pt x="1279" y="693"/>
                    </a:lnTo>
                    <a:lnTo>
                      <a:pt x="1284" y="693"/>
                    </a:lnTo>
                    <a:lnTo>
                      <a:pt x="1287" y="689"/>
                    </a:lnTo>
                    <a:lnTo>
                      <a:pt x="1295" y="689"/>
                    </a:lnTo>
                    <a:lnTo>
                      <a:pt x="1300" y="693"/>
                    </a:lnTo>
                    <a:lnTo>
                      <a:pt x="1304" y="693"/>
                    </a:lnTo>
                    <a:lnTo>
                      <a:pt x="1309" y="698"/>
                    </a:lnTo>
                    <a:lnTo>
                      <a:pt x="1315" y="694"/>
                    </a:lnTo>
                    <a:lnTo>
                      <a:pt x="1325" y="698"/>
                    </a:lnTo>
                    <a:lnTo>
                      <a:pt x="1328" y="696"/>
                    </a:lnTo>
                    <a:lnTo>
                      <a:pt x="1325" y="689"/>
                    </a:lnTo>
                    <a:lnTo>
                      <a:pt x="1322" y="688"/>
                    </a:lnTo>
                    <a:lnTo>
                      <a:pt x="1315" y="683"/>
                    </a:lnTo>
                    <a:lnTo>
                      <a:pt x="1315" y="681"/>
                    </a:lnTo>
                    <a:lnTo>
                      <a:pt x="1314" y="678"/>
                    </a:lnTo>
                    <a:lnTo>
                      <a:pt x="1309" y="679"/>
                    </a:lnTo>
                    <a:lnTo>
                      <a:pt x="1304" y="678"/>
                    </a:lnTo>
                    <a:lnTo>
                      <a:pt x="1297" y="669"/>
                    </a:lnTo>
                    <a:lnTo>
                      <a:pt x="1297" y="663"/>
                    </a:lnTo>
                    <a:lnTo>
                      <a:pt x="1289" y="656"/>
                    </a:lnTo>
                    <a:lnTo>
                      <a:pt x="1287" y="649"/>
                    </a:lnTo>
                    <a:lnTo>
                      <a:pt x="1282" y="648"/>
                    </a:lnTo>
                    <a:lnTo>
                      <a:pt x="1285" y="643"/>
                    </a:lnTo>
                    <a:lnTo>
                      <a:pt x="1284" y="643"/>
                    </a:lnTo>
                    <a:lnTo>
                      <a:pt x="1275" y="629"/>
                    </a:lnTo>
                    <a:lnTo>
                      <a:pt x="1262" y="623"/>
                    </a:lnTo>
                    <a:lnTo>
                      <a:pt x="1259" y="624"/>
                    </a:lnTo>
                    <a:lnTo>
                      <a:pt x="1259" y="621"/>
                    </a:lnTo>
                    <a:lnTo>
                      <a:pt x="1247" y="616"/>
                    </a:lnTo>
                    <a:lnTo>
                      <a:pt x="1245" y="616"/>
                    </a:lnTo>
                    <a:lnTo>
                      <a:pt x="1245" y="606"/>
                    </a:lnTo>
                    <a:lnTo>
                      <a:pt x="1247" y="598"/>
                    </a:lnTo>
                    <a:lnTo>
                      <a:pt x="1245" y="593"/>
                    </a:lnTo>
                    <a:lnTo>
                      <a:pt x="1245" y="586"/>
                    </a:lnTo>
                    <a:lnTo>
                      <a:pt x="1247" y="588"/>
                    </a:lnTo>
                    <a:lnTo>
                      <a:pt x="1250" y="586"/>
                    </a:lnTo>
                    <a:lnTo>
                      <a:pt x="1255" y="580"/>
                    </a:lnTo>
                    <a:lnTo>
                      <a:pt x="1259" y="581"/>
                    </a:lnTo>
                    <a:lnTo>
                      <a:pt x="1262" y="576"/>
                    </a:lnTo>
                    <a:lnTo>
                      <a:pt x="1257" y="575"/>
                    </a:lnTo>
                    <a:lnTo>
                      <a:pt x="1255" y="571"/>
                    </a:lnTo>
                    <a:lnTo>
                      <a:pt x="1259" y="568"/>
                    </a:lnTo>
                    <a:lnTo>
                      <a:pt x="1267" y="568"/>
                    </a:lnTo>
                    <a:lnTo>
                      <a:pt x="1267" y="563"/>
                    </a:lnTo>
                    <a:lnTo>
                      <a:pt x="1274" y="563"/>
                    </a:lnTo>
                    <a:lnTo>
                      <a:pt x="1272" y="560"/>
                    </a:lnTo>
                    <a:lnTo>
                      <a:pt x="1267" y="556"/>
                    </a:lnTo>
                    <a:lnTo>
                      <a:pt x="1272" y="555"/>
                    </a:lnTo>
                    <a:lnTo>
                      <a:pt x="1277" y="558"/>
                    </a:lnTo>
                    <a:lnTo>
                      <a:pt x="1277" y="556"/>
                    </a:lnTo>
                    <a:lnTo>
                      <a:pt x="1282" y="556"/>
                    </a:lnTo>
                    <a:lnTo>
                      <a:pt x="1287" y="553"/>
                    </a:lnTo>
                    <a:lnTo>
                      <a:pt x="1289" y="553"/>
                    </a:lnTo>
                    <a:lnTo>
                      <a:pt x="1295" y="546"/>
                    </a:lnTo>
                    <a:lnTo>
                      <a:pt x="1297" y="550"/>
                    </a:lnTo>
                    <a:lnTo>
                      <a:pt x="1299" y="546"/>
                    </a:lnTo>
                    <a:lnTo>
                      <a:pt x="1299" y="548"/>
                    </a:lnTo>
                    <a:lnTo>
                      <a:pt x="1305" y="553"/>
                    </a:lnTo>
                    <a:lnTo>
                      <a:pt x="1310" y="548"/>
                    </a:lnTo>
                    <a:lnTo>
                      <a:pt x="1310" y="546"/>
                    </a:lnTo>
                    <a:lnTo>
                      <a:pt x="1307" y="545"/>
                    </a:lnTo>
                    <a:lnTo>
                      <a:pt x="1307" y="540"/>
                    </a:lnTo>
                    <a:lnTo>
                      <a:pt x="1310" y="540"/>
                    </a:lnTo>
                    <a:lnTo>
                      <a:pt x="1312" y="540"/>
                    </a:lnTo>
                    <a:lnTo>
                      <a:pt x="1309" y="535"/>
                    </a:lnTo>
                    <a:lnTo>
                      <a:pt x="1309" y="531"/>
                    </a:lnTo>
                    <a:lnTo>
                      <a:pt x="1314" y="530"/>
                    </a:lnTo>
                    <a:lnTo>
                      <a:pt x="1310" y="528"/>
                    </a:lnTo>
                    <a:lnTo>
                      <a:pt x="1305" y="530"/>
                    </a:lnTo>
                    <a:lnTo>
                      <a:pt x="1299" y="530"/>
                    </a:lnTo>
                    <a:lnTo>
                      <a:pt x="1299" y="528"/>
                    </a:lnTo>
                    <a:lnTo>
                      <a:pt x="1294" y="528"/>
                    </a:lnTo>
                    <a:lnTo>
                      <a:pt x="1292" y="530"/>
                    </a:lnTo>
                    <a:lnTo>
                      <a:pt x="1275" y="530"/>
                    </a:lnTo>
                    <a:lnTo>
                      <a:pt x="1274" y="528"/>
                    </a:lnTo>
                    <a:lnTo>
                      <a:pt x="1270" y="526"/>
                    </a:lnTo>
                    <a:lnTo>
                      <a:pt x="1267" y="523"/>
                    </a:lnTo>
                    <a:lnTo>
                      <a:pt x="1264" y="521"/>
                    </a:lnTo>
                    <a:lnTo>
                      <a:pt x="1264" y="520"/>
                    </a:lnTo>
                    <a:lnTo>
                      <a:pt x="1252" y="525"/>
                    </a:lnTo>
                    <a:lnTo>
                      <a:pt x="1245" y="525"/>
                    </a:lnTo>
                    <a:lnTo>
                      <a:pt x="1249" y="526"/>
                    </a:lnTo>
                    <a:lnTo>
                      <a:pt x="1249" y="530"/>
                    </a:lnTo>
                    <a:lnTo>
                      <a:pt x="1245" y="533"/>
                    </a:lnTo>
                    <a:lnTo>
                      <a:pt x="1239" y="535"/>
                    </a:lnTo>
                    <a:lnTo>
                      <a:pt x="1239" y="536"/>
                    </a:lnTo>
                    <a:lnTo>
                      <a:pt x="1242" y="538"/>
                    </a:lnTo>
                    <a:lnTo>
                      <a:pt x="1239" y="543"/>
                    </a:lnTo>
                    <a:lnTo>
                      <a:pt x="1237" y="545"/>
                    </a:lnTo>
                    <a:lnTo>
                      <a:pt x="1232" y="543"/>
                    </a:lnTo>
                    <a:lnTo>
                      <a:pt x="1227" y="545"/>
                    </a:lnTo>
                    <a:lnTo>
                      <a:pt x="1221" y="545"/>
                    </a:lnTo>
                    <a:lnTo>
                      <a:pt x="1214" y="533"/>
                    </a:lnTo>
                    <a:lnTo>
                      <a:pt x="1214" y="528"/>
                    </a:lnTo>
                    <a:lnTo>
                      <a:pt x="1214" y="523"/>
                    </a:lnTo>
                    <a:lnTo>
                      <a:pt x="1207" y="523"/>
                    </a:lnTo>
                    <a:lnTo>
                      <a:pt x="1204" y="525"/>
                    </a:lnTo>
                    <a:lnTo>
                      <a:pt x="1204" y="523"/>
                    </a:lnTo>
                    <a:lnTo>
                      <a:pt x="1201" y="523"/>
                    </a:lnTo>
                    <a:lnTo>
                      <a:pt x="1199" y="525"/>
                    </a:lnTo>
                    <a:lnTo>
                      <a:pt x="1197" y="523"/>
                    </a:lnTo>
                    <a:lnTo>
                      <a:pt x="1197" y="525"/>
                    </a:lnTo>
                    <a:lnTo>
                      <a:pt x="1194" y="520"/>
                    </a:lnTo>
                    <a:lnTo>
                      <a:pt x="1192" y="516"/>
                    </a:lnTo>
                    <a:lnTo>
                      <a:pt x="1184" y="511"/>
                    </a:lnTo>
                    <a:lnTo>
                      <a:pt x="1179" y="510"/>
                    </a:lnTo>
                    <a:lnTo>
                      <a:pt x="1179" y="505"/>
                    </a:lnTo>
                    <a:lnTo>
                      <a:pt x="1177" y="500"/>
                    </a:lnTo>
                    <a:lnTo>
                      <a:pt x="1179" y="498"/>
                    </a:lnTo>
                    <a:lnTo>
                      <a:pt x="1179" y="495"/>
                    </a:lnTo>
                    <a:lnTo>
                      <a:pt x="1179" y="493"/>
                    </a:lnTo>
                    <a:lnTo>
                      <a:pt x="1181" y="488"/>
                    </a:lnTo>
                    <a:lnTo>
                      <a:pt x="1182" y="487"/>
                    </a:lnTo>
                    <a:lnTo>
                      <a:pt x="1184" y="485"/>
                    </a:lnTo>
                    <a:lnTo>
                      <a:pt x="1192" y="487"/>
                    </a:lnTo>
                    <a:lnTo>
                      <a:pt x="1201" y="487"/>
                    </a:lnTo>
                    <a:lnTo>
                      <a:pt x="1207" y="487"/>
                    </a:lnTo>
                    <a:lnTo>
                      <a:pt x="1209" y="482"/>
                    </a:lnTo>
                    <a:lnTo>
                      <a:pt x="1207" y="480"/>
                    </a:lnTo>
                    <a:lnTo>
                      <a:pt x="1211" y="480"/>
                    </a:lnTo>
                    <a:lnTo>
                      <a:pt x="1211" y="475"/>
                    </a:lnTo>
                    <a:lnTo>
                      <a:pt x="1209" y="473"/>
                    </a:lnTo>
                    <a:lnTo>
                      <a:pt x="1211" y="472"/>
                    </a:lnTo>
                    <a:lnTo>
                      <a:pt x="1212" y="460"/>
                    </a:lnTo>
                    <a:lnTo>
                      <a:pt x="1222" y="455"/>
                    </a:lnTo>
                    <a:lnTo>
                      <a:pt x="1227" y="455"/>
                    </a:lnTo>
                    <a:lnTo>
                      <a:pt x="1230" y="450"/>
                    </a:lnTo>
                    <a:lnTo>
                      <a:pt x="1234" y="448"/>
                    </a:lnTo>
                    <a:lnTo>
                      <a:pt x="1234" y="440"/>
                    </a:lnTo>
                    <a:lnTo>
                      <a:pt x="1239" y="435"/>
                    </a:lnTo>
                    <a:lnTo>
                      <a:pt x="1239" y="430"/>
                    </a:lnTo>
                    <a:lnTo>
                      <a:pt x="1242" y="430"/>
                    </a:lnTo>
                    <a:lnTo>
                      <a:pt x="1245" y="425"/>
                    </a:lnTo>
                    <a:lnTo>
                      <a:pt x="1250" y="425"/>
                    </a:lnTo>
                    <a:lnTo>
                      <a:pt x="1252" y="425"/>
                    </a:lnTo>
                    <a:lnTo>
                      <a:pt x="1257" y="425"/>
                    </a:lnTo>
                    <a:lnTo>
                      <a:pt x="1259" y="422"/>
                    </a:lnTo>
                    <a:lnTo>
                      <a:pt x="1265" y="430"/>
                    </a:lnTo>
                    <a:lnTo>
                      <a:pt x="1277" y="435"/>
                    </a:lnTo>
                    <a:lnTo>
                      <a:pt x="1277" y="438"/>
                    </a:lnTo>
                    <a:lnTo>
                      <a:pt x="1274" y="440"/>
                    </a:lnTo>
                    <a:lnTo>
                      <a:pt x="1274" y="443"/>
                    </a:lnTo>
                    <a:lnTo>
                      <a:pt x="1269" y="450"/>
                    </a:lnTo>
                    <a:lnTo>
                      <a:pt x="1267" y="455"/>
                    </a:lnTo>
                    <a:lnTo>
                      <a:pt x="1262" y="455"/>
                    </a:lnTo>
                    <a:lnTo>
                      <a:pt x="1264" y="457"/>
                    </a:lnTo>
                    <a:lnTo>
                      <a:pt x="1262" y="463"/>
                    </a:lnTo>
                    <a:lnTo>
                      <a:pt x="1267" y="467"/>
                    </a:lnTo>
                    <a:lnTo>
                      <a:pt x="1267" y="470"/>
                    </a:lnTo>
                    <a:lnTo>
                      <a:pt x="1265" y="472"/>
                    </a:lnTo>
                    <a:lnTo>
                      <a:pt x="1265" y="473"/>
                    </a:lnTo>
                    <a:lnTo>
                      <a:pt x="1267" y="477"/>
                    </a:lnTo>
                    <a:lnTo>
                      <a:pt x="1272" y="475"/>
                    </a:lnTo>
                    <a:lnTo>
                      <a:pt x="1279" y="470"/>
                    </a:lnTo>
                    <a:lnTo>
                      <a:pt x="1277" y="475"/>
                    </a:lnTo>
                    <a:lnTo>
                      <a:pt x="1272" y="477"/>
                    </a:lnTo>
                    <a:lnTo>
                      <a:pt x="1272" y="480"/>
                    </a:lnTo>
                    <a:lnTo>
                      <a:pt x="1275" y="480"/>
                    </a:lnTo>
                    <a:lnTo>
                      <a:pt x="1274" y="482"/>
                    </a:lnTo>
                    <a:lnTo>
                      <a:pt x="1272" y="483"/>
                    </a:lnTo>
                    <a:lnTo>
                      <a:pt x="1267" y="483"/>
                    </a:lnTo>
                    <a:lnTo>
                      <a:pt x="1264" y="487"/>
                    </a:lnTo>
                    <a:lnTo>
                      <a:pt x="1260" y="487"/>
                    </a:lnTo>
                    <a:lnTo>
                      <a:pt x="1259" y="490"/>
                    </a:lnTo>
                    <a:lnTo>
                      <a:pt x="1262" y="492"/>
                    </a:lnTo>
                    <a:lnTo>
                      <a:pt x="1264" y="495"/>
                    </a:lnTo>
                    <a:lnTo>
                      <a:pt x="1265" y="495"/>
                    </a:lnTo>
                    <a:lnTo>
                      <a:pt x="1269" y="492"/>
                    </a:lnTo>
                    <a:lnTo>
                      <a:pt x="1272" y="492"/>
                    </a:lnTo>
                    <a:lnTo>
                      <a:pt x="1275" y="487"/>
                    </a:lnTo>
                    <a:lnTo>
                      <a:pt x="1282" y="483"/>
                    </a:lnTo>
                    <a:lnTo>
                      <a:pt x="1284" y="482"/>
                    </a:lnTo>
                    <a:lnTo>
                      <a:pt x="1282" y="478"/>
                    </a:lnTo>
                    <a:lnTo>
                      <a:pt x="1287" y="473"/>
                    </a:lnTo>
                    <a:lnTo>
                      <a:pt x="1299" y="467"/>
                    </a:lnTo>
                    <a:lnTo>
                      <a:pt x="1300" y="467"/>
                    </a:lnTo>
                    <a:lnTo>
                      <a:pt x="1302" y="462"/>
                    </a:lnTo>
                    <a:lnTo>
                      <a:pt x="1307" y="462"/>
                    </a:lnTo>
                    <a:lnTo>
                      <a:pt x="1314" y="458"/>
                    </a:lnTo>
                    <a:lnTo>
                      <a:pt x="1317" y="460"/>
                    </a:lnTo>
                    <a:lnTo>
                      <a:pt x="1319" y="458"/>
                    </a:lnTo>
                    <a:lnTo>
                      <a:pt x="1325" y="458"/>
                    </a:lnTo>
                    <a:lnTo>
                      <a:pt x="1332" y="452"/>
                    </a:lnTo>
                    <a:lnTo>
                      <a:pt x="1333" y="455"/>
                    </a:lnTo>
                    <a:lnTo>
                      <a:pt x="1333" y="455"/>
                    </a:lnTo>
                    <a:lnTo>
                      <a:pt x="1345" y="450"/>
                    </a:lnTo>
                    <a:lnTo>
                      <a:pt x="1417" y="405"/>
                    </a:lnTo>
                    <a:lnTo>
                      <a:pt x="1423" y="372"/>
                    </a:lnTo>
                    <a:lnTo>
                      <a:pt x="1443" y="357"/>
                    </a:lnTo>
                    <a:lnTo>
                      <a:pt x="1445" y="355"/>
                    </a:lnTo>
                    <a:lnTo>
                      <a:pt x="1445" y="352"/>
                    </a:lnTo>
                    <a:lnTo>
                      <a:pt x="1443" y="350"/>
                    </a:lnTo>
                    <a:lnTo>
                      <a:pt x="1441" y="347"/>
                    </a:lnTo>
                    <a:lnTo>
                      <a:pt x="1441" y="345"/>
                    </a:lnTo>
                    <a:lnTo>
                      <a:pt x="1445" y="344"/>
                    </a:lnTo>
                    <a:lnTo>
                      <a:pt x="1451" y="345"/>
                    </a:lnTo>
                    <a:lnTo>
                      <a:pt x="1451" y="344"/>
                    </a:lnTo>
                    <a:lnTo>
                      <a:pt x="1453" y="340"/>
                    </a:lnTo>
                    <a:lnTo>
                      <a:pt x="1451" y="339"/>
                    </a:lnTo>
                    <a:lnTo>
                      <a:pt x="1451" y="335"/>
                    </a:lnTo>
                    <a:lnTo>
                      <a:pt x="1453" y="334"/>
                    </a:lnTo>
                    <a:lnTo>
                      <a:pt x="1453" y="329"/>
                    </a:lnTo>
                    <a:lnTo>
                      <a:pt x="1453" y="325"/>
                    </a:lnTo>
                    <a:lnTo>
                      <a:pt x="1450" y="324"/>
                    </a:lnTo>
                    <a:lnTo>
                      <a:pt x="1450" y="315"/>
                    </a:lnTo>
                    <a:lnTo>
                      <a:pt x="1450" y="312"/>
                    </a:lnTo>
                    <a:lnTo>
                      <a:pt x="1448" y="307"/>
                    </a:lnTo>
                    <a:lnTo>
                      <a:pt x="1448" y="304"/>
                    </a:lnTo>
                    <a:lnTo>
                      <a:pt x="1446" y="299"/>
                    </a:lnTo>
                    <a:lnTo>
                      <a:pt x="1445" y="297"/>
                    </a:lnTo>
                    <a:lnTo>
                      <a:pt x="1443" y="294"/>
                    </a:lnTo>
                    <a:lnTo>
                      <a:pt x="1436" y="286"/>
                    </a:lnTo>
                    <a:lnTo>
                      <a:pt x="1435" y="282"/>
                    </a:lnTo>
                    <a:lnTo>
                      <a:pt x="1436" y="281"/>
                    </a:lnTo>
                    <a:lnTo>
                      <a:pt x="1440" y="279"/>
                    </a:lnTo>
                    <a:lnTo>
                      <a:pt x="1443" y="277"/>
                    </a:lnTo>
                    <a:lnTo>
                      <a:pt x="1445" y="276"/>
                    </a:lnTo>
                    <a:lnTo>
                      <a:pt x="1446" y="272"/>
                    </a:lnTo>
                    <a:lnTo>
                      <a:pt x="1450" y="266"/>
                    </a:lnTo>
                    <a:lnTo>
                      <a:pt x="1451" y="266"/>
                    </a:lnTo>
                    <a:lnTo>
                      <a:pt x="1456" y="267"/>
                    </a:lnTo>
                    <a:lnTo>
                      <a:pt x="1460" y="267"/>
                    </a:lnTo>
                    <a:lnTo>
                      <a:pt x="1475" y="271"/>
                    </a:lnTo>
                    <a:lnTo>
                      <a:pt x="1476" y="271"/>
                    </a:lnTo>
                    <a:lnTo>
                      <a:pt x="1480" y="271"/>
                    </a:lnTo>
                    <a:lnTo>
                      <a:pt x="1481" y="269"/>
                    </a:lnTo>
                    <a:lnTo>
                      <a:pt x="1481" y="266"/>
                    </a:lnTo>
                    <a:lnTo>
                      <a:pt x="1480" y="262"/>
                    </a:lnTo>
                    <a:lnTo>
                      <a:pt x="1480" y="261"/>
                    </a:lnTo>
                    <a:lnTo>
                      <a:pt x="1480" y="259"/>
                    </a:lnTo>
                    <a:lnTo>
                      <a:pt x="1480" y="257"/>
                    </a:lnTo>
                    <a:lnTo>
                      <a:pt x="1478" y="254"/>
                    </a:lnTo>
                    <a:lnTo>
                      <a:pt x="1480" y="251"/>
                    </a:lnTo>
                    <a:lnTo>
                      <a:pt x="1481" y="249"/>
                    </a:lnTo>
                    <a:lnTo>
                      <a:pt x="1481" y="246"/>
                    </a:lnTo>
                    <a:lnTo>
                      <a:pt x="1480" y="242"/>
                    </a:lnTo>
                    <a:lnTo>
                      <a:pt x="1481" y="241"/>
                    </a:lnTo>
                    <a:lnTo>
                      <a:pt x="1483" y="241"/>
                    </a:lnTo>
                    <a:lnTo>
                      <a:pt x="1483" y="237"/>
                    </a:lnTo>
                    <a:lnTo>
                      <a:pt x="1483" y="236"/>
                    </a:lnTo>
                    <a:lnTo>
                      <a:pt x="1481" y="232"/>
                    </a:lnTo>
                    <a:lnTo>
                      <a:pt x="1481" y="231"/>
                    </a:lnTo>
                    <a:lnTo>
                      <a:pt x="1485" y="229"/>
                    </a:lnTo>
                    <a:lnTo>
                      <a:pt x="1485" y="227"/>
                    </a:lnTo>
                    <a:lnTo>
                      <a:pt x="1483" y="224"/>
                    </a:lnTo>
                    <a:lnTo>
                      <a:pt x="1481" y="221"/>
                    </a:lnTo>
                    <a:lnTo>
                      <a:pt x="1481" y="214"/>
                    </a:lnTo>
                    <a:lnTo>
                      <a:pt x="1483" y="214"/>
                    </a:lnTo>
                    <a:lnTo>
                      <a:pt x="1483" y="214"/>
                    </a:lnTo>
                    <a:lnTo>
                      <a:pt x="1483" y="212"/>
                    </a:lnTo>
                    <a:lnTo>
                      <a:pt x="1483" y="211"/>
                    </a:lnTo>
                    <a:lnTo>
                      <a:pt x="1483" y="208"/>
                    </a:lnTo>
                    <a:lnTo>
                      <a:pt x="1480" y="206"/>
                    </a:lnTo>
                    <a:lnTo>
                      <a:pt x="1480" y="204"/>
                    </a:lnTo>
                    <a:lnTo>
                      <a:pt x="1480" y="201"/>
                    </a:lnTo>
                    <a:lnTo>
                      <a:pt x="1481" y="198"/>
                    </a:lnTo>
                    <a:lnTo>
                      <a:pt x="1480" y="196"/>
                    </a:lnTo>
                    <a:lnTo>
                      <a:pt x="1478" y="194"/>
                    </a:lnTo>
                    <a:lnTo>
                      <a:pt x="1478" y="193"/>
                    </a:lnTo>
                    <a:lnTo>
                      <a:pt x="1481" y="188"/>
                    </a:lnTo>
                    <a:lnTo>
                      <a:pt x="1485" y="188"/>
                    </a:lnTo>
                    <a:lnTo>
                      <a:pt x="1485" y="186"/>
                    </a:lnTo>
                    <a:lnTo>
                      <a:pt x="1486" y="183"/>
                    </a:lnTo>
                    <a:lnTo>
                      <a:pt x="1486" y="178"/>
                    </a:lnTo>
                    <a:lnTo>
                      <a:pt x="1483" y="1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244" name="Freeform 96">
                <a:extLst>
                  <a:ext uri="{FF2B5EF4-FFF2-40B4-BE49-F238E27FC236}">
                    <a16:creationId xmlns:a16="http://schemas.microsoft.com/office/drawing/2014/main" id="{F14706A5-C90A-874E-AF3B-4CFF80143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8313" y="2956363"/>
                <a:ext cx="23545" cy="48767"/>
              </a:xfrm>
              <a:custGeom>
                <a:avLst/>
                <a:gdLst/>
                <a:ahLst/>
                <a:cxnLst>
                  <a:cxn ang="0">
                    <a:pos x="38" y="6"/>
                  </a:cxn>
                  <a:cxn ang="0">
                    <a:pos x="36" y="6"/>
                  </a:cxn>
                  <a:cxn ang="0">
                    <a:pos x="35" y="1"/>
                  </a:cxn>
                  <a:cxn ang="0">
                    <a:pos x="30" y="0"/>
                  </a:cxn>
                  <a:cxn ang="0">
                    <a:pos x="26" y="1"/>
                  </a:cxn>
                  <a:cxn ang="0">
                    <a:pos x="26" y="5"/>
                  </a:cxn>
                  <a:cxn ang="0">
                    <a:pos x="21" y="6"/>
                  </a:cxn>
                  <a:cxn ang="0">
                    <a:pos x="16" y="11"/>
                  </a:cxn>
                  <a:cxn ang="0">
                    <a:pos x="11" y="20"/>
                  </a:cxn>
                  <a:cxn ang="0">
                    <a:pos x="13" y="21"/>
                  </a:cxn>
                  <a:cxn ang="0">
                    <a:pos x="11" y="25"/>
                  </a:cxn>
                  <a:cxn ang="0">
                    <a:pos x="10" y="26"/>
                  </a:cxn>
                  <a:cxn ang="0">
                    <a:pos x="5" y="34"/>
                  </a:cxn>
                  <a:cxn ang="0">
                    <a:pos x="1" y="43"/>
                  </a:cxn>
                  <a:cxn ang="0">
                    <a:pos x="0" y="44"/>
                  </a:cxn>
                  <a:cxn ang="0">
                    <a:pos x="1" y="46"/>
                  </a:cxn>
                  <a:cxn ang="0">
                    <a:pos x="1" y="54"/>
                  </a:cxn>
                  <a:cxn ang="0">
                    <a:pos x="3" y="63"/>
                  </a:cxn>
                  <a:cxn ang="0">
                    <a:pos x="5" y="64"/>
                  </a:cxn>
                  <a:cxn ang="0">
                    <a:pos x="6" y="68"/>
                  </a:cxn>
                  <a:cxn ang="0">
                    <a:pos x="5" y="68"/>
                  </a:cxn>
                  <a:cxn ang="0">
                    <a:pos x="5" y="71"/>
                  </a:cxn>
                  <a:cxn ang="0">
                    <a:pos x="8" y="74"/>
                  </a:cxn>
                  <a:cxn ang="0">
                    <a:pos x="10" y="74"/>
                  </a:cxn>
                  <a:cxn ang="0">
                    <a:pos x="11" y="78"/>
                  </a:cxn>
                  <a:cxn ang="0">
                    <a:pos x="18" y="79"/>
                  </a:cxn>
                  <a:cxn ang="0">
                    <a:pos x="21" y="84"/>
                  </a:cxn>
                  <a:cxn ang="0">
                    <a:pos x="21" y="89"/>
                  </a:cxn>
                  <a:cxn ang="0">
                    <a:pos x="21" y="93"/>
                  </a:cxn>
                  <a:cxn ang="0">
                    <a:pos x="25" y="91"/>
                  </a:cxn>
                  <a:cxn ang="0">
                    <a:pos x="28" y="93"/>
                  </a:cxn>
                  <a:cxn ang="0">
                    <a:pos x="26" y="88"/>
                  </a:cxn>
                  <a:cxn ang="0">
                    <a:pos x="28" y="83"/>
                  </a:cxn>
                  <a:cxn ang="0">
                    <a:pos x="26" y="76"/>
                  </a:cxn>
                  <a:cxn ang="0">
                    <a:pos x="30" y="73"/>
                  </a:cxn>
                  <a:cxn ang="0">
                    <a:pos x="36" y="63"/>
                  </a:cxn>
                  <a:cxn ang="0">
                    <a:pos x="36" y="58"/>
                  </a:cxn>
                  <a:cxn ang="0">
                    <a:pos x="38" y="56"/>
                  </a:cxn>
                  <a:cxn ang="0">
                    <a:pos x="35" y="56"/>
                  </a:cxn>
                  <a:cxn ang="0">
                    <a:pos x="36" y="48"/>
                  </a:cxn>
                  <a:cxn ang="0">
                    <a:pos x="38" y="41"/>
                  </a:cxn>
                  <a:cxn ang="0">
                    <a:pos x="36" y="34"/>
                  </a:cxn>
                  <a:cxn ang="0">
                    <a:pos x="40" y="31"/>
                  </a:cxn>
                  <a:cxn ang="0">
                    <a:pos x="40" y="20"/>
                  </a:cxn>
                  <a:cxn ang="0">
                    <a:pos x="41" y="13"/>
                  </a:cxn>
                  <a:cxn ang="0">
                    <a:pos x="43" y="13"/>
                  </a:cxn>
                  <a:cxn ang="0">
                    <a:pos x="43" y="10"/>
                  </a:cxn>
                  <a:cxn ang="0">
                    <a:pos x="38" y="6"/>
                  </a:cxn>
                </a:cxnLst>
                <a:rect l="0" t="0" r="r" b="b"/>
                <a:pathLst>
                  <a:path w="43" h="93">
                    <a:moveTo>
                      <a:pt x="38" y="6"/>
                    </a:moveTo>
                    <a:lnTo>
                      <a:pt x="36" y="6"/>
                    </a:lnTo>
                    <a:lnTo>
                      <a:pt x="35" y="1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6" y="5"/>
                    </a:lnTo>
                    <a:lnTo>
                      <a:pt x="21" y="6"/>
                    </a:lnTo>
                    <a:lnTo>
                      <a:pt x="16" y="11"/>
                    </a:lnTo>
                    <a:lnTo>
                      <a:pt x="11" y="20"/>
                    </a:lnTo>
                    <a:lnTo>
                      <a:pt x="13" y="21"/>
                    </a:lnTo>
                    <a:lnTo>
                      <a:pt x="11" y="25"/>
                    </a:lnTo>
                    <a:lnTo>
                      <a:pt x="10" y="26"/>
                    </a:lnTo>
                    <a:lnTo>
                      <a:pt x="5" y="34"/>
                    </a:lnTo>
                    <a:lnTo>
                      <a:pt x="1" y="43"/>
                    </a:lnTo>
                    <a:lnTo>
                      <a:pt x="0" y="44"/>
                    </a:lnTo>
                    <a:lnTo>
                      <a:pt x="1" y="46"/>
                    </a:lnTo>
                    <a:lnTo>
                      <a:pt x="1" y="54"/>
                    </a:lnTo>
                    <a:lnTo>
                      <a:pt x="3" y="63"/>
                    </a:lnTo>
                    <a:lnTo>
                      <a:pt x="5" y="64"/>
                    </a:lnTo>
                    <a:lnTo>
                      <a:pt x="6" y="68"/>
                    </a:lnTo>
                    <a:lnTo>
                      <a:pt x="5" y="68"/>
                    </a:lnTo>
                    <a:lnTo>
                      <a:pt x="5" y="71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1" y="78"/>
                    </a:lnTo>
                    <a:lnTo>
                      <a:pt x="18" y="79"/>
                    </a:lnTo>
                    <a:lnTo>
                      <a:pt x="21" y="84"/>
                    </a:lnTo>
                    <a:lnTo>
                      <a:pt x="21" y="89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8" y="93"/>
                    </a:lnTo>
                    <a:lnTo>
                      <a:pt x="26" y="88"/>
                    </a:lnTo>
                    <a:lnTo>
                      <a:pt x="28" y="83"/>
                    </a:lnTo>
                    <a:lnTo>
                      <a:pt x="26" y="76"/>
                    </a:lnTo>
                    <a:lnTo>
                      <a:pt x="30" y="73"/>
                    </a:lnTo>
                    <a:lnTo>
                      <a:pt x="36" y="63"/>
                    </a:lnTo>
                    <a:lnTo>
                      <a:pt x="36" y="58"/>
                    </a:lnTo>
                    <a:lnTo>
                      <a:pt x="38" y="56"/>
                    </a:lnTo>
                    <a:lnTo>
                      <a:pt x="35" y="56"/>
                    </a:lnTo>
                    <a:lnTo>
                      <a:pt x="36" y="48"/>
                    </a:lnTo>
                    <a:lnTo>
                      <a:pt x="38" y="41"/>
                    </a:lnTo>
                    <a:lnTo>
                      <a:pt x="36" y="34"/>
                    </a:lnTo>
                    <a:lnTo>
                      <a:pt x="40" y="31"/>
                    </a:lnTo>
                    <a:lnTo>
                      <a:pt x="40" y="20"/>
                    </a:lnTo>
                    <a:lnTo>
                      <a:pt x="41" y="13"/>
                    </a:lnTo>
                    <a:lnTo>
                      <a:pt x="43" y="13"/>
                    </a:lnTo>
                    <a:lnTo>
                      <a:pt x="43" y="10"/>
                    </a:lnTo>
                    <a:lnTo>
                      <a:pt x="3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E0E6AD3-E22C-0E4B-86B7-FA290A3579D8}"/>
                </a:ext>
              </a:extLst>
            </p:cNvPr>
            <p:cNvGrpSpPr/>
            <p:nvPr/>
          </p:nvGrpSpPr>
          <p:grpSpPr>
            <a:xfrm>
              <a:off x="6193473" y="2824589"/>
              <a:ext cx="889376" cy="858085"/>
              <a:chOff x="6193473" y="2824589"/>
              <a:chExt cx="889376" cy="858085"/>
            </a:xfrm>
            <a:grpFill/>
          </p:grpSpPr>
          <p:sp>
            <p:nvSpPr>
              <p:cNvPr id="149" name="Freeform 88">
                <a:extLst>
                  <a:ext uri="{FF2B5EF4-FFF2-40B4-BE49-F238E27FC236}">
                    <a16:creationId xmlns:a16="http://schemas.microsoft.com/office/drawing/2014/main" id="{22B33A02-D976-5549-ABB0-FEC420EAF9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527" y="2895145"/>
                <a:ext cx="162678" cy="120360"/>
              </a:xfrm>
              <a:custGeom>
                <a:avLst/>
                <a:gdLst/>
                <a:ahLst/>
                <a:cxnLst>
                  <a:cxn ang="0">
                    <a:pos x="241" y="41"/>
                  </a:cxn>
                  <a:cxn ang="0">
                    <a:pos x="226" y="13"/>
                  </a:cxn>
                  <a:cxn ang="0">
                    <a:pos x="216" y="8"/>
                  </a:cxn>
                  <a:cxn ang="0">
                    <a:pos x="183" y="11"/>
                  </a:cxn>
                  <a:cxn ang="0">
                    <a:pos x="176" y="15"/>
                  </a:cxn>
                  <a:cxn ang="0">
                    <a:pos x="166" y="10"/>
                  </a:cxn>
                  <a:cxn ang="0">
                    <a:pos x="166" y="3"/>
                  </a:cxn>
                  <a:cxn ang="0">
                    <a:pos x="150" y="1"/>
                  </a:cxn>
                  <a:cxn ang="0">
                    <a:pos x="151" y="5"/>
                  </a:cxn>
                  <a:cxn ang="0">
                    <a:pos x="138" y="6"/>
                  </a:cxn>
                  <a:cxn ang="0">
                    <a:pos x="141" y="3"/>
                  </a:cxn>
                  <a:cxn ang="0">
                    <a:pos x="133" y="3"/>
                  </a:cxn>
                  <a:cxn ang="0">
                    <a:pos x="120" y="10"/>
                  </a:cxn>
                  <a:cxn ang="0">
                    <a:pos x="108" y="18"/>
                  </a:cxn>
                  <a:cxn ang="0">
                    <a:pos x="85" y="11"/>
                  </a:cxn>
                  <a:cxn ang="0">
                    <a:pos x="68" y="8"/>
                  </a:cxn>
                  <a:cxn ang="0">
                    <a:pos x="50" y="5"/>
                  </a:cxn>
                  <a:cxn ang="0">
                    <a:pos x="10" y="0"/>
                  </a:cxn>
                  <a:cxn ang="0">
                    <a:pos x="5" y="5"/>
                  </a:cxn>
                  <a:cxn ang="0">
                    <a:pos x="7" y="25"/>
                  </a:cxn>
                  <a:cxn ang="0">
                    <a:pos x="4" y="45"/>
                  </a:cxn>
                  <a:cxn ang="0">
                    <a:pos x="304" y="227"/>
                  </a:cxn>
                  <a:cxn ang="0">
                    <a:pos x="294" y="221"/>
                  </a:cxn>
                  <a:cxn ang="0">
                    <a:pos x="284" y="211"/>
                  </a:cxn>
                  <a:cxn ang="0">
                    <a:pos x="269" y="207"/>
                  </a:cxn>
                  <a:cxn ang="0">
                    <a:pos x="266" y="187"/>
                  </a:cxn>
                  <a:cxn ang="0">
                    <a:pos x="266" y="184"/>
                  </a:cxn>
                  <a:cxn ang="0">
                    <a:pos x="269" y="182"/>
                  </a:cxn>
                  <a:cxn ang="0">
                    <a:pos x="263" y="176"/>
                  </a:cxn>
                  <a:cxn ang="0">
                    <a:pos x="249" y="154"/>
                  </a:cxn>
                  <a:cxn ang="0">
                    <a:pos x="228" y="126"/>
                  </a:cxn>
                  <a:cxn ang="0">
                    <a:pos x="224" y="109"/>
                  </a:cxn>
                  <a:cxn ang="0">
                    <a:pos x="215" y="96"/>
                  </a:cxn>
                  <a:cxn ang="0">
                    <a:pos x="213" y="86"/>
                  </a:cxn>
                  <a:cxn ang="0">
                    <a:pos x="188" y="63"/>
                  </a:cxn>
                  <a:cxn ang="0">
                    <a:pos x="185" y="48"/>
                  </a:cxn>
                  <a:cxn ang="0">
                    <a:pos x="186" y="45"/>
                  </a:cxn>
                  <a:cxn ang="0">
                    <a:pos x="191" y="53"/>
                  </a:cxn>
                  <a:cxn ang="0">
                    <a:pos x="201" y="68"/>
                  </a:cxn>
                  <a:cxn ang="0">
                    <a:pos x="211" y="78"/>
                  </a:cxn>
                  <a:cxn ang="0">
                    <a:pos x="231" y="94"/>
                  </a:cxn>
                  <a:cxn ang="0">
                    <a:pos x="236" y="81"/>
                  </a:cxn>
                  <a:cxn ang="0">
                    <a:pos x="238" y="68"/>
                  </a:cxn>
                </a:cxnLst>
                <a:rect l="0" t="0" r="r" b="b"/>
                <a:pathLst>
                  <a:path w="304" h="231">
                    <a:moveTo>
                      <a:pt x="243" y="54"/>
                    </a:moveTo>
                    <a:lnTo>
                      <a:pt x="239" y="46"/>
                    </a:lnTo>
                    <a:lnTo>
                      <a:pt x="241" y="41"/>
                    </a:lnTo>
                    <a:lnTo>
                      <a:pt x="236" y="30"/>
                    </a:lnTo>
                    <a:lnTo>
                      <a:pt x="229" y="21"/>
                    </a:lnTo>
                    <a:lnTo>
                      <a:pt x="226" y="13"/>
                    </a:lnTo>
                    <a:lnTo>
                      <a:pt x="223" y="6"/>
                    </a:lnTo>
                    <a:lnTo>
                      <a:pt x="219" y="5"/>
                    </a:lnTo>
                    <a:lnTo>
                      <a:pt x="216" y="8"/>
                    </a:lnTo>
                    <a:lnTo>
                      <a:pt x="210" y="11"/>
                    </a:lnTo>
                    <a:lnTo>
                      <a:pt x="195" y="8"/>
                    </a:lnTo>
                    <a:lnTo>
                      <a:pt x="183" y="11"/>
                    </a:lnTo>
                    <a:lnTo>
                      <a:pt x="173" y="6"/>
                    </a:lnTo>
                    <a:lnTo>
                      <a:pt x="173" y="10"/>
                    </a:lnTo>
                    <a:lnTo>
                      <a:pt x="176" y="15"/>
                    </a:lnTo>
                    <a:lnTo>
                      <a:pt x="175" y="18"/>
                    </a:lnTo>
                    <a:lnTo>
                      <a:pt x="171" y="13"/>
                    </a:lnTo>
                    <a:lnTo>
                      <a:pt x="166" y="10"/>
                    </a:lnTo>
                    <a:lnTo>
                      <a:pt x="166" y="6"/>
                    </a:lnTo>
                    <a:lnTo>
                      <a:pt x="168" y="5"/>
                    </a:lnTo>
                    <a:lnTo>
                      <a:pt x="166" y="3"/>
                    </a:lnTo>
                    <a:lnTo>
                      <a:pt x="163" y="5"/>
                    </a:lnTo>
                    <a:lnTo>
                      <a:pt x="158" y="3"/>
                    </a:lnTo>
                    <a:lnTo>
                      <a:pt x="150" y="1"/>
                    </a:lnTo>
                    <a:lnTo>
                      <a:pt x="148" y="1"/>
                    </a:lnTo>
                    <a:lnTo>
                      <a:pt x="151" y="3"/>
                    </a:lnTo>
                    <a:lnTo>
                      <a:pt x="151" y="5"/>
                    </a:lnTo>
                    <a:lnTo>
                      <a:pt x="148" y="5"/>
                    </a:lnTo>
                    <a:lnTo>
                      <a:pt x="143" y="5"/>
                    </a:lnTo>
                    <a:lnTo>
                      <a:pt x="138" y="6"/>
                    </a:lnTo>
                    <a:lnTo>
                      <a:pt x="136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5" y="1"/>
                    </a:lnTo>
                    <a:lnTo>
                      <a:pt x="140" y="1"/>
                    </a:lnTo>
                    <a:lnTo>
                      <a:pt x="133" y="3"/>
                    </a:lnTo>
                    <a:lnTo>
                      <a:pt x="130" y="5"/>
                    </a:lnTo>
                    <a:lnTo>
                      <a:pt x="123" y="8"/>
                    </a:lnTo>
                    <a:lnTo>
                      <a:pt x="120" y="10"/>
                    </a:lnTo>
                    <a:lnTo>
                      <a:pt x="115" y="11"/>
                    </a:lnTo>
                    <a:lnTo>
                      <a:pt x="108" y="15"/>
                    </a:lnTo>
                    <a:lnTo>
                      <a:pt x="108" y="18"/>
                    </a:lnTo>
                    <a:lnTo>
                      <a:pt x="100" y="18"/>
                    </a:lnTo>
                    <a:lnTo>
                      <a:pt x="92" y="13"/>
                    </a:lnTo>
                    <a:lnTo>
                      <a:pt x="85" y="11"/>
                    </a:lnTo>
                    <a:lnTo>
                      <a:pt x="77" y="13"/>
                    </a:lnTo>
                    <a:lnTo>
                      <a:pt x="70" y="8"/>
                    </a:lnTo>
                    <a:lnTo>
                      <a:pt x="68" y="8"/>
                    </a:lnTo>
                    <a:lnTo>
                      <a:pt x="65" y="10"/>
                    </a:lnTo>
                    <a:lnTo>
                      <a:pt x="58" y="6"/>
                    </a:lnTo>
                    <a:lnTo>
                      <a:pt x="50" y="5"/>
                    </a:lnTo>
                    <a:lnTo>
                      <a:pt x="32" y="3"/>
                    </a:lnTo>
                    <a:lnTo>
                      <a:pt x="2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5" y="5"/>
                    </a:lnTo>
                    <a:lnTo>
                      <a:pt x="4" y="15"/>
                    </a:lnTo>
                    <a:lnTo>
                      <a:pt x="7" y="20"/>
                    </a:lnTo>
                    <a:lnTo>
                      <a:pt x="7" y="25"/>
                    </a:lnTo>
                    <a:lnTo>
                      <a:pt x="4" y="33"/>
                    </a:lnTo>
                    <a:lnTo>
                      <a:pt x="0" y="40"/>
                    </a:lnTo>
                    <a:lnTo>
                      <a:pt x="4" y="45"/>
                    </a:lnTo>
                    <a:lnTo>
                      <a:pt x="5" y="56"/>
                    </a:lnTo>
                    <a:lnTo>
                      <a:pt x="14" y="231"/>
                    </a:lnTo>
                    <a:lnTo>
                      <a:pt x="304" y="227"/>
                    </a:lnTo>
                    <a:lnTo>
                      <a:pt x="304" y="227"/>
                    </a:lnTo>
                    <a:lnTo>
                      <a:pt x="299" y="226"/>
                    </a:lnTo>
                    <a:lnTo>
                      <a:pt x="294" y="221"/>
                    </a:lnTo>
                    <a:lnTo>
                      <a:pt x="293" y="217"/>
                    </a:lnTo>
                    <a:lnTo>
                      <a:pt x="288" y="217"/>
                    </a:lnTo>
                    <a:lnTo>
                      <a:pt x="284" y="211"/>
                    </a:lnTo>
                    <a:lnTo>
                      <a:pt x="281" y="212"/>
                    </a:lnTo>
                    <a:lnTo>
                      <a:pt x="276" y="212"/>
                    </a:lnTo>
                    <a:lnTo>
                      <a:pt x="269" y="207"/>
                    </a:lnTo>
                    <a:lnTo>
                      <a:pt x="266" y="196"/>
                    </a:lnTo>
                    <a:lnTo>
                      <a:pt x="266" y="192"/>
                    </a:lnTo>
                    <a:lnTo>
                      <a:pt x="266" y="187"/>
                    </a:lnTo>
                    <a:lnTo>
                      <a:pt x="264" y="184"/>
                    </a:lnTo>
                    <a:lnTo>
                      <a:pt x="264" y="182"/>
                    </a:lnTo>
                    <a:lnTo>
                      <a:pt x="266" y="184"/>
                    </a:lnTo>
                    <a:lnTo>
                      <a:pt x="274" y="184"/>
                    </a:lnTo>
                    <a:lnTo>
                      <a:pt x="271" y="182"/>
                    </a:lnTo>
                    <a:lnTo>
                      <a:pt x="269" y="182"/>
                    </a:lnTo>
                    <a:lnTo>
                      <a:pt x="264" y="176"/>
                    </a:lnTo>
                    <a:lnTo>
                      <a:pt x="263" y="176"/>
                    </a:lnTo>
                    <a:lnTo>
                      <a:pt x="263" y="176"/>
                    </a:lnTo>
                    <a:lnTo>
                      <a:pt x="261" y="174"/>
                    </a:lnTo>
                    <a:lnTo>
                      <a:pt x="258" y="167"/>
                    </a:lnTo>
                    <a:lnTo>
                      <a:pt x="249" y="154"/>
                    </a:lnTo>
                    <a:lnTo>
                      <a:pt x="244" y="152"/>
                    </a:lnTo>
                    <a:lnTo>
                      <a:pt x="243" y="146"/>
                    </a:lnTo>
                    <a:lnTo>
                      <a:pt x="228" y="126"/>
                    </a:lnTo>
                    <a:lnTo>
                      <a:pt x="228" y="121"/>
                    </a:lnTo>
                    <a:lnTo>
                      <a:pt x="226" y="118"/>
                    </a:lnTo>
                    <a:lnTo>
                      <a:pt x="224" y="109"/>
                    </a:lnTo>
                    <a:lnTo>
                      <a:pt x="223" y="106"/>
                    </a:lnTo>
                    <a:lnTo>
                      <a:pt x="223" y="104"/>
                    </a:lnTo>
                    <a:lnTo>
                      <a:pt x="215" y="96"/>
                    </a:lnTo>
                    <a:lnTo>
                      <a:pt x="215" y="93"/>
                    </a:lnTo>
                    <a:lnTo>
                      <a:pt x="215" y="89"/>
                    </a:lnTo>
                    <a:lnTo>
                      <a:pt x="213" y="86"/>
                    </a:lnTo>
                    <a:lnTo>
                      <a:pt x="198" y="74"/>
                    </a:lnTo>
                    <a:lnTo>
                      <a:pt x="198" y="71"/>
                    </a:lnTo>
                    <a:lnTo>
                      <a:pt x="188" y="63"/>
                    </a:lnTo>
                    <a:lnTo>
                      <a:pt x="188" y="58"/>
                    </a:lnTo>
                    <a:lnTo>
                      <a:pt x="183" y="51"/>
                    </a:lnTo>
                    <a:lnTo>
                      <a:pt x="185" y="48"/>
                    </a:lnTo>
                    <a:lnTo>
                      <a:pt x="183" y="45"/>
                    </a:lnTo>
                    <a:lnTo>
                      <a:pt x="185" y="45"/>
                    </a:lnTo>
                    <a:lnTo>
                      <a:pt x="186" y="45"/>
                    </a:lnTo>
                    <a:lnTo>
                      <a:pt x="188" y="45"/>
                    </a:lnTo>
                    <a:lnTo>
                      <a:pt x="190" y="51"/>
                    </a:lnTo>
                    <a:lnTo>
                      <a:pt x="191" y="53"/>
                    </a:lnTo>
                    <a:lnTo>
                      <a:pt x="193" y="56"/>
                    </a:lnTo>
                    <a:lnTo>
                      <a:pt x="201" y="63"/>
                    </a:lnTo>
                    <a:lnTo>
                      <a:pt x="201" y="68"/>
                    </a:lnTo>
                    <a:lnTo>
                      <a:pt x="205" y="71"/>
                    </a:lnTo>
                    <a:lnTo>
                      <a:pt x="211" y="74"/>
                    </a:lnTo>
                    <a:lnTo>
                      <a:pt x="211" y="78"/>
                    </a:lnTo>
                    <a:lnTo>
                      <a:pt x="223" y="89"/>
                    </a:lnTo>
                    <a:lnTo>
                      <a:pt x="229" y="93"/>
                    </a:lnTo>
                    <a:lnTo>
                      <a:pt x="231" y="94"/>
                    </a:lnTo>
                    <a:lnTo>
                      <a:pt x="231" y="91"/>
                    </a:lnTo>
                    <a:lnTo>
                      <a:pt x="234" y="88"/>
                    </a:lnTo>
                    <a:lnTo>
                      <a:pt x="236" y="81"/>
                    </a:lnTo>
                    <a:lnTo>
                      <a:pt x="234" y="79"/>
                    </a:lnTo>
                    <a:lnTo>
                      <a:pt x="238" y="73"/>
                    </a:lnTo>
                    <a:lnTo>
                      <a:pt x="238" y="68"/>
                    </a:lnTo>
                    <a:lnTo>
                      <a:pt x="241" y="56"/>
                    </a:lnTo>
                    <a:lnTo>
                      <a:pt x="243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0" name="Freeform 89">
                <a:extLst>
                  <a:ext uri="{FF2B5EF4-FFF2-40B4-BE49-F238E27FC236}">
                    <a16:creationId xmlns:a16="http://schemas.microsoft.com/office/drawing/2014/main" id="{65331FEC-DF89-A04B-A558-A79B7332B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7560" y="3013430"/>
                <a:ext cx="215120" cy="216856"/>
              </a:xfrm>
              <a:custGeom>
                <a:avLst/>
                <a:gdLst/>
                <a:ahLst/>
                <a:cxnLst>
                  <a:cxn ang="0">
                    <a:pos x="359" y="7"/>
                  </a:cxn>
                  <a:cxn ang="0">
                    <a:pos x="363" y="17"/>
                  </a:cxn>
                  <a:cxn ang="0">
                    <a:pos x="363" y="20"/>
                  </a:cxn>
                  <a:cxn ang="0">
                    <a:pos x="368" y="58"/>
                  </a:cxn>
                  <a:cxn ang="0">
                    <a:pos x="391" y="87"/>
                  </a:cxn>
                  <a:cxn ang="0">
                    <a:pos x="399" y="97"/>
                  </a:cxn>
                  <a:cxn ang="0">
                    <a:pos x="381" y="103"/>
                  </a:cxn>
                  <a:cxn ang="0">
                    <a:pos x="369" y="112"/>
                  </a:cxn>
                  <a:cxn ang="0">
                    <a:pos x="369" y="125"/>
                  </a:cxn>
                  <a:cxn ang="0">
                    <a:pos x="358" y="155"/>
                  </a:cxn>
                  <a:cxn ang="0">
                    <a:pos x="359" y="176"/>
                  </a:cxn>
                  <a:cxn ang="0">
                    <a:pos x="346" y="210"/>
                  </a:cxn>
                  <a:cxn ang="0">
                    <a:pos x="333" y="226"/>
                  </a:cxn>
                  <a:cxn ang="0">
                    <a:pos x="314" y="253"/>
                  </a:cxn>
                  <a:cxn ang="0">
                    <a:pos x="308" y="273"/>
                  </a:cxn>
                  <a:cxn ang="0">
                    <a:pos x="299" y="306"/>
                  </a:cxn>
                  <a:cxn ang="0">
                    <a:pos x="281" y="306"/>
                  </a:cxn>
                  <a:cxn ang="0">
                    <a:pos x="281" y="321"/>
                  </a:cxn>
                  <a:cxn ang="0">
                    <a:pos x="301" y="332"/>
                  </a:cxn>
                  <a:cxn ang="0">
                    <a:pos x="316" y="344"/>
                  </a:cxn>
                  <a:cxn ang="0">
                    <a:pos x="329" y="366"/>
                  </a:cxn>
                  <a:cxn ang="0">
                    <a:pos x="309" y="394"/>
                  </a:cxn>
                  <a:cxn ang="0">
                    <a:pos x="296" y="404"/>
                  </a:cxn>
                  <a:cxn ang="0">
                    <a:pos x="268" y="410"/>
                  </a:cxn>
                  <a:cxn ang="0">
                    <a:pos x="256" y="417"/>
                  </a:cxn>
                  <a:cxn ang="0">
                    <a:pos x="240" y="412"/>
                  </a:cxn>
                  <a:cxn ang="0">
                    <a:pos x="226" y="415"/>
                  </a:cxn>
                  <a:cxn ang="0">
                    <a:pos x="216" y="414"/>
                  </a:cxn>
                  <a:cxn ang="0">
                    <a:pos x="203" y="401"/>
                  </a:cxn>
                  <a:cxn ang="0">
                    <a:pos x="190" y="389"/>
                  </a:cxn>
                  <a:cxn ang="0">
                    <a:pos x="176" y="394"/>
                  </a:cxn>
                  <a:cxn ang="0">
                    <a:pos x="160" y="399"/>
                  </a:cxn>
                  <a:cxn ang="0">
                    <a:pos x="142" y="387"/>
                  </a:cxn>
                  <a:cxn ang="0">
                    <a:pos x="135" y="377"/>
                  </a:cxn>
                  <a:cxn ang="0">
                    <a:pos x="120" y="362"/>
                  </a:cxn>
                  <a:cxn ang="0">
                    <a:pos x="108" y="351"/>
                  </a:cxn>
                  <a:cxn ang="0">
                    <a:pos x="93" y="336"/>
                  </a:cxn>
                  <a:cxn ang="0">
                    <a:pos x="85" y="329"/>
                  </a:cxn>
                  <a:cxn ang="0">
                    <a:pos x="78" y="317"/>
                  </a:cxn>
                  <a:cxn ang="0">
                    <a:pos x="60" y="308"/>
                  </a:cxn>
                  <a:cxn ang="0">
                    <a:pos x="49" y="301"/>
                  </a:cxn>
                  <a:cxn ang="0">
                    <a:pos x="42" y="286"/>
                  </a:cxn>
                  <a:cxn ang="0">
                    <a:pos x="30" y="259"/>
                  </a:cxn>
                  <a:cxn ang="0">
                    <a:pos x="24" y="246"/>
                  </a:cxn>
                  <a:cxn ang="0">
                    <a:pos x="14" y="231"/>
                  </a:cxn>
                  <a:cxn ang="0">
                    <a:pos x="14" y="214"/>
                  </a:cxn>
                  <a:cxn ang="0">
                    <a:pos x="0" y="208"/>
                  </a:cxn>
                  <a:cxn ang="0">
                    <a:pos x="7" y="186"/>
                  </a:cxn>
                  <a:cxn ang="0">
                    <a:pos x="15" y="170"/>
                  </a:cxn>
                  <a:cxn ang="0">
                    <a:pos x="27" y="146"/>
                  </a:cxn>
                  <a:cxn ang="0">
                    <a:pos x="50" y="143"/>
                  </a:cxn>
                  <a:cxn ang="0">
                    <a:pos x="69" y="4"/>
                  </a:cxn>
                </a:cxnLst>
                <a:rect l="0" t="0" r="r" b="b"/>
                <a:pathLst>
                  <a:path w="402" h="417">
                    <a:moveTo>
                      <a:pt x="69" y="4"/>
                    </a:moveTo>
                    <a:lnTo>
                      <a:pt x="359" y="0"/>
                    </a:lnTo>
                    <a:lnTo>
                      <a:pt x="358" y="4"/>
                    </a:lnTo>
                    <a:lnTo>
                      <a:pt x="358" y="5"/>
                    </a:lnTo>
                    <a:lnTo>
                      <a:pt x="359" y="7"/>
                    </a:lnTo>
                    <a:lnTo>
                      <a:pt x="359" y="7"/>
                    </a:lnTo>
                    <a:lnTo>
                      <a:pt x="359" y="9"/>
                    </a:lnTo>
                    <a:lnTo>
                      <a:pt x="359" y="10"/>
                    </a:lnTo>
                    <a:lnTo>
                      <a:pt x="361" y="10"/>
                    </a:lnTo>
                    <a:lnTo>
                      <a:pt x="363" y="17"/>
                    </a:lnTo>
                    <a:lnTo>
                      <a:pt x="366" y="22"/>
                    </a:lnTo>
                    <a:lnTo>
                      <a:pt x="366" y="23"/>
                    </a:lnTo>
                    <a:lnTo>
                      <a:pt x="366" y="23"/>
                    </a:lnTo>
                    <a:lnTo>
                      <a:pt x="364" y="22"/>
                    </a:lnTo>
                    <a:lnTo>
                      <a:pt x="363" y="20"/>
                    </a:lnTo>
                    <a:lnTo>
                      <a:pt x="363" y="22"/>
                    </a:lnTo>
                    <a:lnTo>
                      <a:pt x="363" y="25"/>
                    </a:lnTo>
                    <a:lnTo>
                      <a:pt x="369" y="40"/>
                    </a:lnTo>
                    <a:lnTo>
                      <a:pt x="369" y="50"/>
                    </a:lnTo>
                    <a:lnTo>
                      <a:pt x="368" y="58"/>
                    </a:lnTo>
                    <a:lnTo>
                      <a:pt x="371" y="67"/>
                    </a:lnTo>
                    <a:lnTo>
                      <a:pt x="376" y="75"/>
                    </a:lnTo>
                    <a:lnTo>
                      <a:pt x="381" y="75"/>
                    </a:lnTo>
                    <a:lnTo>
                      <a:pt x="391" y="82"/>
                    </a:lnTo>
                    <a:lnTo>
                      <a:pt x="391" y="87"/>
                    </a:lnTo>
                    <a:lnTo>
                      <a:pt x="396" y="87"/>
                    </a:lnTo>
                    <a:lnTo>
                      <a:pt x="401" y="88"/>
                    </a:lnTo>
                    <a:lnTo>
                      <a:pt x="401" y="92"/>
                    </a:lnTo>
                    <a:lnTo>
                      <a:pt x="402" y="92"/>
                    </a:lnTo>
                    <a:lnTo>
                      <a:pt x="399" y="97"/>
                    </a:lnTo>
                    <a:lnTo>
                      <a:pt x="396" y="98"/>
                    </a:lnTo>
                    <a:lnTo>
                      <a:pt x="391" y="98"/>
                    </a:lnTo>
                    <a:lnTo>
                      <a:pt x="389" y="102"/>
                    </a:lnTo>
                    <a:lnTo>
                      <a:pt x="384" y="102"/>
                    </a:lnTo>
                    <a:lnTo>
                      <a:pt x="381" y="103"/>
                    </a:lnTo>
                    <a:lnTo>
                      <a:pt x="376" y="105"/>
                    </a:lnTo>
                    <a:lnTo>
                      <a:pt x="376" y="107"/>
                    </a:lnTo>
                    <a:lnTo>
                      <a:pt x="377" y="108"/>
                    </a:lnTo>
                    <a:lnTo>
                      <a:pt x="376" y="112"/>
                    </a:lnTo>
                    <a:lnTo>
                      <a:pt x="369" y="112"/>
                    </a:lnTo>
                    <a:lnTo>
                      <a:pt x="368" y="113"/>
                    </a:lnTo>
                    <a:lnTo>
                      <a:pt x="368" y="116"/>
                    </a:lnTo>
                    <a:lnTo>
                      <a:pt x="364" y="121"/>
                    </a:lnTo>
                    <a:lnTo>
                      <a:pt x="368" y="123"/>
                    </a:lnTo>
                    <a:lnTo>
                      <a:pt x="369" y="125"/>
                    </a:lnTo>
                    <a:lnTo>
                      <a:pt x="366" y="128"/>
                    </a:lnTo>
                    <a:lnTo>
                      <a:pt x="364" y="135"/>
                    </a:lnTo>
                    <a:lnTo>
                      <a:pt x="363" y="145"/>
                    </a:lnTo>
                    <a:lnTo>
                      <a:pt x="358" y="151"/>
                    </a:lnTo>
                    <a:lnTo>
                      <a:pt x="358" y="155"/>
                    </a:lnTo>
                    <a:lnTo>
                      <a:pt x="356" y="156"/>
                    </a:lnTo>
                    <a:lnTo>
                      <a:pt x="354" y="161"/>
                    </a:lnTo>
                    <a:lnTo>
                      <a:pt x="358" y="171"/>
                    </a:lnTo>
                    <a:lnTo>
                      <a:pt x="359" y="176"/>
                    </a:lnTo>
                    <a:lnTo>
                      <a:pt x="359" y="176"/>
                    </a:lnTo>
                    <a:lnTo>
                      <a:pt x="359" y="178"/>
                    </a:lnTo>
                    <a:lnTo>
                      <a:pt x="356" y="185"/>
                    </a:lnTo>
                    <a:lnTo>
                      <a:pt x="356" y="191"/>
                    </a:lnTo>
                    <a:lnTo>
                      <a:pt x="349" y="203"/>
                    </a:lnTo>
                    <a:lnTo>
                      <a:pt x="346" y="210"/>
                    </a:lnTo>
                    <a:lnTo>
                      <a:pt x="344" y="210"/>
                    </a:lnTo>
                    <a:lnTo>
                      <a:pt x="339" y="210"/>
                    </a:lnTo>
                    <a:lnTo>
                      <a:pt x="339" y="213"/>
                    </a:lnTo>
                    <a:lnTo>
                      <a:pt x="334" y="223"/>
                    </a:lnTo>
                    <a:lnTo>
                      <a:pt x="333" y="226"/>
                    </a:lnTo>
                    <a:lnTo>
                      <a:pt x="326" y="229"/>
                    </a:lnTo>
                    <a:lnTo>
                      <a:pt x="323" y="238"/>
                    </a:lnTo>
                    <a:lnTo>
                      <a:pt x="319" y="253"/>
                    </a:lnTo>
                    <a:lnTo>
                      <a:pt x="316" y="253"/>
                    </a:lnTo>
                    <a:lnTo>
                      <a:pt x="314" y="253"/>
                    </a:lnTo>
                    <a:lnTo>
                      <a:pt x="313" y="256"/>
                    </a:lnTo>
                    <a:lnTo>
                      <a:pt x="308" y="261"/>
                    </a:lnTo>
                    <a:lnTo>
                      <a:pt x="306" y="266"/>
                    </a:lnTo>
                    <a:lnTo>
                      <a:pt x="308" y="268"/>
                    </a:lnTo>
                    <a:lnTo>
                      <a:pt x="308" y="273"/>
                    </a:lnTo>
                    <a:lnTo>
                      <a:pt x="304" y="279"/>
                    </a:lnTo>
                    <a:lnTo>
                      <a:pt x="303" y="284"/>
                    </a:lnTo>
                    <a:lnTo>
                      <a:pt x="303" y="294"/>
                    </a:lnTo>
                    <a:lnTo>
                      <a:pt x="303" y="304"/>
                    </a:lnTo>
                    <a:lnTo>
                      <a:pt x="299" y="306"/>
                    </a:lnTo>
                    <a:lnTo>
                      <a:pt x="298" y="309"/>
                    </a:lnTo>
                    <a:lnTo>
                      <a:pt x="294" y="308"/>
                    </a:lnTo>
                    <a:lnTo>
                      <a:pt x="291" y="306"/>
                    </a:lnTo>
                    <a:lnTo>
                      <a:pt x="288" y="308"/>
                    </a:lnTo>
                    <a:lnTo>
                      <a:pt x="281" y="306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76" y="317"/>
                    </a:lnTo>
                    <a:lnTo>
                      <a:pt x="278" y="321"/>
                    </a:lnTo>
                    <a:lnTo>
                      <a:pt x="281" y="321"/>
                    </a:lnTo>
                    <a:lnTo>
                      <a:pt x="291" y="321"/>
                    </a:lnTo>
                    <a:lnTo>
                      <a:pt x="294" y="324"/>
                    </a:lnTo>
                    <a:lnTo>
                      <a:pt x="298" y="327"/>
                    </a:lnTo>
                    <a:lnTo>
                      <a:pt x="299" y="331"/>
                    </a:lnTo>
                    <a:lnTo>
                      <a:pt x="301" y="332"/>
                    </a:lnTo>
                    <a:lnTo>
                      <a:pt x="306" y="339"/>
                    </a:lnTo>
                    <a:lnTo>
                      <a:pt x="309" y="341"/>
                    </a:lnTo>
                    <a:lnTo>
                      <a:pt x="309" y="342"/>
                    </a:lnTo>
                    <a:lnTo>
                      <a:pt x="311" y="344"/>
                    </a:lnTo>
                    <a:lnTo>
                      <a:pt x="316" y="344"/>
                    </a:lnTo>
                    <a:lnTo>
                      <a:pt x="319" y="347"/>
                    </a:lnTo>
                    <a:lnTo>
                      <a:pt x="321" y="352"/>
                    </a:lnTo>
                    <a:lnTo>
                      <a:pt x="324" y="356"/>
                    </a:lnTo>
                    <a:lnTo>
                      <a:pt x="326" y="364"/>
                    </a:lnTo>
                    <a:lnTo>
                      <a:pt x="329" y="366"/>
                    </a:lnTo>
                    <a:lnTo>
                      <a:pt x="329" y="374"/>
                    </a:lnTo>
                    <a:lnTo>
                      <a:pt x="323" y="382"/>
                    </a:lnTo>
                    <a:lnTo>
                      <a:pt x="316" y="391"/>
                    </a:lnTo>
                    <a:lnTo>
                      <a:pt x="314" y="389"/>
                    </a:lnTo>
                    <a:lnTo>
                      <a:pt x="309" y="394"/>
                    </a:lnTo>
                    <a:lnTo>
                      <a:pt x="306" y="396"/>
                    </a:lnTo>
                    <a:lnTo>
                      <a:pt x="304" y="397"/>
                    </a:lnTo>
                    <a:lnTo>
                      <a:pt x="303" y="401"/>
                    </a:lnTo>
                    <a:lnTo>
                      <a:pt x="303" y="401"/>
                    </a:lnTo>
                    <a:lnTo>
                      <a:pt x="296" y="404"/>
                    </a:lnTo>
                    <a:lnTo>
                      <a:pt x="293" y="407"/>
                    </a:lnTo>
                    <a:lnTo>
                      <a:pt x="288" y="409"/>
                    </a:lnTo>
                    <a:lnTo>
                      <a:pt x="283" y="409"/>
                    </a:lnTo>
                    <a:lnTo>
                      <a:pt x="274" y="409"/>
                    </a:lnTo>
                    <a:lnTo>
                      <a:pt x="268" y="410"/>
                    </a:lnTo>
                    <a:lnTo>
                      <a:pt x="265" y="410"/>
                    </a:lnTo>
                    <a:lnTo>
                      <a:pt x="263" y="412"/>
                    </a:lnTo>
                    <a:lnTo>
                      <a:pt x="260" y="410"/>
                    </a:lnTo>
                    <a:lnTo>
                      <a:pt x="256" y="414"/>
                    </a:lnTo>
                    <a:lnTo>
                      <a:pt x="256" y="417"/>
                    </a:lnTo>
                    <a:lnTo>
                      <a:pt x="255" y="417"/>
                    </a:lnTo>
                    <a:lnTo>
                      <a:pt x="248" y="415"/>
                    </a:lnTo>
                    <a:lnTo>
                      <a:pt x="248" y="412"/>
                    </a:lnTo>
                    <a:lnTo>
                      <a:pt x="243" y="410"/>
                    </a:lnTo>
                    <a:lnTo>
                      <a:pt x="240" y="412"/>
                    </a:lnTo>
                    <a:lnTo>
                      <a:pt x="233" y="410"/>
                    </a:lnTo>
                    <a:lnTo>
                      <a:pt x="228" y="409"/>
                    </a:lnTo>
                    <a:lnTo>
                      <a:pt x="226" y="410"/>
                    </a:lnTo>
                    <a:lnTo>
                      <a:pt x="225" y="414"/>
                    </a:lnTo>
                    <a:lnTo>
                      <a:pt x="226" y="415"/>
                    </a:lnTo>
                    <a:lnTo>
                      <a:pt x="226" y="417"/>
                    </a:lnTo>
                    <a:lnTo>
                      <a:pt x="225" y="415"/>
                    </a:lnTo>
                    <a:lnTo>
                      <a:pt x="218" y="415"/>
                    </a:lnTo>
                    <a:lnTo>
                      <a:pt x="218" y="415"/>
                    </a:lnTo>
                    <a:lnTo>
                      <a:pt x="216" y="414"/>
                    </a:lnTo>
                    <a:lnTo>
                      <a:pt x="216" y="410"/>
                    </a:lnTo>
                    <a:lnTo>
                      <a:pt x="215" y="409"/>
                    </a:lnTo>
                    <a:lnTo>
                      <a:pt x="213" y="404"/>
                    </a:lnTo>
                    <a:lnTo>
                      <a:pt x="210" y="402"/>
                    </a:lnTo>
                    <a:lnTo>
                      <a:pt x="203" y="401"/>
                    </a:lnTo>
                    <a:lnTo>
                      <a:pt x="201" y="399"/>
                    </a:lnTo>
                    <a:lnTo>
                      <a:pt x="200" y="396"/>
                    </a:lnTo>
                    <a:lnTo>
                      <a:pt x="196" y="391"/>
                    </a:lnTo>
                    <a:lnTo>
                      <a:pt x="195" y="389"/>
                    </a:lnTo>
                    <a:lnTo>
                      <a:pt x="190" y="389"/>
                    </a:lnTo>
                    <a:lnTo>
                      <a:pt x="186" y="392"/>
                    </a:lnTo>
                    <a:lnTo>
                      <a:pt x="185" y="394"/>
                    </a:lnTo>
                    <a:lnTo>
                      <a:pt x="180" y="396"/>
                    </a:lnTo>
                    <a:lnTo>
                      <a:pt x="176" y="396"/>
                    </a:lnTo>
                    <a:lnTo>
                      <a:pt x="176" y="394"/>
                    </a:lnTo>
                    <a:lnTo>
                      <a:pt x="173" y="394"/>
                    </a:lnTo>
                    <a:lnTo>
                      <a:pt x="168" y="394"/>
                    </a:lnTo>
                    <a:lnTo>
                      <a:pt x="165" y="396"/>
                    </a:lnTo>
                    <a:lnTo>
                      <a:pt x="163" y="399"/>
                    </a:lnTo>
                    <a:lnTo>
                      <a:pt x="160" y="399"/>
                    </a:lnTo>
                    <a:lnTo>
                      <a:pt x="155" y="397"/>
                    </a:lnTo>
                    <a:lnTo>
                      <a:pt x="150" y="394"/>
                    </a:lnTo>
                    <a:lnTo>
                      <a:pt x="148" y="391"/>
                    </a:lnTo>
                    <a:lnTo>
                      <a:pt x="145" y="391"/>
                    </a:lnTo>
                    <a:lnTo>
                      <a:pt x="142" y="387"/>
                    </a:lnTo>
                    <a:lnTo>
                      <a:pt x="142" y="384"/>
                    </a:lnTo>
                    <a:lnTo>
                      <a:pt x="140" y="384"/>
                    </a:lnTo>
                    <a:lnTo>
                      <a:pt x="140" y="382"/>
                    </a:lnTo>
                    <a:lnTo>
                      <a:pt x="138" y="381"/>
                    </a:lnTo>
                    <a:lnTo>
                      <a:pt x="135" y="377"/>
                    </a:lnTo>
                    <a:lnTo>
                      <a:pt x="132" y="376"/>
                    </a:lnTo>
                    <a:lnTo>
                      <a:pt x="132" y="369"/>
                    </a:lnTo>
                    <a:lnTo>
                      <a:pt x="132" y="367"/>
                    </a:lnTo>
                    <a:lnTo>
                      <a:pt x="128" y="364"/>
                    </a:lnTo>
                    <a:lnTo>
                      <a:pt x="120" y="362"/>
                    </a:lnTo>
                    <a:lnTo>
                      <a:pt x="118" y="361"/>
                    </a:lnTo>
                    <a:lnTo>
                      <a:pt x="118" y="356"/>
                    </a:lnTo>
                    <a:lnTo>
                      <a:pt x="117" y="354"/>
                    </a:lnTo>
                    <a:lnTo>
                      <a:pt x="112" y="352"/>
                    </a:lnTo>
                    <a:lnTo>
                      <a:pt x="108" y="351"/>
                    </a:lnTo>
                    <a:lnTo>
                      <a:pt x="108" y="344"/>
                    </a:lnTo>
                    <a:lnTo>
                      <a:pt x="107" y="342"/>
                    </a:lnTo>
                    <a:lnTo>
                      <a:pt x="98" y="337"/>
                    </a:lnTo>
                    <a:lnTo>
                      <a:pt x="97" y="337"/>
                    </a:lnTo>
                    <a:lnTo>
                      <a:pt x="93" y="336"/>
                    </a:lnTo>
                    <a:lnTo>
                      <a:pt x="92" y="337"/>
                    </a:lnTo>
                    <a:lnTo>
                      <a:pt x="87" y="336"/>
                    </a:lnTo>
                    <a:lnTo>
                      <a:pt x="82" y="332"/>
                    </a:lnTo>
                    <a:lnTo>
                      <a:pt x="83" y="331"/>
                    </a:lnTo>
                    <a:lnTo>
                      <a:pt x="85" y="329"/>
                    </a:lnTo>
                    <a:lnTo>
                      <a:pt x="88" y="326"/>
                    </a:lnTo>
                    <a:lnTo>
                      <a:pt x="88" y="322"/>
                    </a:lnTo>
                    <a:lnTo>
                      <a:pt x="87" y="321"/>
                    </a:lnTo>
                    <a:lnTo>
                      <a:pt x="83" y="321"/>
                    </a:lnTo>
                    <a:lnTo>
                      <a:pt x="78" y="317"/>
                    </a:lnTo>
                    <a:lnTo>
                      <a:pt x="77" y="316"/>
                    </a:lnTo>
                    <a:lnTo>
                      <a:pt x="73" y="312"/>
                    </a:lnTo>
                    <a:lnTo>
                      <a:pt x="69" y="312"/>
                    </a:lnTo>
                    <a:lnTo>
                      <a:pt x="64" y="311"/>
                    </a:lnTo>
                    <a:lnTo>
                      <a:pt x="60" y="308"/>
                    </a:lnTo>
                    <a:lnTo>
                      <a:pt x="59" y="304"/>
                    </a:lnTo>
                    <a:lnTo>
                      <a:pt x="60" y="301"/>
                    </a:lnTo>
                    <a:lnTo>
                      <a:pt x="59" y="299"/>
                    </a:lnTo>
                    <a:lnTo>
                      <a:pt x="50" y="299"/>
                    </a:lnTo>
                    <a:lnTo>
                      <a:pt x="49" y="301"/>
                    </a:lnTo>
                    <a:lnTo>
                      <a:pt x="44" y="301"/>
                    </a:lnTo>
                    <a:lnTo>
                      <a:pt x="40" y="298"/>
                    </a:lnTo>
                    <a:lnTo>
                      <a:pt x="39" y="291"/>
                    </a:lnTo>
                    <a:lnTo>
                      <a:pt x="40" y="288"/>
                    </a:lnTo>
                    <a:lnTo>
                      <a:pt x="42" y="286"/>
                    </a:lnTo>
                    <a:lnTo>
                      <a:pt x="44" y="281"/>
                    </a:lnTo>
                    <a:lnTo>
                      <a:pt x="42" y="278"/>
                    </a:lnTo>
                    <a:lnTo>
                      <a:pt x="37" y="269"/>
                    </a:lnTo>
                    <a:lnTo>
                      <a:pt x="32" y="261"/>
                    </a:lnTo>
                    <a:lnTo>
                      <a:pt x="30" y="259"/>
                    </a:lnTo>
                    <a:lnTo>
                      <a:pt x="25" y="254"/>
                    </a:lnTo>
                    <a:lnTo>
                      <a:pt x="27" y="253"/>
                    </a:lnTo>
                    <a:lnTo>
                      <a:pt x="27" y="251"/>
                    </a:lnTo>
                    <a:lnTo>
                      <a:pt x="24" y="248"/>
                    </a:lnTo>
                    <a:lnTo>
                      <a:pt x="24" y="246"/>
                    </a:lnTo>
                    <a:lnTo>
                      <a:pt x="24" y="244"/>
                    </a:lnTo>
                    <a:lnTo>
                      <a:pt x="27" y="241"/>
                    </a:lnTo>
                    <a:lnTo>
                      <a:pt x="24" y="238"/>
                    </a:lnTo>
                    <a:lnTo>
                      <a:pt x="15" y="234"/>
                    </a:lnTo>
                    <a:lnTo>
                      <a:pt x="14" y="231"/>
                    </a:lnTo>
                    <a:lnTo>
                      <a:pt x="14" y="226"/>
                    </a:lnTo>
                    <a:lnTo>
                      <a:pt x="12" y="221"/>
                    </a:lnTo>
                    <a:lnTo>
                      <a:pt x="14" y="219"/>
                    </a:lnTo>
                    <a:lnTo>
                      <a:pt x="10" y="216"/>
                    </a:lnTo>
                    <a:lnTo>
                      <a:pt x="14" y="214"/>
                    </a:lnTo>
                    <a:lnTo>
                      <a:pt x="14" y="211"/>
                    </a:lnTo>
                    <a:lnTo>
                      <a:pt x="10" y="211"/>
                    </a:lnTo>
                    <a:lnTo>
                      <a:pt x="4" y="214"/>
                    </a:lnTo>
                    <a:lnTo>
                      <a:pt x="0" y="213"/>
                    </a:lnTo>
                    <a:lnTo>
                      <a:pt x="0" y="208"/>
                    </a:lnTo>
                    <a:lnTo>
                      <a:pt x="9" y="200"/>
                    </a:lnTo>
                    <a:lnTo>
                      <a:pt x="12" y="196"/>
                    </a:lnTo>
                    <a:lnTo>
                      <a:pt x="10" y="191"/>
                    </a:lnTo>
                    <a:lnTo>
                      <a:pt x="7" y="190"/>
                    </a:lnTo>
                    <a:lnTo>
                      <a:pt x="7" y="186"/>
                    </a:lnTo>
                    <a:lnTo>
                      <a:pt x="12" y="185"/>
                    </a:lnTo>
                    <a:lnTo>
                      <a:pt x="15" y="180"/>
                    </a:lnTo>
                    <a:lnTo>
                      <a:pt x="12" y="176"/>
                    </a:lnTo>
                    <a:lnTo>
                      <a:pt x="12" y="173"/>
                    </a:lnTo>
                    <a:lnTo>
                      <a:pt x="15" y="170"/>
                    </a:lnTo>
                    <a:lnTo>
                      <a:pt x="19" y="170"/>
                    </a:lnTo>
                    <a:lnTo>
                      <a:pt x="27" y="161"/>
                    </a:lnTo>
                    <a:lnTo>
                      <a:pt x="29" y="155"/>
                    </a:lnTo>
                    <a:lnTo>
                      <a:pt x="27" y="153"/>
                    </a:lnTo>
                    <a:lnTo>
                      <a:pt x="27" y="146"/>
                    </a:lnTo>
                    <a:lnTo>
                      <a:pt x="32" y="145"/>
                    </a:lnTo>
                    <a:lnTo>
                      <a:pt x="37" y="145"/>
                    </a:lnTo>
                    <a:lnTo>
                      <a:pt x="42" y="146"/>
                    </a:lnTo>
                    <a:lnTo>
                      <a:pt x="45" y="143"/>
                    </a:lnTo>
                    <a:lnTo>
                      <a:pt x="50" y="143"/>
                    </a:lnTo>
                    <a:lnTo>
                      <a:pt x="49" y="57"/>
                    </a:lnTo>
                    <a:lnTo>
                      <a:pt x="49" y="55"/>
                    </a:lnTo>
                    <a:lnTo>
                      <a:pt x="49" y="48"/>
                    </a:lnTo>
                    <a:lnTo>
                      <a:pt x="72" y="45"/>
                    </a:lnTo>
                    <a:lnTo>
                      <a:pt x="69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1" name="Freeform 90">
                <a:extLst>
                  <a:ext uri="{FF2B5EF4-FFF2-40B4-BE49-F238E27FC236}">
                    <a16:creationId xmlns:a16="http://schemas.microsoft.com/office/drawing/2014/main" id="{6D1EFBC9-02A9-044B-A83F-3AC07D1D7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5254" y="3098512"/>
                <a:ext cx="196926" cy="130736"/>
              </a:xfrm>
              <a:custGeom>
                <a:avLst/>
                <a:gdLst/>
                <a:ahLst/>
                <a:cxnLst>
                  <a:cxn ang="0">
                    <a:pos x="50" y="201"/>
                  </a:cxn>
                  <a:cxn ang="0">
                    <a:pos x="43" y="184"/>
                  </a:cxn>
                  <a:cxn ang="0">
                    <a:pos x="33" y="179"/>
                  </a:cxn>
                  <a:cxn ang="0">
                    <a:pos x="25" y="169"/>
                  </a:cxn>
                  <a:cxn ang="0">
                    <a:pos x="18" y="161"/>
                  </a:cxn>
                  <a:cxn ang="0">
                    <a:pos x="2" y="158"/>
                  </a:cxn>
                  <a:cxn ang="0">
                    <a:pos x="5" y="148"/>
                  </a:cxn>
                  <a:cxn ang="0">
                    <a:pos x="15" y="143"/>
                  </a:cxn>
                  <a:cxn ang="0">
                    <a:pos x="23" y="143"/>
                  </a:cxn>
                  <a:cxn ang="0">
                    <a:pos x="27" y="121"/>
                  </a:cxn>
                  <a:cxn ang="0">
                    <a:pos x="32" y="105"/>
                  </a:cxn>
                  <a:cxn ang="0">
                    <a:pos x="37" y="93"/>
                  </a:cxn>
                  <a:cxn ang="0">
                    <a:pos x="43" y="90"/>
                  </a:cxn>
                  <a:cxn ang="0">
                    <a:pos x="57" y="63"/>
                  </a:cxn>
                  <a:cxn ang="0">
                    <a:pos x="63" y="47"/>
                  </a:cxn>
                  <a:cxn ang="0">
                    <a:pos x="73" y="40"/>
                  </a:cxn>
                  <a:cxn ang="0">
                    <a:pos x="83" y="15"/>
                  </a:cxn>
                  <a:cxn ang="0">
                    <a:pos x="92" y="15"/>
                  </a:cxn>
                  <a:cxn ang="0">
                    <a:pos x="105" y="0"/>
                  </a:cxn>
                  <a:cxn ang="0">
                    <a:pos x="118" y="7"/>
                  </a:cxn>
                  <a:cxn ang="0">
                    <a:pos x="131" y="2"/>
                  </a:cxn>
                  <a:cxn ang="0">
                    <a:pos x="141" y="3"/>
                  </a:cxn>
                  <a:cxn ang="0">
                    <a:pos x="153" y="7"/>
                  </a:cxn>
                  <a:cxn ang="0">
                    <a:pos x="166" y="12"/>
                  </a:cxn>
                  <a:cxn ang="0">
                    <a:pos x="185" y="23"/>
                  </a:cxn>
                  <a:cxn ang="0">
                    <a:pos x="191" y="28"/>
                  </a:cxn>
                  <a:cxn ang="0">
                    <a:pos x="208" y="38"/>
                  </a:cxn>
                  <a:cxn ang="0">
                    <a:pos x="214" y="50"/>
                  </a:cxn>
                  <a:cxn ang="0">
                    <a:pos x="219" y="60"/>
                  </a:cxn>
                  <a:cxn ang="0">
                    <a:pos x="218" y="75"/>
                  </a:cxn>
                  <a:cxn ang="0">
                    <a:pos x="211" y="88"/>
                  </a:cxn>
                  <a:cxn ang="0">
                    <a:pos x="228" y="86"/>
                  </a:cxn>
                  <a:cxn ang="0">
                    <a:pos x="238" y="90"/>
                  </a:cxn>
                  <a:cxn ang="0">
                    <a:pos x="249" y="113"/>
                  </a:cxn>
                  <a:cxn ang="0">
                    <a:pos x="261" y="128"/>
                  </a:cxn>
                  <a:cxn ang="0">
                    <a:pos x="369" y="151"/>
                  </a:cxn>
                  <a:cxn ang="0">
                    <a:pos x="264" y="219"/>
                  </a:cxn>
                  <a:cxn ang="0">
                    <a:pos x="249" y="226"/>
                  </a:cxn>
                  <a:cxn ang="0">
                    <a:pos x="236" y="236"/>
                  </a:cxn>
                  <a:cxn ang="0">
                    <a:pos x="218" y="243"/>
                  </a:cxn>
                  <a:cxn ang="0">
                    <a:pos x="203" y="244"/>
                  </a:cxn>
                  <a:cxn ang="0">
                    <a:pos x="193" y="236"/>
                  </a:cxn>
                  <a:cxn ang="0">
                    <a:pos x="175" y="239"/>
                  </a:cxn>
                  <a:cxn ang="0">
                    <a:pos x="161" y="252"/>
                  </a:cxn>
                  <a:cxn ang="0">
                    <a:pos x="148" y="251"/>
                  </a:cxn>
                  <a:cxn ang="0">
                    <a:pos x="128" y="251"/>
                  </a:cxn>
                  <a:cxn ang="0">
                    <a:pos x="113" y="241"/>
                  </a:cxn>
                  <a:cxn ang="0">
                    <a:pos x="87" y="231"/>
                  </a:cxn>
                  <a:cxn ang="0">
                    <a:pos x="72" y="231"/>
                  </a:cxn>
                  <a:cxn ang="0">
                    <a:pos x="63" y="213"/>
                  </a:cxn>
                  <a:cxn ang="0">
                    <a:pos x="53" y="211"/>
                  </a:cxn>
                </a:cxnLst>
                <a:rect l="0" t="0" r="r" b="b"/>
                <a:pathLst>
                  <a:path w="369" h="252">
                    <a:moveTo>
                      <a:pt x="53" y="211"/>
                    </a:moveTo>
                    <a:lnTo>
                      <a:pt x="53" y="203"/>
                    </a:lnTo>
                    <a:lnTo>
                      <a:pt x="50" y="201"/>
                    </a:lnTo>
                    <a:lnTo>
                      <a:pt x="48" y="193"/>
                    </a:lnTo>
                    <a:lnTo>
                      <a:pt x="45" y="189"/>
                    </a:lnTo>
                    <a:lnTo>
                      <a:pt x="43" y="184"/>
                    </a:lnTo>
                    <a:lnTo>
                      <a:pt x="40" y="181"/>
                    </a:lnTo>
                    <a:lnTo>
                      <a:pt x="35" y="181"/>
                    </a:lnTo>
                    <a:lnTo>
                      <a:pt x="33" y="179"/>
                    </a:lnTo>
                    <a:lnTo>
                      <a:pt x="33" y="178"/>
                    </a:lnTo>
                    <a:lnTo>
                      <a:pt x="30" y="176"/>
                    </a:lnTo>
                    <a:lnTo>
                      <a:pt x="25" y="169"/>
                    </a:lnTo>
                    <a:lnTo>
                      <a:pt x="23" y="168"/>
                    </a:lnTo>
                    <a:lnTo>
                      <a:pt x="22" y="164"/>
                    </a:lnTo>
                    <a:lnTo>
                      <a:pt x="18" y="161"/>
                    </a:lnTo>
                    <a:lnTo>
                      <a:pt x="15" y="158"/>
                    </a:lnTo>
                    <a:lnTo>
                      <a:pt x="5" y="158"/>
                    </a:lnTo>
                    <a:lnTo>
                      <a:pt x="2" y="158"/>
                    </a:lnTo>
                    <a:lnTo>
                      <a:pt x="0" y="154"/>
                    </a:lnTo>
                    <a:lnTo>
                      <a:pt x="3" y="149"/>
                    </a:lnTo>
                    <a:lnTo>
                      <a:pt x="5" y="148"/>
                    </a:lnTo>
                    <a:lnTo>
                      <a:pt x="5" y="143"/>
                    </a:lnTo>
                    <a:lnTo>
                      <a:pt x="12" y="145"/>
                    </a:lnTo>
                    <a:lnTo>
                      <a:pt x="15" y="143"/>
                    </a:lnTo>
                    <a:lnTo>
                      <a:pt x="18" y="145"/>
                    </a:lnTo>
                    <a:lnTo>
                      <a:pt x="22" y="146"/>
                    </a:lnTo>
                    <a:lnTo>
                      <a:pt x="23" y="143"/>
                    </a:lnTo>
                    <a:lnTo>
                      <a:pt x="27" y="141"/>
                    </a:lnTo>
                    <a:lnTo>
                      <a:pt x="27" y="131"/>
                    </a:lnTo>
                    <a:lnTo>
                      <a:pt x="27" y="121"/>
                    </a:lnTo>
                    <a:lnTo>
                      <a:pt x="28" y="116"/>
                    </a:lnTo>
                    <a:lnTo>
                      <a:pt x="32" y="110"/>
                    </a:lnTo>
                    <a:lnTo>
                      <a:pt x="32" y="105"/>
                    </a:lnTo>
                    <a:lnTo>
                      <a:pt x="30" y="103"/>
                    </a:lnTo>
                    <a:lnTo>
                      <a:pt x="32" y="98"/>
                    </a:lnTo>
                    <a:lnTo>
                      <a:pt x="37" y="93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3" y="90"/>
                    </a:lnTo>
                    <a:lnTo>
                      <a:pt x="47" y="75"/>
                    </a:lnTo>
                    <a:lnTo>
                      <a:pt x="50" y="66"/>
                    </a:lnTo>
                    <a:lnTo>
                      <a:pt x="57" y="63"/>
                    </a:lnTo>
                    <a:lnTo>
                      <a:pt x="58" y="60"/>
                    </a:lnTo>
                    <a:lnTo>
                      <a:pt x="63" y="50"/>
                    </a:lnTo>
                    <a:lnTo>
                      <a:pt x="63" y="47"/>
                    </a:lnTo>
                    <a:lnTo>
                      <a:pt x="68" y="47"/>
                    </a:lnTo>
                    <a:lnTo>
                      <a:pt x="70" y="47"/>
                    </a:lnTo>
                    <a:lnTo>
                      <a:pt x="73" y="40"/>
                    </a:lnTo>
                    <a:lnTo>
                      <a:pt x="80" y="28"/>
                    </a:lnTo>
                    <a:lnTo>
                      <a:pt x="80" y="22"/>
                    </a:lnTo>
                    <a:lnTo>
                      <a:pt x="83" y="15"/>
                    </a:lnTo>
                    <a:lnTo>
                      <a:pt x="83" y="13"/>
                    </a:lnTo>
                    <a:lnTo>
                      <a:pt x="87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8" y="12"/>
                    </a:lnTo>
                    <a:lnTo>
                      <a:pt x="105" y="0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8" y="7"/>
                    </a:lnTo>
                    <a:lnTo>
                      <a:pt x="123" y="7"/>
                    </a:lnTo>
                    <a:lnTo>
                      <a:pt x="126" y="3"/>
                    </a:lnTo>
                    <a:lnTo>
                      <a:pt x="131" y="2"/>
                    </a:lnTo>
                    <a:lnTo>
                      <a:pt x="135" y="5"/>
                    </a:lnTo>
                    <a:lnTo>
                      <a:pt x="136" y="3"/>
                    </a:lnTo>
                    <a:lnTo>
                      <a:pt x="141" y="3"/>
                    </a:lnTo>
                    <a:lnTo>
                      <a:pt x="148" y="8"/>
                    </a:lnTo>
                    <a:lnTo>
                      <a:pt x="150" y="8"/>
                    </a:lnTo>
                    <a:lnTo>
                      <a:pt x="153" y="7"/>
                    </a:lnTo>
                    <a:lnTo>
                      <a:pt x="158" y="8"/>
                    </a:lnTo>
                    <a:lnTo>
                      <a:pt x="163" y="12"/>
                    </a:lnTo>
                    <a:lnTo>
                      <a:pt x="166" y="12"/>
                    </a:lnTo>
                    <a:lnTo>
                      <a:pt x="175" y="20"/>
                    </a:lnTo>
                    <a:lnTo>
                      <a:pt x="176" y="23"/>
                    </a:lnTo>
                    <a:lnTo>
                      <a:pt x="185" y="23"/>
                    </a:lnTo>
                    <a:lnTo>
                      <a:pt x="185" y="25"/>
                    </a:lnTo>
                    <a:lnTo>
                      <a:pt x="190" y="25"/>
                    </a:lnTo>
                    <a:lnTo>
                      <a:pt x="191" y="28"/>
                    </a:lnTo>
                    <a:lnTo>
                      <a:pt x="196" y="32"/>
                    </a:lnTo>
                    <a:lnTo>
                      <a:pt x="203" y="37"/>
                    </a:lnTo>
                    <a:lnTo>
                      <a:pt x="208" y="38"/>
                    </a:lnTo>
                    <a:lnTo>
                      <a:pt x="213" y="43"/>
                    </a:lnTo>
                    <a:lnTo>
                      <a:pt x="213" y="48"/>
                    </a:lnTo>
                    <a:lnTo>
                      <a:pt x="214" y="50"/>
                    </a:lnTo>
                    <a:lnTo>
                      <a:pt x="218" y="51"/>
                    </a:lnTo>
                    <a:lnTo>
                      <a:pt x="224" y="58"/>
                    </a:lnTo>
                    <a:lnTo>
                      <a:pt x="219" y="60"/>
                    </a:lnTo>
                    <a:lnTo>
                      <a:pt x="218" y="65"/>
                    </a:lnTo>
                    <a:lnTo>
                      <a:pt x="216" y="70"/>
                    </a:lnTo>
                    <a:lnTo>
                      <a:pt x="218" y="75"/>
                    </a:lnTo>
                    <a:lnTo>
                      <a:pt x="214" y="78"/>
                    </a:lnTo>
                    <a:lnTo>
                      <a:pt x="214" y="83"/>
                    </a:lnTo>
                    <a:lnTo>
                      <a:pt x="211" y="88"/>
                    </a:lnTo>
                    <a:lnTo>
                      <a:pt x="213" y="90"/>
                    </a:lnTo>
                    <a:lnTo>
                      <a:pt x="223" y="90"/>
                    </a:lnTo>
                    <a:lnTo>
                      <a:pt x="228" y="86"/>
                    </a:lnTo>
                    <a:lnTo>
                      <a:pt x="234" y="85"/>
                    </a:lnTo>
                    <a:lnTo>
                      <a:pt x="239" y="88"/>
                    </a:lnTo>
                    <a:lnTo>
                      <a:pt x="238" y="90"/>
                    </a:lnTo>
                    <a:lnTo>
                      <a:pt x="239" y="98"/>
                    </a:lnTo>
                    <a:lnTo>
                      <a:pt x="243" y="110"/>
                    </a:lnTo>
                    <a:lnTo>
                      <a:pt x="249" y="113"/>
                    </a:lnTo>
                    <a:lnTo>
                      <a:pt x="248" y="120"/>
                    </a:lnTo>
                    <a:lnTo>
                      <a:pt x="251" y="126"/>
                    </a:lnTo>
                    <a:lnTo>
                      <a:pt x="261" y="128"/>
                    </a:lnTo>
                    <a:lnTo>
                      <a:pt x="266" y="133"/>
                    </a:lnTo>
                    <a:lnTo>
                      <a:pt x="337" y="153"/>
                    </a:lnTo>
                    <a:lnTo>
                      <a:pt x="369" y="151"/>
                    </a:lnTo>
                    <a:lnTo>
                      <a:pt x="294" y="219"/>
                    </a:lnTo>
                    <a:lnTo>
                      <a:pt x="279" y="219"/>
                    </a:lnTo>
                    <a:lnTo>
                      <a:pt x="264" y="219"/>
                    </a:lnTo>
                    <a:lnTo>
                      <a:pt x="259" y="223"/>
                    </a:lnTo>
                    <a:lnTo>
                      <a:pt x="254" y="223"/>
                    </a:lnTo>
                    <a:lnTo>
                      <a:pt x="249" y="226"/>
                    </a:lnTo>
                    <a:lnTo>
                      <a:pt x="246" y="231"/>
                    </a:lnTo>
                    <a:lnTo>
                      <a:pt x="243" y="233"/>
                    </a:lnTo>
                    <a:lnTo>
                      <a:pt x="236" y="236"/>
                    </a:lnTo>
                    <a:lnTo>
                      <a:pt x="228" y="236"/>
                    </a:lnTo>
                    <a:lnTo>
                      <a:pt x="221" y="241"/>
                    </a:lnTo>
                    <a:lnTo>
                      <a:pt x="218" y="243"/>
                    </a:lnTo>
                    <a:lnTo>
                      <a:pt x="218" y="244"/>
                    </a:lnTo>
                    <a:lnTo>
                      <a:pt x="211" y="244"/>
                    </a:lnTo>
                    <a:lnTo>
                      <a:pt x="203" y="244"/>
                    </a:lnTo>
                    <a:lnTo>
                      <a:pt x="198" y="243"/>
                    </a:lnTo>
                    <a:lnTo>
                      <a:pt x="196" y="238"/>
                    </a:lnTo>
                    <a:lnTo>
                      <a:pt x="193" y="236"/>
                    </a:lnTo>
                    <a:lnTo>
                      <a:pt x="181" y="238"/>
                    </a:lnTo>
                    <a:lnTo>
                      <a:pt x="178" y="239"/>
                    </a:lnTo>
                    <a:lnTo>
                      <a:pt x="175" y="239"/>
                    </a:lnTo>
                    <a:lnTo>
                      <a:pt x="170" y="241"/>
                    </a:lnTo>
                    <a:lnTo>
                      <a:pt x="166" y="244"/>
                    </a:lnTo>
                    <a:lnTo>
                      <a:pt x="161" y="252"/>
                    </a:lnTo>
                    <a:lnTo>
                      <a:pt x="156" y="252"/>
                    </a:lnTo>
                    <a:lnTo>
                      <a:pt x="153" y="252"/>
                    </a:lnTo>
                    <a:lnTo>
                      <a:pt x="148" y="251"/>
                    </a:lnTo>
                    <a:lnTo>
                      <a:pt x="141" y="252"/>
                    </a:lnTo>
                    <a:lnTo>
                      <a:pt x="136" y="251"/>
                    </a:lnTo>
                    <a:lnTo>
                      <a:pt x="128" y="251"/>
                    </a:lnTo>
                    <a:lnTo>
                      <a:pt x="123" y="249"/>
                    </a:lnTo>
                    <a:lnTo>
                      <a:pt x="120" y="244"/>
                    </a:lnTo>
                    <a:lnTo>
                      <a:pt x="113" y="241"/>
                    </a:lnTo>
                    <a:lnTo>
                      <a:pt x="103" y="233"/>
                    </a:lnTo>
                    <a:lnTo>
                      <a:pt x="100" y="229"/>
                    </a:lnTo>
                    <a:lnTo>
                      <a:pt x="87" y="231"/>
                    </a:lnTo>
                    <a:lnTo>
                      <a:pt x="82" y="229"/>
                    </a:lnTo>
                    <a:lnTo>
                      <a:pt x="77" y="231"/>
                    </a:lnTo>
                    <a:lnTo>
                      <a:pt x="72" y="231"/>
                    </a:lnTo>
                    <a:lnTo>
                      <a:pt x="67" y="226"/>
                    </a:lnTo>
                    <a:lnTo>
                      <a:pt x="67" y="213"/>
                    </a:lnTo>
                    <a:lnTo>
                      <a:pt x="63" y="213"/>
                    </a:lnTo>
                    <a:lnTo>
                      <a:pt x="58" y="213"/>
                    </a:lnTo>
                    <a:lnTo>
                      <a:pt x="57" y="209"/>
                    </a:lnTo>
                    <a:lnTo>
                      <a:pt x="53" y="2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2" name="Freeform 91">
                <a:extLst>
                  <a:ext uri="{FF2B5EF4-FFF2-40B4-BE49-F238E27FC236}">
                    <a16:creationId xmlns:a16="http://schemas.microsoft.com/office/drawing/2014/main" id="{EFBC9B6D-05E8-2245-9665-89231FFDC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6994" y="3061159"/>
                <a:ext cx="87760" cy="67444"/>
              </a:xfrm>
              <a:custGeom>
                <a:avLst/>
                <a:gdLst/>
                <a:ahLst/>
                <a:cxnLst>
                  <a:cxn ang="0">
                    <a:pos x="140" y="122"/>
                  </a:cxn>
                  <a:cxn ang="0">
                    <a:pos x="135" y="119"/>
                  </a:cxn>
                  <a:cxn ang="0">
                    <a:pos x="130" y="109"/>
                  </a:cxn>
                  <a:cxn ang="0">
                    <a:pos x="118" y="103"/>
                  </a:cxn>
                  <a:cxn ang="0">
                    <a:pos x="112" y="96"/>
                  </a:cxn>
                  <a:cxn ang="0">
                    <a:pos x="107" y="94"/>
                  </a:cxn>
                  <a:cxn ang="0">
                    <a:pos x="97" y="91"/>
                  </a:cxn>
                  <a:cxn ang="0">
                    <a:pos x="85" y="83"/>
                  </a:cxn>
                  <a:cxn ang="0">
                    <a:pos x="75" y="78"/>
                  </a:cxn>
                  <a:cxn ang="0">
                    <a:pos x="70" y="79"/>
                  </a:cxn>
                  <a:cxn ang="0">
                    <a:pos x="58" y="74"/>
                  </a:cxn>
                  <a:cxn ang="0">
                    <a:pos x="53" y="73"/>
                  </a:cxn>
                  <a:cxn ang="0">
                    <a:pos x="45" y="78"/>
                  </a:cxn>
                  <a:cxn ang="0">
                    <a:pos x="30" y="74"/>
                  </a:cxn>
                  <a:cxn ang="0">
                    <a:pos x="27" y="71"/>
                  </a:cxn>
                  <a:cxn ang="0">
                    <a:pos x="15" y="83"/>
                  </a:cxn>
                  <a:cxn ang="0">
                    <a:pos x="9" y="86"/>
                  </a:cxn>
                  <a:cxn ang="0">
                    <a:pos x="4" y="79"/>
                  </a:cxn>
                  <a:cxn ang="0">
                    <a:pos x="2" y="64"/>
                  </a:cxn>
                  <a:cxn ang="0">
                    <a:pos x="4" y="59"/>
                  </a:cxn>
                  <a:cxn ang="0">
                    <a:pos x="10" y="43"/>
                  </a:cxn>
                  <a:cxn ang="0">
                    <a:pos x="15" y="33"/>
                  </a:cxn>
                  <a:cxn ang="0">
                    <a:pos x="10" y="29"/>
                  </a:cxn>
                  <a:cxn ang="0">
                    <a:pos x="14" y="21"/>
                  </a:cxn>
                  <a:cxn ang="0">
                    <a:pos x="22" y="20"/>
                  </a:cxn>
                  <a:cxn ang="0">
                    <a:pos x="22" y="15"/>
                  </a:cxn>
                  <a:cxn ang="0">
                    <a:pos x="27" y="11"/>
                  </a:cxn>
                  <a:cxn ang="0">
                    <a:pos x="35" y="10"/>
                  </a:cxn>
                  <a:cxn ang="0">
                    <a:pos x="42" y="6"/>
                  </a:cxn>
                  <a:cxn ang="0">
                    <a:pos x="48" y="0"/>
                  </a:cxn>
                  <a:cxn ang="0">
                    <a:pos x="55" y="5"/>
                  </a:cxn>
                  <a:cxn ang="0">
                    <a:pos x="68" y="44"/>
                  </a:cxn>
                  <a:cxn ang="0">
                    <a:pos x="70" y="51"/>
                  </a:cxn>
                  <a:cxn ang="0">
                    <a:pos x="73" y="54"/>
                  </a:cxn>
                  <a:cxn ang="0">
                    <a:pos x="77" y="66"/>
                  </a:cxn>
                  <a:cxn ang="0">
                    <a:pos x="82" y="61"/>
                  </a:cxn>
                  <a:cxn ang="0">
                    <a:pos x="80" y="56"/>
                  </a:cxn>
                  <a:cxn ang="0">
                    <a:pos x="87" y="61"/>
                  </a:cxn>
                  <a:cxn ang="0">
                    <a:pos x="90" y="68"/>
                  </a:cxn>
                  <a:cxn ang="0">
                    <a:pos x="95" y="69"/>
                  </a:cxn>
                  <a:cxn ang="0">
                    <a:pos x="100" y="69"/>
                  </a:cxn>
                  <a:cxn ang="0">
                    <a:pos x="107" y="73"/>
                  </a:cxn>
                  <a:cxn ang="0">
                    <a:pos x="116" y="78"/>
                  </a:cxn>
                  <a:cxn ang="0">
                    <a:pos x="126" y="88"/>
                  </a:cxn>
                  <a:cxn ang="0">
                    <a:pos x="135" y="96"/>
                  </a:cxn>
                  <a:cxn ang="0">
                    <a:pos x="140" y="99"/>
                  </a:cxn>
                  <a:cxn ang="0">
                    <a:pos x="141" y="99"/>
                  </a:cxn>
                  <a:cxn ang="0">
                    <a:pos x="148" y="109"/>
                  </a:cxn>
                  <a:cxn ang="0">
                    <a:pos x="151" y="114"/>
                  </a:cxn>
                  <a:cxn ang="0">
                    <a:pos x="156" y="119"/>
                  </a:cxn>
                  <a:cxn ang="0">
                    <a:pos x="160" y="119"/>
                  </a:cxn>
                  <a:cxn ang="0">
                    <a:pos x="163" y="121"/>
                  </a:cxn>
                  <a:cxn ang="0">
                    <a:pos x="155" y="126"/>
                  </a:cxn>
                  <a:cxn ang="0">
                    <a:pos x="146" y="129"/>
                  </a:cxn>
                </a:cxnLst>
                <a:rect l="0" t="0" r="r" b="b"/>
                <a:pathLst>
                  <a:path w="163" h="129">
                    <a:moveTo>
                      <a:pt x="146" y="129"/>
                    </a:moveTo>
                    <a:lnTo>
                      <a:pt x="140" y="122"/>
                    </a:lnTo>
                    <a:lnTo>
                      <a:pt x="136" y="121"/>
                    </a:lnTo>
                    <a:lnTo>
                      <a:pt x="135" y="119"/>
                    </a:lnTo>
                    <a:lnTo>
                      <a:pt x="135" y="114"/>
                    </a:lnTo>
                    <a:lnTo>
                      <a:pt x="130" y="109"/>
                    </a:lnTo>
                    <a:lnTo>
                      <a:pt x="125" y="108"/>
                    </a:lnTo>
                    <a:lnTo>
                      <a:pt x="118" y="103"/>
                    </a:lnTo>
                    <a:lnTo>
                      <a:pt x="113" y="99"/>
                    </a:lnTo>
                    <a:lnTo>
                      <a:pt x="112" y="96"/>
                    </a:lnTo>
                    <a:lnTo>
                      <a:pt x="107" y="96"/>
                    </a:lnTo>
                    <a:lnTo>
                      <a:pt x="107" y="94"/>
                    </a:lnTo>
                    <a:lnTo>
                      <a:pt x="98" y="94"/>
                    </a:lnTo>
                    <a:lnTo>
                      <a:pt x="97" y="91"/>
                    </a:lnTo>
                    <a:lnTo>
                      <a:pt x="88" y="83"/>
                    </a:lnTo>
                    <a:lnTo>
                      <a:pt x="85" y="83"/>
                    </a:lnTo>
                    <a:lnTo>
                      <a:pt x="80" y="79"/>
                    </a:lnTo>
                    <a:lnTo>
                      <a:pt x="75" y="78"/>
                    </a:lnTo>
                    <a:lnTo>
                      <a:pt x="72" y="79"/>
                    </a:lnTo>
                    <a:lnTo>
                      <a:pt x="70" y="79"/>
                    </a:lnTo>
                    <a:lnTo>
                      <a:pt x="63" y="74"/>
                    </a:lnTo>
                    <a:lnTo>
                      <a:pt x="58" y="74"/>
                    </a:lnTo>
                    <a:lnTo>
                      <a:pt x="57" y="76"/>
                    </a:lnTo>
                    <a:lnTo>
                      <a:pt x="53" y="73"/>
                    </a:lnTo>
                    <a:lnTo>
                      <a:pt x="48" y="74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0" y="74"/>
                    </a:lnTo>
                    <a:lnTo>
                      <a:pt x="28" y="73"/>
                    </a:lnTo>
                    <a:lnTo>
                      <a:pt x="27" y="71"/>
                    </a:lnTo>
                    <a:lnTo>
                      <a:pt x="20" y="83"/>
                    </a:lnTo>
                    <a:lnTo>
                      <a:pt x="15" y="83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5" y="84"/>
                    </a:lnTo>
                    <a:lnTo>
                      <a:pt x="4" y="79"/>
                    </a:lnTo>
                    <a:lnTo>
                      <a:pt x="0" y="69"/>
                    </a:lnTo>
                    <a:lnTo>
                      <a:pt x="2" y="64"/>
                    </a:lnTo>
                    <a:lnTo>
                      <a:pt x="4" y="63"/>
                    </a:lnTo>
                    <a:lnTo>
                      <a:pt x="4" y="59"/>
                    </a:lnTo>
                    <a:lnTo>
                      <a:pt x="9" y="53"/>
                    </a:lnTo>
                    <a:lnTo>
                      <a:pt x="10" y="43"/>
                    </a:lnTo>
                    <a:lnTo>
                      <a:pt x="12" y="36"/>
                    </a:lnTo>
                    <a:lnTo>
                      <a:pt x="15" y="33"/>
                    </a:lnTo>
                    <a:lnTo>
                      <a:pt x="14" y="31"/>
                    </a:lnTo>
                    <a:lnTo>
                      <a:pt x="10" y="29"/>
                    </a:lnTo>
                    <a:lnTo>
                      <a:pt x="14" y="24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22" y="20"/>
                    </a:lnTo>
                    <a:lnTo>
                      <a:pt x="23" y="16"/>
                    </a:lnTo>
                    <a:lnTo>
                      <a:pt x="22" y="15"/>
                    </a:lnTo>
                    <a:lnTo>
                      <a:pt x="22" y="13"/>
                    </a:lnTo>
                    <a:lnTo>
                      <a:pt x="27" y="11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6"/>
                    </a:lnTo>
                    <a:lnTo>
                      <a:pt x="42" y="6"/>
                    </a:lnTo>
                    <a:lnTo>
                      <a:pt x="45" y="5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5" y="5"/>
                    </a:lnTo>
                    <a:lnTo>
                      <a:pt x="65" y="2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70" y="51"/>
                    </a:lnTo>
                    <a:lnTo>
                      <a:pt x="70" y="53"/>
                    </a:lnTo>
                    <a:lnTo>
                      <a:pt x="73" y="54"/>
                    </a:lnTo>
                    <a:lnTo>
                      <a:pt x="77" y="59"/>
                    </a:lnTo>
                    <a:lnTo>
                      <a:pt x="77" y="66"/>
                    </a:lnTo>
                    <a:lnTo>
                      <a:pt x="82" y="66"/>
                    </a:lnTo>
                    <a:lnTo>
                      <a:pt x="82" y="61"/>
                    </a:lnTo>
                    <a:lnTo>
                      <a:pt x="80" y="61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7" y="61"/>
                    </a:lnTo>
                    <a:lnTo>
                      <a:pt x="85" y="63"/>
                    </a:lnTo>
                    <a:lnTo>
                      <a:pt x="90" y="68"/>
                    </a:lnTo>
                    <a:lnTo>
                      <a:pt x="92" y="71"/>
                    </a:lnTo>
                    <a:lnTo>
                      <a:pt x="95" y="69"/>
                    </a:lnTo>
                    <a:lnTo>
                      <a:pt x="98" y="69"/>
                    </a:lnTo>
                    <a:lnTo>
                      <a:pt x="100" y="69"/>
                    </a:lnTo>
                    <a:lnTo>
                      <a:pt x="103" y="69"/>
                    </a:lnTo>
                    <a:lnTo>
                      <a:pt x="107" y="73"/>
                    </a:lnTo>
                    <a:lnTo>
                      <a:pt x="110" y="76"/>
                    </a:lnTo>
                    <a:lnTo>
                      <a:pt x="116" y="78"/>
                    </a:lnTo>
                    <a:lnTo>
                      <a:pt x="118" y="79"/>
                    </a:lnTo>
                    <a:lnTo>
                      <a:pt x="126" y="88"/>
                    </a:lnTo>
                    <a:lnTo>
                      <a:pt x="130" y="93"/>
                    </a:lnTo>
                    <a:lnTo>
                      <a:pt x="135" y="96"/>
                    </a:lnTo>
                    <a:lnTo>
                      <a:pt x="138" y="99"/>
                    </a:lnTo>
                    <a:lnTo>
                      <a:pt x="140" y="99"/>
                    </a:lnTo>
                    <a:lnTo>
                      <a:pt x="140" y="98"/>
                    </a:lnTo>
                    <a:lnTo>
                      <a:pt x="141" y="99"/>
                    </a:lnTo>
                    <a:lnTo>
                      <a:pt x="146" y="109"/>
                    </a:lnTo>
                    <a:lnTo>
                      <a:pt x="148" y="109"/>
                    </a:lnTo>
                    <a:lnTo>
                      <a:pt x="151" y="114"/>
                    </a:lnTo>
                    <a:lnTo>
                      <a:pt x="151" y="114"/>
                    </a:lnTo>
                    <a:lnTo>
                      <a:pt x="153" y="119"/>
                    </a:lnTo>
                    <a:lnTo>
                      <a:pt x="156" y="119"/>
                    </a:lnTo>
                    <a:lnTo>
                      <a:pt x="158" y="121"/>
                    </a:lnTo>
                    <a:lnTo>
                      <a:pt x="160" y="119"/>
                    </a:lnTo>
                    <a:lnTo>
                      <a:pt x="161" y="121"/>
                    </a:lnTo>
                    <a:lnTo>
                      <a:pt x="163" y="121"/>
                    </a:lnTo>
                    <a:lnTo>
                      <a:pt x="158" y="126"/>
                    </a:lnTo>
                    <a:lnTo>
                      <a:pt x="155" y="126"/>
                    </a:lnTo>
                    <a:lnTo>
                      <a:pt x="151" y="127"/>
                    </a:lnTo>
                    <a:lnTo>
                      <a:pt x="146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3" name="Freeform 92">
                <a:extLst>
                  <a:ext uri="{FF2B5EF4-FFF2-40B4-BE49-F238E27FC236}">
                    <a16:creationId xmlns:a16="http://schemas.microsoft.com/office/drawing/2014/main" id="{91263D4B-32D9-5341-B50A-035DDE74B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8701" y="3123414"/>
                <a:ext cx="19264" cy="20752"/>
              </a:xfrm>
              <a:custGeom>
                <a:avLst/>
                <a:gdLst/>
                <a:ahLst/>
                <a:cxnLst>
                  <a:cxn ang="0">
                    <a:pos x="28" y="38"/>
                  </a:cxn>
                  <a:cxn ang="0">
                    <a:pos x="23" y="35"/>
                  </a:cxn>
                  <a:cxn ang="0">
                    <a:pos x="17" y="36"/>
                  </a:cxn>
                  <a:cxn ang="0">
                    <a:pos x="12" y="40"/>
                  </a:cxn>
                  <a:cxn ang="0">
                    <a:pos x="2" y="40"/>
                  </a:cxn>
                  <a:cxn ang="0">
                    <a:pos x="0" y="38"/>
                  </a:cxn>
                  <a:cxn ang="0">
                    <a:pos x="3" y="33"/>
                  </a:cxn>
                  <a:cxn ang="0">
                    <a:pos x="3" y="28"/>
                  </a:cxn>
                  <a:cxn ang="0">
                    <a:pos x="7" y="25"/>
                  </a:cxn>
                  <a:cxn ang="0">
                    <a:pos x="5" y="20"/>
                  </a:cxn>
                  <a:cxn ang="0">
                    <a:pos x="7" y="15"/>
                  </a:cxn>
                  <a:cxn ang="0">
                    <a:pos x="8" y="10"/>
                  </a:cxn>
                  <a:cxn ang="0">
                    <a:pos x="18" y="6"/>
                  </a:cxn>
                  <a:cxn ang="0">
                    <a:pos x="22" y="5"/>
                  </a:cxn>
                  <a:cxn ang="0">
                    <a:pos x="25" y="5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30" y="1"/>
                  </a:cxn>
                  <a:cxn ang="0">
                    <a:pos x="35" y="6"/>
                  </a:cxn>
                  <a:cxn ang="0">
                    <a:pos x="37" y="6"/>
                  </a:cxn>
                  <a:cxn ang="0">
                    <a:pos x="37" y="8"/>
                  </a:cxn>
                  <a:cxn ang="0">
                    <a:pos x="37" y="15"/>
                  </a:cxn>
                  <a:cxn ang="0">
                    <a:pos x="35" y="16"/>
                  </a:cxn>
                  <a:cxn ang="0">
                    <a:pos x="30" y="21"/>
                  </a:cxn>
                  <a:cxn ang="0">
                    <a:pos x="27" y="21"/>
                  </a:cxn>
                  <a:cxn ang="0">
                    <a:pos x="23" y="25"/>
                  </a:cxn>
                  <a:cxn ang="0">
                    <a:pos x="18" y="25"/>
                  </a:cxn>
                  <a:cxn ang="0">
                    <a:pos x="22" y="26"/>
                  </a:cxn>
                  <a:cxn ang="0">
                    <a:pos x="23" y="28"/>
                  </a:cxn>
                  <a:cxn ang="0">
                    <a:pos x="27" y="26"/>
                  </a:cxn>
                  <a:cxn ang="0">
                    <a:pos x="33" y="26"/>
                  </a:cxn>
                  <a:cxn ang="0">
                    <a:pos x="33" y="28"/>
                  </a:cxn>
                  <a:cxn ang="0">
                    <a:pos x="28" y="36"/>
                  </a:cxn>
                  <a:cxn ang="0">
                    <a:pos x="28" y="38"/>
                  </a:cxn>
                </a:cxnLst>
                <a:rect l="0" t="0" r="r" b="b"/>
                <a:pathLst>
                  <a:path w="37" h="40">
                    <a:moveTo>
                      <a:pt x="28" y="38"/>
                    </a:moveTo>
                    <a:lnTo>
                      <a:pt x="23" y="35"/>
                    </a:lnTo>
                    <a:lnTo>
                      <a:pt x="17" y="36"/>
                    </a:lnTo>
                    <a:lnTo>
                      <a:pt x="1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3" y="33"/>
                    </a:lnTo>
                    <a:lnTo>
                      <a:pt x="3" y="28"/>
                    </a:lnTo>
                    <a:lnTo>
                      <a:pt x="7" y="25"/>
                    </a:lnTo>
                    <a:lnTo>
                      <a:pt x="5" y="20"/>
                    </a:lnTo>
                    <a:lnTo>
                      <a:pt x="7" y="15"/>
                    </a:lnTo>
                    <a:lnTo>
                      <a:pt x="8" y="10"/>
                    </a:lnTo>
                    <a:lnTo>
                      <a:pt x="18" y="6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1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7" y="8"/>
                    </a:lnTo>
                    <a:lnTo>
                      <a:pt x="37" y="15"/>
                    </a:lnTo>
                    <a:lnTo>
                      <a:pt x="35" y="16"/>
                    </a:lnTo>
                    <a:lnTo>
                      <a:pt x="30" y="21"/>
                    </a:lnTo>
                    <a:lnTo>
                      <a:pt x="27" y="21"/>
                    </a:lnTo>
                    <a:lnTo>
                      <a:pt x="23" y="25"/>
                    </a:lnTo>
                    <a:lnTo>
                      <a:pt x="18" y="25"/>
                    </a:lnTo>
                    <a:lnTo>
                      <a:pt x="22" y="26"/>
                    </a:lnTo>
                    <a:lnTo>
                      <a:pt x="23" y="28"/>
                    </a:lnTo>
                    <a:lnTo>
                      <a:pt x="27" y="26"/>
                    </a:lnTo>
                    <a:lnTo>
                      <a:pt x="33" y="26"/>
                    </a:lnTo>
                    <a:lnTo>
                      <a:pt x="33" y="28"/>
                    </a:lnTo>
                    <a:lnTo>
                      <a:pt x="28" y="36"/>
                    </a:lnTo>
                    <a:lnTo>
                      <a:pt x="28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4" name="Freeform 93">
                <a:extLst>
                  <a:ext uri="{FF2B5EF4-FFF2-40B4-BE49-F238E27FC236}">
                    <a16:creationId xmlns:a16="http://schemas.microsoft.com/office/drawing/2014/main" id="{43328DC9-7B63-BB44-82DC-AB4AB10E90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9068" y="3132753"/>
                <a:ext cx="133781" cy="153563"/>
              </a:xfrm>
              <a:custGeom>
                <a:avLst/>
                <a:gdLst/>
                <a:ahLst/>
                <a:cxnLst>
                  <a:cxn ang="0">
                    <a:pos x="27" y="175"/>
                  </a:cxn>
                  <a:cxn ang="0">
                    <a:pos x="49" y="167"/>
                  </a:cxn>
                  <a:cxn ang="0">
                    <a:pos x="60" y="157"/>
                  </a:cxn>
                  <a:cxn ang="0">
                    <a:pos x="85" y="153"/>
                  </a:cxn>
                  <a:cxn ang="0">
                    <a:pos x="143" y="87"/>
                  </a:cxn>
                  <a:cxn ang="0">
                    <a:pos x="57" y="60"/>
                  </a:cxn>
                  <a:cxn ang="0">
                    <a:pos x="49" y="44"/>
                  </a:cxn>
                  <a:cxn ang="0">
                    <a:pos x="45" y="20"/>
                  </a:cxn>
                  <a:cxn ang="0">
                    <a:pos x="54" y="14"/>
                  </a:cxn>
                  <a:cxn ang="0">
                    <a:pos x="74" y="32"/>
                  </a:cxn>
                  <a:cxn ang="0">
                    <a:pos x="92" y="39"/>
                  </a:cxn>
                  <a:cxn ang="0">
                    <a:pos x="103" y="32"/>
                  </a:cxn>
                  <a:cxn ang="0">
                    <a:pos x="117" y="27"/>
                  </a:cxn>
                  <a:cxn ang="0">
                    <a:pos x="130" y="29"/>
                  </a:cxn>
                  <a:cxn ang="0">
                    <a:pos x="157" y="19"/>
                  </a:cxn>
                  <a:cxn ang="0">
                    <a:pos x="172" y="20"/>
                  </a:cxn>
                  <a:cxn ang="0">
                    <a:pos x="188" y="17"/>
                  </a:cxn>
                  <a:cxn ang="0">
                    <a:pos x="206" y="12"/>
                  </a:cxn>
                  <a:cxn ang="0">
                    <a:pos x="216" y="12"/>
                  </a:cxn>
                  <a:cxn ang="0">
                    <a:pos x="230" y="7"/>
                  </a:cxn>
                  <a:cxn ang="0">
                    <a:pos x="233" y="0"/>
                  </a:cxn>
                  <a:cxn ang="0">
                    <a:pos x="238" y="2"/>
                  </a:cxn>
                  <a:cxn ang="0">
                    <a:pos x="248" y="4"/>
                  </a:cxn>
                  <a:cxn ang="0">
                    <a:pos x="245" y="15"/>
                  </a:cxn>
                  <a:cxn ang="0">
                    <a:pos x="246" y="19"/>
                  </a:cxn>
                  <a:cxn ang="0">
                    <a:pos x="243" y="27"/>
                  </a:cxn>
                  <a:cxn ang="0">
                    <a:pos x="243" y="37"/>
                  </a:cxn>
                  <a:cxn ang="0">
                    <a:pos x="248" y="35"/>
                  </a:cxn>
                  <a:cxn ang="0">
                    <a:pos x="248" y="39"/>
                  </a:cxn>
                  <a:cxn ang="0">
                    <a:pos x="238" y="44"/>
                  </a:cxn>
                  <a:cxn ang="0">
                    <a:pos x="238" y="54"/>
                  </a:cxn>
                  <a:cxn ang="0">
                    <a:pos x="225" y="82"/>
                  </a:cxn>
                  <a:cxn ang="0">
                    <a:pos x="213" y="90"/>
                  </a:cxn>
                  <a:cxn ang="0">
                    <a:pos x="213" y="98"/>
                  </a:cxn>
                  <a:cxn ang="0">
                    <a:pos x="190" y="140"/>
                  </a:cxn>
                  <a:cxn ang="0">
                    <a:pos x="172" y="168"/>
                  </a:cxn>
                  <a:cxn ang="0">
                    <a:pos x="123" y="211"/>
                  </a:cxn>
                  <a:cxn ang="0">
                    <a:pos x="97" y="226"/>
                  </a:cxn>
                  <a:cxn ang="0">
                    <a:pos x="69" y="248"/>
                  </a:cxn>
                  <a:cxn ang="0">
                    <a:pos x="50" y="266"/>
                  </a:cxn>
                  <a:cxn ang="0">
                    <a:pos x="39" y="276"/>
                  </a:cxn>
                  <a:cxn ang="0">
                    <a:pos x="0" y="283"/>
                  </a:cxn>
                  <a:cxn ang="0">
                    <a:pos x="24" y="178"/>
                  </a:cxn>
                </a:cxnLst>
                <a:rect l="0" t="0" r="r" b="b"/>
                <a:pathLst>
                  <a:path w="250" h="298">
                    <a:moveTo>
                      <a:pt x="24" y="178"/>
                    </a:moveTo>
                    <a:lnTo>
                      <a:pt x="24" y="177"/>
                    </a:lnTo>
                    <a:lnTo>
                      <a:pt x="27" y="175"/>
                    </a:lnTo>
                    <a:lnTo>
                      <a:pt x="34" y="170"/>
                    </a:lnTo>
                    <a:lnTo>
                      <a:pt x="42" y="170"/>
                    </a:lnTo>
                    <a:lnTo>
                      <a:pt x="49" y="167"/>
                    </a:lnTo>
                    <a:lnTo>
                      <a:pt x="52" y="165"/>
                    </a:lnTo>
                    <a:lnTo>
                      <a:pt x="55" y="160"/>
                    </a:lnTo>
                    <a:lnTo>
                      <a:pt x="60" y="157"/>
                    </a:lnTo>
                    <a:lnTo>
                      <a:pt x="65" y="157"/>
                    </a:lnTo>
                    <a:lnTo>
                      <a:pt x="70" y="153"/>
                    </a:lnTo>
                    <a:lnTo>
                      <a:pt x="85" y="153"/>
                    </a:lnTo>
                    <a:lnTo>
                      <a:pt x="100" y="153"/>
                    </a:lnTo>
                    <a:lnTo>
                      <a:pt x="175" y="85"/>
                    </a:lnTo>
                    <a:lnTo>
                      <a:pt x="143" y="87"/>
                    </a:lnTo>
                    <a:lnTo>
                      <a:pt x="72" y="67"/>
                    </a:lnTo>
                    <a:lnTo>
                      <a:pt x="67" y="62"/>
                    </a:lnTo>
                    <a:lnTo>
                      <a:pt x="57" y="60"/>
                    </a:lnTo>
                    <a:lnTo>
                      <a:pt x="54" y="54"/>
                    </a:lnTo>
                    <a:lnTo>
                      <a:pt x="55" y="47"/>
                    </a:lnTo>
                    <a:lnTo>
                      <a:pt x="49" y="44"/>
                    </a:lnTo>
                    <a:lnTo>
                      <a:pt x="45" y="32"/>
                    </a:lnTo>
                    <a:lnTo>
                      <a:pt x="44" y="24"/>
                    </a:lnTo>
                    <a:lnTo>
                      <a:pt x="45" y="20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69" y="29"/>
                    </a:lnTo>
                    <a:lnTo>
                      <a:pt x="70" y="32"/>
                    </a:lnTo>
                    <a:lnTo>
                      <a:pt x="74" y="32"/>
                    </a:lnTo>
                    <a:lnTo>
                      <a:pt x="79" y="37"/>
                    </a:lnTo>
                    <a:lnTo>
                      <a:pt x="85" y="39"/>
                    </a:lnTo>
                    <a:lnTo>
                      <a:pt x="92" y="39"/>
                    </a:lnTo>
                    <a:lnTo>
                      <a:pt x="94" y="35"/>
                    </a:lnTo>
                    <a:lnTo>
                      <a:pt x="100" y="32"/>
                    </a:lnTo>
                    <a:lnTo>
                      <a:pt x="103" y="32"/>
                    </a:lnTo>
                    <a:lnTo>
                      <a:pt x="112" y="27"/>
                    </a:lnTo>
                    <a:lnTo>
                      <a:pt x="115" y="27"/>
                    </a:lnTo>
                    <a:lnTo>
                      <a:pt x="117" y="27"/>
                    </a:lnTo>
                    <a:lnTo>
                      <a:pt x="123" y="27"/>
                    </a:lnTo>
                    <a:lnTo>
                      <a:pt x="125" y="27"/>
                    </a:lnTo>
                    <a:lnTo>
                      <a:pt x="130" y="29"/>
                    </a:lnTo>
                    <a:lnTo>
                      <a:pt x="137" y="29"/>
                    </a:lnTo>
                    <a:lnTo>
                      <a:pt x="152" y="20"/>
                    </a:lnTo>
                    <a:lnTo>
                      <a:pt x="157" y="19"/>
                    </a:lnTo>
                    <a:lnTo>
                      <a:pt x="162" y="20"/>
                    </a:lnTo>
                    <a:lnTo>
                      <a:pt x="165" y="20"/>
                    </a:lnTo>
                    <a:lnTo>
                      <a:pt x="172" y="20"/>
                    </a:lnTo>
                    <a:lnTo>
                      <a:pt x="178" y="17"/>
                    </a:lnTo>
                    <a:lnTo>
                      <a:pt x="185" y="17"/>
                    </a:lnTo>
                    <a:lnTo>
                      <a:pt x="188" y="17"/>
                    </a:lnTo>
                    <a:lnTo>
                      <a:pt x="190" y="17"/>
                    </a:lnTo>
                    <a:lnTo>
                      <a:pt x="201" y="15"/>
                    </a:lnTo>
                    <a:lnTo>
                      <a:pt x="206" y="12"/>
                    </a:lnTo>
                    <a:lnTo>
                      <a:pt x="213" y="12"/>
                    </a:lnTo>
                    <a:lnTo>
                      <a:pt x="216" y="14"/>
                    </a:lnTo>
                    <a:lnTo>
                      <a:pt x="216" y="12"/>
                    </a:lnTo>
                    <a:lnTo>
                      <a:pt x="225" y="10"/>
                    </a:lnTo>
                    <a:lnTo>
                      <a:pt x="228" y="7"/>
                    </a:lnTo>
                    <a:lnTo>
                      <a:pt x="230" y="7"/>
                    </a:lnTo>
                    <a:lnTo>
                      <a:pt x="231" y="4"/>
                    </a:lnTo>
                    <a:lnTo>
                      <a:pt x="230" y="4"/>
                    </a:lnTo>
                    <a:lnTo>
                      <a:pt x="233" y="0"/>
                    </a:lnTo>
                    <a:lnTo>
                      <a:pt x="235" y="0"/>
                    </a:lnTo>
                    <a:lnTo>
                      <a:pt x="235" y="0"/>
                    </a:lnTo>
                    <a:lnTo>
                      <a:pt x="238" y="2"/>
                    </a:lnTo>
                    <a:lnTo>
                      <a:pt x="245" y="4"/>
                    </a:lnTo>
                    <a:lnTo>
                      <a:pt x="246" y="4"/>
                    </a:lnTo>
                    <a:lnTo>
                      <a:pt x="248" y="4"/>
                    </a:lnTo>
                    <a:lnTo>
                      <a:pt x="246" y="7"/>
                    </a:lnTo>
                    <a:lnTo>
                      <a:pt x="245" y="12"/>
                    </a:lnTo>
                    <a:lnTo>
                      <a:pt x="245" y="15"/>
                    </a:lnTo>
                    <a:lnTo>
                      <a:pt x="243" y="17"/>
                    </a:lnTo>
                    <a:lnTo>
                      <a:pt x="243" y="19"/>
                    </a:lnTo>
                    <a:lnTo>
                      <a:pt x="246" y="19"/>
                    </a:lnTo>
                    <a:lnTo>
                      <a:pt x="246" y="20"/>
                    </a:lnTo>
                    <a:lnTo>
                      <a:pt x="245" y="22"/>
                    </a:lnTo>
                    <a:lnTo>
                      <a:pt x="243" y="27"/>
                    </a:lnTo>
                    <a:lnTo>
                      <a:pt x="245" y="29"/>
                    </a:lnTo>
                    <a:lnTo>
                      <a:pt x="245" y="34"/>
                    </a:lnTo>
                    <a:lnTo>
                      <a:pt x="243" y="37"/>
                    </a:lnTo>
                    <a:lnTo>
                      <a:pt x="246" y="37"/>
                    </a:lnTo>
                    <a:lnTo>
                      <a:pt x="246" y="35"/>
                    </a:lnTo>
                    <a:lnTo>
                      <a:pt x="248" y="35"/>
                    </a:lnTo>
                    <a:lnTo>
                      <a:pt x="250" y="39"/>
                    </a:lnTo>
                    <a:lnTo>
                      <a:pt x="248" y="39"/>
                    </a:lnTo>
                    <a:lnTo>
                      <a:pt x="248" y="39"/>
                    </a:lnTo>
                    <a:lnTo>
                      <a:pt x="245" y="39"/>
                    </a:lnTo>
                    <a:lnTo>
                      <a:pt x="241" y="39"/>
                    </a:lnTo>
                    <a:lnTo>
                      <a:pt x="238" y="44"/>
                    </a:lnTo>
                    <a:lnTo>
                      <a:pt x="240" y="47"/>
                    </a:lnTo>
                    <a:lnTo>
                      <a:pt x="240" y="52"/>
                    </a:lnTo>
                    <a:lnTo>
                      <a:pt x="238" y="54"/>
                    </a:lnTo>
                    <a:lnTo>
                      <a:pt x="238" y="60"/>
                    </a:lnTo>
                    <a:lnTo>
                      <a:pt x="230" y="70"/>
                    </a:lnTo>
                    <a:lnTo>
                      <a:pt x="225" y="82"/>
                    </a:lnTo>
                    <a:lnTo>
                      <a:pt x="221" y="85"/>
                    </a:lnTo>
                    <a:lnTo>
                      <a:pt x="218" y="85"/>
                    </a:lnTo>
                    <a:lnTo>
                      <a:pt x="213" y="90"/>
                    </a:lnTo>
                    <a:lnTo>
                      <a:pt x="213" y="93"/>
                    </a:lnTo>
                    <a:lnTo>
                      <a:pt x="215" y="97"/>
                    </a:lnTo>
                    <a:lnTo>
                      <a:pt x="213" y="98"/>
                    </a:lnTo>
                    <a:lnTo>
                      <a:pt x="198" y="122"/>
                    </a:lnTo>
                    <a:lnTo>
                      <a:pt x="198" y="128"/>
                    </a:lnTo>
                    <a:lnTo>
                      <a:pt x="190" y="140"/>
                    </a:lnTo>
                    <a:lnTo>
                      <a:pt x="188" y="143"/>
                    </a:lnTo>
                    <a:lnTo>
                      <a:pt x="172" y="163"/>
                    </a:lnTo>
                    <a:lnTo>
                      <a:pt x="172" y="168"/>
                    </a:lnTo>
                    <a:lnTo>
                      <a:pt x="163" y="175"/>
                    </a:lnTo>
                    <a:lnTo>
                      <a:pt x="150" y="190"/>
                    </a:lnTo>
                    <a:lnTo>
                      <a:pt x="123" y="211"/>
                    </a:lnTo>
                    <a:lnTo>
                      <a:pt x="112" y="220"/>
                    </a:lnTo>
                    <a:lnTo>
                      <a:pt x="103" y="221"/>
                    </a:lnTo>
                    <a:lnTo>
                      <a:pt x="97" y="226"/>
                    </a:lnTo>
                    <a:lnTo>
                      <a:pt x="89" y="231"/>
                    </a:lnTo>
                    <a:lnTo>
                      <a:pt x="72" y="248"/>
                    </a:lnTo>
                    <a:lnTo>
                      <a:pt x="69" y="248"/>
                    </a:lnTo>
                    <a:lnTo>
                      <a:pt x="55" y="261"/>
                    </a:lnTo>
                    <a:lnTo>
                      <a:pt x="52" y="263"/>
                    </a:lnTo>
                    <a:lnTo>
                      <a:pt x="50" y="266"/>
                    </a:lnTo>
                    <a:lnTo>
                      <a:pt x="45" y="268"/>
                    </a:lnTo>
                    <a:lnTo>
                      <a:pt x="40" y="271"/>
                    </a:lnTo>
                    <a:lnTo>
                      <a:pt x="39" y="276"/>
                    </a:lnTo>
                    <a:lnTo>
                      <a:pt x="19" y="296"/>
                    </a:lnTo>
                    <a:lnTo>
                      <a:pt x="19" y="298"/>
                    </a:lnTo>
                    <a:lnTo>
                      <a:pt x="0" y="283"/>
                    </a:lnTo>
                    <a:lnTo>
                      <a:pt x="2" y="196"/>
                    </a:lnTo>
                    <a:lnTo>
                      <a:pt x="24" y="178"/>
                    </a:lnTo>
                    <a:lnTo>
                      <a:pt x="24" y="1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5" name="Freeform 97">
                <a:extLst>
                  <a:ext uri="{FF2B5EF4-FFF2-40B4-BE49-F238E27FC236}">
                    <a16:creationId xmlns:a16="http://schemas.microsoft.com/office/drawing/2014/main" id="{111E08FF-C0BD-A046-8CA9-EB16F19F4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25990" y="3206421"/>
                <a:ext cx="135921" cy="115173"/>
              </a:xfrm>
              <a:custGeom>
                <a:avLst/>
                <a:gdLst/>
                <a:ahLst/>
                <a:cxnLst>
                  <a:cxn ang="0">
                    <a:pos x="64" y="25"/>
                  </a:cxn>
                  <a:cxn ang="0">
                    <a:pos x="69" y="22"/>
                  </a:cxn>
                  <a:cxn ang="0">
                    <a:pos x="76" y="19"/>
                  </a:cxn>
                  <a:cxn ang="0">
                    <a:pos x="93" y="0"/>
                  </a:cxn>
                  <a:cxn ang="0">
                    <a:pos x="99" y="4"/>
                  </a:cxn>
                  <a:cxn ang="0">
                    <a:pos x="103" y="17"/>
                  </a:cxn>
                  <a:cxn ang="0">
                    <a:pos x="113" y="22"/>
                  </a:cxn>
                  <a:cxn ang="0">
                    <a:pos x="123" y="22"/>
                  </a:cxn>
                  <a:cxn ang="0">
                    <a:pos x="139" y="24"/>
                  </a:cxn>
                  <a:cxn ang="0">
                    <a:pos x="156" y="35"/>
                  </a:cxn>
                  <a:cxn ang="0">
                    <a:pos x="164" y="42"/>
                  </a:cxn>
                  <a:cxn ang="0">
                    <a:pos x="177" y="43"/>
                  </a:cxn>
                  <a:cxn ang="0">
                    <a:pos x="189" y="43"/>
                  </a:cxn>
                  <a:cxn ang="0">
                    <a:pos x="197" y="43"/>
                  </a:cxn>
                  <a:cxn ang="0">
                    <a:pos x="206" y="32"/>
                  </a:cxn>
                  <a:cxn ang="0">
                    <a:pos x="214" y="30"/>
                  </a:cxn>
                  <a:cxn ang="0">
                    <a:pos x="229" y="27"/>
                  </a:cxn>
                  <a:cxn ang="0">
                    <a:pos x="234" y="34"/>
                  </a:cxn>
                  <a:cxn ang="0">
                    <a:pos x="247" y="35"/>
                  </a:cxn>
                  <a:cxn ang="0">
                    <a:pos x="232" y="53"/>
                  </a:cxn>
                  <a:cxn ang="0">
                    <a:pos x="249" y="155"/>
                  </a:cxn>
                  <a:cxn ang="0">
                    <a:pos x="240" y="165"/>
                  </a:cxn>
                  <a:cxn ang="0">
                    <a:pos x="235" y="168"/>
                  </a:cxn>
                  <a:cxn ang="0">
                    <a:pos x="229" y="173"/>
                  </a:cxn>
                  <a:cxn ang="0">
                    <a:pos x="217" y="178"/>
                  </a:cxn>
                  <a:cxn ang="0">
                    <a:pos x="214" y="181"/>
                  </a:cxn>
                  <a:cxn ang="0">
                    <a:pos x="209" y="186"/>
                  </a:cxn>
                  <a:cxn ang="0">
                    <a:pos x="207" y="193"/>
                  </a:cxn>
                  <a:cxn ang="0">
                    <a:pos x="204" y="203"/>
                  </a:cxn>
                  <a:cxn ang="0">
                    <a:pos x="191" y="221"/>
                  </a:cxn>
                  <a:cxn ang="0">
                    <a:pos x="184" y="223"/>
                  </a:cxn>
                  <a:cxn ang="0">
                    <a:pos x="151" y="201"/>
                  </a:cxn>
                  <a:cxn ang="0">
                    <a:pos x="152" y="196"/>
                  </a:cxn>
                  <a:cxn ang="0">
                    <a:pos x="58" y="143"/>
                  </a:cxn>
                  <a:cxn ang="0">
                    <a:pos x="58" y="122"/>
                  </a:cxn>
                  <a:cxn ang="0">
                    <a:pos x="63" y="112"/>
                  </a:cxn>
                  <a:cxn ang="0">
                    <a:pos x="69" y="103"/>
                  </a:cxn>
                  <a:cxn ang="0">
                    <a:pos x="74" y="97"/>
                  </a:cxn>
                  <a:cxn ang="0">
                    <a:pos x="83" y="95"/>
                  </a:cxn>
                  <a:cxn ang="0">
                    <a:pos x="84" y="87"/>
                  </a:cxn>
                  <a:cxn ang="0">
                    <a:pos x="91" y="77"/>
                  </a:cxn>
                  <a:cxn ang="0">
                    <a:pos x="86" y="68"/>
                  </a:cxn>
                  <a:cxn ang="0">
                    <a:pos x="84" y="63"/>
                  </a:cxn>
                  <a:cxn ang="0">
                    <a:pos x="79" y="57"/>
                  </a:cxn>
                  <a:cxn ang="0">
                    <a:pos x="73" y="47"/>
                  </a:cxn>
                  <a:cxn ang="0">
                    <a:pos x="68" y="42"/>
                  </a:cxn>
                  <a:cxn ang="0">
                    <a:pos x="66" y="37"/>
                  </a:cxn>
                  <a:cxn ang="0">
                    <a:pos x="63" y="29"/>
                  </a:cxn>
                  <a:cxn ang="0">
                    <a:pos x="63" y="29"/>
                  </a:cxn>
                  <a:cxn ang="0">
                    <a:pos x="0" y="145"/>
                  </a:cxn>
                  <a:cxn ang="0">
                    <a:pos x="18" y="145"/>
                  </a:cxn>
                  <a:cxn ang="0">
                    <a:pos x="0" y="145"/>
                  </a:cxn>
                </a:cxnLst>
                <a:rect l="0" t="0" r="r" b="b"/>
                <a:pathLst>
                  <a:path w="254" h="223">
                    <a:moveTo>
                      <a:pt x="63" y="29"/>
                    </a:moveTo>
                    <a:lnTo>
                      <a:pt x="64" y="25"/>
                    </a:lnTo>
                    <a:lnTo>
                      <a:pt x="66" y="24"/>
                    </a:lnTo>
                    <a:lnTo>
                      <a:pt x="69" y="22"/>
                    </a:lnTo>
                    <a:lnTo>
                      <a:pt x="74" y="17"/>
                    </a:lnTo>
                    <a:lnTo>
                      <a:pt x="76" y="19"/>
                    </a:lnTo>
                    <a:lnTo>
                      <a:pt x="83" y="10"/>
                    </a:lnTo>
                    <a:lnTo>
                      <a:pt x="93" y="0"/>
                    </a:lnTo>
                    <a:lnTo>
                      <a:pt x="94" y="4"/>
                    </a:lnTo>
                    <a:lnTo>
                      <a:pt x="99" y="4"/>
                    </a:lnTo>
                    <a:lnTo>
                      <a:pt x="103" y="4"/>
                    </a:lnTo>
                    <a:lnTo>
                      <a:pt x="103" y="17"/>
                    </a:lnTo>
                    <a:lnTo>
                      <a:pt x="108" y="22"/>
                    </a:lnTo>
                    <a:lnTo>
                      <a:pt x="113" y="22"/>
                    </a:lnTo>
                    <a:lnTo>
                      <a:pt x="118" y="20"/>
                    </a:lnTo>
                    <a:lnTo>
                      <a:pt x="123" y="22"/>
                    </a:lnTo>
                    <a:lnTo>
                      <a:pt x="136" y="20"/>
                    </a:lnTo>
                    <a:lnTo>
                      <a:pt x="139" y="24"/>
                    </a:lnTo>
                    <a:lnTo>
                      <a:pt x="149" y="32"/>
                    </a:lnTo>
                    <a:lnTo>
                      <a:pt x="156" y="35"/>
                    </a:lnTo>
                    <a:lnTo>
                      <a:pt x="159" y="40"/>
                    </a:lnTo>
                    <a:lnTo>
                      <a:pt x="164" y="42"/>
                    </a:lnTo>
                    <a:lnTo>
                      <a:pt x="172" y="42"/>
                    </a:lnTo>
                    <a:lnTo>
                      <a:pt x="177" y="43"/>
                    </a:lnTo>
                    <a:lnTo>
                      <a:pt x="184" y="42"/>
                    </a:lnTo>
                    <a:lnTo>
                      <a:pt x="189" y="43"/>
                    </a:lnTo>
                    <a:lnTo>
                      <a:pt x="192" y="43"/>
                    </a:lnTo>
                    <a:lnTo>
                      <a:pt x="197" y="43"/>
                    </a:lnTo>
                    <a:lnTo>
                      <a:pt x="202" y="35"/>
                    </a:lnTo>
                    <a:lnTo>
                      <a:pt x="206" y="32"/>
                    </a:lnTo>
                    <a:lnTo>
                      <a:pt x="211" y="30"/>
                    </a:lnTo>
                    <a:lnTo>
                      <a:pt x="214" y="30"/>
                    </a:lnTo>
                    <a:lnTo>
                      <a:pt x="217" y="29"/>
                    </a:lnTo>
                    <a:lnTo>
                      <a:pt x="229" y="27"/>
                    </a:lnTo>
                    <a:lnTo>
                      <a:pt x="232" y="29"/>
                    </a:lnTo>
                    <a:lnTo>
                      <a:pt x="234" y="34"/>
                    </a:lnTo>
                    <a:lnTo>
                      <a:pt x="239" y="35"/>
                    </a:lnTo>
                    <a:lnTo>
                      <a:pt x="247" y="35"/>
                    </a:lnTo>
                    <a:lnTo>
                      <a:pt x="254" y="35"/>
                    </a:lnTo>
                    <a:lnTo>
                      <a:pt x="232" y="53"/>
                    </a:lnTo>
                    <a:lnTo>
                      <a:pt x="230" y="140"/>
                    </a:lnTo>
                    <a:lnTo>
                      <a:pt x="249" y="155"/>
                    </a:lnTo>
                    <a:lnTo>
                      <a:pt x="247" y="156"/>
                    </a:lnTo>
                    <a:lnTo>
                      <a:pt x="240" y="165"/>
                    </a:lnTo>
                    <a:lnTo>
                      <a:pt x="237" y="165"/>
                    </a:lnTo>
                    <a:lnTo>
                      <a:pt x="235" y="168"/>
                    </a:lnTo>
                    <a:lnTo>
                      <a:pt x="237" y="170"/>
                    </a:lnTo>
                    <a:lnTo>
                      <a:pt x="229" y="173"/>
                    </a:lnTo>
                    <a:lnTo>
                      <a:pt x="224" y="178"/>
                    </a:lnTo>
                    <a:lnTo>
                      <a:pt x="217" y="178"/>
                    </a:lnTo>
                    <a:lnTo>
                      <a:pt x="214" y="180"/>
                    </a:lnTo>
                    <a:lnTo>
                      <a:pt x="214" y="181"/>
                    </a:lnTo>
                    <a:lnTo>
                      <a:pt x="211" y="185"/>
                    </a:lnTo>
                    <a:lnTo>
                      <a:pt x="209" y="186"/>
                    </a:lnTo>
                    <a:lnTo>
                      <a:pt x="211" y="188"/>
                    </a:lnTo>
                    <a:lnTo>
                      <a:pt x="207" y="193"/>
                    </a:lnTo>
                    <a:lnTo>
                      <a:pt x="204" y="198"/>
                    </a:lnTo>
                    <a:lnTo>
                      <a:pt x="204" y="203"/>
                    </a:lnTo>
                    <a:lnTo>
                      <a:pt x="199" y="210"/>
                    </a:lnTo>
                    <a:lnTo>
                      <a:pt x="191" y="221"/>
                    </a:lnTo>
                    <a:lnTo>
                      <a:pt x="186" y="223"/>
                    </a:lnTo>
                    <a:lnTo>
                      <a:pt x="184" y="223"/>
                    </a:lnTo>
                    <a:lnTo>
                      <a:pt x="154" y="205"/>
                    </a:lnTo>
                    <a:lnTo>
                      <a:pt x="151" y="201"/>
                    </a:lnTo>
                    <a:lnTo>
                      <a:pt x="151" y="200"/>
                    </a:lnTo>
                    <a:lnTo>
                      <a:pt x="152" y="196"/>
                    </a:lnTo>
                    <a:lnTo>
                      <a:pt x="147" y="190"/>
                    </a:lnTo>
                    <a:lnTo>
                      <a:pt x="58" y="143"/>
                    </a:lnTo>
                    <a:lnTo>
                      <a:pt x="51" y="143"/>
                    </a:lnTo>
                    <a:lnTo>
                      <a:pt x="58" y="122"/>
                    </a:lnTo>
                    <a:lnTo>
                      <a:pt x="58" y="115"/>
                    </a:lnTo>
                    <a:lnTo>
                      <a:pt x="63" y="112"/>
                    </a:lnTo>
                    <a:lnTo>
                      <a:pt x="66" y="107"/>
                    </a:lnTo>
                    <a:lnTo>
                      <a:pt x="69" y="103"/>
                    </a:lnTo>
                    <a:lnTo>
                      <a:pt x="71" y="100"/>
                    </a:lnTo>
                    <a:lnTo>
                      <a:pt x="74" y="97"/>
                    </a:lnTo>
                    <a:lnTo>
                      <a:pt x="74" y="95"/>
                    </a:lnTo>
                    <a:lnTo>
                      <a:pt x="83" y="95"/>
                    </a:lnTo>
                    <a:lnTo>
                      <a:pt x="84" y="90"/>
                    </a:lnTo>
                    <a:lnTo>
                      <a:pt x="84" y="87"/>
                    </a:lnTo>
                    <a:lnTo>
                      <a:pt x="89" y="80"/>
                    </a:lnTo>
                    <a:lnTo>
                      <a:pt x="91" y="77"/>
                    </a:lnTo>
                    <a:lnTo>
                      <a:pt x="89" y="72"/>
                    </a:lnTo>
                    <a:lnTo>
                      <a:pt x="86" y="68"/>
                    </a:lnTo>
                    <a:lnTo>
                      <a:pt x="88" y="67"/>
                    </a:lnTo>
                    <a:lnTo>
                      <a:pt x="84" y="63"/>
                    </a:lnTo>
                    <a:lnTo>
                      <a:pt x="81" y="63"/>
                    </a:lnTo>
                    <a:lnTo>
                      <a:pt x="79" y="57"/>
                    </a:lnTo>
                    <a:lnTo>
                      <a:pt x="73" y="52"/>
                    </a:lnTo>
                    <a:lnTo>
                      <a:pt x="73" y="47"/>
                    </a:lnTo>
                    <a:lnTo>
                      <a:pt x="71" y="42"/>
                    </a:lnTo>
                    <a:lnTo>
                      <a:pt x="68" y="42"/>
                    </a:lnTo>
                    <a:lnTo>
                      <a:pt x="69" y="37"/>
                    </a:lnTo>
                    <a:lnTo>
                      <a:pt x="66" y="37"/>
                    </a:lnTo>
                    <a:lnTo>
                      <a:pt x="64" y="30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close/>
                    <a:moveTo>
                      <a:pt x="0" y="145"/>
                    </a:moveTo>
                    <a:lnTo>
                      <a:pt x="8" y="145"/>
                    </a:lnTo>
                    <a:lnTo>
                      <a:pt x="18" y="145"/>
                    </a:lnTo>
                    <a:lnTo>
                      <a:pt x="0" y="145"/>
                    </a:lnTo>
                    <a:lnTo>
                      <a:pt x="0" y="1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6" name="Freeform 98">
                <a:extLst>
                  <a:ext uri="{FF2B5EF4-FFF2-40B4-BE49-F238E27FC236}">
                    <a16:creationId xmlns:a16="http://schemas.microsoft.com/office/drawing/2014/main" id="{45491656-655C-4640-AE2D-A22B7E82D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9233" y="3220948"/>
                <a:ext cx="74917" cy="65368"/>
              </a:xfrm>
              <a:custGeom>
                <a:avLst/>
                <a:gdLst/>
                <a:ahLst/>
                <a:cxnLst>
                  <a:cxn ang="0">
                    <a:pos x="108" y="86"/>
                  </a:cxn>
                  <a:cxn ang="0">
                    <a:pos x="116" y="78"/>
                  </a:cxn>
                  <a:cxn ang="0">
                    <a:pos x="121" y="71"/>
                  </a:cxn>
                  <a:cxn ang="0">
                    <a:pos x="124" y="66"/>
                  </a:cxn>
                  <a:cxn ang="0">
                    <a:pos x="134" y="61"/>
                  </a:cxn>
                  <a:cxn ang="0">
                    <a:pos x="139" y="51"/>
                  </a:cxn>
                  <a:cxn ang="0">
                    <a:pos x="139" y="43"/>
                  </a:cxn>
                  <a:cxn ang="0">
                    <a:pos x="138" y="38"/>
                  </a:cxn>
                  <a:cxn ang="0">
                    <a:pos x="131" y="34"/>
                  </a:cxn>
                  <a:cxn ang="0">
                    <a:pos x="123" y="23"/>
                  </a:cxn>
                  <a:cxn ang="0">
                    <a:pos x="121" y="13"/>
                  </a:cxn>
                  <a:cxn ang="0">
                    <a:pos x="119" y="8"/>
                  </a:cxn>
                  <a:cxn ang="0">
                    <a:pos x="114" y="1"/>
                  </a:cxn>
                  <a:cxn ang="0">
                    <a:pos x="106" y="3"/>
                  </a:cxn>
                  <a:cxn ang="0">
                    <a:pos x="98" y="8"/>
                  </a:cxn>
                  <a:cxn ang="0">
                    <a:pos x="84" y="8"/>
                  </a:cxn>
                  <a:cxn ang="0">
                    <a:pos x="75" y="9"/>
                  </a:cxn>
                  <a:cxn ang="0">
                    <a:pos x="70" y="9"/>
                  </a:cxn>
                  <a:cxn ang="0">
                    <a:pos x="66" y="16"/>
                  </a:cxn>
                  <a:cxn ang="0">
                    <a:pos x="58" y="14"/>
                  </a:cxn>
                  <a:cxn ang="0">
                    <a:pos x="53" y="9"/>
                  </a:cxn>
                  <a:cxn ang="0">
                    <a:pos x="43" y="9"/>
                  </a:cxn>
                  <a:cxn ang="0">
                    <a:pos x="36" y="9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3"/>
                  </a:cxn>
                  <a:cxn ang="0">
                    <a:pos x="31" y="36"/>
                  </a:cxn>
                  <a:cxn ang="0">
                    <a:pos x="33" y="43"/>
                  </a:cxn>
                  <a:cxn ang="0">
                    <a:pos x="38" y="49"/>
                  </a:cxn>
                  <a:cxn ang="0">
                    <a:pos x="25" y="68"/>
                  </a:cxn>
                  <a:cxn ang="0">
                    <a:pos x="15" y="78"/>
                  </a:cxn>
                  <a:cxn ang="0">
                    <a:pos x="3" y="96"/>
                  </a:cxn>
                  <a:cxn ang="0">
                    <a:pos x="3" y="111"/>
                  </a:cxn>
                  <a:cxn ang="0">
                    <a:pos x="0" y="122"/>
                  </a:cxn>
                  <a:cxn ang="0">
                    <a:pos x="0" y="124"/>
                  </a:cxn>
                  <a:cxn ang="0">
                    <a:pos x="8" y="121"/>
                  </a:cxn>
                  <a:cxn ang="0">
                    <a:pos x="13" y="124"/>
                  </a:cxn>
                  <a:cxn ang="0">
                    <a:pos x="18" y="122"/>
                  </a:cxn>
                  <a:cxn ang="0">
                    <a:pos x="23" y="119"/>
                  </a:cxn>
                  <a:cxn ang="0">
                    <a:pos x="25" y="117"/>
                  </a:cxn>
                  <a:cxn ang="0">
                    <a:pos x="28" y="116"/>
                  </a:cxn>
                  <a:cxn ang="0">
                    <a:pos x="50" y="116"/>
                  </a:cxn>
                  <a:cxn ang="0">
                    <a:pos x="101" y="114"/>
                  </a:cxn>
                </a:cxnLst>
                <a:rect l="0" t="0" r="r" b="b"/>
                <a:pathLst>
                  <a:path w="141" h="124">
                    <a:moveTo>
                      <a:pt x="108" y="93"/>
                    </a:moveTo>
                    <a:lnTo>
                      <a:pt x="108" y="86"/>
                    </a:lnTo>
                    <a:lnTo>
                      <a:pt x="113" y="83"/>
                    </a:lnTo>
                    <a:lnTo>
                      <a:pt x="116" y="78"/>
                    </a:lnTo>
                    <a:lnTo>
                      <a:pt x="119" y="74"/>
                    </a:lnTo>
                    <a:lnTo>
                      <a:pt x="121" y="71"/>
                    </a:lnTo>
                    <a:lnTo>
                      <a:pt x="124" y="68"/>
                    </a:lnTo>
                    <a:lnTo>
                      <a:pt x="124" y="66"/>
                    </a:lnTo>
                    <a:lnTo>
                      <a:pt x="133" y="66"/>
                    </a:lnTo>
                    <a:lnTo>
                      <a:pt x="134" y="61"/>
                    </a:lnTo>
                    <a:lnTo>
                      <a:pt x="134" y="58"/>
                    </a:lnTo>
                    <a:lnTo>
                      <a:pt x="139" y="51"/>
                    </a:lnTo>
                    <a:lnTo>
                      <a:pt x="141" y="48"/>
                    </a:lnTo>
                    <a:lnTo>
                      <a:pt x="139" y="43"/>
                    </a:lnTo>
                    <a:lnTo>
                      <a:pt x="136" y="39"/>
                    </a:lnTo>
                    <a:lnTo>
                      <a:pt x="138" y="38"/>
                    </a:lnTo>
                    <a:lnTo>
                      <a:pt x="134" y="34"/>
                    </a:lnTo>
                    <a:lnTo>
                      <a:pt x="131" y="34"/>
                    </a:lnTo>
                    <a:lnTo>
                      <a:pt x="129" y="28"/>
                    </a:lnTo>
                    <a:lnTo>
                      <a:pt x="123" y="23"/>
                    </a:lnTo>
                    <a:lnTo>
                      <a:pt x="123" y="18"/>
                    </a:lnTo>
                    <a:lnTo>
                      <a:pt x="121" y="13"/>
                    </a:lnTo>
                    <a:lnTo>
                      <a:pt x="118" y="13"/>
                    </a:lnTo>
                    <a:lnTo>
                      <a:pt x="119" y="8"/>
                    </a:lnTo>
                    <a:lnTo>
                      <a:pt x="116" y="8"/>
                    </a:lnTo>
                    <a:lnTo>
                      <a:pt x="114" y="1"/>
                    </a:lnTo>
                    <a:lnTo>
                      <a:pt x="113" y="0"/>
                    </a:lnTo>
                    <a:lnTo>
                      <a:pt x="106" y="3"/>
                    </a:lnTo>
                    <a:lnTo>
                      <a:pt x="103" y="6"/>
                    </a:lnTo>
                    <a:lnTo>
                      <a:pt x="98" y="8"/>
                    </a:lnTo>
                    <a:lnTo>
                      <a:pt x="93" y="8"/>
                    </a:lnTo>
                    <a:lnTo>
                      <a:pt x="84" y="8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73" y="11"/>
                    </a:lnTo>
                    <a:lnTo>
                      <a:pt x="70" y="9"/>
                    </a:lnTo>
                    <a:lnTo>
                      <a:pt x="66" y="13"/>
                    </a:lnTo>
                    <a:lnTo>
                      <a:pt x="66" y="16"/>
                    </a:lnTo>
                    <a:lnTo>
                      <a:pt x="65" y="16"/>
                    </a:lnTo>
                    <a:lnTo>
                      <a:pt x="58" y="14"/>
                    </a:lnTo>
                    <a:lnTo>
                      <a:pt x="58" y="11"/>
                    </a:lnTo>
                    <a:lnTo>
                      <a:pt x="53" y="9"/>
                    </a:lnTo>
                    <a:lnTo>
                      <a:pt x="50" y="11"/>
                    </a:lnTo>
                    <a:lnTo>
                      <a:pt x="43" y="9"/>
                    </a:lnTo>
                    <a:lnTo>
                      <a:pt x="38" y="8"/>
                    </a:lnTo>
                    <a:lnTo>
                      <a:pt x="36" y="9"/>
                    </a:lnTo>
                    <a:lnTo>
                      <a:pt x="35" y="13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5" y="19"/>
                    </a:lnTo>
                    <a:lnTo>
                      <a:pt x="33" y="23"/>
                    </a:lnTo>
                    <a:lnTo>
                      <a:pt x="33" y="28"/>
                    </a:lnTo>
                    <a:lnTo>
                      <a:pt x="31" y="36"/>
                    </a:lnTo>
                    <a:lnTo>
                      <a:pt x="31" y="41"/>
                    </a:lnTo>
                    <a:lnTo>
                      <a:pt x="33" y="43"/>
                    </a:lnTo>
                    <a:lnTo>
                      <a:pt x="36" y="46"/>
                    </a:lnTo>
                    <a:lnTo>
                      <a:pt x="38" y="49"/>
                    </a:lnTo>
                    <a:lnTo>
                      <a:pt x="36" y="53"/>
                    </a:lnTo>
                    <a:lnTo>
                      <a:pt x="25" y="68"/>
                    </a:lnTo>
                    <a:lnTo>
                      <a:pt x="16" y="74"/>
                    </a:lnTo>
                    <a:lnTo>
                      <a:pt x="15" y="78"/>
                    </a:lnTo>
                    <a:lnTo>
                      <a:pt x="5" y="94"/>
                    </a:lnTo>
                    <a:lnTo>
                      <a:pt x="3" y="96"/>
                    </a:lnTo>
                    <a:lnTo>
                      <a:pt x="3" y="103"/>
                    </a:lnTo>
                    <a:lnTo>
                      <a:pt x="3" y="111"/>
                    </a:lnTo>
                    <a:lnTo>
                      <a:pt x="0" y="117"/>
                    </a:lnTo>
                    <a:lnTo>
                      <a:pt x="0" y="122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5" y="124"/>
                    </a:lnTo>
                    <a:lnTo>
                      <a:pt x="8" y="121"/>
                    </a:lnTo>
                    <a:lnTo>
                      <a:pt x="11" y="122"/>
                    </a:lnTo>
                    <a:lnTo>
                      <a:pt x="13" y="124"/>
                    </a:lnTo>
                    <a:lnTo>
                      <a:pt x="16" y="124"/>
                    </a:lnTo>
                    <a:lnTo>
                      <a:pt x="18" y="122"/>
                    </a:lnTo>
                    <a:lnTo>
                      <a:pt x="18" y="119"/>
                    </a:lnTo>
                    <a:lnTo>
                      <a:pt x="23" y="119"/>
                    </a:lnTo>
                    <a:lnTo>
                      <a:pt x="23" y="119"/>
                    </a:lnTo>
                    <a:lnTo>
                      <a:pt x="25" y="117"/>
                    </a:lnTo>
                    <a:lnTo>
                      <a:pt x="26" y="117"/>
                    </a:lnTo>
                    <a:lnTo>
                      <a:pt x="28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68" y="116"/>
                    </a:lnTo>
                    <a:lnTo>
                      <a:pt x="101" y="114"/>
                    </a:lnTo>
                    <a:lnTo>
                      <a:pt x="108" y="9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7" name="Freeform 99">
                <a:extLst>
                  <a:ext uri="{FF2B5EF4-FFF2-40B4-BE49-F238E27FC236}">
                    <a16:creationId xmlns:a16="http://schemas.microsoft.com/office/drawing/2014/main" id="{FA3C1E57-C9B8-174B-A35F-6CFA23F931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3378" y="3142091"/>
                <a:ext cx="169099" cy="99608"/>
              </a:xfrm>
              <a:custGeom>
                <a:avLst/>
                <a:gdLst/>
                <a:ahLst/>
                <a:cxnLst>
                  <a:cxn ang="0">
                    <a:pos x="201" y="6"/>
                  </a:cxn>
                  <a:cxn ang="0">
                    <a:pos x="218" y="30"/>
                  </a:cxn>
                  <a:cxn ang="0">
                    <a:pos x="215" y="43"/>
                  </a:cxn>
                  <a:cxn ang="0">
                    <a:pos x="226" y="51"/>
                  </a:cxn>
                  <a:cxn ang="0">
                    <a:pos x="236" y="60"/>
                  </a:cxn>
                  <a:cxn ang="0">
                    <a:pos x="253" y="68"/>
                  </a:cxn>
                  <a:cxn ang="0">
                    <a:pos x="264" y="74"/>
                  </a:cxn>
                  <a:cxn ang="0">
                    <a:pos x="258" y="84"/>
                  </a:cxn>
                  <a:cxn ang="0">
                    <a:pos x="273" y="89"/>
                  </a:cxn>
                  <a:cxn ang="0">
                    <a:pos x="284" y="103"/>
                  </a:cxn>
                  <a:cxn ang="0">
                    <a:pos x="294" y="113"/>
                  </a:cxn>
                  <a:cxn ang="0">
                    <a:pos x="308" y="121"/>
                  </a:cxn>
                  <a:cxn ang="0">
                    <a:pos x="316" y="134"/>
                  </a:cxn>
                  <a:cxn ang="0">
                    <a:pos x="306" y="133"/>
                  </a:cxn>
                  <a:cxn ang="0">
                    <a:pos x="284" y="133"/>
                  </a:cxn>
                  <a:cxn ang="0">
                    <a:pos x="271" y="131"/>
                  </a:cxn>
                  <a:cxn ang="0">
                    <a:pos x="266" y="133"/>
                  </a:cxn>
                  <a:cxn ang="0">
                    <a:pos x="249" y="138"/>
                  </a:cxn>
                  <a:cxn ang="0">
                    <a:pos x="243" y="136"/>
                  </a:cxn>
                  <a:cxn ang="0">
                    <a:pos x="225" y="139"/>
                  </a:cxn>
                  <a:cxn ang="0">
                    <a:pos x="206" y="141"/>
                  </a:cxn>
                  <a:cxn ang="0">
                    <a:pos x="190" y="148"/>
                  </a:cxn>
                  <a:cxn ang="0">
                    <a:pos x="186" y="154"/>
                  </a:cxn>
                  <a:cxn ang="0">
                    <a:pos x="171" y="151"/>
                  </a:cxn>
                  <a:cxn ang="0">
                    <a:pos x="153" y="149"/>
                  </a:cxn>
                  <a:cxn ang="0">
                    <a:pos x="137" y="143"/>
                  </a:cxn>
                  <a:cxn ang="0">
                    <a:pos x="122" y="134"/>
                  </a:cxn>
                  <a:cxn ang="0">
                    <a:pos x="110" y="138"/>
                  </a:cxn>
                  <a:cxn ang="0">
                    <a:pos x="105" y="148"/>
                  </a:cxn>
                  <a:cxn ang="0">
                    <a:pos x="103" y="156"/>
                  </a:cxn>
                  <a:cxn ang="0">
                    <a:pos x="98" y="166"/>
                  </a:cxn>
                  <a:cxn ang="0">
                    <a:pos x="87" y="162"/>
                  </a:cxn>
                  <a:cxn ang="0">
                    <a:pos x="65" y="167"/>
                  </a:cxn>
                  <a:cxn ang="0">
                    <a:pos x="42" y="192"/>
                  </a:cxn>
                  <a:cxn ang="0">
                    <a:pos x="40" y="182"/>
                  </a:cxn>
                  <a:cxn ang="0">
                    <a:pos x="20" y="161"/>
                  </a:cxn>
                  <a:cxn ang="0">
                    <a:pos x="5" y="146"/>
                  </a:cxn>
                  <a:cxn ang="0">
                    <a:pos x="4" y="123"/>
                  </a:cxn>
                  <a:cxn ang="0">
                    <a:pos x="5" y="108"/>
                  </a:cxn>
                  <a:cxn ang="0">
                    <a:pos x="20" y="84"/>
                  </a:cxn>
                  <a:cxn ang="0">
                    <a:pos x="30" y="78"/>
                  </a:cxn>
                  <a:cxn ang="0">
                    <a:pos x="47" y="81"/>
                  </a:cxn>
                  <a:cxn ang="0">
                    <a:pos x="55" y="73"/>
                  </a:cxn>
                  <a:cxn ang="0">
                    <a:pos x="68" y="74"/>
                  </a:cxn>
                  <a:cxn ang="0">
                    <a:pos x="103" y="64"/>
                  </a:cxn>
                  <a:cxn ang="0">
                    <a:pos x="110" y="55"/>
                  </a:cxn>
                  <a:cxn ang="0">
                    <a:pos x="113" y="45"/>
                  </a:cxn>
                  <a:cxn ang="0">
                    <a:pos x="135" y="46"/>
                  </a:cxn>
                  <a:cxn ang="0">
                    <a:pos x="155" y="36"/>
                  </a:cxn>
                  <a:cxn ang="0">
                    <a:pos x="158" y="25"/>
                  </a:cxn>
                  <a:cxn ang="0">
                    <a:pos x="170" y="15"/>
                  </a:cxn>
                  <a:cxn ang="0">
                    <a:pos x="180" y="5"/>
                  </a:cxn>
                  <a:cxn ang="0">
                    <a:pos x="200" y="1"/>
                  </a:cxn>
                </a:cxnLst>
                <a:rect l="0" t="0" r="r" b="b"/>
                <a:pathLst>
                  <a:path w="316" h="192">
                    <a:moveTo>
                      <a:pt x="200" y="0"/>
                    </a:moveTo>
                    <a:lnTo>
                      <a:pt x="203" y="3"/>
                    </a:lnTo>
                    <a:lnTo>
                      <a:pt x="203" y="5"/>
                    </a:lnTo>
                    <a:lnTo>
                      <a:pt x="201" y="6"/>
                    </a:lnTo>
                    <a:lnTo>
                      <a:pt x="206" y="11"/>
                    </a:lnTo>
                    <a:lnTo>
                      <a:pt x="208" y="13"/>
                    </a:lnTo>
                    <a:lnTo>
                      <a:pt x="213" y="21"/>
                    </a:lnTo>
                    <a:lnTo>
                      <a:pt x="218" y="30"/>
                    </a:lnTo>
                    <a:lnTo>
                      <a:pt x="220" y="33"/>
                    </a:lnTo>
                    <a:lnTo>
                      <a:pt x="218" y="38"/>
                    </a:lnTo>
                    <a:lnTo>
                      <a:pt x="216" y="40"/>
                    </a:lnTo>
                    <a:lnTo>
                      <a:pt x="215" y="43"/>
                    </a:lnTo>
                    <a:lnTo>
                      <a:pt x="216" y="50"/>
                    </a:lnTo>
                    <a:lnTo>
                      <a:pt x="220" y="53"/>
                    </a:lnTo>
                    <a:lnTo>
                      <a:pt x="225" y="53"/>
                    </a:lnTo>
                    <a:lnTo>
                      <a:pt x="226" y="51"/>
                    </a:lnTo>
                    <a:lnTo>
                      <a:pt x="235" y="51"/>
                    </a:lnTo>
                    <a:lnTo>
                      <a:pt x="236" y="53"/>
                    </a:lnTo>
                    <a:lnTo>
                      <a:pt x="235" y="56"/>
                    </a:lnTo>
                    <a:lnTo>
                      <a:pt x="236" y="60"/>
                    </a:lnTo>
                    <a:lnTo>
                      <a:pt x="240" y="63"/>
                    </a:lnTo>
                    <a:lnTo>
                      <a:pt x="245" y="64"/>
                    </a:lnTo>
                    <a:lnTo>
                      <a:pt x="249" y="64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9" y="73"/>
                    </a:lnTo>
                    <a:lnTo>
                      <a:pt x="263" y="73"/>
                    </a:lnTo>
                    <a:lnTo>
                      <a:pt x="264" y="74"/>
                    </a:lnTo>
                    <a:lnTo>
                      <a:pt x="264" y="78"/>
                    </a:lnTo>
                    <a:lnTo>
                      <a:pt x="261" y="81"/>
                    </a:lnTo>
                    <a:lnTo>
                      <a:pt x="259" y="83"/>
                    </a:lnTo>
                    <a:lnTo>
                      <a:pt x="258" y="84"/>
                    </a:lnTo>
                    <a:lnTo>
                      <a:pt x="263" y="88"/>
                    </a:lnTo>
                    <a:lnTo>
                      <a:pt x="268" y="89"/>
                    </a:lnTo>
                    <a:lnTo>
                      <a:pt x="269" y="88"/>
                    </a:lnTo>
                    <a:lnTo>
                      <a:pt x="273" y="89"/>
                    </a:lnTo>
                    <a:lnTo>
                      <a:pt x="274" y="89"/>
                    </a:lnTo>
                    <a:lnTo>
                      <a:pt x="283" y="94"/>
                    </a:lnTo>
                    <a:lnTo>
                      <a:pt x="284" y="96"/>
                    </a:lnTo>
                    <a:lnTo>
                      <a:pt x="284" y="103"/>
                    </a:lnTo>
                    <a:lnTo>
                      <a:pt x="288" y="104"/>
                    </a:lnTo>
                    <a:lnTo>
                      <a:pt x="293" y="106"/>
                    </a:lnTo>
                    <a:lnTo>
                      <a:pt x="294" y="108"/>
                    </a:lnTo>
                    <a:lnTo>
                      <a:pt x="294" y="113"/>
                    </a:lnTo>
                    <a:lnTo>
                      <a:pt x="296" y="114"/>
                    </a:lnTo>
                    <a:lnTo>
                      <a:pt x="304" y="116"/>
                    </a:lnTo>
                    <a:lnTo>
                      <a:pt x="308" y="119"/>
                    </a:lnTo>
                    <a:lnTo>
                      <a:pt x="308" y="121"/>
                    </a:lnTo>
                    <a:lnTo>
                      <a:pt x="308" y="128"/>
                    </a:lnTo>
                    <a:lnTo>
                      <a:pt x="311" y="129"/>
                    </a:lnTo>
                    <a:lnTo>
                      <a:pt x="314" y="133"/>
                    </a:lnTo>
                    <a:lnTo>
                      <a:pt x="316" y="134"/>
                    </a:lnTo>
                    <a:lnTo>
                      <a:pt x="316" y="136"/>
                    </a:lnTo>
                    <a:lnTo>
                      <a:pt x="316" y="136"/>
                    </a:lnTo>
                    <a:lnTo>
                      <a:pt x="311" y="133"/>
                    </a:lnTo>
                    <a:lnTo>
                      <a:pt x="306" y="133"/>
                    </a:lnTo>
                    <a:lnTo>
                      <a:pt x="298" y="136"/>
                    </a:lnTo>
                    <a:lnTo>
                      <a:pt x="298" y="134"/>
                    </a:lnTo>
                    <a:lnTo>
                      <a:pt x="288" y="134"/>
                    </a:lnTo>
                    <a:lnTo>
                      <a:pt x="284" y="133"/>
                    </a:lnTo>
                    <a:lnTo>
                      <a:pt x="281" y="133"/>
                    </a:lnTo>
                    <a:lnTo>
                      <a:pt x="278" y="131"/>
                    </a:lnTo>
                    <a:lnTo>
                      <a:pt x="276" y="131"/>
                    </a:lnTo>
                    <a:lnTo>
                      <a:pt x="271" y="131"/>
                    </a:lnTo>
                    <a:lnTo>
                      <a:pt x="268" y="128"/>
                    </a:lnTo>
                    <a:lnTo>
                      <a:pt x="264" y="129"/>
                    </a:lnTo>
                    <a:lnTo>
                      <a:pt x="264" y="131"/>
                    </a:lnTo>
                    <a:lnTo>
                      <a:pt x="266" y="133"/>
                    </a:lnTo>
                    <a:lnTo>
                      <a:pt x="263" y="136"/>
                    </a:lnTo>
                    <a:lnTo>
                      <a:pt x="259" y="136"/>
                    </a:lnTo>
                    <a:lnTo>
                      <a:pt x="256" y="138"/>
                    </a:lnTo>
                    <a:lnTo>
                      <a:pt x="249" y="138"/>
                    </a:lnTo>
                    <a:lnTo>
                      <a:pt x="248" y="139"/>
                    </a:lnTo>
                    <a:lnTo>
                      <a:pt x="245" y="139"/>
                    </a:lnTo>
                    <a:lnTo>
                      <a:pt x="245" y="136"/>
                    </a:lnTo>
                    <a:lnTo>
                      <a:pt x="243" y="136"/>
                    </a:lnTo>
                    <a:lnTo>
                      <a:pt x="241" y="134"/>
                    </a:lnTo>
                    <a:lnTo>
                      <a:pt x="238" y="134"/>
                    </a:lnTo>
                    <a:lnTo>
                      <a:pt x="228" y="138"/>
                    </a:lnTo>
                    <a:lnTo>
                      <a:pt x="225" y="139"/>
                    </a:lnTo>
                    <a:lnTo>
                      <a:pt x="223" y="141"/>
                    </a:lnTo>
                    <a:lnTo>
                      <a:pt x="213" y="143"/>
                    </a:lnTo>
                    <a:lnTo>
                      <a:pt x="210" y="144"/>
                    </a:lnTo>
                    <a:lnTo>
                      <a:pt x="206" y="141"/>
                    </a:lnTo>
                    <a:lnTo>
                      <a:pt x="201" y="141"/>
                    </a:lnTo>
                    <a:lnTo>
                      <a:pt x="198" y="141"/>
                    </a:lnTo>
                    <a:lnTo>
                      <a:pt x="193" y="144"/>
                    </a:lnTo>
                    <a:lnTo>
                      <a:pt x="190" y="148"/>
                    </a:lnTo>
                    <a:lnTo>
                      <a:pt x="190" y="151"/>
                    </a:lnTo>
                    <a:lnTo>
                      <a:pt x="193" y="153"/>
                    </a:lnTo>
                    <a:lnTo>
                      <a:pt x="191" y="154"/>
                    </a:lnTo>
                    <a:lnTo>
                      <a:pt x="186" y="154"/>
                    </a:lnTo>
                    <a:lnTo>
                      <a:pt x="185" y="154"/>
                    </a:lnTo>
                    <a:lnTo>
                      <a:pt x="178" y="153"/>
                    </a:lnTo>
                    <a:lnTo>
                      <a:pt x="175" y="151"/>
                    </a:lnTo>
                    <a:lnTo>
                      <a:pt x="171" y="151"/>
                    </a:lnTo>
                    <a:lnTo>
                      <a:pt x="168" y="153"/>
                    </a:lnTo>
                    <a:lnTo>
                      <a:pt x="165" y="153"/>
                    </a:lnTo>
                    <a:lnTo>
                      <a:pt x="158" y="151"/>
                    </a:lnTo>
                    <a:lnTo>
                      <a:pt x="153" y="149"/>
                    </a:lnTo>
                    <a:lnTo>
                      <a:pt x="148" y="149"/>
                    </a:lnTo>
                    <a:lnTo>
                      <a:pt x="147" y="148"/>
                    </a:lnTo>
                    <a:lnTo>
                      <a:pt x="140" y="143"/>
                    </a:lnTo>
                    <a:lnTo>
                      <a:pt x="137" y="143"/>
                    </a:lnTo>
                    <a:lnTo>
                      <a:pt x="130" y="136"/>
                    </a:lnTo>
                    <a:lnTo>
                      <a:pt x="127" y="136"/>
                    </a:lnTo>
                    <a:lnTo>
                      <a:pt x="123" y="134"/>
                    </a:lnTo>
                    <a:lnTo>
                      <a:pt x="122" y="134"/>
                    </a:lnTo>
                    <a:lnTo>
                      <a:pt x="120" y="136"/>
                    </a:lnTo>
                    <a:lnTo>
                      <a:pt x="117" y="136"/>
                    </a:lnTo>
                    <a:lnTo>
                      <a:pt x="112" y="138"/>
                    </a:lnTo>
                    <a:lnTo>
                      <a:pt x="110" y="138"/>
                    </a:lnTo>
                    <a:lnTo>
                      <a:pt x="108" y="139"/>
                    </a:lnTo>
                    <a:lnTo>
                      <a:pt x="107" y="143"/>
                    </a:lnTo>
                    <a:lnTo>
                      <a:pt x="105" y="146"/>
                    </a:lnTo>
                    <a:lnTo>
                      <a:pt x="105" y="148"/>
                    </a:lnTo>
                    <a:lnTo>
                      <a:pt x="103" y="149"/>
                    </a:lnTo>
                    <a:lnTo>
                      <a:pt x="100" y="149"/>
                    </a:lnTo>
                    <a:lnTo>
                      <a:pt x="100" y="153"/>
                    </a:lnTo>
                    <a:lnTo>
                      <a:pt x="103" y="156"/>
                    </a:lnTo>
                    <a:lnTo>
                      <a:pt x="102" y="159"/>
                    </a:lnTo>
                    <a:lnTo>
                      <a:pt x="100" y="161"/>
                    </a:lnTo>
                    <a:lnTo>
                      <a:pt x="100" y="166"/>
                    </a:lnTo>
                    <a:lnTo>
                      <a:pt x="98" y="166"/>
                    </a:lnTo>
                    <a:lnTo>
                      <a:pt x="95" y="166"/>
                    </a:lnTo>
                    <a:lnTo>
                      <a:pt x="92" y="164"/>
                    </a:lnTo>
                    <a:lnTo>
                      <a:pt x="90" y="162"/>
                    </a:lnTo>
                    <a:lnTo>
                      <a:pt x="87" y="162"/>
                    </a:lnTo>
                    <a:lnTo>
                      <a:pt x="82" y="162"/>
                    </a:lnTo>
                    <a:lnTo>
                      <a:pt x="80" y="164"/>
                    </a:lnTo>
                    <a:lnTo>
                      <a:pt x="75" y="164"/>
                    </a:lnTo>
                    <a:lnTo>
                      <a:pt x="65" y="167"/>
                    </a:lnTo>
                    <a:lnTo>
                      <a:pt x="63" y="171"/>
                    </a:lnTo>
                    <a:lnTo>
                      <a:pt x="58" y="171"/>
                    </a:lnTo>
                    <a:lnTo>
                      <a:pt x="53" y="176"/>
                    </a:lnTo>
                    <a:lnTo>
                      <a:pt x="42" y="192"/>
                    </a:lnTo>
                    <a:lnTo>
                      <a:pt x="42" y="192"/>
                    </a:lnTo>
                    <a:lnTo>
                      <a:pt x="40" y="191"/>
                    </a:lnTo>
                    <a:lnTo>
                      <a:pt x="40" y="187"/>
                    </a:lnTo>
                    <a:lnTo>
                      <a:pt x="40" y="182"/>
                    </a:lnTo>
                    <a:lnTo>
                      <a:pt x="32" y="177"/>
                    </a:lnTo>
                    <a:lnTo>
                      <a:pt x="29" y="174"/>
                    </a:lnTo>
                    <a:lnTo>
                      <a:pt x="25" y="167"/>
                    </a:lnTo>
                    <a:lnTo>
                      <a:pt x="20" y="161"/>
                    </a:lnTo>
                    <a:lnTo>
                      <a:pt x="19" y="156"/>
                    </a:lnTo>
                    <a:lnTo>
                      <a:pt x="14" y="151"/>
                    </a:lnTo>
                    <a:lnTo>
                      <a:pt x="7" y="148"/>
                    </a:lnTo>
                    <a:lnTo>
                      <a:pt x="5" y="146"/>
                    </a:lnTo>
                    <a:lnTo>
                      <a:pt x="5" y="138"/>
                    </a:lnTo>
                    <a:lnTo>
                      <a:pt x="4" y="133"/>
                    </a:lnTo>
                    <a:lnTo>
                      <a:pt x="2" y="128"/>
                    </a:lnTo>
                    <a:lnTo>
                      <a:pt x="4" y="123"/>
                    </a:lnTo>
                    <a:lnTo>
                      <a:pt x="2" y="116"/>
                    </a:lnTo>
                    <a:lnTo>
                      <a:pt x="0" y="111"/>
                    </a:lnTo>
                    <a:lnTo>
                      <a:pt x="4" y="108"/>
                    </a:lnTo>
                    <a:lnTo>
                      <a:pt x="5" y="108"/>
                    </a:lnTo>
                    <a:lnTo>
                      <a:pt x="10" y="101"/>
                    </a:lnTo>
                    <a:lnTo>
                      <a:pt x="14" y="96"/>
                    </a:lnTo>
                    <a:lnTo>
                      <a:pt x="17" y="89"/>
                    </a:lnTo>
                    <a:lnTo>
                      <a:pt x="20" y="84"/>
                    </a:lnTo>
                    <a:lnTo>
                      <a:pt x="24" y="83"/>
                    </a:lnTo>
                    <a:lnTo>
                      <a:pt x="29" y="78"/>
                    </a:lnTo>
                    <a:lnTo>
                      <a:pt x="29" y="76"/>
                    </a:lnTo>
                    <a:lnTo>
                      <a:pt x="30" y="78"/>
                    </a:lnTo>
                    <a:lnTo>
                      <a:pt x="32" y="83"/>
                    </a:lnTo>
                    <a:lnTo>
                      <a:pt x="35" y="83"/>
                    </a:lnTo>
                    <a:lnTo>
                      <a:pt x="40" y="83"/>
                    </a:lnTo>
                    <a:lnTo>
                      <a:pt x="47" y="81"/>
                    </a:lnTo>
                    <a:lnTo>
                      <a:pt x="50" y="76"/>
                    </a:lnTo>
                    <a:lnTo>
                      <a:pt x="50" y="73"/>
                    </a:lnTo>
                    <a:lnTo>
                      <a:pt x="52" y="69"/>
                    </a:lnTo>
                    <a:lnTo>
                      <a:pt x="55" y="73"/>
                    </a:lnTo>
                    <a:lnTo>
                      <a:pt x="57" y="78"/>
                    </a:lnTo>
                    <a:lnTo>
                      <a:pt x="58" y="79"/>
                    </a:lnTo>
                    <a:lnTo>
                      <a:pt x="63" y="78"/>
                    </a:lnTo>
                    <a:lnTo>
                      <a:pt x="68" y="74"/>
                    </a:lnTo>
                    <a:lnTo>
                      <a:pt x="77" y="71"/>
                    </a:lnTo>
                    <a:lnTo>
                      <a:pt x="82" y="68"/>
                    </a:lnTo>
                    <a:lnTo>
                      <a:pt x="97" y="64"/>
                    </a:lnTo>
                    <a:lnTo>
                      <a:pt x="103" y="64"/>
                    </a:lnTo>
                    <a:lnTo>
                      <a:pt x="107" y="61"/>
                    </a:lnTo>
                    <a:lnTo>
                      <a:pt x="113" y="58"/>
                    </a:lnTo>
                    <a:lnTo>
                      <a:pt x="112" y="55"/>
                    </a:lnTo>
                    <a:lnTo>
                      <a:pt x="110" y="55"/>
                    </a:lnTo>
                    <a:lnTo>
                      <a:pt x="105" y="50"/>
                    </a:lnTo>
                    <a:lnTo>
                      <a:pt x="105" y="46"/>
                    </a:lnTo>
                    <a:lnTo>
                      <a:pt x="108" y="45"/>
                    </a:lnTo>
                    <a:lnTo>
                      <a:pt x="113" y="45"/>
                    </a:lnTo>
                    <a:lnTo>
                      <a:pt x="118" y="45"/>
                    </a:lnTo>
                    <a:lnTo>
                      <a:pt x="122" y="46"/>
                    </a:lnTo>
                    <a:lnTo>
                      <a:pt x="128" y="46"/>
                    </a:lnTo>
                    <a:lnTo>
                      <a:pt x="135" y="46"/>
                    </a:lnTo>
                    <a:lnTo>
                      <a:pt x="145" y="45"/>
                    </a:lnTo>
                    <a:lnTo>
                      <a:pt x="150" y="41"/>
                    </a:lnTo>
                    <a:lnTo>
                      <a:pt x="153" y="40"/>
                    </a:lnTo>
                    <a:lnTo>
                      <a:pt x="155" y="36"/>
                    </a:lnTo>
                    <a:lnTo>
                      <a:pt x="153" y="33"/>
                    </a:lnTo>
                    <a:lnTo>
                      <a:pt x="155" y="30"/>
                    </a:lnTo>
                    <a:lnTo>
                      <a:pt x="158" y="28"/>
                    </a:lnTo>
                    <a:lnTo>
                      <a:pt x="158" y="25"/>
                    </a:lnTo>
                    <a:lnTo>
                      <a:pt x="161" y="21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70" y="15"/>
                    </a:lnTo>
                    <a:lnTo>
                      <a:pt x="173" y="15"/>
                    </a:lnTo>
                    <a:lnTo>
                      <a:pt x="173" y="11"/>
                    </a:lnTo>
                    <a:lnTo>
                      <a:pt x="173" y="8"/>
                    </a:lnTo>
                    <a:lnTo>
                      <a:pt x="180" y="5"/>
                    </a:lnTo>
                    <a:lnTo>
                      <a:pt x="185" y="3"/>
                    </a:lnTo>
                    <a:lnTo>
                      <a:pt x="190" y="3"/>
                    </a:lnTo>
                    <a:lnTo>
                      <a:pt x="193" y="5"/>
                    </a:lnTo>
                    <a:lnTo>
                      <a:pt x="200" y="1"/>
                    </a:lnTo>
                    <a:lnTo>
                      <a:pt x="2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8" name="Freeform 100">
                <a:extLst>
                  <a:ext uri="{FF2B5EF4-FFF2-40B4-BE49-F238E27FC236}">
                    <a16:creationId xmlns:a16="http://schemas.microsoft.com/office/drawing/2014/main" id="{FFF9FC60-C751-2A44-A8A7-966C5B8AB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3812" y="2878543"/>
                <a:ext cx="202277" cy="163939"/>
              </a:xfrm>
              <a:custGeom>
                <a:avLst/>
                <a:gdLst/>
                <a:ahLst/>
                <a:cxnLst>
                  <a:cxn ang="0">
                    <a:pos x="354" y="309"/>
                  </a:cxn>
                  <a:cxn ang="0">
                    <a:pos x="365" y="90"/>
                  </a:cxn>
                  <a:cxn ang="0">
                    <a:pos x="360" y="74"/>
                  </a:cxn>
                  <a:cxn ang="0">
                    <a:pos x="367" y="59"/>
                  </a:cxn>
                  <a:cxn ang="0">
                    <a:pos x="364" y="49"/>
                  </a:cxn>
                  <a:cxn ang="0">
                    <a:pos x="367" y="35"/>
                  </a:cxn>
                  <a:cxn ang="0">
                    <a:pos x="362" y="25"/>
                  </a:cxn>
                  <a:cxn ang="0">
                    <a:pos x="354" y="25"/>
                  </a:cxn>
                  <a:cxn ang="0">
                    <a:pos x="334" y="20"/>
                  </a:cxn>
                  <a:cxn ang="0">
                    <a:pos x="319" y="19"/>
                  </a:cxn>
                  <a:cxn ang="0">
                    <a:pos x="319" y="15"/>
                  </a:cxn>
                  <a:cxn ang="0">
                    <a:pos x="307" y="7"/>
                  </a:cxn>
                  <a:cxn ang="0">
                    <a:pos x="294" y="5"/>
                  </a:cxn>
                  <a:cxn ang="0">
                    <a:pos x="289" y="7"/>
                  </a:cxn>
                  <a:cxn ang="0">
                    <a:pos x="282" y="4"/>
                  </a:cxn>
                  <a:cxn ang="0">
                    <a:pos x="264" y="9"/>
                  </a:cxn>
                  <a:cxn ang="0">
                    <a:pos x="247" y="19"/>
                  </a:cxn>
                  <a:cxn ang="0">
                    <a:pos x="242" y="27"/>
                  </a:cxn>
                  <a:cxn ang="0">
                    <a:pos x="246" y="44"/>
                  </a:cxn>
                  <a:cxn ang="0">
                    <a:pos x="247" y="57"/>
                  </a:cxn>
                  <a:cxn ang="0">
                    <a:pos x="241" y="65"/>
                  </a:cxn>
                  <a:cxn ang="0">
                    <a:pos x="227" y="74"/>
                  </a:cxn>
                  <a:cxn ang="0">
                    <a:pos x="207" y="62"/>
                  </a:cxn>
                  <a:cxn ang="0">
                    <a:pos x="187" y="52"/>
                  </a:cxn>
                  <a:cxn ang="0">
                    <a:pos x="163" y="44"/>
                  </a:cxn>
                  <a:cxn ang="0">
                    <a:pos x="151" y="45"/>
                  </a:cxn>
                  <a:cxn ang="0">
                    <a:pos x="134" y="29"/>
                  </a:cxn>
                  <a:cxn ang="0">
                    <a:pos x="129" y="15"/>
                  </a:cxn>
                  <a:cxn ang="0">
                    <a:pos x="104" y="9"/>
                  </a:cxn>
                  <a:cxn ang="0">
                    <a:pos x="84" y="5"/>
                  </a:cxn>
                  <a:cxn ang="0">
                    <a:pos x="55" y="5"/>
                  </a:cxn>
                  <a:cxn ang="0">
                    <a:pos x="45" y="0"/>
                  </a:cxn>
                  <a:cxn ang="0">
                    <a:pos x="46" y="10"/>
                  </a:cxn>
                  <a:cxn ang="0">
                    <a:pos x="43" y="20"/>
                  </a:cxn>
                  <a:cxn ang="0">
                    <a:pos x="28" y="30"/>
                  </a:cxn>
                  <a:cxn ang="0">
                    <a:pos x="18" y="35"/>
                  </a:cxn>
                  <a:cxn ang="0">
                    <a:pos x="15" y="40"/>
                  </a:cxn>
                  <a:cxn ang="0">
                    <a:pos x="16" y="50"/>
                  </a:cxn>
                  <a:cxn ang="0">
                    <a:pos x="15" y="57"/>
                  </a:cxn>
                  <a:cxn ang="0">
                    <a:pos x="15" y="60"/>
                  </a:cxn>
                  <a:cxn ang="0">
                    <a:pos x="8" y="67"/>
                  </a:cxn>
                  <a:cxn ang="0">
                    <a:pos x="3" y="69"/>
                  </a:cxn>
                  <a:cxn ang="0">
                    <a:pos x="1" y="70"/>
                  </a:cxn>
                  <a:cxn ang="0">
                    <a:pos x="3" y="79"/>
                  </a:cxn>
                  <a:cxn ang="0">
                    <a:pos x="6" y="98"/>
                  </a:cxn>
                  <a:cxn ang="0">
                    <a:pos x="6" y="108"/>
                  </a:cxn>
                  <a:cxn ang="0">
                    <a:pos x="11" y="127"/>
                  </a:cxn>
                  <a:cxn ang="0">
                    <a:pos x="8" y="140"/>
                  </a:cxn>
                  <a:cxn ang="0">
                    <a:pos x="11" y="153"/>
                  </a:cxn>
                  <a:cxn ang="0">
                    <a:pos x="3" y="160"/>
                  </a:cxn>
                  <a:cxn ang="0">
                    <a:pos x="0" y="163"/>
                  </a:cxn>
                  <a:cxn ang="0">
                    <a:pos x="10" y="173"/>
                  </a:cxn>
                  <a:cxn ang="0">
                    <a:pos x="15" y="183"/>
                  </a:cxn>
                  <a:cxn ang="0">
                    <a:pos x="16" y="191"/>
                  </a:cxn>
                  <a:cxn ang="0">
                    <a:pos x="20" y="201"/>
                  </a:cxn>
                  <a:cxn ang="0">
                    <a:pos x="23" y="208"/>
                  </a:cxn>
                  <a:cxn ang="0">
                    <a:pos x="41" y="208"/>
                  </a:cxn>
                  <a:cxn ang="0">
                    <a:pos x="50" y="215"/>
                  </a:cxn>
                  <a:cxn ang="0">
                    <a:pos x="56" y="226"/>
                  </a:cxn>
                  <a:cxn ang="0">
                    <a:pos x="63" y="231"/>
                  </a:cxn>
                  <a:cxn ang="0">
                    <a:pos x="109" y="246"/>
                  </a:cxn>
                  <a:cxn ang="0">
                    <a:pos x="354" y="316"/>
                  </a:cxn>
                  <a:cxn ang="0">
                    <a:pos x="354" y="316"/>
                  </a:cxn>
                </a:cxnLst>
                <a:rect l="0" t="0" r="r" b="b"/>
                <a:pathLst>
                  <a:path w="377" h="318">
                    <a:moveTo>
                      <a:pt x="354" y="316"/>
                    </a:moveTo>
                    <a:lnTo>
                      <a:pt x="354" y="309"/>
                    </a:lnTo>
                    <a:lnTo>
                      <a:pt x="377" y="306"/>
                    </a:lnTo>
                    <a:lnTo>
                      <a:pt x="365" y="90"/>
                    </a:lnTo>
                    <a:lnTo>
                      <a:pt x="364" y="79"/>
                    </a:lnTo>
                    <a:lnTo>
                      <a:pt x="360" y="74"/>
                    </a:lnTo>
                    <a:lnTo>
                      <a:pt x="364" y="67"/>
                    </a:lnTo>
                    <a:lnTo>
                      <a:pt x="367" y="59"/>
                    </a:lnTo>
                    <a:lnTo>
                      <a:pt x="367" y="54"/>
                    </a:lnTo>
                    <a:lnTo>
                      <a:pt x="364" y="49"/>
                    </a:lnTo>
                    <a:lnTo>
                      <a:pt x="365" y="39"/>
                    </a:lnTo>
                    <a:lnTo>
                      <a:pt x="367" y="35"/>
                    </a:lnTo>
                    <a:lnTo>
                      <a:pt x="365" y="29"/>
                    </a:lnTo>
                    <a:lnTo>
                      <a:pt x="362" y="25"/>
                    </a:lnTo>
                    <a:lnTo>
                      <a:pt x="357" y="25"/>
                    </a:lnTo>
                    <a:lnTo>
                      <a:pt x="354" y="25"/>
                    </a:lnTo>
                    <a:lnTo>
                      <a:pt x="337" y="24"/>
                    </a:lnTo>
                    <a:lnTo>
                      <a:pt x="334" y="20"/>
                    </a:lnTo>
                    <a:lnTo>
                      <a:pt x="327" y="20"/>
                    </a:lnTo>
                    <a:lnTo>
                      <a:pt x="319" y="19"/>
                    </a:lnTo>
                    <a:lnTo>
                      <a:pt x="317" y="15"/>
                    </a:lnTo>
                    <a:lnTo>
                      <a:pt x="319" y="15"/>
                    </a:lnTo>
                    <a:lnTo>
                      <a:pt x="319" y="12"/>
                    </a:lnTo>
                    <a:lnTo>
                      <a:pt x="307" y="7"/>
                    </a:lnTo>
                    <a:lnTo>
                      <a:pt x="302" y="7"/>
                    </a:lnTo>
                    <a:lnTo>
                      <a:pt x="294" y="5"/>
                    </a:lnTo>
                    <a:lnTo>
                      <a:pt x="292" y="4"/>
                    </a:lnTo>
                    <a:lnTo>
                      <a:pt x="289" y="7"/>
                    </a:lnTo>
                    <a:lnTo>
                      <a:pt x="284" y="4"/>
                    </a:lnTo>
                    <a:lnTo>
                      <a:pt x="282" y="4"/>
                    </a:lnTo>
                    <a:lnTo>
                      <a:pt x="276" y="7"/>
                    </a:lnTo>
                    <a:lnTo>
                      <a:pt x="264" y="9"/>
                    </a:lnTo>
                    <a:lnTo>
                      <a:pt x="252" y="14"/>
                    </a:lnTo>
                    <a:lnTo>
                      <a:pt x="247" y="19"/>
                    </a:lnTo>
                    <a:lnTo>
                      <a:pt x="246" y="24"/>
                    </a:lnTo>
                    <a:lnTo>
                      <a:pt x="242" y="27"/>
                    </a:lnTo>
                    <a:lnTo>
                      <a:pt x="242" y="37"/>
                    </a:lnTo>
                    <a:lnTo>
                      <a:pt x="246" y="44"/>
                    </a:lnTo>
                    <a:lnTo>
                      <a:pt x="249" y="52"/>
                    </a:lnTo>
                    <a:lnTo>
                      <a:pt x="247" y="57"/>
                    </a:lnTo>
                    <a:lnTo>
                      <a:pt x="241" y="64"/>
                    </a:lnTo>
                    <a:lnTo>
                      <a:pt x="241" y="65"/>
                    </a:lnTo>
                    <a:lnTo>
                      <a:pt x="232" y="72"/>
                    </a:lnTo>
                    <a:lnTo>
                      <a:pt x="227" y="74"/>
                    </a:lnTo>
                    <a:lnTo>
                      <a:pt x="216" y="70"/>
                    </a:lnTo>
                    <a:lnTo>
                      <a:pt x="207" y="62"/>
                    </a:lnTo>
                    <a:lnTo>
                      <a:pt x="199" y="57"/>
                    </a:lnTo>
                    <a:lnTo>
                      <a:pt x="187" y="52"/>
                    </a:lnTo>
                    <a:lnTo>
                      <a:pt x="171" y="45"/>
                    </a:lnTo>
                    <a:lnTo>
                      <a:pt x="163" y="44"/>
                    </a:lnTo>
                    <a:lnTo>
                      <a:pt x="159" y="45"/>
                    </a:lnTo>
                    <a:lnTo>
                      <a:pt x="151" y="45"/>
                    </a:lnTo>
                    <a:lnTo>
                      <a:pt x="143" y="42"/>
                    </a:lnTo>
                    <a:lnTo>
                      <a:pt x="134" y="29"/>
                    </a:lnTo>
                    <a:lnTo>
                      <a:pt x="134" y="22"/>
                    </a:lnTo>
                    <a:lnTo>
                      <a:pt x="129" y="15"/>
                    </a:lnTo>
                    <a:lnTo>
                      <a:pt x="113" y="12"/>
                    </a:lnTo>
                    <a:lnTo>
                      <a:pt x="104" y="9"/>
                    </a:lnTo>
                    <a:lnTo>
                      <a:pt x="91" y="7"/>
                    </a:lnTo>
                    <a:lnTo>
                      <a:pt x="84" y="5"/>
                    </a:lnTo>
                    <a:lnTo>
                      <a:pt x="68" y="7"/>
                    </a:lnTo>
                    <a:lnTo>
                      <a:pt x="55" y="5"/>
                    </a:lnTo>
                    <a:lnTo>
                      <a:pt x="51" y="2"/>
                    </a:lnTo>
                    <a:lnTo>
                      <a:pt x="45" y="0"/>
                    </a:lnTo>
                    <a:lnTo>
                      <a:pt x="45" y="2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43" y="20"/>
                    </a:lnTo>
                    <a:lnTo>
                      <a:pt x="28" y="29"/>
                    </a:lnTo>
                    <a:lnTo>
                      <a:pt x="28" y="30"/>
                    </a:lnTo>
                    <a:lnTo>
                      <a:pt x="25" y="35"/>
                    </a:lnTo>
                    <a:lnTo>
                      <a:pt x="18" y="35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5" y="44"/>
                    </a:lnTo>
                    <a:lnTo>
                      <a:pt x="16" y="50"/>
                    </a:lnTo>
                    <a:lnTo>
                      <a:pt x="16" y="55"/>
                    </a:lnTo>
                    <a:lnTo>
                      <a:pt x="15" y="57"/>
                    </a:lnTo>
                    <a:lnTo>
                      <a:pt x="16" y="59"/>
                    </a:lnTo>
                    <a:lnTo>
                      <a:pt x="15" y="60"/>
                    </a:lnTo>
                    <a:lnTo>
                      <a:pt x="11" y="65"/>
                    </a:lnTo>
                    <a:lnTo>
                      <a:pt x="8" y="67"/>
                    </a:lnTo>
                    <a:lnTo>
                      <a:pt x="6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1" y="70"/>
                    </a:lnTo>
                    <a:lnTo>
                      <a:pt x="1" y="77"/>
                    </a:lnTo>
                    <a:lnTo>
                      <a:pt x="3" y="79"/>
                    </a:lnTo>
                    <a:lnTo>
                      <a:pt x="6" y="83"/>
                    </a:lnTo>
                    <a:lnTo>
                      <a:pt x="6" y="98"/>
                    </a:lnTo>
                    <a:lnTo>
                      <a:pt x="8" y="107"/>
                    </a:lnTo>
                    <a:lnTo>
                      <a:pt x="6" y="108"/>
                    </a:lnTo>
                    <a:lnTo>
                      <a:pt x="8" y="120"/>
                    </a:lnTo>
                    <a:lnTo>
                      <a:pt x="11" y="127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10" y="145"/>
                    </a:lnTo>
                    <a:lnTo>
                      <a:pt x="11" y="153"/>
                    </a:lnTo>
                    <a:lnTo>
                      <a:pt x="10" y="157"/>
                    </a:lnTo>
                    <a:lnTo>
                      <a:pt x="3" y="160"/>
                    </a:lnTo>
                    <a:lnTo>
                      <a:pt x="1" y="162"/>
                    </a:lnTo>
                    <a:lnTo>
                      <a:pt x="0" y="163"/>
                    </a:lnTo>
                    <a:lnTo>
                      <a:pt x="3" y="167"/>
                    </a:lnTo>
                    <a:lnTo>
                      <a:pt x="10" y="173"/>
                    </a:lnTo>
                    <a:lnTo>
                      <a:pt x="13" y="183"/>
                    </a:lnTo>
                    <a:lnTo>
                      <a:pt x="15" y="183"/>
                    </a:lnTo>
                    <a:lnTo>
                      <a:pt x="16" y="190"/>
                    </a:lnTo>
                    <a:lnTo>
                      <a:pt x="16" y="191"/>
                    </a:lnTo>
                    <a:lnTo>
                      <a:pt x="16" y="198"/>
                    </a:lnTo>
                    <a:lnTo>
                      <a:pt x="20" y="201"/>
                    </a:lnTo>
                    <a:lnTo>
                      <a:pt x="20" y="205"/>
                    </a:lnTo>
                    <a:lnTo>
                      <a:pt x="23" y="208"/>
                    </a:lnTo>
                    <a:lnTo>
                      <a:pt x="33" y="208"/>
                    </a:lnTo>
                    <a:lnTo>
                      <a:pt x="41" y="208"/>
                    </a:lnTo>
                    <a:lnTo>
                      <a:pt x="46" y="210"/>
                    </a:lnTo>
                    <a:lnTo>
                      <a:pt x="50" y="215"/>
                    </a:lnTo>
                    <a:lnTo>
                      <a:pt x="55" y="225"/>
                    </a:lnTo>
                    <a:lnTo>
                      <a:pt x="56" y="226"/>
                    </a:lnTo>
                    <a:lnTo>
                      <a:pt x="60" y="230"/>
                    </a:lnTo>
                    <a:lnTo>
                      <a:pt x="63" y="231"/>
                    </a:lnTo>
                    <a:lnTo>
                      <a:pt x="104" y="241"/>
                    </a:lnTo>
                    <a:lnTo>
                      <a:pt x="109" y="246"/>
                    </a:lnTo>
                    <a:lnTo>
                      <a:pt x="158" y="226"/>
                    </a:lnTo>
                    <a:lnTo>
                      <a:pt x="354" y="316"/>
                    </a:lnTo>
                    <a:lnTo>
                      <a:pt x="354" y="318"/>
                    </a:lnTo>
                    <a:lnTo>
                      <a:pt x="354" y="3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59" name="Freeform 101">
                <a:extLst>
                  <a:ext uri="{FF2B5EF4-FFF2-40B4-BE49-F238E27FC236}">
                    <a16:creationId xmlns:a16="http://schemas.microsoft.com/office/drawing/2014/main" id="{A2AD3396-7E13-C446-A105-D64D397C3B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09196" y="2824589"/>
                <a:ext cx="50301" cy="89233"/>
              </a:xfrm>
              <a:custGeom>
                <a:avLst/>
                <a:gdLst/>
                <a:ahLst/>
                <a:cxnLst>
                  <a:cxn ang="0">
                    <a:pos x="53" y="172"/>
                  </a:cxn>
                  <a:cxn ang="0">
                    <a:pos x="58" y="168"/>
                  </a:cxn>
                  <a:cxn ang="0">
                    <a:pos x="63" y="162"/>
                  </a:cxn>
                  <a:cxn ang="0">
                    <a:pos x="63" y="158"/>
                  </a:cxn>
                  <a:cxn ang="0">
                    <a:pos x="62" y="147"/>
                  </a:cxn>
                  <a:cxn ang="0">
                    <a:pos x="62" y="142"/>
                  </a:cxn>
                  <a:cxn ang="0">
                    <a:pos x="72" y="138"/>
                  </a:cxn>
                  <a:cxn ang="0">
                    <a:pos x="75" y="132"/>
                  </a:cxn>
                  <a:cxn ang="0">
                    <a:pos x="95" y="115"/>
                  </a:cxn>
                  <a:cxn ang="0">
                    <a:pos x="92" y="105"/>
                  </a:cxn>
                  <a:cxn ang="0">
                    <a:pos x="90" y="103"/>
                  </a:cxn>
                  <a:cxn ang="0">
                    <a:pos x="82" y="97"/>
                  </a:cxn>
                  <a:cxn ang="0">
                    <a:pos x="78" y="92"/>
                  </a:cxn>
                  <a:cxn ang="0">
                    <a:pos x="77" y="95"/>
                  </a:cxn>
                  <a:cxn ang="0">
                    <a:pos x="72" y="95"/>
                  </a:cxn>
                  <a:cxn ang="0">
                    <a:pos x="67" y="92"/>
                  </a:cxn>
                  <a:cxn ang="0">
                    <a:pos x="55" y="80"/>
                  </a:cxn>
                  <a:cxn ang="0">
                    <a:pos x="70" y="67"/>
                  </a:cxn>
                  <a:cxn ang="0">
                    <a:pos x="78" y="59"/>
                  </a:cxn>
                  <a:cxn ang="0">
                    <a:pos x="78" y="54"/>
                  </a:cxn>
                  <a:cxn ang="0">
                    <a:pos x="77" y="49"/>
                  </a:cxn>
                  <a:cxn ang="0">
                    <a:pos x="70" y="40"/>
                  </a:cxn>
                  <a:cxn ang="0">
                    <a:pos x="65" y="27"/>
                  </a:cxn>
                  <a:cxn ang="0">
                    <a:pos x="72" y="19"/>
                  </a:cxn>
                  <a:cxn ang="0">
                    <a:pos x="75" y="9"/>
                  </a:cxn>
                  <a:cxn ang="0">
                    <a:pos x="65" y="14"/>
                  </a:cxn>
                  <a:cxn ang="0">
                    <a:pos x="60" y="15"/>
                  </a:cxn>
                  <a:cxn ang="0">
                    <a:pos x="53" y="7"/>
                  </a:cxn>
                  <a:cxn ang="0">
                    <a:pos x="50" y="0"/>
                  </a:cxn>
                  <a:cxn ang="0">
                    <a:pos x="45" y="4"/>
                  </a:cxn>
                  <a:cxn ang="0">
                    <a:pos x="37" y="2"/>
                  </a:cxn>
                  <a:cxn ang="0">
                    <a:pos x="22" y="12"/>
                  </a:cxn>
                  <a:cxn ang="0">
                    <a:pos x="20" y="15"/>
                  </a:cxn>
                  <a:cxn ang="0">
                    <a:pos x="20" y="24"/>
                  </a:cxn>
                  <a:cxn ang="0">
                    <a:pos x="17" y="40"/>
                  </a:cxn>
                  <a:cxn ang="0">
                    <a:pos x="22" y="50"/>
                  </a:cxn>
                  <a:cxn ang="0">
                    <a:pos x="20" y="54"/>
                  </a:cxn>
                  <a:cxn ang="0">
                    <a:pos x="20" y="59"/>
                  </a:cxn>
                  <a:cxn ang="0">
                    <a:pos x="17" y="69"/>
                  </a:cxn>
                  <a:cxn ang="0">
                    <a:pos x="12" y="74"/>
                  </a:cxn>
                  <a:cxn ang="0">
                    <a:pos x="4" y="80"/>
                  </a:cxn>
                  <a:cxn ang="0">
                    <a:pos x="2" y="92"/>
                  </a:cxn>
                  <a:cxn ang="0">
                    <a:pos x="4" y="100"/>
                  </a:cxn>
                  <a:cxn ang="0">
                    <a:pos x="9" y="105"/>
                  </a:cxn>
                  <a:cxn ang="0">
                    <a:pos x="17" y="117"/>
                  </a:cxn>
                  <a:cxn ang="0">
                    <a:pos x="25" y="120"/>
                  </a:cxn>
                  <a:cxn ang="0">
                    <a:pos x="35" y="127"/>
                  </a:cxn>
                  <a:cxn ang="0">
                    <a:pos x="50" y="172"/>
                  </a:cxn>
                  <a:cxn ang="0">
                    <a:pos x="73" y="87"/>
                  </a:cxn>
                  <a:cxn ang="0">
                    <a:pos x="78" y="88"/>
                  </a:cxn>
                  <a:cxn ang="0">
                    <a:pos x="72" y="88"/>
                  </a:cxn>
                </a:cxnLst>
                <a:rect l="0" t="0" r="r" b="b"/>
                <a:pathLst>
                  <a:path w="95" h="172">
                    <a:moveTo>
                      <a:pt x="50" y="172"/>
                    </a:moveTo>
                    <a:lnTo>
                      <a:pt x="53" y="172"/>
                    </a:lnTo>
                    <a:lnTo>
                      <a:pt x="55" y="170"/>
                    </a:lnTo>
                    <a:lnTo>
                      <a:pt x="58" y="168"/>
                    </a:lnTo>
                    <a:lnTo>
                      <a:pt x="62" y="163"/>
                    </a:lnTo>
                    <a:lnTo>
                      <a:pt x="63" y="162"/>
                    </a:lnTo>
                    <a:lnTo>
                      <a:pt x="62" y="160"/>
                    </a:lnTo>
                    <a:lnTo>
                      <a:pt x="63" y="158"/>
                    </a:lnTo>
                    <a:lnTo>
                      <a:pt x="63" y="153"/>
                    </a:lnTo>
                    <a:lnTo>
                      <a:pt x="62" y="147"/>
                    </a:lnTo>
                    <a:lnTo>
                      <a:pt x="62" y="143"/>
                    </a:lnTo>
                    <a:lnTo>
                      <a:pt x="62" y="142"/>
                    </a:lnTo>
                    <a:lnTo>
                      <a:pt x="65" y="138"/>
                    </a:lnTo>
                    <a:lnTo>
                      <a:pt x="72" y="138"/>
                    </a:lnTo>
                    <a:lnTo>
                      <a:pt x="75" y="133"/>
                    </a:lnTo>
                    <a:lnTo>
                      <a:pt x="75" y="132"/>
                    </a:lnTo>
                    <a:lnTo>
                      <a:pt x="90" y="123"/>
                    </a:lnTo>
                    <a:lnTo>
                      <a:pt x="95" y="115"/>
                    </a:lnTo>
                    <a:lnTo>
                      <a:pt x="93" y="113"/>
                    </a:lnTo>
                    <a:lnTo>
                      <a:pt x="92" y="105"/>
                    </a:lnTo>
                    <a:lnTo>
                      <a:pt x="92" y="103"/>
                    </a:lnTo>
                    <a:lnTo>
                      <a:pt x="90" y="103"/>
                    </a:lnTo>
                    <a:lnTo>
                      <a:pt x="82" y="98"/>
                    </a:lnTo>
                    <a:lnTo>
                      <a:pt x="82" y="97"/>
                    </a:lnTo>
                    <a:lnTo>
                      <a:pt x="82" y="93"/>
                    </a:lnTo>
                    <a:lnTo>
                      <a:pt x="78" y="92"/>
                    </a:lnTo>
                    <a:lnTo>
                      <a:pt x="77" y="93"/>
                    </a:lnTo>
                    <a:lnTo>
                      <a:pt x="77" y="95"/>
                    </a:lnTo>
                    <a:lnTo>
                      <a:pt x="75" y="95"/>
                    </a:lnTo>
                    <a:lnTo>
                      <a:pt x="72" y="95"/>
                    </a:lnTo>
                    <a:lnTo>
                      <a:pt x="70" y="92"/>
                    </a:lnTo>
                    <a:lnTo>
                      <a:pt x="67" y="92"/>
                    </a:lnTo>
                    <a:lnTo>
                      <a:pt x="58" y="87"/>
                    </a:lnTo>
                    <a:lnTo>
                      <a:pt x="55" y="80"/>
                    </a:lnTo>
                    <a:lnTo>
                      <a:pt x="58" y="74"/>
                    </a:lnTo>
                    <a:lnTo>
                      <a:pt x="70" y="67"/>
                    </a:lnTo>
                    <a:lnTo>
                      <a:pt x="77" y="60"/>
                    </a:lnTo>
                    <a:lnTo>
                      <a:pt x="78" y="59"/>
                    </a:lnTo>
                    <a:lnTo>
                      <a:pt x="77" y="55"/>
                    </a:lnTo>
                    <a:lnTo>
                      <a:pt x="78" y="54"/>
                    </a:lnTo>
                    <a:lnTo>
                      <a:pt x="78" y="50"/>
                    </a:lnTo>
                    <a:lnTo>
                      <a:pt x="77" y="49"/>
                    </a:lnTo>
                    <a:lnTo>
                      <a:pt x="77" y="42"/>
                    </a:lnTo>
                    <a:lnTo>
                      <a:pt x="70" y="40"/>
                    </a:lnTo>
                    <a:lnTo>
                      <a:pt x="63" y="32"/>
                    </a:lnTo>
                    <a:lnTo>
                      <a:pt x="65" y="27"/>
                    </a:lnTo>
                    <a:lnTo>
                      <a:pt x="70" y="24"/>
                    </a:lnTo>
                    <a:lnTo>
                      <a:pt x="72" y="19"/>
                    </a:lnTo>
                    <a:lnTo>
                      <a:pt x="75" y="12"/>
                    </a:lnTo>
                    <a:lnTo>
                      <a:pt x="75" y="9"/>
                    </a:lnTo>
                    <a:lnTo>
                      <a:pt x="73" y="7"/>
                    </a:lnTo>
                    <a:lnTo>
                      <a:pt x="65" y="14"/>
                    </a:lnTo>
                    <a:lnTo>
                      <a:pt x="62" y="17"/>
                    </a:lnTo>
                    <a:lnTo>
                      <a:pt x="60" y="15"/>
                    </a:lnTo>
                    <a:lnTo>
                      <a:pt x="55" y="7"/>
                    </a:lnTo>
                    <a:lnTo>
                      <a:pt x="53" y="7"/>
                    </a:lnTo>
                    <a:lnTo>
                      <a:pt x="53" y="4"/>
                    </a:lnTo>
                    <a:lnTo>
                      <a:pt x="50" y="0"/>
                    </a:lnTo>
                    <a:lnTo>
                      <a:pt x="45" y="2"/>
                    </a:lnTo>
                    <a:lnTo>
                      <a:pt x="45" y="4"/>
                    </a:lnTo>
                    <a:lnTo>
                      <a:pt x="43" y="2"/>
                    </a:lnTo>
                    <a:lnTo>
                      <a:pt x="37" y="2"/>
                    </a:lnTo>
                    <a:lnTo>
                      <a:pt x="27" y="7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5"/>
                    </a:lnTo>
                    <a:lnTo>
                      <a:pt x="22" y="17"/>
                    </a:lnTo>
                    <a:lnTo>
                      <a:pt x="20" y="24"/>
                    </a:lnTo>
                    <a:lnTo>
                      <a:pt x="20" y="30"/>
                    </a:lnTo>
                    <a:lnTo>
                      <a:pt x="17" y="40"/>
                    </a:lnTo>
                    <a:lnTo>
                      <a:pt x="19" y="47"/>
                    </a:lnTo>
                    <a:lnTo>
                      <a:pt x="22" y="50"/>
                    </a:lnTo>
                    <a:lnTo>
                      <a:pt x="22" y="52"/>
                    </a:lnTo>
                    <a:lnTo>
                      <a:pt x="20" y="54"/>
                    </a:lnTo>
                    <a:lnTo>
                      <a:pt x="17" y="57"/>
                    </a:lnTo>
                    <a:lnTo>
                      <a:pt x="20" y="59"/>
                    </a:lnTo>
                    <a:lnTo>
                      <a:pt x="19" y="62"/>
                    </a:lnTo>
                    <a:lnTo>
                      <a:pt x="17" y="69"/>
                    </a:lnTo>
                    <a:lnTo>
                      <a:pt x="14" y="70"/>
                    </a:lnTo>
                    <a:lnTo>
                      <a:pt x="12" y="74"/>
                    </a:lnTo>
                    <a:lnTo>
                      <a:pt x="9" y="75"/>
                    </a:lnTo>
                    <a:lnTo>
                      <a:pt x="4" y="80"/>
                    </a:lnTo>
                    <a:lnTo>
                      <a:pt x="0" y="92"/>
                    </a:lnTo>
                    <a:lnTo>
                      <a:pt x="2" y="92"/>
                    </a:lnTo>
                    <a:lnTo>
                      <a:pt x="5" y="98"/>
                    </a:lnTo>
                    <a:lnTo>
                      <a:pt x="4" y="100"/>
                    </a:lnTo>
                    <a:lnTo>
                      <a:pt x="7" y="105"/>
                    </a:lnTo>
                    <a:lnTo>
                      <a:pt x="9" y="105"/>
                    </a:lnTo>
                    <a:lnTo>
                      <a:pt x="15" y="110"/>
                    </a:lnTo>
                    <a:lnTo>
                      <a:pt x="17" y="117"/>
                    </a:lnTo>
                    <a:lnTo>
                      <a:pt x="24" y="118"/>
                    </a:lnTo>
                    <a:lnTo>
                      <a:pt x="25" y="120"/>
                    </a:lnTo>
                    <a:lnTo>
                      <a:pt x="28" y="122"/>
                    </a:lnTo>
                    <a:lnTo>
                      <a:pt x="35" y="127"/>
                    </a:lnTo>
                    <a:lnTo>
                      <a:pt x="50" y="172"/>
                    </a:lnTo>
                    <a:lnTo>
                      <a:pt x="50" y="172"/>
                    </a:lnTo>
                    <a:close/>
                    <a:moveTo>
                      <a:pt x="72" y="88"/>
                    </a:moveTo>
                    <a:lnTo>
                      <a:pt x="73" y="87"/>
                    </a:lnTo>
                    <a:lnTo>
                      <a:pt x="77" y="87"/>
                    </a:lnTo>
                    <a:lnTo>
                      <a:pt x="78" y="88"/>
                    </a:lnTo>
                    <a:lnTo>
                      <a:pt x="75" y="90"/>
                    </a:lnTo>
                    <a:lnTo>
                      <a:pt x="72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0" name="Freeform 102">
                <a:extLst>
                  <a:ext uri="{FF2B5EF4-FFF2-40B4-BE49-F238E27FC236}">
                    <a16:creationId xmlns:a16="http://schemas.microsoft.com/office/drawing/2014/main" id="{CB6964D0-D5FB-FC43-9177-3570770E0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989" y="2828739"/>
                <a:ext cx="260070" cy="219969"/>
              </a:xfrm>
              <a:custGeom>
                <a:avLst/>
                <a:gdLst/>
                <a:ahLst/>
                <a:cxnLst>
                  <a:cxn ang="0">
                    <a:pos x="480" y="322"/>
                  </a:cxn>
                  <a:cxn ang="0">
                    <a:pos x="470" y="306"/>
                  </a:cxn>
                  <a:cxn ang="0">
                    <a:pos x="447" y="304"/>
                  </a:cxn>
                  <a:cxn ang="0">
                    <a:pos x="440" y="294"/>
                  </a:cxn>
                  <a:cxn ang="0">
                    <a:pos x="439" y="279"/>
                  </a:cxn>
                  <a:cxn ang="0">
                    <a:pos x="427" y="263"/>
                  </a:cxn>
                  <a:cxn ang="0">
                    <a:pos x="427" y="256"/>
                  </a:cxn>
                  <a:cxn ang="0">
                    <a:pos x="434" y="241"/>
                  </a:cxn>
                  <a:cxn ang="0">
                    <a:pos x="435" y="223"/>
                  </a:cxn>
                  <a:cxn ang="0">
                    <a:pos x="432" y="203"/>
                  </a:cxn>
                  <a:cxn ang="0">
                    <a:pos x="427" y="175"/>
                  </a:cxn>
                  <a:cxn ang="0">
                    <a:pos x="427" y="165"/>
                  </a:cxn>
                  <a:cxn ang="0">
                    <a:pos x="402" y="113"/>
                  </a:cxn>
                  <a:cxn ang="0">
                    <a:pos x="392" y="103"/>
                  </a:cxn>
                  <a:cxn ang="0">
                    <a:pos x="381" y="93"/>
                  </a:cxn>
                  <a:cxn ang="0">
                    <a:pos x="377" y="85"/>
                  </a:cxn>
                  <a:cxn ang="0">
                    <a:pos x="389" y="67"/>
                  </a:cxn>
                  <a:cxn ang="0">
                    <a:pos x="396" y="55"/>
                  </a:cxn>
                  <a:cxn ang="0">
                    <a:pos x="397" y="47"/>
                  </a:cxn>
                  <a:cxn ang="0">
                    <a:pos x="396" y="40"/>
                  </a:cxn>
                  <a:cxn ang="0">
                    <a:pos x="397" y="17"/>
                  </a:cxn>
                  <a:cxn ang="0">
                    <a:pos x="399" y="5"/>
                  </a:cxn>
                  <a:cxn ang="0">
                    <a:pos x="387" y="3"/>
                  </a:cxn>
                  <a:cxn ang="0">
                    <a:pos x="364" y="0"/>
                  </a:cxn>
                  <a:cxn ang="0">
                    <a:pos x="352" y="5"/>
                  </a:cxn>
                  <a:cxn ang="0">
                    <a:pos x="342" y="0"/>
                  </a:cxn>
                  <a:cxn ang="0">
                    <a:pos x="334" y="8"/>
                  </a:cxn>
                  <a:cxn ang="0">
                    <a:pos x="322" y="10"/>
                  </a:cxn>
                  <a:cxn ang="0">
                    <a:pos x="307" y="5"/>
                  </a:cxn>
                  <a:cxn ang="0">
                    <a:pos x="293" y="5"/>
                  </a:cxn>
                  <a:cxn ang="0">
                    <a:pos x="283" y="5"/>
                  </a:cxn>
                  <a:cxn ang="0">
                    <a:pos x="271" y="7"/>
                  </a:cxn>
                  <a:cxn ang="0">
                    <a:pos x="256" y="10"/>
                  </a:cxn>
                  <a:cxn ang="0">
                    <a:pos x="236" y="12"/>
                  </a:cxn>
                  <a:cxn ang="0">
                    <a:pos x="214" y="20"/>
                  </a:cxn>
                  <a:cxn ang="0">
                    <a:pos x="205" y="30"/>
                  </a:cxn>
                  <a:cxn ang="0">
                    <a:pos x="198" y="28"/>
                  </a:cxn>
                  <a:cxn ang="0">
                    <a:pos x="186" y="33"/>
                  </a:cxn>
                  <a:cxn ang="0">
                    <a:pos x="176" y="40"/>
                  </a:cxn>
                  <a:cxn ang="0">
                    <a:pos x="158" y="48"/>
                  </a:cxn>
                  <a:cxn ang="0">
                    <a:pos x="165" y="57"/>
                  </a:cxn>
                  <a:cxn ang="0">
                    <a:pos x="166" y="68"/>
                  </a:cxn>
                  <a:cxn ang="0">
                    <a:pos x="168" y="96"/>
                  </a:cxn>
                  <a:cxn ang="0">
                    <a:pos x="176" y="108"/>
                  </a:cxn>
                  <a:cxn ang="0">
                    <a:pos x="185" y="111"/>
                  </a:cxn>
                  <a:cxn ang="0">
                    <a:pos x="178" y="123"/>
                  </a:cxn>
                  <a:cxn ang="0">
                    <a:pos x="138" y="133"/>
                  </a:cxn>
                  <a:cxn ang="0">
                    <a:pos x="131" y="150"/>
                  </a:cxn>
                  <a:cxn ang="0">
                    <a:pos x="87" y="178"/>
                  </a:cxn>
                  <a:cxn ang="0">
                    <a:pos x="48" y="189"/>
                  </a:cxn>
                  <a:cxn ang="0">
                    <a:pos x="23" y="193"/>
                  </a:cxn>
                  <a:cxn ang="0">
                    <a:pos x="0" y="211"/>
                  </a:cxn>
                  <a:cxn ang="0">
                    <a:pos x="0" y="236"/>
                  </a:cxn>
                  <a:cxn ang="0">
                    <a:pos x="88" y="289"/>
                  </a:cxn>
                  <a:cxn ang="0">
                    <a:pos x="249" y="394"/>
                  </a:cxn>
                  <a:cxn ang="0">
                    <a:pos x="271" y="400"/>
                  </a:cxn>
                  <a:cxn ang="0">
                    <a:pos x="286" y="410"/>
                  </a:cxn>
                  <a:cxn ang="0">
                    <a:pos x="284" y="424"/>
                  </a:cxn>
                  <a:cxn ang="0">
                    <a:pos x="311" y="422"/>
                  </a:cxn>
                  <a:cxn ang="0">
                    <a:pos x="347" y="414"/>
                  </a:cxn>
                  <a:cxn ang="0">
                    <a:pos x="487" y="327"/>
                  </a:cxn>
                </a:cxnLst>
                <a:rect l="0" t="0" r="r" b="b"/>
                <a:pathLst>
                  <a:path w="487" h="425">
                    <a:moveTo>
                      <a:pt x="487" y="327"/>
                    </a:moveTo>
                    <a:lnTo>
                      <a:pt x="484" y="326"/>
                    </a:lnTo>
                    <a:lnTo>
                      <a:pt x="480" y="322"/>
                    </a:lnTo>
                    <a:lnTo>
                      <a:pt x="479" y="321"/>
                    </a:lnTo>
                    <a:lnTo>
                      <a:pt x="474" y="311"/>
                    </a:lnTo>
                    <a:lnTo>
                      <a:pt x="470" y="306"/>
                    </a:lnTo>
                    <a:lnTo>
                      <a:pt x="465" y="304"/>
                    </a:lnTo>
                    <a:lnTo>
                      <a:pt x="457" y="304"/>
                    </a:lnTo>
                    <a:lnTo>
                      <a:pt x="447" y="304"/>
                    </a:lnTo>
                    <a:lnTo>
                      <a:pt x="444" y="301"/>
                    </a:lnTo>
                    <a:lnTo>
                      <a:pt x="444" y="297"/>
                    </a:lnTo>
                    <a:lnTo>
                      <a:pt x="440" y="294"/>
                    </a:lnTo>
                    <a:lnTo>
                      <a:pt x="440" y="287"/>
                    </a:lnTo>
                    <a:lnTo>
                      <a:pt x="440" y="286"/>
                    </a:lnTo>
                    <a:lnTo>
                      <a:pt x="439" y="279"/>
                    </a:lnTo>
                    <a:lnTo>
                      <a:pt x="437" y="279"/>
                    </a:lnTo>
                    <a:lnTo>
                      <a:pt x="434" y="269"/>
                    </a:lnTo>
                    <a:lnTo>
                      <a:pt x="427" y="263"/>
                    </a:lnTo>
                    <a:lnTo>
                      <a:pt x="424" y="259"/>
                    </a:lnTo>
                    <a:lnTo>
                      <a:pt x="425" y="258"/>
                    </a:lnTo>
                    <a:lnTo>
                      <a:pt x="427" y="256"/>
                    </a:lnTo>
                    <a:lnTo>
                      <a:pt x="434" y="253"/>
                    </a:lnTo>
                    <a:lnTo>
                      <a:pt x="435" y="249"/>
                    </a:lnTo>
                    <a:lnTo>
                      <a:pt x="434" y="241"/>
                    </a:lnTo>
                    <a:lnTo>
                      <a:pt x="432" y="236"/>
                    </a:lnTo>
                    <a:lnTo>
                      <a:pt x="432" y="234"/>
                    </a:lnTo>
                    <a:lnTo>
                      <a:pt x="435" y="223"/>
                    </a:lnTo>
                    <a:lnTo>
                      <a:pt x="432" y="216"/>
                    </a:lnTo>
                    <a:lnTo>
                      <a:pt x="430" y="204"/>
                    </a:lnTo>
                    <a:lnTo>
                      <a:pt x="432" y="203"/>
                    </a:lnTo>
                    <a:lnTo>
                      <a:pt x="430" y="194"/>
                    </a:lnTo>
                    <a:lnTo>
                      <a:pt x="430" y="179"/>
                    </a:lnTo>
                    <a:lnTo>
                      <a:pt x="427" y="175"/>
                    </a:lnTo>
                    <a:lnTo>
                      <a:pt x="425" y="173"/>
                    </a:lnTo>
                    <a:lnTo>
                      <a:pt x="425" y="166"/>
                    </a:lnTo>
                    <a:lnTo>
                      <a:pt x="427" y="165"/>
                    </a:lnTo>
                    <a:lnTo>
                      <a:pt x="412" y="120"/>
                    </a:lnTo>
                    <a:lnTo>
                      <a:pt x="405" y="115"/>
                    </a:lnTo>
                    <a:lnTo>
                      <a:pt x="402" y="113"/>
                    </a:lnTo>
                    <a:lnTo>
                      <a:pt x="401" y="111"/>
                    </a:lnTo>
                    <a:lnTo>
                      <a:pt x="394" y="110"/>
                    </a:lnTo>
                    <a:lnTo>
                      <a:pt x="392" y="103"/>
                    </a:lnTo>
                    <a:lnTo>
                      <a:pt x="386" y="98"/>
                    </a:lnTo>
                    <a:lnTo>
                      <a:pt x="384" y="98"/>
                    </a:lnTo>
                    <a:lnTo>
                      <a:pt x="381" y="93"/>
                    </a:lnTo>
                    <a:lnTo>
                      <a:pt x="382" y="91"/>
                    </a:lnTo>
                    <a:lnTo>
                      <a:pt x="379" y="85"/>
                    </a:lnTo>
                    <a:lnTo>
                      <a:pt x="377" y="85"/>
                    </a:lnTo>
                    <a:lnTo>
                      <a:pt x="381" y="73"/>
                    </a:lnTo>
                    <a:lnTo>
                      <a:pt x="386" y="68"/>
                    </a:lnTo>
                    <a:lnTo>
                      <a:pt x="389" y="67"/>
                    </a:lnTo>
                    <a:lnTo>
                      <a:pt x="391" y="63"/>
                    </a:lnTo>
                    <a:lnTo>
                      <a:pt x="394" y="62"/>
                    </a:lnTo>
                    <a:lnTo>
                      <a:pt x="396" y="55"/>
                    </a:lnTo>
                    <a:lnTo>
                      <a:pt x="397" y="52"/>
                    </a:lnTo>
                    <a:lnTo>
                      <a:pt x="394" y="50"/>
                    </a:lnTo>
                    <a:lnTo>
                      <a:pt x="397" y="47"/>
                    </a:lnTo>
                    <a:lnTo>
                      <a:pt x="399" y="45"/>
                    </a:lnTo>
                    <a:lnTo>
                      <a:pt x="399" y="43"/>
                    </a:lnTo>
                    <a:lnTo>
                      <a:pt x="396" y="40"/>
                    </a:lnTo>
                    <a:lnTo>
                      <a:pt x="394" y="33"/>
                    </a:lnTo>
                    <a:lnTo>
                      <a:pt x="397" y="23"/>
                    </a:lnTo>
                    <a:lnTo>
                      <a:pt x="397" y="17"/>
                    </a:lnTo>
                    <a:lnTo>
                      <a:pt x="399" y="10"/>
                    </a:lnTo>
                    <a:lnTo>
                      <a:pt x="397" y="8"/>
                    </a:lnTo>
                    <a:lnTo>
                      <a:pt x="399" y="5"/>
                    </a:lnTo>
                    <a:lnTo>
                      <a:pt x="397" y="3"/>
                    </a:lnTo>
                    <a:lnTo>
                      <a:pt x="391" y="5"/>
                    </a:lnTo>
                    <a:lnTo>
                      <a:pt x="387" y="3"/>
                    </a:lnTo>
                    <a:lnTo>
                      <a:pt x="377" y="7"/>
                    </a:lnTo>
                    <a:lnTo>
                      <a:pt x="371" y="2"/>
                    </a:lnTo>
                    <a:lnTo>
                      <a:pt x="364" y="0"/>
                    </a:lnTo>
                    <a:lnTo>
                      <a:pt x="364" y="2"/>
                    </a:lnTo>
                    <a:lnTo>
                      <a:pt x="361" y="7"/>
                    </a:lnTo>
                    <a:lnTo>
                      <a:pt x="352" y="5"/>
                    </a:lnTo>
                    <a:lnTo>
                      <a:pt x="351" y="2"/>
                    </a:lnTo>
                    <a:lnTo>
                      <a:pt x="347" y="0"/>
                    </a:lnTo>
                    <a:lnTo>
                      <a:pt x="342" y="0"/>
                    </a:lnTo>
                    <a:lnTo>
                      <a:pt x="342" y="3"/>
                    </a:lnTo>
                    <a:lnTo>
                      <a:pt x="337" y="5"/>
                    </a:lnTo>
                    <a:lnTo>
                      <a:pt x="334" y="8"/>
                    </a:lnTo>
                    <a:lnTo>
                      <a:pt x="331" y="7"/>
                    </a:lnTo>
                    <a:lnTo>
                      <a:pt x="327" y="7"/>
                    </a:lnTo>
                    <a:lnTo>
                      <a:pt x="322" y="10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07" y="5"/>
                    </a:lnTo>
                    <a:lnTo>
                      <a:pt x="304" y="5"/>
                    </a:lnTo>
                    <a:lnTo>
                      <a:pt x="298" y="5"/>
                    </a:lnTo>
                    <a:lnTo>
                      <a:pt x="293" y="5"/>
                    </a:lnTo>
                    <a:lnTo>
                      <a:pt x="291" y="5"/>
                    </a:lnTo>
                    <a:lnTo>
                      <a:pt x="286" y="3"/>
                    </a:lnTo>
                    <a:lnTo>
                      <a:pt x="283" y="5"/>
                    </a:lnTo>
                    <a:lnTo>
                      <a:pt x="281" y="8"/>
                    </a:lnTo>
                    <a:lnTo>
                      <a:pt x="276" y="8"/>
                    </a:lnTo>
                    <a:lnTo>
                      <a:pt x="271" y="7"/>
                    </a:lnTo>
                    <a:lnTo>
                      <a:pt x="264" y="13"/>
                    </a:lnTo>
                    <a:lnTo>
                      <a:pt x="261" y="13"/>
                    </a:lnTo>
                    <a:lnTo>
                      <a:pt x="256" y="10"/>
                    </a:lnTo>
                    <a:lnTo>
                      <a:pt x="251" y="12"/>
                    </a:lnTo>
                    <a:lnTo>
                      <a:pt x="241" y="12"/>
                    </a:lnTo>
                    <a:lnTo>
                      <a:pt x="236" y="12"/>
                    </a:lnTo>
                    <a:lnTo>
                      <a:pt x="224" y="20"/>
                    </a:lnTo>
                    <a:lnTo>
                      <a:pt x="218" y="20"/>
                    </a:lnTo>
                    <a:lnTo>
                      <a:pt x="214" y="20"/>
                    </a:lnTo>
                    <a:lnTo>
                      <a:pt x="208" y="23"/>
                    </a:lnTo>
                    <a:lnTo>
                      <a:pt x="208" y="27"/>
                    </a:lnTo>
                    <a:lnTo>
                      <a:pt x="205" y="30"/>
                    </a:lnTo>
                    <a:lnTo>
                      <a:pt x="203" y="30"/>
                    </a:lnTo>
                    <a:lnTo>
                      <a:pt x="201" y="28"/>
                    </a:lnTo>
                    <a:lnTo>
                      <a:pt x="198" y="28"/>
                    </a:lnTo>
                    <a:lnTo>
                      <a:pt x="195" y="30"/>
                    </a:lnTo>
                    <a:lnTo>
                      <a:pt x="193" y="33"/>
                    </a:lnTo>
                    <a:lnTo>
                      <a:pt x="186" y="33"/>
                    </a:lnTo>
                    <a:lnTo>
                      <a:pt x="181" y="35"/>
                    </a:lnTo>
                    <a:lnTo>
                      <a:pt x="178" y="38"/>
                    </a:lnTo>
                    <a:lnTo>
                      <a:pt x="176" y="40"/>
                    </a:lnTo>
                    <a:lnTo>
                      <a:pt x="173" y="45"/>
                    </a:lnTo>
                    <a:lnTo>
                      <a:pt x="165" y="47"/>
                    </a:lnTo>
                    <a:lnTo>
                      <a:pt x="158" y="48"/>
                    </a:lnTo>
                    <a:lnTo>
                      <a:pt x="160" y="50"/>
                    </a:lnTo>
                    <a:lnTo>
                      <a:pt x="161" y="53"/>
                    </a:lnTo>
                    <a:lnTo>
                      <a:pt x="165" y="57"/>
                    </a:lnTo>
                    <a:lnTo>
                      <a:pt x="165" y="60"/>
                    </a:lnTo>
                    <a:lnTo>
                      <a:pt x="165" y="62"/>
                    </a:lnTo>
                    <a:lnTo>
                      <a:pt x="166" y="68"/>
                    </a:lnTo>
                    <a:lnTo>
                      <a:pt x="166" y="77"/>
                    </a:lnTo>
                    <a:lnTo>
                      <a:pt x="166" y="80"/>
                    </a:lnTo>
                    <a:lnTo>
                      <a:pt x="168" y="96"/>
                    </a:lnTo>
                    <a:lnTo>
                      <a:pt x="171" y="103"/>
                    </a:lnTo>
                    <a:lnTo>
                      <a:pt x="173" y="108"/>
                    </a:lnTo>
                    <a:lnTo>
                      <a:pt x="176" y="108"/>
                    </a:lnTo>
                    <a:lnTo>
                      <a:pt x="180" y="110"/>
                    </a:lnTo>
                    <a:lnTo>
                      <a:pt x="181" y="110"/>
                    </a:lnTo>
                    <a:lnTo>
                      <a:pt x="185" y="111"/>
                    </a:lnTo>
                    <a:lnTo>
                      <a:pt x="181" y="118"/>
                    </a:lnTo>
                    <a:lnTo>
                      <a:pt x="181" y="120"/>
                    </a:lnTo>
                    <a:lnTo>
                      <a:pt x="178" y="123"/>
                    </a:lnTo>
                    <a:lnTo>
                      <a:pt x="150" y="123"/>
                    </a:lnTo>
                    <a:lnTo>
                      <a:pt x="145" y="125"/>
                    </a:lnTo>
                    <a:lnTo>
                      <a:pt x="138" y="133"/>
                    </a:lnTo>
                    <a:lnTo>
                      <a:pt x="133" y="136"/>
                    </a:lnTo>
                    <a:lnTo>
                      <a:pt x="131" y="141"/>
                    </a:lnTo>
                    <a:lnTo>
                      <a:pt x="131" y="150"/>
                    </a:lnTo>
                    <a:lnTo>
                      <a:pt x="130" y="153"/>
                    </a:lnTo>
                    <a:lnTo>
                      <a:pt x="113" y="163"/>
                    </a:lnTo>
                    <a:lnTo>
                      <a:pt x="87" y="178"/>
                    </a:lnTo>
                    <a:lnTo>
                      <a:pt x="67" y="188"/>
                    </a:lnTo>
                    <a:lnTo>
                      <a:pt x="57" y="189"/>
                    </a:lnTo>
                    <a:lnTo>
                      <a:pt x="48" y="189"/>
                    </a:lnTo>
                    <a:lnTo>
                      <a:pt x="43" y="191"/>
                    </a:lnTo>
                    <a:lnTo>
                      <a:pt x="37" y="191"/>
                    </a:lnTo>
                    <a:lnTo>
                      <a:pt x="23" y="193"/>
                    </a:lnTo>
                    <a:lnTo>
                      <a:pt x="17" y="198"/>
                    </a:lnTo>
                    <a:lnTo>
                      <a:pt x="12" y="203"/>
                    </a:lnTo>
                    <a:lnTo>
                      <a:pt x="0" y="211"/>
                    </a:lnTo>
                    <a:lnTo>
                      <a:pt x="0" y="229"/>
                    </a:lnTo>
                    <a:lnTo>
                      <a:pt x="0" y="229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88" y="289"/>
                    </a:lnTo>
                    <a:lnTo>
                      <a:pt x="88" y="289"/>
                    </a:lnTo>
                    <a:lnTo>
                      <a:pt x="246" y="384"/>
                    </a:lnTo>
                    <a:lnTo>
                      <a:pt x="249" y="394"/>
                    </a:lnTo>
                    <a:lnTo>
                      <a:pt x="254" y="399"/>
                    </a:lnTo>
                    <a:lnTo>
                      <a:pt x="264" y="399"/>
                    </a:lnTo>
                    <a:lnTo>
                      <a:pt x="271" y="400"/>
                    </a:lnTo>
                    <a:lnTo>
                      <a:pt x="274" y="405"/>
                    </a:lnTo>
                    <a:lnTo>
                      <a:pt x="281" y="407"/>
                    </a:lnTo>
                    <a:lnTo>
                      <a:pt x="286" y="410"/>
                    </a:lnTo>
                    <a:lnTo>
                      <a:pt x="286" y="414"/>
                    </a:lnTo>
                    <a:lnTo>
                      <a:pt x="283" y="420"/>
                    </a:lnTo>
                    <a:lnTo>
                      <a:pt x="284" y="424"/>
                    </a:lnTo>
                    <a:lnTo>
                      <a:pt x="291" y="425"/>
                    </a:lnTo>
                    <a:lnTo>
                      <a:pt x="301" y="424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11" y="422"/>
                    </a:lnTo>
                    <a:lnTo>
                      <a:pt x="347" y="414"/>
                    </a:lnTo>
                    <a:lnTo>
                      <a:pt x="377" y="389"/>
                    </a:lnTo>
                    <a:lnTo>
                      <a:pt x="487" y="327"/>
                    </a:lnTo>
                    <a:lnTo>
                      <a:pt x="487" y="3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1" name="Freeform 103">
                <a:extLst>
                  <a:ext uri="{FF2B5EF4-FFF2-40B4-BE49-F238E27FC236}">
                    <a16:creationId xmlns:a16="http://schemas.microsoft.com/office/drawing/2014/main" id="{F42F8821-5273-CD45-A507-013266560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547" y="2843265"/>
                <a:ext cx="150905" cy="103759"/>
              </a:xfrm>
              <a:custGeom>
                <a:avLst/>
                <a:gdLst/>
                <a:ahLst/>
                <a:cxnLst>
                  <a:cxn ang="0">
                    <a:pos x="98" y="183"/>
                  </a:cxn>
                  <a:cxn ang="0">
                    <a:pos x="115" y="170"/>
                  </a:cxn>
                  <a:cxn ang="0">
                    <a:pos x="135" y="163"/>
                  </a:cxn>
                  <a:cxn ang="0">
                    <a:pos x="146" y="161"/>
                  </a:cxn>
                  <a:cxn ang="0">
                    <a:pos x="165" y="160"/>
                  </a:cxn>
                  <a:cxn ang="0">
                    <a:pos x="211" y="135"/>
                  </a:cxn>
                  <a:cxn ang="0">
                    <a:pos x="229" y="122"/>
                  </a:cxn>
                  <a:cxn ang="0">
                    <a:pos x="231" y="108"/>
                  </a:cxn>
                  <a:cxn ang="0">
                    <a:pos x="243" y="97"/>
                  </a:cxn>
                  <a:cxn ang="0">
                    <a:pos x="276" y="95"/>
                  </a:cxn>
                  <a:cxn ang="0">
                    <a:pos x="279" y="90"/>
                  </a:cxn>
                  <a:cxn ang="0">
                    <a:pos x="279" y="82"/>
                  </a:cxn>
                  <a:cxn ang="0">
                    <a:pos x="274" y="80"/>
                  </a:cxn>
                  <a:cxn ang="0">
                    <a:pos x="269" y="75"/>
                  </a:cxn>
                  <a:cxn ang="0">
                    <a:pos x="264" y="52"/>
                  </a:cxn>
                  <a:cxn ang="0">
                    <a:pos x="264" y="40"/>
                  </a:cxn>
                  <a:cxn ang="0">
                    <a:pos x="263" y="32"/>
                  </a:cxn>
                  <a:cxn ang="0">
                    <a:pos x="259" y="25"/>
                  </a:cxn>
                  <a:cxn ang="0">
                    <a:pos x="256" y="20"/>
                  </a:cxn>
                  <a:cxn ang="0">
                    <a:pos x="239" y="19"/>
                  </a:cxn>
                  <a:cxn ang="0">
                    <a:pos x="234" y="12"/>
                  </a:cxn>
                  <a:cxn ang="0">
                    <a:pos x="233" y="12"/>
                  </a:cxn>
                  <a:cxn ang="0">
                    <a:pos x="221" y="17"/>
                  </a:cxn>
                  <a:cxn ang="0">
                    <a:pos x="209" y="15"/>
                  </a:cxn>
                  <a:cxn ang="0">
                    <a:pos x="196" y="19"/>
                  </a:cxn>
                  <a:cxn ang="0">
                    <a:pos x="185" y="10"/>
                  </a:cxn>
                  <a:cxn ang="0">
                    <a:pos x="181" y="5"/>
                  </a:cxn>
                  <a:cxn ang="0">
                    <a:pos x="181" y="2"/>
                  </a:cxn>
                  <a:cxn ang="0">
                    <a:pos x="176" y="2"/>
                  </a:cxn>
                  <a:cxn ang="0">
                    <a:pos x="170" y="4"/>
                  </a:cxn>
                  <a:cxn ang="0">
                    <a:pos x="165" y="20"/>
                  </a:cxn>
                  <a:cxn ang="0">
                    <a:pos x="158" y="35"/>
                  </a:cxn>
                  <a:cxn ang="0">
                    <a:pos x="143" y="50"/>
                  </a:cxn>
                  <a:cxn ang="0">
                    <a:pos x="136" y="53"/>
                  </a:cxn>
                  <a:cxn ang="0">
                    <a:pos x="120" y="62"/>
                  </a:cxn>
                  <a:cxn ang="0">
                    <a:pos x="108" y="68"/>
                  </a:cxn>
                  <a:cxn ang="0">
                    <a:pos x="98" y="75"/>
                  </a:cxn>
                  <a:cxn ang="0">
                    <a:pos x="92" y="90"/>
                  </a:cxn>
                  <a:cxn ang="0">
                    <a:pos x="82" y="103"/>
                  </a:cxn>
                  <a:cxn ang="0">
                    <a:pos x="75" y="118"/>
                  </a:cxn>
                  <a:cxn ang="0">
                    <a:pos x="75" y="135"/>
                  </a:cxn>
                  <a:cxn ang="0">
                    <a:pos x="80" y="140"/>
                  </a:cxn>
                  <a:cxn ang="0">
                    <a:pos x="63" y="161"/>
                  </a:cxn>
                  <a:cxn ang="0">
                    <a:pos x="55" y="175"/>
                  </a:cxn>
                  <a:cxn ang="0">
                    <a:pos x="30" y="188"/>
                  </a:cxn>
                  <a:cxn ang="0">
                    <a:pos x="0" y="200"/>
                  </a:cxn>
                  <a:cxn ang="0">
                    <a:pos x="98" y="201"/>
                  </a:cxn>
                </a:cxnLst>
                <a:rect l="0" t="0" r="r" b="b"/>
                <a:pathLst>
                  <a:path w="283" h="201">
                    <a:moveTo>
                      <a:pt x="98" y="201"/>
                    </a:moveTo>
                    <a:lnTo>
                      <a:pt x="98" y="183"/>
                    </a:lnTo>
                    <a:lnTo>
                      <a:pt x="110" y="175"/>
                    </a:lnTo>
                    <a:lnTo>
                      <a:pt x="115" y="170"/>
                    </a:lnTo>
                    <a:lnTo>
                      <a:pt x="121" y="165"/>
                    </a:lnTo>
                    <a:lnTo>
                      <a:pt x="135" y="163"/>
                    </a:lnTo>
                    <a:lnTo>
                      <a:pt x="141" y="163"/>
                    </a:lnTo>
                    <a:lnTo>
                      <a:pt x="146" y="161"/>
                    </a:lnTo>
                    <a:lnTo>
                      <a:pt x="155" y="161"/>
                    </a:lnTo>
                    <a:lnTo>
                      <a:pt x="165" y="160"/>
                    </a:lnTo>
                    <a:lnTo>
                      <a:pt x="185" y="150"/>
                    </a:lnTo>
                    <a:lnTo>
                      <a:pt x="211" y="135"/>
                    </a:lnTo>
                    <a:lnTo>
                      <a:pt x="228" y="125"/>
                    </a:lnTo>
                    <a:lnTo>
                      <a:pt x="229" y="122"/>
                    </a:lnTo>
                    <a:lnTo>
                      <a:pt x="229" y="113"/>
                    </a:lnTo>
                    <a:lnTo>
                      <a:pt x="231" y="108"/>
                    </a:lnTo>
                    <a:lnTo>
                      <a:pt x="236" y="105"/>
                    </a:lnTo>
                    <a:lnTo>
                      <a:pt x="243" y="97"/>
                    </a:lnTo>
                    <a:lnTo>
                      <a:pt x="248" y="95"/>
                    </a:lnTo>
                    <a:lnTo>
                      <a:pt x="276" y="95"/>
                    </a:lnTo>
                    <a:lnTo>
                      <a:pt x="279" y="92"/>
                    </a:lnTo>
                    <a:lnTo>
                      <a:pt x="279" y="90"/>
                    </a:lnTo>
                    <a:lnTo>
                      <a:pt x="283" y="83"/>
                    </a:lnTo>
                    <a:lnTo>
                      <a:pt x="279" y="82"/>
                    </a:lnTo>
                    <a:lnTo>
                      <a:pt x="278" y="82"/>
                    </a:lnTo>
                    <a:lnTo>
                      <a:pt x="274" y="80"/>
                    </a:lnTo>
                    <a:lnTo>
                      <a:pt x="271" y="80"/>
                    </a:lnTo>
                    <a:lnTo>
                      <a:pt x="269" y="75"/>
                    </a:lnTo>
                    <a:lnTo>
                      <a:pt x="266" y="68"/>
                    </a:lnTo>
                    <a:lnTo>
                      <a:pt x="264" y="52"/>
                    </a:lnTo>
                    <a:lnTo>
                      <a:pt x="264" y="49"/>
                    </a:lnTo>
                    <a:lnTo>
                      <a:pt x="264" y="40"/>
                    </a:lnTo>
                    <a:lnTo>
                      <a:pt x="263" y="34"/>
                    </a:lnTo>
                    <a:lnTo>
                      <a:pt x="263" y="32"/>
                    </a:lnTo>
                    <a:lnTo>
                      <a:pt x="263" y="29"/>
                    </a:lnTo>
                    <a:lnTo>
                      <a:pt x="259" y="25"/>
                    </a:lnTo>
                    <a:lnTo>
                      <a:pt x="258" y="22"/>
                    </a:lnTo>
                    <a:lnTo>
                      <a:pt x="256" y="20"/>
                    </a:lnTo>
                    <a:lnTo>
                      <a:pt x="253" y="20"/>
                    </a:lnTo>
                    <a:lnTo>
                      <a:pt x="239" y="19"/>
                    </a:lnTo>
                    <a:lnTo>
                      <a:pt x="236" y="15"/>
                    </a:lnTo>
                    <a:lnTo>
                      <a:pt x="234" y="12"/>
                    </a:lnTo>
                    <a:lnTo>
                      <a:pt x="233" y="12"/>
                    </a:lnTo>
                    <a:lnTo>
                      <a:pt x="233" y="12"/>
                    </a:lnTo>
                    <a:lnTo>
                      <a:pt x="228" y="15"/>
                    </a:lnTo>
                    <a:lnTo>
                      <a:pt x="221" y="17"/>
                    </a:lnTo>
                    <a:lnTo>
                      <a:pt x="213" y="15"/>
                    </a:lnTo>
                    <a:lnTo>
                      <a:pt x="209" y="15"/>
                    </a:lnTo>
                    <a:lnTo>
                      <a:pt x="205" y="17"/>
                    </a:lnTo>
                    <a:lnTo>
                      <a:pt x="196" y="19"/>
                    </a:lnTo>
                    <a:lnTo>
                      <a:pt x="191" y="17"/>
                    </a:lnTo>
                    <a:lnTo>
                      <a:pt x="185" y="10"/>
                    </a:lnTo>
                    <a:lnTo>
                      <a:pt x="181" y="9"/>
                    </a:lnTo>
                    <a:lnTo>
                      <a:pt x="181" y="5"/>
                    </a:lnTo>
                    <a:lnTo>
                      <a:pt x="181" y="4"/>
                    </a:lnTo>
                    <a:lnTo>
                      <a:pt x="181" y="2"/>
                    </a:lnTo>
                    <a:lnTo>
                      <a:pt x="180" y="0"/>
                    </a:lnTo>
                    <a:lnTo>
                      <a:pt x="176" y="2"/>
                    </a:lnTo>
                    <a:lnTo>
                      <a:pt x="173" y="4"/>
                    </a:lnTo>
                    <a:lnTo>
                      <a:pt x="170" y="4"/>
                    </a:lnTo>
                    <a:lnTo>
                      <a:pt x="165" y="7"/>
                    </a:lnTo>
                    <a:lnTo>
                      <a:pt x="165" y="20"/>
                    </a:lnTo>
                    <a:lnTo>
                      <a:pt x="160" y="25"/>
                    </a:lnTo>
                    <a:lnTo>
                      <a:pt x="158" y="35"/>
                    </a:lnTo>
                    <a:lnTo>
                      <a:pt x="155" y="40"/>
                    </a:lnTo>
                    <a:lnTo>
                      <a:pt x="143" y="50"/>
                    </a:lnTo>
                    <a:lnTo>
                      <a:pt x="141" y="50"/>
                    </a:lnTo>
                    <a:lnTo>
                      <a:pt x="136" y="53"/>
                    </a:lnTo>
                    <a:lnTo>
                      <a:pt x="126" y="55"/>
                    </a:lnTo>
                    <a:lnTo>
                      <a:pt x="120" y="62"/>
                    </a:lnTo>
                    <a:lnTo>
                      <a:pt x="118" y="62"/>
                    </a:lnTo>
                    <a:lnTo>
                      <a:pt x="108" y="68"/>
                    </a:lnTo>
                    <a:lnTo>
                      <a:pt x="102" y="70"/>
                    </a:lnTo>
                    <a:lnTo>
                      <a:pt x="98" y="75"/>
                    </a:lnTo>
                    <a:lnTo>
                      <a:pt x="88" y="82"/>
                    </a:lnTo>
                    <a:lnTo>
                      <a:pt x="92" y="90"/>
                    </a:lnTo>
                    <a:lnTo>
                      <a:pt x="92" y="95"/>
                    </a:lnTo>
                    <a:lnTo>
                      <a:pt x="82" y="103"/>
                    </a:lnTo>
                    <a:lnTo>
                      <a:pt x="75" y="115"/>
                    </a:lnTo>
                    <a:lnTo>
                      <a:pt x="75" y="118"/>
                    </a:lnTo>
                    <a:lnTo>
                      <a:pt x="78" y="127"/>
                    </a:lnTo>
                    <a:lnTo>
                      <a:pt x="75" y="135"/>
                    </a:lnTo>
                    <a:lnTo>
                      <a:pt x="78" y="137"/>
                    </a:lnTo>
                    <a:lnTo>
                      <a:pt x="80" y="140"/>
                    </a:lnTo>
                    <a:lnTo>
                      <a:pt x="78" y="147"/>
                    </a:lnTo>
                    <a:lnTo>
                      <a:pt x="63" y="161"/>
                    </a:lnTo>
                    <a:lnTo>
                      <a:pt x="62" y="168"/>
                    </a:lnTo>
                    <a:lnTo>
                      <a:pt x="55" y="175"/>
                    </a:lnTo>
                    <a:lnTo>
                      <a:pt x="47" y="175"/>
                    </a:lnTo>
                    <a:lnTo>
                      <a:pt x="30" y="188"/>
                    </a:lnTo>
                    <a:lnTo>
                      <a:pt x="7" y="193"/>
                    </a:lnTo>
                    <a:lnTo>
                      <a:pt x="0" y="200"/>
                    </a:lnTo>
                    <a:lnTo>
                      <a:pt x="98" y="201"/>
                    </a:lnTo>
                    <a:lnTo>
                      <a:pt x="98" y="201"/>
                    </a:lnTo>
                    <a:lnTo>
                      <a:pt x="98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2" name="Freeform 104">
                <a:extLst>
                  <a:ext uri="{FF2B5EF4-FFF2-40B4-BE49-F238E27FC236}">
                    <a16:creationId xmlns:a16="http://schemas.microsoft.com/office/drawing/2014/main" id="{CF299E0A-7F89-1245-A0F8-7AAEF7CB9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2035" y="2945987"/>
                <a:ext cx="105954" cy="75744"/>
              </a:xfrm>
              <a:custGeom>
                <a:avLst/>
                <a:gdLst/>
                <a:ahLst/>
                <a:cxnLst>
                  <a:cxn ang="0">
                    <a:pos x="197" y="8"/>
                  </a:cxn>
                  <a:cxn ang="0">
                    <a:pos x="197" y="1"/>
                  </a:cxn>
                  <a:cxn ang="0">
                    <a:pos x="99" y="0"/>
                  </a:cxn>
                  <a:cxn ang="0">
                    <a:pos x="91" y="11"/>
                  </a:cxn>
                  <a:cxn ang="0">
                    <a:pos x="91" y="21"/>
                  </a:cxn>
                  <a:cxn ang="0">
                    <a:pos x="86" y="21"/>
                  </a:cxn>
                  <a:cxn ang="0">
                    <a:pos x="69" y="28"/>
                  </a:cxn>
                  <a:cxn ang="0">
                    <a:pos x="68" y="33"/>
                  </a:cxn>
                  <a:cxn ang="0">
                    <a:pos x="61" y="36"/>
                  </a:cxn>
                  <a:cxn ang="0">
                    <a:pos x="63" y="41"/>
                  </a:cxn>
                  <a:cxn ang="0">
                    <a:pos x="48" y="61"/>
                  </a:cxn>
                  <a:cxn ang="0">
                    <a:pos x="48" y="68"/>
                  </a:cxn>
                  <a:cxn ang="0">
                    <a:pos x="36" y="78"/>
                  </a:cxn>
                  <a:cxn ang="0">
                    <a:pos x="33" y="79"/>
                  </a:cxn>
                  <a:cxn ang="0">
                    <a:pos x="26" y="91"/>
                  </a:cxn>
                  <a:cxn ang="0">
                    <a:pos x="26" y="94"/>
                  </a:cxn>
                  <a:cxn ang="0">
                    <a:pos x="18" y="106"/>
                  </a:cxn>
                  <a:cxn ang="0">
                    <a:pos x="16" y="108"/>
                  </a:cxn>
                  <a:cxn ang="0">
                    <a:pos x="19" y="109"/>
                  </a:cxn>
                  <a:cxn ang="0">
                    <a:pos x="16" y="111"/>
                  </a:cxn>
                  <a:cxn ang="0">
                    <a:pos x="8" y="124"/>
                  </a:cxn>
                  <a:cxn ang="0">
                    <a:pos x="5" y="124"/>
                  </a:cxn>
                  <a:cxn ang="0">
                    <a:pos x="1" y="128"/>
                  </a:cxn>
                  <a:cxn ang="0">
                    <a:pos x="1" y="134"/>
                  </a:cxn>
                  <a:cxn ang="0">
                    <a:pos x="0" y="138"/>
                  </a:cxn>
                  <a:cxn ang="0">
                    <a:pos x="0" y="146"/>
                  </a:cxn>
                  <a:cxn ang="0">
                    <a:pos x="96" y="144"/>
                  </a:cxn>
                  <a:cxn ang="0">
                    <a:pos x="96" y="104"/>
                  </a:cxn>
                  <a:cxn ang="0">
                    <a:pos x="99" y="99"/>
                  </a:cxn>
                  <a:cxn ang="0">
                    <a:pos x="104" y="96"/>
                  </a:cxn>
                  <a:cxn ang="0">
                    <a:pos x="109" y="94"/>
                  </a:cxn>
                  <a:cxn ang="0">
                    <a:pos x="119" y="94"/>
                  </a:cxn>
                  <a:cxn ang="0">
                    <a:pos x="119" y="36"/>
                  </a:cxn>
                  <a:cxn ang="0">
                    <a:pos x="196" y="38"/>
                  </a:cxn>
                  <a:cxn ang="0">
                    <a:pos x="197" y="8"/>
                  </a:cxn>
                  <a:cxn ang="0">
                    <a:pos x="197" y="8"/>
                  </a:cxn>
                </a:cxnLst>
                <a:rect l="0" t="0" r="r" b="b"/>
                <a:pathLst>
                  <a:path w="197" h="146">
                    <a:moveTo>
                      <a:pt x="197" y="8"/>
                    </a:moveTo>
                    <a:lnTo>
                      <a:pt x="197" y="1"/>
                    </a:lnTo>
                    <a:lnTo>
                      <a:pt x="99" y="0"/>
                    </a:lnTo>
                    <a:lnTo>
                      <a:pt x="91" y="11"/>
                    </a:lnTo>
                    <a:lnTo>
                      <a:pt x="91" y="21"/>
                    </a:lnTo>
                    <a:lnTo>
                      <a:pt x="86" y="21"/>
                    </a:lnTo>
                    <a:lnTo>
                      <a:pt x="69" y="28"/>
                    </a:lnTo>
                    <a:lnTo>
                      <a:pt x="68" y="33"/>
                    </a:lnTo>
                    <a:lnTo>
                      <a:pt x="61" y="36"/>
                    </a:lnTo>
                    <a:lnTo>
                      <a:pt x="63" y="41"/>
                    </a:lnTo>
                    <a:lnTo>
                      <a:pt x="48" y="61"/>
                    </a:lnTo>
                    <a:lnTo>
                      <a:pt x="48" y="68"/>
                    </a:lnTo>
                    <a:lnTo>
                      <a:pt x="36" y="78"/>
                    </a:lnTo>
                    <a:lnTo>
                      <a:pt x="33" y="79"/>
                    </a:lnTo>
                    <a:lnTo>
                      <a:pt x="26" y="91"/>
                    </a:lnTo>
                    <a:lnTo>
                      <a:pt x="26" y="94"/>
                    </a:lnTo>
                    <a:lnTo>
                      <a:pt x="18" y="106"/>
                    </a:lnTo>
                    <a:lnTo>
                      <a:pt x="16" y="108"/>
                    </a:lnTo>
                    <a:lnTo>
                      <a:pt x="19" y="109"/>
                    </a:lnTo>
                    <a:lnTo>
                      <a:pt x="16" y="111"/>
                    </a:lnTo>
                    <a:lnTo>
                      <a:pt x="8" y="124"/>
                    </a:lnTo>
                    <a:lnTo>
                      <a:pt x="5" y="124"/>
                    </a:lnTo>
                    <a:lnTo>
                      <a:pt x="1" y="128"/>
                    </a:lnTo>
                    <a:lnTo>
                      <a:pt x="1" y="134"/>
                    </a:lnTo>
                    <a:lnTo>
                      <a:pt x="0" y="138"/>
                    </a:lnTo>
                    <a:lnTo>
                      <a:pt x="0" y="146"/>
                    </a:lnTo>
                    <a:lnTo>
                      <a:pt x="96" y="144"/>
                    </a:lnTo>
                    <a:lnTo>
                      <a:pt x="96" y="104"/>
                    </a:lnTo>
                    <a:lnTo>
                      <a:pt x="99" y="99"/>
                    </a:lnTo>
                    <a:lnTo>
                      <a:pt x="104" y="96"/>
                    </a:lnTo>
                    <a:lnTo>
                      <a:pt x="109" y="94"/>
                    </a:lnTo>
                    <a:lnTo>
                      <a:pt x="119" y="94"/>
                    </a:lnTo>
                    <a:lnTo>
                      <a:pt x="119" y="36"/>
                    </a:lnTo>
                    <a:lnTo>
                      <a:pt x="196" y="38"/>
                    </a:lnTo>
                    <a:lnTo>
                      <a:pt x="197" y="8"/>
                    </a:lnTo>
                    <a:lnTo>
                      <a:pt x="19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3" name="Freeform 105">
                <a:extLst>
                  <a:ext uri="{FF2B5EF4-FFF2-40B4-BE49-F238E27FC236}">
                    <a16:creationId xmlns:a16="http://schemas.microsoft.com/office/drawing/2014/main" id="{00A51B36-1CC8-CD44-A3AA-97A56700B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965" y="2950137"/>
                <a:ext cx="154116" cy="148375"/>
              </a:xfrm>
              <a:custGeom>
                <a:avLst/>
                <a:gdLst/>
                <a:ahLst/>
                <a:cxnLst>
                  <a:cxn ang="0">
                    <a:pos x="98" y="136"/>
                  </a:cxn>
                  <a:cxn ang="0">
                    <a:pos x="101" y="91"/>
                  </a:cxn>
                  <a:cxn ang="0">
                    <a:pos x="111" y="86"/>
                  </a:cxn>
                  <a:cxn ang="0">
                    <a:pos x="121" y="28"/>
                  </a:cxn>
                  <a:cxn ang="0">
                    <a:pos x="199" y="0"/>
                  </a:cxn>
                  <a:cxn ang="0">
                    <a:pos x="287" y="53"/>
                  </a:cxn>
                  <a:cxn ang="0">
                    <a:pos x="257" y="53"/>
                  </a:cxn>
                  <a:cxn ang="0">
                    <a:pos x="284" y="251"/>
                  </a:cxn>
                  <a:cxn ang="0">
                    <a:pos x="189" y="271"/>
                  </a:cxn>
                  <a:cxn ang="0">
                    <a:pos x="184" y="266"/>
                  </a:cxn>
                  <a:cxn ang="0">
                    <a:pos x="178" y="271"/>
                  </a:cxn>
                  <a:cxn ang="0">
                    <a:pos x="174" y="261"/>
                  </a:cxn>
                  <a:cxn ang="0">
                    <a:pos x="156" y="264"/>
                  </a:cxn>
                  <a:cxn ang="0">
                    <a:pos x="148" y="274"/>
                  </a:cxn>
                  <a:cxn ang="0">
                    <a:pos x="143" y="261"/>
                  </a:cxn>
                  <a:cxn ang="0">
                    <a:pos x="129" y="262"/>
                  </a:cxn>
                  <a:cxn ang="0">
                    <a:pos x="129" y="274"/>
                  </a:cxn>
                  <a:cxn ang="0">
                    <a:pos x="119" y="281"/>
                  </a:cxn>
                  <a:cxn ang="0">
                    <a:pos x="114" y="284"/>
                  </a:cxn>
                  <a:cxn ang="0">
                    <a:pos x="106" y="277"/>
                  </a:cxn>
                  <a:cxn ang="0">
                    <a:pos x="101" y="271"/>
                  </a:cxn>
                  <a:cxn ang="0">
                    <a:pos x="95" y="266"/>
                  </a:cxn>
                  <a:cxn ang="0">
                    <a:pos x="90" y="256"/>
                  </a:cxn>
                  <a:cxn ang="0">
                    <a:pos x="83" y="254"/>
                  </a:cxn>
                  <a:cxn ang="0">
                    <a:pos x="78" y="256"/>
                  </a:cxn>
                  <a:cxn ang="0">
                    <a:pos x="75" y="252"/>
                  </a:cxn>
                  <a:cxn ang="0">
                    <a:pos x="63" y="244"/>
                  </a:cxn>
                  <a:cxn ang="0">
                    <a:pos x="46" y="241"/>
                  </a:cxn>
                  <a:cxn ang="0">
                    <a:pos x="21" y="247"/>
                  </a:cxn>
                  <a:cxn ang="0">
                    <a:pos x="13" y="252"/>
                  </a:cxn>
                  <a:cxn ang="0">
                    <a:pos x="10" y="246"/>
                  </a:cxn>
                  <a:cxn ang="0">
                    <a:pos x="20" y="224"/>
                  </a:cxn>
                  <a:cxn ang="0">
                    <a:pos x="16" y="186"/>
                  </a:cxn>
                  <a:cxn ang="0">
                    <a:pos x="13" y="174"/>
                  </a:cxn>
                  <a:cxn ang="0">
                    <a:pos x="18" y="168"/>
                  </a:cxn>
                  <a:cxn ang="0">
                    <a:pos x="18" y="159"/>
                  </a:cxn>
                  <a:cxn ang="0">
                    <a:pos x="10" y="153"/>
                  </a:cxn>
                  <a:cxn ang="0">
                    <a:pos x="5" y="146"/>
                  </a:cxn>
                  <a:cxn ang="0">
                    <a:pos x="0" y="143"/>
                  </a:cxn>
                  <a:cxn ang="0">
                    <a:pos x="2" y="138"/>
                  </a:cxn>
                </a:cxnLst>
                <a:rect l="0" t="0" r="r" b="b"/>
                <a:pathLst>
                  <a:path w="287" h="284">
                    <a:moveTo>
                      <a:pt x="2" y="138"/>
                    </a:moveTo>
                    <a:lnTo>
                      <a:pt x="98" y="136"/>
                    </a:lnTo>
                    <a:lnTo>
                      <a:pt x="98" y="96"/>
                    </a:lnTo>
                    <a:lnTo>
                      <a:pt x="101" y="91"/>
                    </a:lnTo>
                    <a:lnTo>
                      <a:pt x="106" y="88"/>
                    </a:lnTo>
                    <a:lnTo>
                      <a:pt x="111" y="86"/>
                    </a:lnTo>
                    <a:lnTo>
                      <a:pt x="121" y="86"/>
                    </a:lnTo>
                    <a:lnTo>
                      <a:pt x="121" y="28"/>
                    </a:lnTo>
                    <a:lnTo>
                      <a:pt x="198" y="30"/>
                    </a:lnTo>
                    <a:lnTo>
                      <a:pt x="199" y="0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87" y="53"/>
                    </a:lnTo>
                    <a:lnTo>
                      <a:pt x="257" y="53"/>
                    </a:lnTo>
                    <a:lnTo>
                      <a:pt x="276" y="246"/>
                    </a:lnTo>
                    <a:lnTo>
                      <a:pt x="284" y="251"/>
                    </a:lnTo>
                    <a:lnTo>
                      <a:pt x="276" y="271"/>
                    </a:lnTo>
                    <a:lnTo>
                      <a:pt x="189" y="271"/>
                    </a:lnTo>
                    <a:lnTo>
                      <a:pt x="188" y="269"/>
                    </a:lnTo>
                    <a:lnTo>
                      <a:pt x="184" y="266"/>
                    </a:lnTo>
                    <a:lnTo>
                      <a:pt x="181" y="266"/>
                    </a:lnTo>
                    <a:lnTo>
                      <a:pt x="178" y="271"/>
                    </a:lnTo>
                    <a:lnTo>
                      <a:pt x="174" y="267"/>
                    </a:lnTo>
                    <a:lnTo>
                      <a:pt x="174" y="261"/>
                    </a:lnTo>
                    <a:lnTo>
                      <a:pt x="168" y="259"/>
                    </a:lnTo>
                    <a:lnTo>
                      <a:pt x="156" y="264"/>
                    </a:lnTo>
                    <a:lnTo>
                      <a:pt x="149" y="274"/>
                    </a:lnTo>
                    <a:lnTo>
                      <a:pt x="148" y="274"/>
                    </a:lnTo>
                    <a:lnTo>
                      <a:pt x="143" y="266"/>
                    </a:lnTo>
                    <a:lnTo>
                      <a:pt x="143" y="261"/>
                    </a:lnTo>
                    <a:lnTo>
                      <a:pt x="138" y="261"/>
                    </a:lnTo>
                    <a:lnTo>
                      <a:pt x="129" y="262"/>
                    </a:lnTo>
                    <a:lnTo>
                      <a:pt x="129" y="271"/>
                    </a:lnTo>
                    <a:lnTo>
                      <a:pt x="129" y="274"/>
                    </a:lnTo>
                    <a:lnTo>
                      <a:pt x="128" y="281"/>
                    </a:lnTo>
                    <a:lnTo>
                      <a:pt x="119" y="281"/>
                    </a:lnTo>
                    <a:lnTo>
                      <a:pt x="114" y="284"/>
                    </a:lnTo>
                    <a:lnTo>
                      <a:pt x="114" y="284"/>
                    </a:lnTo>
                    <a:lnTo>
                      <a:pt x="113" y="281"/>
                    </a:lnTo>
                    <a:lnTo>
                      <a:pt x="106" y="277"/>
                    </a:lnTo>
                    <a:lnTo>
                      <a:pt x="101" y="276"/>
                    </a:lnTo>
                    <a:lnTo>
                      <a:pt x="101" y="271"/>
                    </a:lnTo>
                    <a:lnTo>
                      <a:pt x="95" y="271"/>
                    </a:lnTo>
                    <a:lnTo>
                      <a:pt x="95" y="266"/>
                    </a:lnTo>
                    <a:lnTo>
                      <a:pt x="90" y="261"/>
                    </a:lnTo>
                    <a:lnTo>
                      <a:pt x="90" y="256"/>
                    </a:lnTo>
                    <a:lnTo>
                      <a:pt x="88" y="254"/>
                    </a:lnTo>
                    <a:lnTo>
                      <a:pt x="83" y="254"/>
                    </a:lnTo>
                    <a:lnTo>
                      <a:pt x="81" y="254"/>
                    </a:lnTo>
                    <a:lnTo>
                      <a:pt x="78" y="256"/>
                    </a:lnTo>
                    <a:lnTo>
                      <a:pt x="75" y="254"/>
                    </a:lnTo>
                    <a:lnTo>
                      <a:pt x="75" y="252"/>
                    </a:lnTo>
                    <a:lnTo>
                      <a:pt x="70" y="246"/>
                    </a:lnTo>
                    <a:lnTo>
                      <a:pt x="63" y="244"/>
                    </a:lnTo>
                    <a:lnTo>
                      <a:pt x="51" y="241"/>
                    </a:lnTo>
                    <a:lnTo>
                      <a:pt x="46" y="241"/>
                    </a:lnTo>
                    <a:lnTo>
                      <a:pt x="35" y="246"/>
                    </a:lnTo>
                    <a:lnTo>
                      <a:pt x="21" y="247"/>
                    </a:lnTo>
                    <a:lnTo>
                      <a:pt x="16" y="252"/>
                    </a:lnTo>
                    <a:lnTo>
                      <a:pt x="13" y="252"/>
                    </a:lnTo>
                    <a:lnTo>
                      <a:pt x="8" y="254"/>
                    </a:lnTo>
                    <a:lnTo>
                      <a:pt x="10" y="246"/>
                    </a:lnTo>
                    <a:lnTo>
                      <a:pt x="15" y="233"/>
                    </a:lnTo>
                    <a:lnTo>
                      <a:pt x="20" y="224"/>
                    </a:lnTo>
                    <a:lnTo>
                      <a:pt x="21" y="209"/>
                    </a:lnTo>
                    <a:lnTo>
                      <a:pt x="16" y="186"/>
                    </a:lnTo>
                    <a:lnTo>
                      <a:pt x="10" y="176"/>
                    </a:lnTo>
                    <a:lnTo>
                      <a:pt x="13" y="174"/>
                    </a:lnTo>
                    <a:lnTo>
                      <a:pt x="16" y="174"/>
                    </a:lnTo>
                    <a:lnTo>
                      <a:pt x="18" y="168"/>
                    </a:lnTo>
                    <a:lnTo>
                      <a:pt x="16" y="163"/>
                    </a:lnTo>
                    <a:lnTo>
                      <a:pt x="18" y="159"/>
                    </a:lnTo>
                    <a:lnTo>
                      <a:pt x="11" y="151"/>
                    </a:lnTo>
                    <a:lnTo>
                      <a:pt x="10" y="153"/>
                    </a:lnTo>
                    <a:lnTo>
                      <a:pt x="7" y="151"/>
                    </a:lnTo>
                    <a:lnTo>
                      <a:pt x="5" y="146"/>
                    </a:lnTo>
                    <a:lnTo>
                      <a:pt x="0" y="151"/>
                    </a:lnTo>
                    <a:lnTo>
                      <a:pt x="0" y="143"/>
                    </a:lnTo>
                    <a:lnTo>
                      <a:pt x="2" y="138"/>
                    </a:lnTo>
                    <a:lnTo>
                      <a:pt x="2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4" name="Freeform 106">
                <a:extLst>
                  <a:ext uri="{FF2B5EF4-FFF2-40B4-BE49-F238E27FC236}">
                    <a16:creationId xmlns:a16="http://schemas.microsoft.com/office/drawing/2014/main" id="{F37F9E34-F3D2-4246-90DA-0DACEEF4D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968" y="2978152"/>
                <a:ext cx="211909" cy="172240"/>
              </a:xfrm>
              <a:custGeom>
                <a:avLst/>
                <a:gdLst/>
                <a:ahLst/>
                <a:cxnLst>
                  <a:cxn ang="0">
                    <a:pos x="14" y="228"/>
                  </a:cxn>
                  <a:cxn ang="0">
                    <a:pos x="15" y="209"/>
                  </a:cxn>
                  <a:cxn ang="0">
                    <a:pos x="29" y="213"/>
                  </a:cxn>
                  <a:cxn ang="0">
                    <a:pos x="42" y="211"/>
                  </a:cxn>
                  <a:cxn ang="0">
                    <a:pos x="60" y="214"/>
                  </a:cxn>
                  <a:cxn ang="0">
                    <a:pos x="70" y="213"/>
                  </a:cxn>
                  <a:cxn ang="0">
                    <a:pos x="162" y="218"/>
                  </a:cxn>
                  <a:cxn ang="0">
                    <a:pos x="143" y="0"/>
                  </a:cxn>
                  <a:cxn ang="0">
                    <a:pos x="334" y="105"/>
                  </a:cxn>
                  <a:cxn ang="0">
                    <a:pos x="356" y="111"/>
                  </a:cxn>
                  <a:cxn ang="0">
                    <a:pos x="371" y="121"/>
                  </a:cxn>
                  <a:cxn ang="0">
                    <a:pos x="369" y="135"/>
                  </a:cxn>
                  <a:cxn ang="0">
                    <a:pos x="396" y="133"/>
                  </a:cxn>
                  <a:cxn ang="0">
                    <a:pos x="392" y="194"/>
                  </a:cxn>
                  <a:cxn ang="0">
                    <a:pos x="386" y="209"/>
                  </a:cxn>
                  <a:cxn ang="0">
                    <a:pos x="359" y="219"/>
                  </a:cxn>
                  <a:cxn ang="0">
                    <a:pos x="338" y="223"/>
                  </a:cxn>
                  <a:cxn ang="0">
                    <a:pos x="309" y="228"/>
                  </a:cxn>
                  <a:cxn ang="0">
                    <a:pos x="301" y="226"/>
                  </a:cxn>
                  <a:cxn ang="0">
                    <a:pos x="283" y="224"/>
                  </a:cxn>
                  <a:cxn ang="0">
                    <a:pos x="258" y="234"/>
                  </a:cxn>
                  <a:cxn ang="0">
                    <a:pos x="225" y="256"/>
                  </a:cxn>
                  <a:cxn ang="0">
                    <a:pos x="201" y="259"/>
                  </a:cxn>
                  <a:cxn ang="0">
                    <a:pos x="192" y="271"/>
                  </a:cxn>
                  <a:cxn ang="0">
                    <a:pos x="180" y="292"/>
                  </a:cxn>
                  <a:cxn ang="0">
                    <a:pos x="172" y="304"/>
                  </a:cxn>
                  <a:cxn ang="0">
                    <a:pos x="167" y="316"/>
                  </a:cxn>
                  <a:cxn ang="0">
                    <a:pos x="165" y="326"/>
                  </a:cxn>
                  <a:cxn ang="0">
                    <a:pos x="150" y="327"/>
                  </a:cxn>
                  <a:cxn ang="0">
                    <a:pos x="137" y="326"/>
                  </a:cxn>
                  <a:cxn ang="0">
                    <a:pos x="125" y="329"/>
                  </a:cxn>
                  <a:cxn ang="0">
                    <a:pos x="110" y="331"/>
                  </a:cxn>
                  <a:cxn ang="0">
                    <a:pos x="100" y="326"/>
                  </a:cxn>
                  <a:cxn ang="0">
                    <a:pos x="98" y="316"/>
                  </a:cxn>
                  <a:cxn ang="0">
                    <a:pos x="89" y="319"/>
                  </a:cxn>
                  <a:cxn ang="0">
                    <a:pos x="95" y="306"/>
                  </a:cxn>
                  <a:cxn ang="0">
                    <a:pos x="89" y="296"/>
                  </a:cxn>
                  <a:cxn ang="0">
                    <a:pos x="80" y="286"/>
                  </a:cxn>
                  <a:cxn ang="0">
                    <a:pos x="69" y="286"/>
                  </a:cxn>
                  <a:cxn ang="0">
                    <a:pos x="55" y="292"/>
                  </a:cxn>
                  <a:cxn ang="0">
                    <a:pos x="39" y="292"/>
                  </a:cxn>
                  <a:cxn ang="0">
                    <a:pos x="27" y="292"/>
                  </a:cxn>
                  <a:cxn ang="0">
                    <a:pos x="29" y="286"/>
                  </a:cxn>
                  <a:cxn ang="0">
                    <a:pos x="24" y="276"/>
                  </a:cxn>
                  <a:cxn ang="0">
                    <a:pos x="20" y="268"/>
                  </a:cxn>
                  <a:cxn ang="0">
                    <a:pos x="12" y="263"/>
                  </a:cxn>
                  <a:cxn ang="0">
                    <a:pos x="2" y="249"/>
                  </a:cxn>
                  <a:cxn ang="0">
                    <a:pos x="4" y="234"/>
                  </a:cxn>
                </a:cxnLst>
                <a:rect l="0" t="0" r="r" b="b"/>
                <a:pathLst>
                  <a:path w="396" h="332">
                    <a:moveTo>
                      <a:pt x="0" y="231"/>
                    </a:moveTo>
                    <a:lnTo>
                      <a:pt x="5" y="228"/>
                    </a:lnTo>
                    <a:lnTo>
                      <a:pt x="14" y="228"/>
                    </a:lnTo>
                    <a:lnTo>
                      <a:pt x="15" y="221"/>
                    </a:lnTo>
                    <a:lnTo>
                      <a:pt x="15" y="218"/>
                    </a:lnTo>
                    <a:lnTo>
                      <a:pt x="15" y="209"/>
                    </a:lnTo>
                    <a:lnTo>
                      <a:pt x="24" y="208"/>
                    </a:lnTo>
                    <a:lnTo>
                      <a:pt x="29" y="208"/>
                    </a:lnTo>
                    <a:lnTo>
                      <a:pt x="29" y="213"/>
                    </a:lnTo>
                    <a:lnTo>
                      <a:pt x="34" y="221"/>
                    </a:lnTo>
                    <a:lnTo>
                      <a:pt x="35" y="221"/>
                    </a:lnTo>
                    <a:lnTo>
                      <a:pt x="42" y="211"/>
                    </a:lnTo>
                    <a:lnTo>
                      <a:pt x="54" y="206"/>
                    </a:lnTo>
                    <a:lnTo>
                      <a:pt x="60" y="208"/>
                    </a:lnTo>
                    <a:lnTo>
                      <a:pt x="60" y="214"/>
                    </a:lnTo>
                    <a:lnTo>
                      <a:pt x="64" y="218"/>
                    </a:lnTo>
                    <a:lnTo>
                      <a:pt x="67" y="213"/>
                    </a:lnTo>
                    <a:lnTo>
                      <a:pt x="70" y="213"/>
                    </a:lnTo>
                    <a:lnTo>
                      <a:pt x="74" y="216"/>
                    </a:lnTo>
                    <a:lnTo>
                      <a:pt x="75" y="218"/>
                    </a:lnTo>
                    <a:lnTo>
                      <a:pt x="162" y="218"/>
                    </a:lnTo>
                    <a:lnTo>
                      <a:pt x="170" y="198"/>
                    </a:lnTo>
                    <a:lnTo>
                      <a:pt x="162" y="193"/>
                    </a:lnTo>
                    <a:lnTo>
                      <a:pt x="143" y="0"/>
                    </a:lnTo>
                    <a:lnTo>
                      <a:pt x="173" y="0"/>
                    </a:lnTo>
                    <a:lnTo>
                      <a:pt x="331" y="95"/>
                    </a:lnTo>
                    <a:lnTo>
                      <a:pt x="334" y="105"/>
                    </a:lnTo>
                    <a:lnTo>
                      <a:pt x="339" y="110"/>
                    </a:lnTo>
                    <a:lnTo>
                      <a:pt x="349" y="110"/>
                    </a:lnTo>
                    <a:lnTo>
                      <a:pt x="356" y="111"/>
                    </a:lnTo>
                    <a:lnTo>
                      <a:pt x="359" y="116"/>
                    </a:lnTo>
                    <a:lnTo>
                      <a:pt x="366" y="118"/>
                    </a:lnTo>
                    <a:lnTo>
                      <a:pt x="371" y="121"/>
                    </a:lnTo>
                    <a:lnTo>
                      <a:pt x="371" y="125"/>
                    </a:lnTo>
                    <a:lnTo>
                      <a:pt x="368" y="131"/>
                    </a:lnTo>
                    <a:lnTo>
                      <a:pt x="369" y="135"/>
                    </a:lnTo>
                    <a:lnTo>
                      <a:pt x="376" y="136"/>
                    </a:lnTo>
                    <a:lnTo>
                      <a:pt x="386" y="135"/>
                    </a:lnTo>
                    <a:lnTo>
                      <a:pt x="396" y="133"/>
                    </a:lnTo>
                    <a:lnTo>
                      <a:pt x="396" y="133"/>
                    </a:lnTo>
                    <a:lnTo>
                      <a:pt x="394" y="175"/>
                    </a:lnTo>
                    <a:lnTo>
                      <a:pt x="392" y="194"/>
                    </a:lnTo>
                    <a:lnTo>
                      <a:pt x="389" y="198"/>
                    </a:lnTo>
                    <a:lnTo>
                      <a:pt x="388" y="204"/>
                    </a:lnTo>
                    <a:lnTo>
                      <a:pt x="386" y="209"/>
                    </a:lnTo>
                    <a:lnTo>
                      <a:pt x="374" y="216"/>
                    </a:lnTo>
                    <a:lnTo>
                      <a:pt x="368" y="219"/>
                    </a:lnTo>
                    <a:lnTo>
                      <a:pt x="359" y="219"/>
                    </a:lnTo>
                    <a:lnTo>
                      <a:pt x="353" y="223"/>
                    </a:lnTo>
                    <a:lnTo>
                      <a:pt x="348" y="223"/>
                    </a:lnTo>
                    <a:lnTo>
                      <a:pt x="338" y="223"/>
                    </a:lnTo>
                    <a:lnTo>
                      <a:pt x="331" y="226"/>
                    </a:lnTo>
                    <a:lnTo>
                      <a:pt x="326" y="226"/>
                    </a:lnTo>
                    <a:lnTo>
                      <a:pt x="309" y="228"/>
                    </a:lnTo>
                    <a:lnTo>
                      <a:pt x="303" y="226"/>
                    </a:lnTo>
                    <a:lnTo>
                      <a:pt x="303" y="228"/>
                    </a:lnTo>
                    <a:lnTo>
                      <a:pt x="301" y="226"/>
                    </a:lnTo>
                    <a:lnTo>
                      <a:pt x="296" y="226"/>
                    </a:lnTo>
                    <a:lnTo>
                      <a:pt x="290" y="223"/>
                    </a:lnTo>
                    <a:lnTo>
                      <a:pt x="283" y="224"/>
                    </a:lnTo>
                    <a:lnTo>
                      <a:pt x="271" y="226"/>
                    </a:lnTo>
                    <a:lnTo>
                      <a:pt x="265" y="229"/>
                    </a:lnTo>
                    <a:lnTo>
                      <a:pt x="258" y="234"/>
                    </a:lnTo>
                    <a:lnTo>
                      <a:pt x="240" y="243"/>
                    </a:lnTo>
                    <a:lnTo>
                      <a:pt x="226" y="251"/>
                    </a:lnTo>
                    <a:lnTo>
                      <a:pt x="225" y="256"/>
                    </a:lnTo>
                    <a:lnTo>
                      <a:pt x="211" y="259"/>
                    </a:lnTo>
                    <a:lnTo>
                      <a:pt x="210" y="259"/>
                    </a:lnTo>
                    <a:lnTo>
                      <a:pt x="201" y="259"/>
                    </a:lnTo>
                    <a:lnTo>
                      <a:pt x="201" y="261"/>
                    </a:lnTo>
                    <a:lnTo>
                      <a:pt x="198" y="263"/>
                    </a:lnTo>
                    <a:lnTo>
                      <a:pt x="192" y="271"/>
                    </a:lnTo>
                    <a:lnTo>
                      <a:pt x="192" y="274"/>
                    </a:lnTo>
                    <a:lnTo>
                      <a:pt x="187" y="281"/>
                    </a:lnTo>
                    <a:lnTo>
                      <a:pt x="180" y="292"/>
                    </a:lnTo>
                    <a:lnTo>
                      <a:pt x="173" y="296"/>
                    </a:lnTo>
                    <a:lnTo>
                      <a:pt x="170" y="299"/>
                    </a:lnTo>
                    <a:lnTo>
                      <a:pt x="172" y="304"/>
                    </a:lnTo>
                    <a:lnTo>
                      <a:pt x="172" y="311"/>
                    </a:lnTo>
                    <a:lnTo>
                      <a:pt x="167" y="311"/>
                    </a:lnTo>
                    <a:lnTo>
                      <a:pt x="167" y="316"/>
                    </a:lnTo>
                    <a:lnTo>
                      <a:pt x="168" y="319"/>
                    </a:lnTo>
                    <a:lnTo>
                      <a:pt x="167" y="324"/>
                    </a:lnTo>
                    <a:lnTo>
                      <a:pt x="165" y="326"/>
                    </a:lnTo>
                    <a:lnTo>
                      <a:pt x="160" y="332"/>
                    </a:lnTo>
                    <a:lnTo>
                      <a:pt x="152" y="329"/>
                    </a:lnTo>
                    <a:lnTo>
                      <a:pt x="150" y="327"/>
                    </a:lnTo>
                    <a:lnTo>
                      <a:pt x="152" y="326"/>
                    </a:lnTo>
                    <a:lnTo>
                      <a:pt x="145" y="326"/>
                    </a:lnTo>
                    <a:lnTo>
                      <a:pt x="137" y="326"/>
                    </a:lnTo>
                    <a:lnTo>
                      <a:pt x="137" y="329"/>
                    </a:lnTo>
                    <a:lnTo>
                      <a:pt x="135" y="331"/>
                    </a:lnTo>
                    <a:lnTo>
                      <a:pt x="125" y="329"/>
                    </a:lnTo>
                    <a:lnTo>
                      <a:pt x="120" y="327"/>
                    </a:lnTo>
                    <a:lnTo>
                      <a:pt x="117" y="327"/>
                    </a:lnTo>
                    <a:lnTo>
                      <a:pt x="110" y="331"/>
                    </a:lnTo>
                    <a:lnTo>
                      <a:pt x="108" y="327"/>
                    </a:lnTo>
                    <a:lnTo>
                      <a:pt x="107" y="326"/>
                    </a:lnTo>
                    <a:lnTo>
                      <a:pt x="100" y="326"/>
                    </a:lnTo>
                    <a:lnTo>
                      <a:pt x="100" y="322"/>
                    </a:lnTo>
                    <a:lnTo>
                      <a:pt x="98" y="319"/>
                    </a:lnTo>
                    <a:lnTo>
                      <a:pt x="98" y="316"/>
                    </a:lnTo>
                    <a:lnTo>
                      <a:pt x="95" y="316"/>
                    </a:lnTo>
                    <a:lnTo>
                      <a:pt x="93" y="319"/>
                    </a:lnTo>
                    <a:lnTo>
                      <a:pt x="89" y="319"/>
                    </a:lnTo>
                    <a:lnTo>
                      <a:pt x="92" y="314"/>
                    </a:lnTo>
                    <a:lnTo>
                      <a:pt x="95" y="307"/>
                    </a:lnTo>
                    <a:lnTo>
                      <a:pt x="95" y="306"/>
                    </a:lnTo>
                    <a:lnTo>
                      <a:pt x="90" y="304"/>
                    </a:lnTo>
                    <a:lnTo>
                      <a:pt x="87" y="302"/>
                    </a:lnTo>
                    <a:lnTo>
                      <a:pt x="89" y="296"/>
                    </a:lnTo>
                    <a:lnTo>
                      <a:pt x="87" y="292"/>
                    </a:lnTo>
                    <a:lnTo>
                      <a:pt x="82" y="287"/>
                    </a:lnTo>
                    <a:lnTo>
                      <a:pt x="80" y="286"/>
                    </a:lnTo>
                    <a:lnTo>
                      <a:pt x="77" y="287"/>
                    </a:lnTo>
                    <a:lnTo>
                      <a:pt x="74" y="289"/>
                    </a:lnTo>
                    <a:lnTo>
                      <a:pt x="69" y="286"/>
                    </a:lnTo>
                    <a:lnTo>
                      <a:pt x="64" y="286"/>
                    </a:lnTo>
                    <a:lnTo>
                      <a:pt x="59" y="292"/>
                    </a:lnTo>
                    <a:lnTo>
                      <a:pt x="55" y="292"/>
                    </a:lnTo>
                    <a:lnTo>
                      <a:pt x="50" y="296"/>
                    </a:lnTo>
                    <a:lnTo>
                      <a:pt x="44" y="296"/>
                    </a:lnTo>
                    <a:lnTo>
                      <a:pt x="39" y="292"/>
                    </a:lnTo>
                    <a:lnTo>
                      <a:pt x="35" y="291"/>
                    </a:lnTo>
                    <a:lnTo>
                      <a:pt x="30" y="292"/>
                    </a:lnTo>
                    <a:lnTo>
                      <a:pt x="27" y="292"/>
                    </a:lnTo>
                    <a:lnTo>
                      <a:pt x="27" y="292"/>
                    </a:lnTo>
                    <a:lnTo>
                      <a:pt x="29" y="289"/>
                    </a:lnTo>
                    <a:lnTo>
                      <a:pt x="29" y="286"/>
                    </a:lnTo>
                    <a:lnTo>
                      <a:pt x="22" y="282"/>
                    </a:lnTo>
                    <a:lnTo>
                      <a:pt x="22" y="279"/>
                    </a:lnTo>
                    <a:lnTo>
                      <a:pt x="24" y="276"/>
                    </a:lnTo>
                    <a:lnTo>
                      <a:pt x="24" y="274"/>
                    </a:lnTo>
                    <a:lnTo>
                      <a:pt x="20" y="271"/>
                    </a:lnTo>
                    <a:lnTo>
                      <a:pt x="20" y="268"/>
                    </a:lnTo>
                    <a:lnTo>
                      <a:pt x="17" y="266"/>
                    </a:lnTo>
                    <a:lnTo>
                      <a:pt x="14" y="266"/>
                    </a:lnTo>
                    <a:lnTo>
                      <a:pt x="12" y="263"/>
                    </a:lnTo>
                    <a:lnTo>
                      <a:pt x="9" y="258"/>
                    </a:lnTo>
                    <a:lnTo>
                      <a:pt x="2" y="253"/>
                    </a:lnTo>
                    <a:lnTo>
                      <a:pt x="2" y="249"/>
                    </a:lnTo>
                    <a:lnTo>
                      <a:pt x="5" y="241"/>
                    </a:lnTo>
                    <a:lnTo>
                      <a:pt x="4" y="238"/>
                    </a:lnTo>
                    <a:lnTo>
                      <a:pt x="4" y="234"/>
                    </a:lnTo>
                    <a:lnTo>
                      <a:pt x="0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5" name="Freeform 107">
                <a:extLst>
                  <a:ext uri="{FF2B5EF4-FFF2-40B4-BE49-F238E27FC236}">
                    <a16:creationId xmlns:a16="http://schemas.microsoft.com/office/drawing/2014/main" id="{8FCC6CB0-FEA7-1849-B15E-A01C761D3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0799" y="3093325"/>
                <a:ext cx="98463" cy="63293"/>
              </a:xfrm>
              <a:custGeom>
                <a:avLst/>
                <a:gdLst/>
                <a:ahLst/>
                <a:cxnLst>
                  <a:cxn ang="0">
                    <a:pos x="1" y="96"/>
                  </a:cxn>
                  <a:cxn ang="0">
                    <a:pos x="0" y="88"/>
                  </a:cxn>
                  <a:cxn ang="0">
                    <a:pos x="5" y="81"/>
                  </a:cxn>
                  <a:cxn ang="0">
                    <a:pos x="6" y="73"/>
                  </a:cxn>
                  <a:cxn ang="0">
                    <a:pos x="20" y="58"/>
                  </a:cxn>
                  <a:cxn ang="0">
                    <a:pos x="25" y="48"/>
                  </a:cxn>
                  <a:cxn ang="0">
                    <a:pos x="34" y="38"/>
                  </a:cxn>
                  <a:cxn ang="0">
                    <a:pos x="43" y="36"/>
                  </a:cxn>
                  <a:cxn ang="0">
                    <a:pos x="58" y="33"/>
                  </a:cxn>
                  <a:cxn ang="0">
                    <a:pos x="73" y="20"/>
                  </a:cxn>
                  <a:cxn ang="0">
                    <a:pos x="98" y="6"/>
                  </a:cxn>
                  <a:cxn ang="0">
                    <a:pos x="116" y="1"/>
                  </a:cxn>
                  <a:cxn ang="0">
                    <a:pos x="129" y="3"/>
                  </a:cxn>
                  <a:cxn ang="0">
                    <a:pos x="136" y="5"/>
                  </a:cxn>
                  <a:cxn ang="0">
                    <a:pos x="134" y="11"/>
                  </a:cxn>
                  <a:cxn ang="0">
                    <a:pos x="131" y="23"/>
                  </a:cxn>
                  <a:cxn ang="0">
                    <a:pos x="154" y="46"/>
                  </a:cxn>
                  <a:cxn ang="0">
                    <a:pos x="172" y="46"/>
                  </a:cxn>
                  <a:cxn ang="0">
                    <a:pos x="176" y="50"/>
                  </a:cxn>
                  <a:cxn ang="0">
                    <a:pos x="179" y="56"/>
                  </a:cxn>
                  <a:cxn ang="0">
                    <a:pos x="181" y="66"/>
                  </a:cxn>
                  <a:cxn ang="0">
                    <a:pos x="182" y="69"/>
                  </a:cxn>
                  <a:cxn ang="0">
                    <a:pos x="174" y="74"/>
                  </a:cxn>
                  <a:cxn ang="0">
                    <a:pos x="162" y="78"/>
                  </a:cxn>
                  <a:cxn ang="0">
                    <a:pos x="159" y="84"/>
                  </a:cxn>
                  <a:cxn ang="0">
                    <a:pos x="156" y="91"/>
                  </a:cxn>
                  <a:cxn ang="0">
                    <a:pos x="149" y="94"/>
                  </a:cxn>
                  <a:cxn ang="0">
                    <a:pos x="121" y="89"/>
                  </a:cxn>
                  <a:cxn ang="0">
                    <a:pos x="119" y="88"/>
                  </a:cxn>
                  <a:cxn ang="0">
                    <a:pos x="108" y="91"/>
                  </a:cxn>
                  <a:cxn ang="0">
                    <a:pos x="86" y="93"/>
                  </a:cxn>
                  <a:cxn ang="0">
                    <a:pos x="66" y="93"/>
                  </a:cxn>
                  <a:cxn ang="0">
                    <a:pos x="58" y="98"/>
                  </a:cxn>
                  <a:cxn ang="0">
                    <a:pos x="61" y="108"/>
                  </a:cxn>
                  <a:cxn ang="0">
                    <a:pos x="64" y="119"/>
                  </a:cxn>
                  <a:cxn ang="0">
                    <a:pos x="56" y="118"/>
                  </a:cxn>
                  <a:cxn ang="0">
                    <a:pos x="48" y="119"/>
                  </a:cxn>
                  <a:cxn ang="0">
                    <a:pos x="34" y="118"/>
                  </a:cxn>
                  <a:cxn ang="0">
                    <a:pos x="28" y="111"/>
                  </a:cxn>
                  <a:cxn ang="0">
                    <a:pos x="21" y="109"/>
                  </a:cxn>
                  <a:cxn ang="0">
                    <a:pos x="8" y="106"/>
                  </a:cxn>
                  <a:cxn ang="0">
                    <a:pos x="0" y="101"/>
                  </a:cxn>
                </a:cxnLst>
                <a:rect l="0" t="0" r="r" b="b"/>
                <a:pathLst>
                  <a:path w="182" h="121">
                    <a:moveTo>
                      <a:pt x="0" y="101"/>
                    </a:moveTo>
                    <a:lnTo>
                      <a:pt x="1" y="96"/>
                    </a:lnTo>
                    <a:lnTo>
                      <a:pt x="0" y="93"/>
                    </a:lnTo>
                    <a:lnTo>
                      <a:pt x="0" y="88"/>
                    </a:lnTo>
                    <a:lnTo>
                      <a:pt x="5" y="88"/>
                    </a:lnTo>
                    <a:lnTo>
                      <a:pt x="5" y="81"/>
                    </a:lnTo>
                    <a:lnTo>
                      <a:pt x="3" y="76"/>
                    </a:lnTo>
                    <a:lnTo>
                      <a:pt x="6" y="73"/>
                    </a:lnTo>
                    <a:lnTo>
                      <a:pt x="13" y="69"/>
                    </a:lnTo>
                    <a:lnTo>
                      <a:pt x="20" y="58"/>
                    </a:lnTo>
                    <a:lnTo>
                      <a:pt x="25" y="51"/>
                    </a:lnTo>
                    <a:lnTo>
                      <a:pt x="25" y="48"/>
                    </a:lnTo>
                    <a:lnTo>
                      <a:pt x="31" y="40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43" y="36"/>
                    </a:lnTo>
                    <a:lnTo>
                      <a:pt x="44" y="36"/>
                    </a:lnTo>
                    <a:lnTo>
                      <a:pt x="58" y="33"/>
                    </a:lnTo>
                    <a:lnTo>
                      <a:pt x="59" y="28"/>
                    </a:lnTo>
                    <a:lnTo>
                      <a:pt x="73" y="20"/>
                    </a:lnTo>
                    <a:lnTo>
                      <a:pt x="91" y="11"/>
                    </a:lnTo>
                    <a:lnTo>
                      <a:pt x="98" y="6"/>
                    </a:lnTo>
                    <a:lnTo>
                      <a:pt x="104" y="3"/>
                    </a:lnTo>
                    <a:lnTo>
                      <a:pt x="116" y="1"/>
                    </a:lnTo>
                    <a:lnTo>
                      <a:pt x="123" y="0"/>
                    </a:lnTo>
                    <a:lnTo>
                      <a:pt x="129" y="3"/>
                    </a:lnTo>
                    <a:lnTo>
                      <a:pt x="134" y="3"/>
                    </a:lnTo>
                    <a:lnTo>
                      <a:pt x="136" y="5"/>
                    </a:lnTo>
                    <a:lnTo>
                      <a:pt x="134" y="6"/>
                    </a:lnTo>
                    <a:lnTo>
                      <a:pt x="134" y="11"/>
                    </a:lnTo>
                    <a:lnTo>
                      <a:pt x="131" y="16"/>
                    </a:lnTo>
                    <a:lnTo>
                      <a:pt x="131" y="23"/>
                    </a:lnTo>
                    <a:lnTo>
                      <a:pt x="154" y="36"/>
                    </a:lnTo>
                    <a:lnTo>
                      <a:pt x="154" y="46"/>
                    </a:lnTo>
                    <a:lnTo>
                      <a:pt x="162" y="51"/>
                    </a:lnTo>
                    <a:lnTo>
                      <a:pt x="172" y="46"/>
                    </a:lnTo>
                    <a:lnTo>
                      <a:pt x="176" y="48"/>
                    </a:lnTo>
                    <a:lnTo>
                      <a:pt x="176" y="50"/>
                    </a:lnTo>
                    <a:lnTo>
                      <a:pt x="179" y="53"/>
                    </a:lnTo>
                    <a:lnTo>
                      <a:pt x="179" y="56"/>
                    </a:lnTo>
                    <a:lnTo>
                      <a:pt x="176" y="59"/>
                    </a:lnTo>
                    <a:lnTo>
                      <a:pt x="181" y="66"/>
                    </a:lnTo>
                    <a:lnTo>
                      <a:pt x="182" y="66"/>
                    </a:lnTo>
                    <a:lnTo>
                      <a:pt x="182" y="69"/>
                    </a:lnTo>
                    <a:lnTo>
                      <a:pt x="177" y="74"/>
                    </a:lnTo>
                    <a:lnTo>
                      <a:pt x="174" y="74"/>
                    </a:lnTo>
                    <a:lnTo>
                      <a:pt x="166" y="79"/>
                    </a:lnTo>
                    <a:lnTo>
                      <a:pt x="162" y="78"/>
                    </a:lnTo>
                    <a:lnTo>
                      <a:pt x="157" y="79"/>
                    </a:lnTo>
                    <a:lnTo>
                      <a:pt x="159" y="84"/>
                    </a:lnTo>
                    <a:lnTo>
                      <a:pt x="154" y="86"/>
                    </a:lnTo>
                    <a:lnTo>
                      <a:pt x="156" y="91"/>
                    </a:lnTo>
                    <a:lnTo>
                      <a:pt x="149" y="93"/>
                    </a:lnTo>
                    <a:lnTo>
                      <a:pt x="149" y="94"/>
                    </a:lnTo>
                    <a:lnTo>
                      <a:pt x="123" y="88"/>
                    </a:lnTo>
                    <a:lnTo>
                      <a:pt x="121" y="89"/>
                    </a:lnTo>
                    <a:lnTo>
                      <a:pt x="121" y="89"/>
                    </a:lnTo>
                    <a:lnTo>
                      <a:pt x="119" y="88"/>
                    </a:lnTo>
                    <a:lnTo>
                      <a:pt x="114" y="91"/>
                    </a:lnTo>
                    <a:lnTo>
                      <a:pt x="108" y="91"/>
                    </a:lnTo>
                    <a:lnTo>
                      <a:pt x="99" y="93"/>
                    </a:lnTo>
                    <a:lnTo>
                      <a:pt x="86" y="93"/>
                    </a:lnTo>
                    <a:lnTo>
                      <a:pt x="84" y="93"/>
                    </a:lnTo>
                    <a:lnTo>
                      <a:pt x="66" y="93"/>
                    </a:lnTo>
                    <a:lnTo>
                      <a:pt x="58" y="93"/>
                    </a:lnTo>
                    <a:lnTo>
                      <a:pt x="58" y="98"/>
                    </a:lnTo>
                    <a:lnTo>
                      <a:pt x="59" y="106"/>
                    </a:lnTo>
                    <a:lnTo>
                      <a:pt x="61" y="108"/>
                    </a:lnTo>
                    <a:lnTo>
                      <a:pt x="64" y="113"/>
                    </a:lnTo>
                    <a:lnTo>
                      <a:pt x="64" y="119"/>
                    </a:lnTo>
                    <a:lnTo>
                      <a:pt x="59" y="119"/>
                    </a:lnTo>
                    <a:lnTo>
                      <a:pt x="56" y="118"/>
                    </a:lnTo>
                    <a:lnTo>
                      <a:pt x="53" y="116"/>
                    </a:lnTo>
                    <a:lnTo>
                      <a:pt x="48" y="119"/>
                    </a:lnTo>
                    <a:lnTo>
                      <a:pt x="43" y="121"/>
                    </a:lnTo>
                    <a:lnTo>
                      <a:pt x="34" y="118"/>
                    </a:lnTo>
                    <a:lnTo>
                      <a:pt x="33" y="114"/>
                    </a:lnTo>
                    <a:lnTo>
                      <a:pt x="28" y="111"/>
                    </a:lnTo>
                    <a:lnTo>
                      <a:pt x="23" y="111"/>
                    </a:lnTo>
                    <a:lnTo>
                      <a:pt x="21" y="109"/>
                    </a:lnTo>
                    <a:lnTo>
                      <a:pt x="18" y="109"/>
                    </a:lnTo>
                    <a:lnTo>
                      <a:pt x="8" y="106"/>
                    </a:lnTo>
                    <a:lnTo>
                      <a:pt x="1" y="101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6" name="Freeform 108">
                <a:extLst>
                  <a:ext uri="{FF2B5EF4-FFF2-40B4-BE49-F238E27FC236}">
                    <a16:creationId xmlns:a16="http://schemas.microsoft.com/office/drawing/2014/main" id="{0DF53F41-EC88-2345-9110-98F7F7368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3473" y="3075685"/>
                <a:ext cx="83479" cy="53955"/>
              </a:xfrm>
              <a:custGeom>
                <a:avLst/>
                <a:gdLst/>
                <a:ahLst/>
                <a:cxnLst>
                  <a:cxn ang="0">
                    <a:pos x="26" y="11"/>
                  </a:cxn>
                  <a:cxn ang="0">
                    <a:pos x="34" y="6"/>
                  </a:cxn>
                  <a:cxn ang="0">
                    <a:pos x="59" y="0"/>
                  </a:cxn>
                  <a:cxn ang="0">
                    <a:pos x="76" y="3"/>
                  </a:cxn>
                  <a:cxn ang="0">
                    <a:pos x="88" y="11"/>
                  </a:cxn>
                  <a:cxn ang="0">
                    <a:pos x="91" y="15"/>
                  </a:cxn>
                  <a:cxn ang="0">
                    <a:pos x="96" y="13"/>
                  </a:cxn>
                  <a:cxn ang="0">
                    <a:pos x="103" y="15"/>
                  </a:cxn>
                  <a:cxn ang="0">
                    <a:pos x="108" y="25"/>
                  </a:cxn>
                  <a:cxn ang="0">
                    <a:pos x="114" y="30"/>
                  </a:cxn>
                  <a:cxn ang="0">
                    <a:pos x="119" y="36"/>
                  </a:cxn>
                  <a:cxn ang="0">
                    <a:pos x="127" y="43"/>
                  </a:cxn>
                  <a:cxn ang="0">
                    <a:pos x="131" y="50"/>
                  </a:cxn>
                  <a:cxn ang="0">
                    <a:pos x="129" y="61"/>
                  </a:cxn>
                  <a:cxn ang="0">
                    <a:pos x="136" y="70"/>
                  </a:cxn>
                  <a:cxn ang="0">
                    <a:pos x="141" y="78"/>
                  </a:cxn>
                  <a:cxn ang="0">
                    <a:pos x="147" y="80"/>
                  </a:cxn>
                  <a:cxn ang="0">
                    <a:pos x="151" y="86"/>
                  </a:cxn>
                  <a:cxn ang="0">
                    <a:pos x="149" y="91"/>
                  </a:cxn>
                  <a:cxn ang="0">
                    <a:pos x="156" y="98"/>
                  </a:cxn>
                  <a:cxn ang="0">
                    <a:pos x="154" y="104"/>
                  </a:cxn>
                  <a:cxn ang="0">
                    <a:pos x="149" y="99"/>
                  </a:cxn>
                  <a:cxn ang="0">
                    <a:pos x="142" y="98"/>
                  </a:cxn>
                  <a:cxn ang="0">
                    <a:pos x="131" y="96"/>
                  </a:cxn>
                  <a:cxn ang="0">
                    <a:pos x="119" y="94"/>
                  </a:cxn>
                  <a:cxn ang="0">
                    <a:pos x="94" y="90"/>
                  </a:cxn>
                  <a:cxn ang="0">
                    <a:pos x="89" y="91"/>
                  </a:cxn>
                  <a:cxn ang="0">
                    <a:pos x="61" y="88"/>
                  </a:cxn>
                  <a:cxn ang="0">
                    <a:pos x="48" y="98"/>
                  </a:cxn>
                  <a:cxn ang="0">
                    <a:pos x="23" y="99"/>
                  </a:cxn>
                  <a:cxn ang="0">
                    <a:pos x="18" y="93"/>
                  </a:cxn>
                  <a:cxn ang="0">
                    <a:pos x="20" y="93"/>
                  </a:cxn>
                  <a:cxn ang="0">
                    <a:pos x="28" y="91"/>
                  </a:cxn>
                  <a:cxn ang="0">
                    <a:pos x="15" y="91"/>
                  </a:cxn>
                  <a:cxn ang="0">
                    <a:pos x="15" y="86"/>
                  </a:cxn>
                  <a:cxn ang="0">
                    <a:pos x="18" y="80"/>
                  </a:cxn>
                  <a:cxn ang="0">
                    <a:pos x="36" y="75"/>
                  </a:cxn>
                  <a:cxn ang="0">
                    <a:pos x="46" y="71"/>
                  </a:cxn>
                  <a:cxn ang="0">
                    <a:pos x="51" y="73"/>
                  </a:cxn>
                  <a:cxn ang="0">
                    <a:pos x="58" y="70"/>
                  </a:cxn>
                  <a:cxn ang="0">
                    <a:pos x="68" y="73"/>
                  </a:cxn>
                  <a:cxn ang="0">
                    <a:pos x="83" y="78"/>
                  </a:cxn>
                  <a:cxn ang="0">
                    <a:pos x="89" y="75"/>
                  </a:cxn>
                  <a:cxn ang="0">
                    <a:pos x="86" y="73"/>
                  </a:cxn>
                  <a:cxn ang="0">
                    <a:pos x="71" y="66"/>
                  </a:cxn>
                  <a:cxn ang="0">
                    <a:pos x="56" y="63"/>
                  </a:cxn>
                  <a:cxn ang="0">
                    <a:pos x="46" y="63"/>
                  </a:cxn>
                  <a:cxn ang="0">
                    <a:pos x="33" y="70"/>
                  </a:cxn>
                  <a:cxn ang="0">
                    <a:pos x="20" y="71"/>
                  </a:cxn>
                  <a:cxn ang="0">
                    <a:pos x="21" y="66"/>
                  </a:cxn>
                  <a:cxn ang="0">
                    <a:pos x="18" y="63"/>
                  </a:cxn>
                  <a:cxn ang="0">
                    <a:pos x="13" y="58"/>
                  </a:cxn>
                  <a:cxn ang="0">
                    <a:pos x="0" y="43"/>
                  </a:cxn>
                  <a:cxn ang="0">
                    <a:pos x="21" y="21"/>
                  </a:cxn>
                </a:cxnLst>
                <a:rect l="0" t="0" r="r" b="b"/>
                <a:pathLst>
                  <a:path w="156" h="104">
                    <a:moveTo>
                      <a:pt x="21" y="13"/>
                    </a:moveTo>
                    <a:lnTo>
                      <a:pt x="26" y="11"/>
                    </a:lnTo>
                    <a:lnTo>
                      <a:pt x="29" y="11"/>
                    </a:lnTo>
                    <a:lnTo>
                      <a:pt x="34" y="6"/>
                    </a:lnTo>
                    <a:lnTo>
                      <a:pt x="48" y="5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76" y="3"/>
                    </a:lnTo>
                    <a:lnTo>
                      <a:pt x="83" y="5"/>
                    </a:lnTo>
                    <a:lnTo>
                      <a:pt x="88" y="11"/>
                    </a:lnTo>
                    <a:lnTo>
                      <a:pt x="88" y="13"/>
                    </a:lnTo>
                    <a:lnTo>
                      <a:pt x="91" y="15"/>
                    </a:lnTo>
                    <a:lnTo>
                      <a:pt x="94" y="13"/>
                    </a:lnTo>
                    <a:lnTo>
                      <a:pt x="96" y="13"/>
                    </a:lnTo>
                    <a:lnTo>
                      <a:pt x="101" y="13"/>
                    </a:lnTo>
                    <a:lnTo>
                      <a:pt x="103" y="15"/>
                    </a:lnTo>
                    <a:lnTo>
                      <a:pt x="103" y="20"/>
                    </a:lnTo>
                    <a:lnTo>
                      <a:pt x="108" y="25"/>
                    </a:lnTo>
                    <a:lnTo>
                      <a:pt x="108" y="30"/>
                    </a:lnTo>
                    <a:lnTo>
                      <a:pt x="114" y="30"/>
                    </a:lnTo>
                    <a:lnTo>
                      <a:pt x="114" y="35"/>
                    </a:lnTo>
                    <a:lnTo>
                      <a:pt x="119" y="36"/>
                    </a:lnTo>
                    <a:lnTo>
                      <a:pt x="126" y="40"/>
                    </a:lnTo>
                    <a:lnTo>
                      <a:pt x="127" y="43"/>
                    </a:lnTo>
                    <a:lnTo>
                      <a:pt x="131" y="46"/>
                    </a:lnTo>
                    <a:lnTo>
                      <a:pt x="131" y="50"/>
                    </a:lnTo>
                    <a:lnTo>
                      <a:pt x="132" y="53"/>
                    </a:lnTo>
                    <a:lnTo>
                      <a:pt x="129" y="61"/>
                    </a:lnTo>
                    <a:lnTo>
                      <a:pt x="129" y="65"/>
                    </a:lnTo>
                    <a:lnTo>
                      <a:pt x="136" y="70"/>
                    </a:lnTo>
                    <a:lnTo>
                      <a:pt x="139" y="75"/>
                    </a:lnTo>
                    <a:lnTo>
                      <a:pt x="141" y="78"/>
                    </a:lnTo>
                    <a:lnTo>
                      <a:pt x="144" y="78"/>
                    </a:lnTo>
                    <a:lnTo>
                      <a:pt x="147" y="80"/>
                    </a:lnTo>
                    <a:lnTo>
                      <a:pt x="147" y="83"/>
                    </a:lnTo>
                    <a:lnTo>
                      <a:pt x="151" y="86"/>
                    </a:lnTo>
                    <a:lnTo>
                      <a:pt x="151" y="88"/>
                    </a:lnTo>
                    <a:lnTo>
                      <a:pt x="149" y="91"/>
                    </a:lnTo>
                    <a:lnTo>
                      <a:pt x="149" y="94"/>
                    </a:lnTo>
                    <a:lnTo>
                      <a:pt x="156" y="98"/>
                    </a:lnTo>
                    <a:lnTo>
                      <a:pt x="156" y="101"/>
                    </a:lnTo>
                    <a:lnTo>
                      <a:pt x="154" y="104"/>
                    </a:lnTo>
                    <a:lnTo>
                      <a:pt x="154" y="99"/>
                    </a:lnTo>
                    <a:lnTo>
                      <a:pt x="149" y="99"/>
                    </a:lnTo>
                    <a:lnTo>
                      <a:pt x="147" y="98"/>
                    </a:lnTo>
                    <a:lnTo>
                      <a:pt x="142" y="98"/>
                    </a:lnTo>
                    <a:lnTo>
                      <a:pt x="137" y="99"/>
                    </a:lnTo>
                    <a:lnTo>
                      <a:pt x="131" y="96"/>
                    </a:lnTo>
                    <a:lnTo>
                      <a:pt x="122" y="96"/>
                    </a:lnTo>
                    <a:lnTo>
                      <a:pt x="119" y="94"/>
                    </a:lnTo>
                    <a:lnTo>
                      <a:pt x="109" y="90"/>
                    </a:lnTo>
                    <a:lnTo>
                      <a:pt x="94" y="90"/>
                    </a:lnTo>
                    <a:lnTo>
                      <a:pt x="89" y="90"/>
                    </a:lnTo>
                    <a:lnTo>
                      <a:pt x="89" y="91"/>
                    </a:lnTo>
                    <a:lnTo>
                      <a:pt x="83" y="90"/>
                    </a:lnTo>
                    <a:lnTo>
                      <a:pt x="61" y="88"/>
                    </a:lnTo>
                    <a:lnTo>
                      <a:pt x="53" y="91"/>
                    </a:lnTo>
                    <a:lnTo>
                      <a:pt x="48" y="98"/>
                    </a:lnTo>
                    <a:lnTo>
                      <a:pt x="31" y="96"/>
                    </a:lnTo>
                    <a:lnTo>
                      <a:pt x="23" y="99"/>
                    </a:lnTo>
                    <a:lnTo>
                      <a:pt x="18" y="98"/>
                    </a:lnTo>
                    <a:lnTo>
                      <a:pt x="18" y="93"/>
                    </a:lnTo>
                    <a:lnTo>
                      <a:pt x="16" y="93"/>
                    </a:lnTo>
                    <a:lnTo>
                      <a:pt x="20" y="93"/>
                    </a:lnTo>
                    <a:lnTo>
                      <a:pt x="23" y="94"/>
                    </a:lnTo>
                    <a:lnTo>
                      <a:pt x="28" y="91"/>
                    </a:lnTo>
                    <a:lnTo>
                      <a:pt x="20" y="88"/>
                    </a:lnTo>
                    <a:lnTo>
                      <a:pt x="15" y="91"/>
                    </a:lnTo>
                    <a:lnTo>
                      <a:pt x="13" y="90"/>
                    </a:lnTo>
                    <a:lnTo>
                      <a:pt x="15" y="86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33" y="80"/>
                    </a:lnTo>
                    <a:lnTo>
                      <a:pt x="36" y="75"/>
                    </a:lnTo>
                    <a:lnTo>
                      <a:pt x="41" y="75"/>
                    </a:lnTo>
                    <a:lnTo>
                      <a:pt x="46" y="71"/>
                    </a:lnTo>
                    <a:lnTo>
                      <a:pt x="49" y="71"/>
                    </a:lnTo>
                    <a:lnTo>
                      <a:pt x="51" y="73"/>
                    </a:lnTo>
                    <a:lnTo>
                      <a:pt x="54" y="70"/>
                    </a:lnTo>
                    <a:lnTo>
                      <a:pt x="58" y="70"/>
                    </a:lnTo>
                    <a:lnTo>
                      <a:pt x="63" y="73"/>
                    </a:lnTo>
                    <a:lnTo>
                      <a:pt x="68" y="73"/>
                    </a:lnTo>
                    <a:lnTo>
                      <a:pt x="74" y="75"/>
                    </a:lnTo>
                    <a:lnTo>
                      <a:pt x="83" y="78"/>
                    </a:lnTo>
                    <a:lnTo>
                      <a:pt x="88" y="78"/>
                    </a:lnTo>
                    <a:lnTo>
                      <a:pt x="89" y="75"/>
                    </a:lnTo>
                    <a:lnTo>
                      <a:pt x="88" y="73"/>
                    </a:lnTo>
                    <a:lnTo>
                      <a:pt x="86" y="73"/>
                    </a:lnTo>
                    <a:lnTo>
                      <a:pt x="74" y="66"/>
                    </a:lnTo>
                    <a:lnTo>
                      <a:pt x="71" y="66"/>
                    </a:lnTo>
                    <a:lnTo>
                      <a:pt x="63" y="63"/>
                    </a:lnTo>
                    <a:lnTo>
                      <a:pt x="56" y="63"/>
                    </a:lnTo>
                    <a:lnTo>
                      <a:pt x="53" y="61"/>
                    </a:lnTo>
                    <a:lnTo>
                      <a:pt x="46" y="63"/>
                    </a:lnTo>
                    <a:lnTo>
                      <a:pt x="38" y="70"/>
                    </a:lnTo>
                    <a:lnTo>
                      <a:pt x="33" y="70"/>
                    </a:lnTo>
                    <a:lnTo>
                      <a:pt x="29" y="71"/>
                    </a:lnTo>
                    <a:lnTo>
                      <a:pt x="20" y="71"/>
                    </a:lnTo>
                    <a:lnTo>
                      <a:pt x="18" y="70"/>
                    </a:lnTo>
                    <a:lnTo>
                      <a:pt x="21" y="66"/>
                    </a:lnTo>
                    <a:lnTo>
                      <a:pt x="16" y="63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13" y="58"/>
                    </a:lnTo>
                    <a:lnTo>
                      <a:pt x="8" y="50"/>
                    </a:lnTo>
                    <a:lnTo>
                      <a:pt x="0" y="43"/>
                    </a:lnTo>
                    <a:lnTo>
                      <a:pt x="15" y="31"/>
                    </a:lnTo>
                    <a:lnTo>
                      <a:pt x="21" y="21"/>
                    </a:lnTo>
                    <a:lnTo>
                      <a:pt x="21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7" name="Freeform 110">
                <a:extLst>
                  <a:ext uri="{FF2B5EF4-FFF2-40B4-BE49-F238E27FC236}">
                    <a16:creationId xmlns:a16="http://schemas.microsoft.com/office/drawing/2014/main" id="{5A0170D4-7504-AC4B-8775-7843D395B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105" y="3121339"/>
                <a:ext cx="39599" cy="2179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5" y="11"/>
                  </a:cxn>
                  <a:cxn ang="0">
                    <a:pos x="13" y="8"/>
                  </a:cxn>
                  <a:cxn ang="0">
                    <a:pos x="30" y="10"/>
                  </a:cxn>
                  <a:cxn ang="0">
                    <a:pos x="35" y="3"/>
                  </a:cxn>
                  <a:cxn ang="0">
                    <a:pos x="43" y="0"/>
                  </a:cxn>
                  <a:cxn ang="0">
                    <a:pos x="65" y="2"/>
                  </a:cxn>
                  <a:cxn ang="0">
                    <a:pos x="71" y="3"/>
                  </a:cxn>
                  <a:cxn ang="0">
                    <a:pos x="71" y="10"/>
                  </a:cxn>
                  <a:cxn ang="0">
                    <a:pos x="71" y="13"/>
                  </a:cxn>
                  <a:cxn ang="0">
                    <a:pos x="71" y="20"/>
                  </a:cxn>
                  <a:cxn ang="0">
                    <a:pos x="73" y="23"/>
                  </a:cxn>
                  <a:cxn ang="0">
                    <a:pos x="73" y="26"/>
                  </a:cxn>
                  <a:cxn ang="0">
                    <a:pos x="70" y="30"/>
                  </a:cxn>
                  <a:cxn ang="0">
                    <a:pos x="61" y="30"/>
                  </a:cxn>
                  <a:cxn ang="0">
                    <a:pos x="55" y="35"/>
                  </a:cxn>
                  <a:cxn ang="0">
                    <a:pos x="50" y="35"/>
                  </a:cxn>
                  <a:cxn ang="0">
                    <a:pos x="46" y="40"/>
                  </a:cxn>
                  <a:cxn ang="0">
                    <a:pos x="41" y="41"/>
                  </a:cxn>
                  <a:cxn ang="0">
                    <a:pos x="40" y="40"/>
                  </a:cxn>
                  <a:cxn ang="0">
                    <a:pos x="40" y="36"/>
                  </a:cxn>
                  <a:cxn ang="0">
                    <a:pos x="30" y="38"/>
                  </a:cxn>
                  <a:cxn ang="0">
                    <a:pos x="35" y="31"/>
                  </a:cxn>
                  <a:cxn ang="0">
                    <a:pos x="33" y="31"/>
                  </a:cxn>
                  <a:cxn ang="0">
                    <a:pos x="35" y="30"/>
                  </a:cxn>
                  <a:cxn ang="0">
                    <a:pos x="31" y="28"/>
                  </a:cxn>
                  <a:cxn ang="0">
                    <a:pos x="28" y="28"/>
                  </a:cxn>
                  <a:cxn ang="0">
                    <a:pos x="26" y="25"/>
                  </a:cxn>
                  <a:cxn ang="0">
                    <a:pos x="38" y="25"/>
                  </a:cxn>
                  <a:cxn ang="0">
                    <a:pos x="41" y="25"/>
                  </a:cxn>
                  <a:cxn ang="0">
                    <a:pos x="35" y="21"/>
                  </a:cxn>
                  <a:cxn ang="0">
                    <a:pos x="28" y="21"/>
                  </a:cxn>
                  <a:cxn ang="0">
                    <a:pos x="21" y="23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3" y="21"/>
                  </a:cxn>
                  <a:cxn ang="0">
                    <a:pos x="8" y="16"/>
                  </a:cxn>
                  <a:cxn ang="0">
                    <a:pos x="13" y="13"/>
                  </a:cxn>
                  <a:cxn ang="0">
                    <a:pos x="10" y="13"/>
                  </a:cxn>
                  <a:cxn ang="0">
                    <a:pos x="2" y="13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73" h="41">
                    <a:moveTo>
                      <a:pt x="0" y="10"/>
                    </a:moveTo>
                    <a:lnTo>
                      <a:pt x="5" y="11"/>
                    </a:lnTo>
                    <a:lnTo>
                      <a:pt x="13" y="8"/>
                    </a:lnTo>
                    <a:lnTo>
                      <a:pt x="30" y="10"/>
                    </a:lnTo>
                    <a:lnTo>
                      <a:pt x="35" y="3"/>
                    </a:lnTo>
                    <a:lnTo>
                      <a:pt x="43" y="0"/>
                    </a:lnTo>
                    <a:lnTo>
                      <a:pt x="65" y="2"/>
                    </a:lnTo>
                    <a:lnTo>
                      <a:pt x="71" y="3"/>
                    </a:lnTo>
                    <a:lnTo>
                      <a:pt x="71" y="10"/>
                    </a:lnTo>
                    <a:lnTo>
                      <a:pt x="71" y="13"/>
                    </a:lnTo>
                    <a:lnTo>
                      <a:pt x="71" y="20"/>
                    </a:lnTo>
                    <a:lnTo>
                      <a:pt x="73" y="23"/>
                    </a:lnTo>
                    <a:lnTo>
                      <a:pt x="73" y="26"/>
                    </a:lnTo>
                    <a:lnTo>
                      <a:pt x="70" y="30"/>
                    </a:lnTo>
                    <a:lnTo>
                      <a:pt x="61" y="30"/>
                    </a:lnTo>
                    <a:lnTo>
                      <a:pt x="55" y="35"/>
                    </a:lnTo>
                    <a:lnTo>
                      <a:pt x="50" y="35"/>
                    </a:lnTo>
                    <a:lnTo>
                      <a:pt x="46" y="40"/>
                    </a:lnTo>
                    <a:lnTo>
                      <a:pt x="41" y="41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30" y="38"/>
                    </a:lnTo>
                    <a:lnTo>
                      <a:pt x="35" y="31"/>
                    </a:lnTo>
                    <a:lnTo>
                      <a:pt x="33" y="31"/>
                    </a:lnTo>
                    <a:lnTo>
                      <a:pt x="35" y="30"/>
                    </a:lnTo>
                    <a:lnTo>
                      <a:pt x="31" y="28"/>
                    </a:lnTo>
                    <a:lnTo>
                      <a:pt x="28" y="28"/>
                    </a:lnTo>
                    <a:lnTo>
                      <a:pt x="26" y="25"/>
                    </a:lnTo>
                    <a:lnTo>
                      <a:pt x="38" y="25"/>
                    </a:lnTo>
                    <a:lnTo>
                      <a:pt x="41" y="25"/>
                    </a:lnTo>
                    <a:lnTo>
                      <a:pt x="35" y="21"/>
                    </a:lnTo>
                    <a:lnTo>
                      <a:pt x="28" y="21"/>
                    </a:lnTo>
                    <a:lnTo>
                      <a:pt x="21" y="23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3" y="21"/>
                    </a:lnTo>
                    <a:lnTo>
                      <a:pt x="8" y="16"/>
                    </a:lnTo>
                    <a:lnTo>
                      <a:pt x="13" y="13"/>
                    </a:lnTo>
                    <a:lnTo>
                      <a:pt x="10" y="13"/>
                    </a:lnTo>
                    <a:lnTo>
                      <a:pt x="2" y="13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8" name="Freeform 111">
                <a:extLst>
                  <a:ext uri="{FF2B5EF4-FFF2-40B4-BE49-F238E27FC236}">
                    <a16:creationId xmlns:a16="http://schemas.microsoft.com/office/drawing/2014/main" id="{78E35651-B420-3C4F-9457-ED507402B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791" y="3122377"/>
                <a:ext cx="92041" cy="78857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5" y="28"/>
                  </a:cxn>
                  <a:cxn ang="0">
                    <a:pos x="27" y="24"/>
                  </a:cxn>
                  <a:cxn ang="0">
                    <a:pos x="25" y="18"/>
                  </a:cxn>
                  <a:cxn ang="0">
                    <a:pos x="25" y="8"/>
                  </a:cxn>
                  <a:cxn ang="0">
                    <a:pos x="30" y="0"/>
                  </a:cxn>
                  <a:cxn ang="0">
                    <a:pos x="55" y="4"/>
                  </a:cxn>
                  <a:cxn ang="0">
                    <a:pos x="67" y="6"/>
                  </a:cxn>
                  <a:cxn ang="0">
                    <a:pos x="78" y="8"/>
                  </a:cxn>
                  <a:cxn ang="0">
                    <a:pos x="85" y="9"/>
                  </a:cxn>
                  <a:cxn ang="0">
                    <a:pos x="90" y="14"/>
                  </a:cxn>
                  <a:cxn ang="0">
                    <a:pos x="98" y="13"/>
                  </a:cxn>
                  <a:cxn ang="0">
                    <a:pos x="107" y="18"/>
                  </a:cxn>
                  <a:cxn ang="0">
                    <a:pos x="118" y="14"/>
                  </a:cxn>
                  <a:cxn ang="0">
                    <a:pos x="127" y="8"/>
                  </a:cxn>
                  <a:cxn ang="0">
                    <a:pos x="137" y="11"/>
                  </a:cxn>
                  <a:cxn ang="0">
                    <a:pos x="143" y="8"/>
                  </a:cxn>
                  <a:cxn ang="0">
                    <a:pos x="150" y="14"/>
                  </a:cxn>
                  <a:cxn ang="0">
                    <a:pos x="150" y="24"/>
                  </a:cxn>
                  <a:cxn ang="0">
                    <a:pos x="158" y="28"/>
                  </a:cxn>
                  <a:cxn ang="0">
                    <a:pos x="155" y="36"/>
                  </a:cxn>
                  <a:cxn ang="0">
                    <a:pos x="156" y="41"/>
                  </a:cxn>
                  <a:cxn ang="0">
                    <a:pos x="161" y="38"/>
                  </a:cxn>
                  <a:cxn ang="0">
                    <a:pos x="163" y="44"/>
                  </a:cxn>
                  <a:cxn ang="0">
                    <a:pos x="170" y="48"/>
                  </a:cxn>
                  <a:cxn ang="0">
                    <a:pos x="173" y="53"/>
                  </a:cxn>
                  <a:cxn ang="0">
                    <a:pos x="161" y="56"/>
                  </a:cxn>
                  <a:cxn ang="0">
                    <a:pos x="163" y="63"/>
                  </a:cxn>
                  <a:cxn ang="0">
                    <a:pos x="163" y="76"/>
                  </a:cxn>
                  <a:cxn ang="0">
                    <a:pos x="166" y="84"/>
                  </a:cxn>
                  <a:cxn ang="0">
                    <a:pos x="168" y="93"/>
                  </a:cxn>
                  <a:cxn ang="0">
                    <a:pos x="161" y="93"/>
                  </a:cxn>
                  <a:cxn ang="0">
                    <a:pos x="166" y="101"/>
                  </a:cxn>
                  <a:cxn ang="0">
                    <a:pos x="168" y="107"/>
                  </a:cxn>
                  <a:cxn ang="0">
                    <a:pos x="156" y="121"/>
                  </a:cxn>
                  <a:cxn ang="0">
                    <a:pos x="156" y="127"/>
                  </a:cxn>
                  <a:cxn ang="0">
                    <a:pos x="150" y="139"/>
                  </a:cxn>
                  <a:cxn ang="0">
                    <a:pos x="113" y="152"/>
                  </a:cxn>
                  <a:cxn ang="0">
                    <a:pos x="100" y="147"/>
                  </a:cxn>
                  <a:cxn ang="0">
                    <a:pos x="90" y="137"/>
                  </a:cxn>
                  <a:cxn ang="0">
                    <a:pos x="92" y="134"/>
                  </a:cxn>
                  <a:cxn ang="0">
                    <a:pos x="103" y="99"/>
                  </a:cxn>
                  <a:cxn ang="0">
                    <a:pos x="102" y="94"/>
                  </a:cxn>
                  <a:cxn ang="0">
                    <a:pos x="105" y="89"/>
                  </a:cxn>
                  <a:cxn ang="0">
                    <a:pos x="100" y="81"/>
                  </a:cxn>
                  <a:cxn ang="0">
                    <a:pos x="95" y="68"/>
                  </a:cxn>
                  <a:cxn ang="0">
                    <a:pos x="90" y="59"/>
                  </a:cxn>
                  <a:cxn ang="0">
                    <a:pos x="62" y="61"/>
                  </a:cxn>
                  <a:cxn ang="0">
                    <a:pos x="52" y="71"/>
                  </a:cxn>
                  <a:cxn ang="0">
                    <a:pos x="45" y="78"/>
                  </a:cxn>
                  <a:cxn ang="0">
                    <a:pos x="37" y="74"/>
                  </a:cxn>
                  <a:cxn ang="0">
                    <a:pos x="29" y="64"/>
                  </a:cxn>
                  <a:cxn ang="0">
                    <a:pos x="22" y="63"/>
                  </a:cxn>
                  <a:cxn ang="0">
                    <a:pos x="24" y="58"/>
                  </a:cxn>
                  <a:cxn ang="0">
                    <a:pos x="17" y="59"/>
                  </a:cxn>
                  <a:cxn ang="0">
                    <a:pos x="9" y="58"/>
                  </a:cxn>
                  <a:cxn ang="0">
                    <a:pos x="5" y="43"/>
                  </a:cxn>
                  <a:cxn ang="0">
                    <a:pos x="0" y="38"/>
                  </a:cxn>
                </a:cxnLst>
                <a:rect l="0" t="0" r="r" b="b"/>
                <a:pathLst>
                  <a:path w="173" h="152">
                    <a:moveTo>
                      <a:pt x="0" y="38"/>
                    </a:moveTo>
                    <a:lnTo>
                      <a:pt x="4" y="33"/>
                    </a:lnTo>
                    <a:lnTo>
                      <a:pt x="9" y="33"/>
                    </a:lnTo>
                    <a:lnTo>
                      <a:pt x="15" y="28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27" y="21"/>
                    </a:lnTo>
                    <a:lnTo>
                      <a:pt x="25" y="18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5" y="0"/>
                    </a:lnTo>
                    <a:lnTo>
                      <a:pt x="30" y="0"/>
                    </a:lnTo>
                    <a:lnTo>
                      <a:pt x="45" y="0"/>
                    </a:lnTo>
                    <a:lnTo>
                      <a:pt x="55" y="4"/>
                    </a:lnTo>
                    <a:lnTo>
                      <a:pt x="58" y="6"/>
                    </a:lnTo>
                    <a:lnTo>
                      <a:pt x="67" y="6"/>
                    </a:lnTo>
                    <a:lnTo>
                      <a:pt x="73" y="9"/>
                    </a:lnTo>
                    <a:lnTo>
                      <a:pt x="78" y="8"/>
                    </a:lnTo>
                    <a:lnTo>
                      <a:pt x="83" y="8"/>
                    </a:lnTo>
                    <a:lnTo>
                      <a:pt x="85" y="9"/>
                    </a:lnTo>
                    <a:lnTo>
                      <a:pt x="90" y="9"/>
                    </a:lnTo>
                    <a:lnTo>
                      <a:pt x="90" y="14"/>
                    </a:lnTo>
                    <a:lnTo>
                      <a:pt x="93" y="14"/>
                    </a:lnTo>
                    <a:lnTo>
                      <a:pt x="98" y="13"/>
                    </a:lnTo>
                    <a:lnTo>
                      <a:pt x="102" y="14"/>
                    </a:lnTo>
                    <a:lnTo>
                      <a:pt x="107" y="18"/>
                    </a:lnTo>
                    <a:lnTo>
                      <a:pt x="113" y="18"/>
                    </a:lnTo>
                    <a:lnTo>
                      <a:pt x="118" y="14"/>
                    </a:lnTo>
                    <a:lnTo>
                      <a:pt x="122" y="14"/>
                    </a:lnTo>
                    <a:lnTo>
                      <a:pt x="127" y="8"/>
                    </a:lnTo>
                    <a:lnTo>
                      <a:pt x="132" y="8"/>
                    </a:lnTo>
                    <a:lnTo>
                      <a:pt x="137" y="11"/>
                    </a:lnTo>
                    <a:lnTo>
                      <a:pt x="140" y="9"/>
                    </a:lnTo>
                    <a:lnTo>
                      <a:pt x="143" y="8"/>
                    </a:lnTo>
                    <a:lnTo>
                      <a:pt x="145" y="9"/>
                    </a:lnTo>
                    <a:lnTo>
                      <a:pt x="150" y="14"/>
                    </a:lnTo>
                    <a:lnTo>
                      <a:pt x="152" y="18"/>
                    </a:lnTo>
                    <a:lnTo>
                      <a:pt x="150" y="24"/>
                    </a:lnTo>
                    <a:lnTo>
                      <a:pt x="153" y="26"/>
                    </a:lnTo>
                    <a:lnTo>
                      <a:pt x="158" y="28"/>
                    </a:lnTo>
                    <a:lnTo>
                      <a:pt x="158" y="29"/>
                    </a:lnTo>
                    <a:lnTo>
                      <a:pt x="155" y="36"/>
                    </a:lnTo>
                    <a:lnTo>
                      <a:pt x="152" y="41"/>
                    </a:lnTo>
                    <a:lnTo>
                      <a:pt x="156" y="41"/>
                    </a:lnTo>
                    <a:lnTo>
                      <a:pt x="158" y="38"/>
                    </a:lnTo>
                    <a:lnTo>
                      <a:pt x="161" y="38"/>
                    </a:lnTo>
                    <a:lnTo>
                      <a:pt x="161" y="41"/>
                    </a:lnTo>
                    <a:lnTo>
                      <a:pt x="163" y="44"/>
                    </a:lnTo>
                    <a:lnTo>
                      <a:pt x="163" y="48"/>
                    </a:lnTo>
                    <a:lnTo>
                      <a:pt x="170" y="48"/>
                    </a:lnTo>
                    <a:lnTo>
                      <a:pt x="171" y="49"/>
                    </a:lnTo>
                    <a:lnTo>
                      <a:pt x="173" y="53"/>
                    </a:lnTo>
                    <a:lnTo>
                      <a:pt x="170" y="54"/>
                    </a:lnTo>
                    <a:lnTo>
                      <a:pt x="161" y="56"/>
                    </a:lnTo>
                    <a:lnTo>
                      <a:pt x="161" y="61"/>
                    </a:lnTo>
                    <a:lnTo>
                      <a:pt x="163" y="63"/>
                    </a:lnTo>
                    <a:lnTo>
                      <a:pt x="165" y="73"/>
                    </a:lnTo>
                    <a:lnTo>
                      <a:pt x="163" y="76"/>
                    </a:lnTo>
                    <a:lnTo>
                      <a:pt x="163" y="83"/>
                    </a:lnTo>
                    <a:lnTo>
                      <a:pt x="166" y="84"/>
                    </a:lnTo>
                    <a:lnTo>
                      <a:pt x="170" y="89"/>
                    </a:lnTo>
                    <a:lnTo>
                      <a:pt x="168" y="93"/>
                    </a:lnTo>
                    <a:lnTo>
                      <a:pt x="165" y="91"/>
                    </a:lnTo>
                    <a:lnTo>
                      <a:pt x="161" y="93"/>
                    </a:lnTo>
                    <a:lnTo>
                      <a:pt x="161" y="96"/>
                    </a:lnTo>
                    <a:lnTo>
                      <a:pt x="166" y="101"/>
                    </a:lnTo>
                    <a:lnTo>
                      <a:pt x="168" y="102"/>
                    </a:lnTo>
                    <a:lnTo>
                      <a:pt x="168" y="107"/>
                    </a:lnTo>
                    <a:lnTo>
                      <a:pt x="161" y="121"/>
                    </a:lnTo>
                    <a:lnTo>
                      <a:pt x="156" y="121"/>
                    </a:lnTo>
                    <a:lnTo>
                      <a:pt x="155" y="124"/>
                    </a:lnTo>
                    <a:lnTo>
                      <a:pt x="156" y="127"/>
                    </a:lnTo>
                    <a:lnTo>
                      <a:pt x="153" y="136"/>
                    </a:lnTo>
                    <a:lnTo>
                      <a:pt x="150" y="139"/>
                    </a:lnTo>
                    <a:lnTo>
                      <a:pt x="150" y="142"/>
                    </a:lnTo>
                    <a:lnTo>
                      <a:pt x="113" y="152"/>
                    </a:lnTo>
                    <a:lnTo>
                      <a:pt x="105" y="147"/>
                    </a:lnTo>
                    <a:lnTo>
                      <a:pt x="100" y="147"/>
                    </a:lnTo>
                    <a:lnTo>
                      <a:pt x="95" y="139"/>
                    </a:lnTo>
                    <a:lnTo>
                      <a:pt x="90" y="137"/>
                    </a:lnTo>
                    <a:lnTo>
                      <a:pt x="92" y="134"/>
                    </a:lnTo>
                    <a:lnTo>
                      <a:pt x="92" y="134"/>
                    </a:lnTo>
                    <a:lnTo>
                      <a:pt x="102" y="127"/>
                    </a:lnTo>
                    <a:lnTo>
                      <a:pt x="103" y="99"/>
                    </a:lnTo>
                    <a:lnTo>
                      <a:pt x="105" y="96"/>
                    </a:lnTo>
                    <a:lnTo>
                      <a:pt x="102" y="94"/>
                    </a:lnTo>
                    <a:lnTo>
                      <a:pt x="102" y="91"/>
                    </a:lnTo>
                    <a:lnTo>
                      <a:pt x="105" y="89"/>
                    </a:lnTo>
                    <a:lnTo>
                      <a:pt x="105" y="86"/>
                    </a:lnTo>
                    <a:lnTo>
                      <a:pt x="100" y="81"/>
                    </a:lnTo>
                    <a:lnTo>
                      <a:pt x="102" y="78"/>
                    </a:lnTo>
                    <a:lnTo>
                      <a:pt x="95" y="68"/>
                    </a:lnTo>
                    <a:lnTo>
                      <a:pt x="93" y="64"/>
                    </a:lnTo>
                    <a:lnTo>
                      <a:pt x="90" y="59"/>
                    </a:lnTo>
                    <a:lnTo>
                      <a:pt x="68" y="59"/>
                    </a:lnTo>
                    <a:lnTo>
                      <a:pt x="62" y="61"/>
                    </a:lnTo>
                    <a:lnTo>
                      <a:pt x="58" y="64"/>
                    </a:lnTo>
                    <a:lnTo>
                      <a:pt x="52" y="71"/>
                    </a:lnTo>
                    <a:lnTo>
                      <a:pt x="52" y="73"/>
                    </a:lnTo>
                    <a:lnTo>
                      <a:pt x="45" y="78"/>
                    </a:lnTo>
                    <a:lnTo>
                      <a:pt x="40" y="78"/>
                    </a:lnTo>
                    <a:lnTo>
                      <a:pt x="37" y="74"/>
                    </a:lnTo>
                    <a:lnTo>
                      <a:pt x="30" y="71"/>
                    </a:lnTo>
                    <a:lnTo>
                      <a:pt x="29" y="64"/>
                    </a:lnTo>
                    <a:lnTo>
                      <a:pt x="24" y="64"/>
                    </a:lnTo>
                    <a:lnTo>
                      <a:pt x="22" y="63"/>
                    </a:lnTo>
                    <a:lnTo>
                      <a:pt x="22" y="59"/>
                    </a:lnTo>
                    <a:lnTo>
                      <a:pt x="24" y="58"/>
                    </a:lnTo>
                    <a:lnTo>
                      <a:pt x="20" y="56"/>
                    </a:lnTo>
                    <a:lnTo>
                      <a:pt x="17" y="59"/>
                    </a:lnTo>
                    <a:lnTo>
                      <a:pt x="14" y="58"/>
                    </a:lnTo>
                    <a:lnTo>
                      <a:pt x="9" y="58"/>
                    </a:lnTo>
                    <a:lnTo>
                      <a:pt x="2" y="49"/>
                    </a:lnTo>
                    <a:lnTo>
                      <a:pt x="5" y="43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69" name="Freeform 112">
                <a:extLst>
                  <a:ext uri="{FF2B5EF4-FFF2-40B4-BE49-F238E27FC236}">
                    <a16:creationId xmlns:a16="http://schemas.microsoft.com/office/drawing/2014/main" id="{BF572F97-900E-C34D-9350-EB8B113E59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9125" y="3153505"/>
                <a:ext cx="35318" cy="38391"/>
              </a:xfrm>
              <a:custGeom>
                <a:avLst/>
                <a:gdLst/>
                <a:ahLst/>
                <a:cxnLst>
                  <a:cxn ang="0">
                    <a:pos x="18" y="63"/>
                  </a:cxn>
                  <a:cxn ang="0">
                    <a:pos x="16" y="60"/>
                  </a:cxn>
                  <a:cxn ang="0">
                    <a:pos x="15" y="58"/>
                  </a:cxn>
                  <a:cxn ang="0">
                    <a:pos x="13" y="58"/>
                  </a:cxn>
                  <a:cxn ang="0">
                    <a:pos x="11" y="60"/>
                  </a:cxn>
                  <a:cxn ang="0">
                    <a:pos x="13" y="62"/>
                  </a:cxn>
                  <a:cxn ang="0">
                    <a:pos x="15" y="63"/>
                  </a:cxn>
                  <a:cxn ang="0">
                    <a:pos x="18" y="63"/>
                  </a:cxn>
                  <a:cxn ang="0">
                    <a:pos x="18" y="63"/>
                  </a:cxn>
                  <a:cxn ang="0">
                    <a:pos x="1" y="19"/>
                  </a:cxn>
                  <a:cxn ang="0">
                    <a:pos x="6" y="19"/>
                  </a:cxn>
                  <a:cxn ang="0">
                    <a:pos x="13" y="14"/>
                  </a:cxn>
                  <a:cxn ang="0">
                    <a:pos x="13" y="12"/>
                  </a:cxn>
                  <a:cxn ang="0">
                    <a:pos x="19" y="5"/>
                  </a:cxn>
                  <a:cxn ang="0">
                    <a:pos x="23" y="2"/>
                  </a:cxn>
                  <a:cxn ang="0">
                    <a:pos x="29" y="0"/>
                  </a:cxn>
                  <a:cxn ang="0">
                    <a:pos x="51" y="0"/>
                  </a:cxn>
                  <a:cxn ang="0">
                    <a:pos x="54" y="5"/>
                  </a:cxn>
                  <a:cxn ang="0">
                    <a:pos x="56" y="9"/>
                  </a:cxn>
                  <a:cxn ang="0">
                    <a:pos x="63" y="19"/>
                  </a:cxn>
                  <a:cxn ang="0">
                    <a:pos x="61" y="22"/>
                  </a:cxn>
                  <a:cxn ang="0">
                    <a:pos x="66" y="27"/>
                  </a:cxn>
                  <a:cxn ang="0">
                    <a:pos x="66" y="30"/>
                  </a:cxn>
                  <a:cxn ang="0">
                    <a:pos x="63" y="32"/>
                  </a:cxn>
                  <a:cxn ang="0">
                    <a:pos x="63" y="35"/>
                  </a:cxn>
                  <a:cxn ang="0">
                    <a:pos x="66" y="37"/>
                  </a:cxn>
                  <a:cxn ang="0">
                    <a:pos x="64" y="40"/>
                  </a:cxn>
                  <a:cxn ang="0">
                    <a:pos x="63" y="68"/>
                  </a:cxn>
                  <a:cxn ang="0">
                    <a:pos x="53" y="75"/>
                  </a:cxn>
                  <a:cxn ang="0">
                    <a:pos x="49" y="73"/>
                  </a:cxn>
                  <a:cxn ang="0">
                    <a:pos x="41" y="73"/>
                  </a:cxn>
                  <a:cxn ang="0">
                    <a:pos x="28" y="67"/>
                  </a:cxn>
                  <a:cxn ang="0">
                    <a:pos x="21" y="67"/>
                  </a:cxn>
                  <a:cxn ang="0">
                    <a:pos x="23" y="63"/>
                  </a:cxn>
                  <a:cxn ang="0">
                    <a:pos x="19" y="60"/>
                  </a:cxn>
                  <a:cxn ang="0">
                    <a:pos x="16" y="57"/>
                  </a:cxn>
                  <a:cxn ang="0">
                    <a:pos x="19" y="53"/>
                  </a:cxn>
                  <a:cxn ang="0">
                    <a:pos x="18" y="52"/>
                  </a:cxn>
                  <a:cxn ang="0">
                    <a:pos x="15" y="53"/>
                  </a:cxn>
                  <a:cxn ang="0">
                    <a:pos x="8" y="48"/>
                  </a:cxn>
                  <a:cxn ang="0">
                    <a:pos x="8" y="43"/>
                  </a:cxn>
                  <a:cxn ang="0">
                    <a:pos x="6" y="37"/>
                  </a:cxn>
                  <a:cxn ang="0">
                    <a:pos x="1" y="37"/>
                  </a:cxn>
                  <a:cxn ang="0">
                    <a:pos x="0" y="34"/>
                  </a:cxn>
                  <a:cxn ang="0">
                    <a:pos x="3" y="27"/>
                  </a:cxn>
                  <a:cxn ang="0">
                    <a:pos x="0" y="25"/>
                  </a:cxn>
                  <a:cxn ang="0">
                    <a:pos x="0" y="22"/>
                  </a:cxn>
                  <a:cxn ang="0">
                    <a:pos x="3" y="19"/>
                  </a:cxn>
                  <a:cxn ang="0">
                    <a:pos x="1" y="19"/>
                  </a:cxn>
                </a:cxnLst>
                <a:rect l="0" t="0" r="r" b="b"/>
                <a:pathLst>
                  <a:path w="66" h="75">
                    <a:moveTo>
                      <a:pt x="18" y="63"/>
                    </a:moveTo>
                    <a:lnTo>
                      <a:pt x="16" y="60"/>
                    </a:lnTo>
                    <a:lnTo>
                      <a:pt x="15" y="58"/>
                    </a:lnTo>
                    <a:lnTo>
                      <a:pt x="13" y="58"/>
                    </a:lnTo>
                    <a:lnTo>
                      <a:pt x="11" y="60"/>
                    </a:lnTo>
                    <a:lnTo>
                      <a:pt x="13" y="62"/>
                    </a:lnTo>
                    <a:lnTo>
                      <a:pt x="15" y="63"/>
                    </a:lnTo>
                    <a:lnTo>
                      <a:pt x="18" y="63"/>
                    </a:lnTo>
                    <a:lnTo>
                      <a:pt x="18" y="63"/>
                    </a:lnTo>
                    <a:close/>
                    <a:moveTo>
                      <a:pt x="1" y="19"/>
                    </a:moveTo>
                    <a:lnTo>
                      <a:pt x="6" y="19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9" y="0"/>
                    </a:lnTo>
                    <a:lnTo>
                      <a:pt x="51" y="0"/>
                    </a:lnTo>
                    <a:lnTo>
                      <a:pt x="54" y="5"/>
                    </a:lnTo>
                    <a:lnTo>
                      <a:pt x="56" y="9"/>
                    </a:lnTo>
                    <a:lnTo>
                      <a:pt x="63" y="19"/>
                    </a:lnTo>
                    <a:lnTo>
                      <a:pt x="61" y="22"/>
                    </a:lnTo>
                    <a:lnTo>
                      <a:pt x="66" y="27"/>
                    </a:lnTo>
                    <a:lnTo>
                      <a:pt x="66" y="30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6" y="37"/>
                    </a:lnTo>
                    <a:lnTo>
                      <a:pt x="64" y="40"/>
                    </a:lnTo>
                    <a:lnTo>
                      <a:pt x="63" y="68"/>
                    </a:lnTo>
                    <a:lnTo>
                      <a:pt x="53" y="75"/>
                    </a:lnTo>
                    <a:lnTo>
                      <a:pt x="49" y="73"/>
                    </a:lnTo>
                    <a:lnTo>
                      <a:pt x="41" y="73"/>
                    </a:lnTo>
                    <a:lnTo>
                      <a:pt x="28" y="67"/>
                    </a:lnTo>
                    <a:lnTo>
                      <a:pt x="21" y="67"/>
                    </a:lnTo>
                    <a:lnTo>
                      <a:pt x="23" y="63"/>
                    </a:lnTo>
                    <a:lnTo>
                      <a:pt x="19" y="60"/>
                    </a:lnTo>
                    <a:lnTo>
                      <a:pt x="16" y="57"/>
                    </a:lnTo>
                    <a:lnTo>
                      <a:pt x="19" y="53"/>
                    </a:lnTo>
                    <a:lnTo>
                      <a:pt x="18" y="52"/>
                    </a:lnTo>
                    <a:lnTo>
                      <a:pt x="15" y="53"/>
                    </a:lnTo>
                    <a:lnTo>
                      <a:pt x="8" y="48"/>
                    </a:lnTo>
                    <a:lnTo>
                      <a:pt x="8" y="43"/>
                    </a:lnTo>
                    <a:lnTo>
                      <a:pt x="6" y="37"/>
                    </a:lnTo>
                    <a:lnTo>
                      <a:pt x="1" y="37"/>
                    </a:lnTo>
                    <a:lnTo>
                      <a:pt x="0" y="34"/>
                    </a:lnTo>
                    <a:lnTo>
                      <a:pt x="3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1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0" name="Freeform 113">
                <a:extLst>
                  <a:ext uri="{FF2B5EF4-FFF2-40B4-BE49-F238E27FC236}">
                    <a16:creationId xmlns:a16="http://schemas.microsoft.com/office/drawing/2014/main" id="{7EFCEE77-4B03-F64A-9D77-58699164A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601" y="3170106"/>
                <a:ext cx="52442" cy="49804"/>
              </a:xfrm>
              <a:custGeom>
                <a:avLst/>
                <a:gdLst/>
                <a:ahLst/>
                <a:cxnLst>
                  <a:cxn ang="0">
                    <a:pos x="0" y="39"/>
                  </a:cxn>
                  <a:cxn ang="0">
                    <a:pos x="1" y="36"/>
                  </a:cxn>
                  <a:cxn ang="0">
                    <a:pos x="3" y="31"/>
                  </a:cxn>
                  <a:cxn ang="0">
                    <a:pos x="10" y="28"/>
                  </a:cxn>
                  <a:cxn ang="0">
                    <a:pos x="15" y="23"/>
                  </a:cxn>
                  <a:cxn ang="0">
                    <a:pos x="15" y="19"/>
                  </a:cxn>
                  <a:cxn ang="0">
                    <a:pos x="16" y="13"/>
                  </a:cxn>
                  <a:cxn ang="0">
                    <a:pos x="20" y="11"/>
                  </a:cxn>
                  <a:cxn ang="0">
                    <a:pos x="20" y="9"/>
                  </a:cxn>
                  <a:cxn ang="0">
                    <a:pos x="21" y="5"/>
                  </a:cxn>
                  <a:cxn ang="0">
                    <a:pos x="28" y="1"/>
                  </a:cxn>
                  <a:cxn ang="0">
                    <a:pos x="30" y="3"/>
                  </a:cxn>
                  <a:cxn ang="0">
                    <a:pos x="40" y="0"/>
                  </a:cxn>
                  <a:cxn ang="0">
                    <a:pos x="45" y="1"/>
                  </a:cxn>
                  <a:cxn ang="0">
                    <a:pos x="48" y="6"/>
                  </a:cxn>
                  <a:cxn ang="0">
                    <a:pos x="51" y="9"/>
                  </a:cxn>
                  <a:cxn ang="0">
                    <a:pos x="51" y="18"/>
                  </a:cxn>
                  <a:cxn ang="0">
                    <a:pos x="51" y="23"/>
                  </a:cxn>
                  <a:cxn ang="0">
                    <a:pos x="56" y="28"/>
                  </a:cxn>
                  <a:cxn ang="0">
                    <a:pos x="60" y="28"/>
                  </a:cxn>
                  <a:cxn ang="0">
                    <a:pos x="66" y="23"/>
                  </a:cxn>
                  <a:cxn ang="0">
                    <a:pos x="70" y="23"/>
                  </a:cxn>
                  <a:cxn ang="0">
                    <a:pos x="73" y="26"/>
                  </a:cxn>
                  <a:cxn ang="0">
                    <a:pos x="74" y="29"/>
                  </a:cxn>
                  <a:cxn ang="0">
                    <a:pos x="73" y="31"/>
                  </a:cxn>
                  <a:cxn ang="0">
                    <a:pos x="74" y="34"/>
                  </a:cxn>
                  <a:cxn ang="0">
                    <a:pos x="71" y="43"/>
                  </a:cxn>
                  <a:cxn ang="0">
                    <a:pos x="68" y="46"/>
                  </a:cxn>
                  <a:cxn ang="0">
                    <a:pos x="70" y="51"/>
                  </a:cxn>
                  <a:cxn ang="0">
                    <a:pos x="73" y="53"/>
                  </a:cxn>
                  <a:cxn ang="0">
                    <a:pos x="74" y="51"/>
                  </a:cxn>
                  <a:cxn ang="0">
                    <a:pos x="79" y="51"/>
                  </a:cxn>
                  <a:cxn ang="0">
                    <a:pos x="81" y="54"/>
                  </a:cxn>
                  <a:cxn ang="0">
                    <a:pos x="84" y="54"/>
                  </a:cxn>
                  <a:cxn ang="0">
                    <a:pos x="88" y="54"/>
                  </a:cxn>
                  <a:cxn ang="0">
                    <a:pos x="89" y="59"/>
                  </a:cxn>
                  <a:cxn ang="0">
                    <a:pos x="93" y="61"/>
                  </a:cxn>
                  <a:cxn ang="0">
                    <a:pos x="96" y="61"/>
                  </a:cxn>
                  <a:cxn ang="0">
                    <a:pos x="98" y="66"/>
                  </a:cxn>
                  <a:cxn ang="0">
                    <a:pos x="94" y="68"/>
                  </a:cxn>
                  <a:cxn ang="0">
                    <a:pos x="96" y="71"/>
                  </a:cxn>
                  <a:cxn ang="0">
                    <a:pos x="94" y="74"/>
                  </a:cxn>
                  <a:cxn ang="0">
                    <a:pos x="93" y="78"/>
                  </a:cxn>
                  <a:cxn ang="0">
                    <a:pos x="94" y="81"/>
                  </a:cxn>
                  <a:cxn ang="0">
                    <a:pos x="93" y="86"/>
                  </a:cxn>
                  <a:cxn ang="0">
                    <a:pos x="94" y="89"/>
                  </a:cxn>
                  <a:cxn ang="0">
                    <a:pos x="94" y="94"/>
                  </a:cxn>
                  <a:cxn ang="0">
                    <a:pos x="71" y="88"/>
                  </a:cxn>
                  <a:cxn ang="0">
                    <a:pos x="53" y="74"/>
                  </a:cxn>
                  <a:cxn ang="0">
                    <a:pos x="48" y="74"/>
                  </a:cxn>
                  <a:cxn ang="0">
                    <a:pos x="33" y="61"/>
                  </a:cxn>
                  <a:cxn ang="0">
                    <a:pos x="23" y="54"/>
                  </a:cxn>
                  <a:cxn ang="0">
                    <a:pos x="18" y="54"/>
                  </a:cxn>
                  <a:cxn ang="0">
                    <a:pos x="13" y="46"/>
                  </a:cxn>
                  <a:cxn ang="0">
                    <a:pos x="8" y="44"/>
                  </a:cxn>
                  <a:cxn ang="0">
                    <a:pos x="10" y="41"/>
                  </a:cxn>
                  <a:cxn ang="0">
                    <a:pos x="6" y="39"/>
                  </a:cxn>
                  <a:cxn ang="0">
                    <a:pos x="0" y="39"/>
                  </a:cxn>
                </a:cxnLst>
                <a:rect l="0" t="0" r="r" b="b"/>
                <a:pathLst>
                  <a:path w="98" h="94">
                    <a:moveTo>
                      <a:pt x="0" y="39"/>
                    </a:moveTo>
                    <a:lnTo>
                      <a:pt x="1" y="36"/>
                    </a:lnTo>
                    <a:lnTo>
                      <a:pt x="3" y="31"/>
                    </a:lnTo>
                    <a:lnTo>
                      <a:pt x="10" y="28"/>
                    </a:lnTo>
                    <a:lnTo>
                      <a:pt x="15" y="23"/>
                    </a:lnTo>
                    <a:lnTo>
                      <a:pt x="15" y="19"/>
                    </a:lnTo>
                    <a:lnTo>
                      <a:pt x="16" y="13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40" y="0"/>
                    </a:lnTo>
                    <a:lnTo>
                      <a:pt x="45" y="1"/>
                    </a:lnTo>
                    <a:lnTo>
                      <a:pt x="48" y="6"/>
                    </a:lnTo>
                    <a:lnTo>
                      <a:pt x="51" y="9"/>
                    </a:lnTo>
                    <a:lnTo>
                      <a:pt x="51" y="18"/>
                    </a:lnTo>
                    <a:lnTo>
                      <a:pt x="51" y="23"/>
                    </a:lnTo>
                    <a:lnTo>
                      <a:pt x="56" y="28"/>
                    </a:lnTo>
                    <a:lnTo>
                      <a:pt x="60" y="28"/>
                    </a:lnTo>
                    <a:lnTo>
                      <a:pt x="66" y="23"/>
                    </a:lnTo>
                    <a:lnTo>
                      <a:pt x="70" y="23"/>
                    </a:lnTo>
                    <a:lnTo>
                      <a:pt x="73" y="26"/>
                    </a:lnTo>
                    <a:lnTo>
                      <a:pt x="74" y="29"/>
                    </a:lnTo>
                    <a:lnTo>
                      <a:pt x="73" y="31"/>
                    </a:lnTo>
                    <a:lnTo>
                      <a:pt x="74" y="34"/>
                    </a:lnTo>
                    <a:lnTo>
                      <a:pt x="71" y="43"/>
                    </a:lnTo>
                    <a:lnTo>
                      <a:pt x="68" y="46"/>
                    </a:lnTo>
                    <a:lnTo>
                      <a:pt x="70" y="51"/>
                    </a:lnTo>
                    <a:lnTo>
                      <a:pt x="73" y="53"/>
                    </a:lnTo>
                    <a:lnTo>
                      <a:pt x="74" y="51"/>
                    </a:lnTo>
                    <a:lnTo>
                      <a:pt x="79" y="51"/>
                    </a:lnTo>
                    <a:lnTo>
                      <a:pt x="81" y="54"/>
                    </a:lnTo>
                    <a:lnTo>
                      <a:pt x="84" y="54"/>
                    </a:lnTo>
                    <a:lnTo>
                      <a:pt x="88" y="54"/>
                    </a:lnTo>
                    <a:lnTo>
                      <a:pt x="89" y="59"/>
                    </a:lnTo>
                    <a:lnTo>
                      <a:pt x="93" y="61"/>
                    </a:lnTo>
                    <a:lnTo>
                      <a:pt x="96" y="61"/>
                    </a:lnTo>
                    <a:lnTo>
                      <a:pt x="98" y="66"/>
                    </a:lnTo>
                    <a:lnTo>
                      <a:pt x="94" y="68"/>
                    </a:lnTo>
                    <a:lnTo>
                      <a:pt x="96" y="71"/>
                    </a:lnTo>
                    <a:lnTo>
                      <a:pt x="94" y="74"/>
                    </a:lnTo>
                    <a:lnTo>
                      <a:pt x="93" y="78"/>
                    </a:lnTo>
                    <a:lnTo>
                      <a:pt x="94" y="81"/>
                    </a:lnTo>
                    <a:lnTo>
                      <a:pt x="93" y="86"/>
                    </a:lnTo>
                    <a:lnTo>
                      <a:pt x="94" y="89"/>
                    </a:lnTo>
                    <a:lnTo>
                      <a:pt x="94" y="94"/>
                    </a:lnTo>
                    <a:lnTo>
                      <a:pt x="71" y="88"/>
                    </a:lnTo>
                    <a:lnTo>
                      <a:pt x="53" y="74"/>
                    </a:lnTo>
                    <a:lnTo>
                      <a:pt x="48" y="74"/>
                    </a:lnTo>
                    <a:lnTo>
                      <a:pt x="33" y="61"/>
                    </a:lnTo>
                    <a:lnTo>
                      <a:pt x="23" y="54"/>
                    </a:lnTo>
                    <a:lnTo>
                      <a:pt x="18" y="54"/>
                    </a:lnTo>
                    <a:lnTo>
                      <a:pt x="13" y="46"/>
                    </a:lnTo>
                    <a:lnTo>
                      <a:pt x="8" y="44"/>
                    </a:lnTo>
                    <a:lnTo>
                      <a:pt x="10" y="41"/>
                    </a:lnTo>
                    <a:lnTo>
                      <a:pt x="6" y="39"/>
                    </a:lnTo>
                    <a:lnTo>
                      <a:pt x="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1" name="Freeform 114">
                <a:extLst>
                  <a:ext uri="{FF2B5EF4-FFF2-40B4-BE49-F238E27FC236}">
                    <a16:creationId xmlns:a16="http://schemas.microsoft.com/office/drawing/2014/main" id="{2EF72871-52BD-9847-8EB7-C453DD80E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989" y="3146241"/>
                <a:ext cx="81339" cy="73669"/>
              </a:xfrm>
              <a:custGeom>
                <a:avLst/>
                <a:gdLst/>
                <a:ahLst/>
                <a:cxnLst>
                  <a:cxn ang="0">
                    <a:pos x="26" y="136"/>
                  </a:cxn>
                  <a:cxn ang="0">
                    <a:pos x="26" y="128"/>
                  </a:cxn>
                  <a:cxn ang="0">
                    <a:pos x="26" y="121"/>
                  </a:cxn>
                  <a:cxn ang="0">
                    <a:pos x="26" y="115"/>
                  </a:cxn>
                  <a:cxn ang="0">
                    <a:pos x="28" y="108"/>
                  </a:cxn>
                  <a:cxn ang="0">
                    <a:pos x="21" y="106"/>
                  </a:cxn>
                  <a:cxn ang="0">
                    <a:pos x="16" y="101"/>
                  </a:cxn>
                  <a:cxn ang="0">
                    <a:pos x="11" y="98"/>
                  </a:cxn>
                  <a:cxn ang="0">
                    <a:pos x="5" y="100"/>
                  </a:cxn>
                  <a:cxn ang="0">
                    <a:pos x="0" y="93"/>
                  </a:cxn>
                  <a:cxn ang="0">
                    <a:pos x="6" y="81"/>
                  </a:cxn>
                  <a:cxn ang="0">
                    <a:pos x="6" y="75"/>
                  </a:cxn>
                  <a:cxn ang="0">
                    <a:pos x="18" y="61"/>
                  </a:cxn>
                  <a:cxn ang="0">
                    <a:pos x="16" y="55"/>
                  </a:cxn>
                  <a:cxn ang="0">
                    <a:pos x="11" y="47"/>
                  </a:cxn>
                  <a:cxn ang="0">
                    <a:pos x="18" y="47"/>
                  </a:cxn>
                  <a:cxn ang="0">
                    <a:pos x="16" y="38"/>
                  </a:cxn>
                  <a:cxn ang="0">
                    <a:pos x="13" y="30"/>
                  </a:cxn>
                  <a:cxn ang="0">
                    <a:pos x="13" y="17"/>
                  </a:cxn>
                  <a:cxn ang="0">
                    <a:pos x="11" y="10"/>
                  </a:cxn>
                  <a:cxn ang="0">
                    <a:pos x="30" y="3"/>
                  </a:cxn>
                  <a:cxn ang="0">
                    <a:pos x="38" y="5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3"/>
                  </a:cxn>
                  <a:cxn ang="0">
                    <a:pos x="73" y="8"/>
                  </a:cxn>
                  <a:cxn ang="0">
                    <a:pos x="81" y="0"/>
                  </a:cxn>
                  <a:cxn ang="0">
                    <a:pos x="98" y="8"/>
                  </a:cxn>
                  <a:cxn ang="0">
                    <a:pos x="103" y="10"/>
                  </a:cxn>
                  <a:cxn ang="0">
                    <a:pos x="113" y="13"/>
                  </a:cxn>
                  <a:cxn ang="0">
                    <a:pos x="123" y="20"/>
                  </a:cxn>
                  <a:cxn ang="0">
                    <a:pos x="133" y="15"/>
                  </a:cxn>
                  <a:cxn ang="0">
                    <a:pos x="139" y="18"/>
                  </a:cxn>
                  <a:cxn ang="0">
                    <a:pos x="144" y="20"/>
                  </a:cxn>
                  <a:cxn ang="0">
                    <a:pos x="144" y="32"/>
                  </a:cxn>
                  <a:cxn ang="0">
                    <a:pos x="149" y="38"/>
                  </a:cxn>
                  <a:cxn ang="0">
                    <a:pos x="149" y="50"/>
                  </a:cxn>
                  <a:cxn ang="0">
                    <a:pos x="144" y="56"/>
                  </a:cxn>
                  <a:cxn ang="0">
                    <a:pos x="136" y="71"/>
                  </a:cxn>
                  <a:cxn ang="0">
                    <a:pos x="134" y="80"/>
                  </a:cxn>
                  <a:cxn ang="0">
                    <a:pos x="133" y="91"/>
                  </a:cxn>
                  <a:cxn ang="0">
                    <a:pos x="129" y="95"/>
                  </a:cxn>
                  <a:cxn ang="0">
                    <a:pos x="136" y="106"/>
                  </a:cxn>
                  <a:cxn ang="0">
                    <a:pos x="143" y="113"/>
                  </a:cxn>
                  <a:cxn ang="0">
                    <a:pos x="144" y="123"/>
                  </a:cxn>
                  <a:cxn ang="0">
                    <a:pos x="136" y="123"/>
                  </a:cxn>
                  <a:cxn ang="0">
                    <a:pos x="131" y="120"/>
                  </a:cxn>
                  <a:cxn ang="0">
                    <a:pos x="126" y="126"/>
                  </a:cxn>
                  <a:cxn ang="0">
                    <a:pos x="103" y="125"/>
                  </a:cxn>
                  <a:cxn ang="0">
                    <a:pos x="61" y="126"/>
                  </a:cxn>
                  <a:cxn ang="0">
                    <a:pos x="45" y="133"/>
                  </a:cxn>
                  <a:cxn ang="0">
                    <a:pos x="38" y="136"/>
                  </a:cxn>
                  <a:cxn ang="0">
                    <a:pos x="26" y="141"/>
                  </a:cxn>
                </a:cxnLst>
                <a:rect l="0" t="0" r="r" b="b"/>
                <a:pathLst>
                  <a:path w="151" h="143">
                    <a:moveTo>
                      <a:pt x="26" y="141"/>
                    </a:moveTo>
                    <a:lnTo>
                      <a:pt x="26" y="136"/>
                    </a:lnTo>
                    <a:lnTo>
                      <a:pt x="25" y="133"/>
                    </a:lnTo>
                    <a:lnTo>
                      <a:pt x="26" y="128"/>
                    </a:lnTo>
                    <a:lnTo>
                      <a:pt x="25" y="125"/>
                    </a:lnTo>
                    <a:lnTo>
                      <a:pt x="26" y="121"/>
                    </a:lnTo>
                    <a:lnTo>
                      <a:pt x="28" y="118"/>
                    </a:lnTo>
                    <a:lnTo>
                      <a:pt x="26" y="115"/>
                    </a:lnTo>
                    <a:lnTo>
                      <a:pt x="30" y="113"/>
                    </a:lnTo>
                    <a:lnTo>
                      <a:pt x="28" y="108"/>
                    </a:lnTo>
                    <a:lnTo>
                      <a:pt x="25" y="108"/>
                    </a:lnTo>
                    <a:lnTo>
                      <a:pt x="21" y="106"/>
                    </a:lnTo>
                    <a:lnTo>
                      <a:pt x="20" y="101"/>
                    </a:lnTo>
                    <a:lnTo>
                      <a:pt x="16" y="101"/>
                    </a:lnTo>
                    <a:lnTo>
                      <a:pt x="13" y="101"/>
                    </a:lnTo>
                    <a:lnTo>
                      <a:pt x="11" y="98"/>
                    </a:lnTo>
                    <a:lnTo>
                      <a:pt x="6" y="98"/>
                    </a:lnTo>
                    <a:lnTo>
                      <a:pt x="5" y="100"/>
                    </a:lnTo>
                    <a:lnTo>
                      <a:pt x="2" y="98"/>
                    </a:lnTo>
                    <a:lnTo>
                      <a:pt x="0" y="93"/>
                    </a:lnTo>
                    <a:lnTo>
                      <a:pt x="3" y="90"/>
                    </a:lnTo>
                    <a:lnTo>
                      <a:pt x="6" y="81"/>
                    </a:lnTo>
                    <a:lnTo>
                      <a:pt x="5" y="78"/>
                    </a:lnTo>
                    <a:lnTo>
                      <a:pt x="6" y="75"/>
                    </a:lnTo>
                    <a:lnTo>
                      <a:pt x="11" y="75"/>
                    </a:lnTo>
                    <a:lnTo>
                      <a:pt x="18" y="61"/>
                    </a:lnTo>
                    <a:lnTo>
                      <a:pt x="18" y="56"/>
                    </a:lnTo>
                    <a:lnTo>
                      <a:pt x="16" y="55"/>
                    </a:lnTo>
                    <a:lnTo>
                      <a:pt x="11" y="50"/>
                    </a:lnTo>
                    <a:lnTo>
                      <a:pt x="11" y="47"/>
                    </a:lnTo>
                    <a:lnTo>
                      <a:pt x="15" y="45"/>
                    </a:lnTo>
                    <a:lnTo>
                      <a:pt x="18" y="47"/>
                    </a:lnTo>
                    <a:lnTo>
                      <a:pt x="20" y="43"/>
                    </a:lnTo>
                    <a:lnTo>
                      <a:pt x="16" y="38"/>
                    </a:lnTo>
                    <a:lnTo>
                      <a:pt x="13" y="37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3" y="17"/>
                    </a:lnTo>
                    <a:lnTo>
                      <a:pt x="11" y="15"/>
                    </a:lnTo>
                    <a:lnTo>
                      <a:pt x="11" y="10"/>
                    </a:lnTo>
                    <a:lnTo>
                      <a:pt x="20" y="8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8" y="5"/>
                    </a:lnTo>
                    <a:lnTo>
                      <a:pt x="48" y="7"/>
                    </a:lnTo>
                    <a:lnTo>
                      <a:pt x="50" y="5"/>
                    </a:lnTo>
                    <a:lnTo>
                      <a:pt x="50" y="2"/>
                    </a:lnTo>
                    <a:lnTo>
                      <a:pt x="58" y="2"/>
                    </a:lnTo>
                    <a:lnTo>
                      <a:pt x="65" y="2"/>
                    </a:lnTo>
                    <a:lnTo>
                      <a:pt x="63" y="3"/>
                    </a:lnTo>
                    <a:lnTo>
                      <a:pt x="65" y="5"/>
                    </a:lnTo>
                    <a:lnTo>
                      <a:pt x="73" y="8"/>
                    </a:lnTo>
                    <a:lnTo>
                      <a:pt x="78" y="2"/>
                    </a:lnTo>
                    <a:lnTo>
                      <a:pt x="81" y="0"/>
                    </a:lnTo>
                    <a:lnTo>
                      <a:pt x="88" y="5"/>
                    </a:lnTo>
                    <a:lnTo>
                      <a:pt x="98" y="8"/>
                    </a:lnTo>
                    <a:lnTo>
                      <a:pt x="101" y="8"/>
                    </a:lnTo>
                    <a:lnTo>
                      <a:pt x="103" y="10"/>
                    </a:lnTo>
                    <a:lnTo>
                      <a:pt x="108" y="10"/>
                    </a:lnTo>
                    <a:lnTo>
                      <a:pt x="113" y="13"/>
                    </a:lnTo>
                    <a:lnTo>
                      <a:pt x="114" y="17"/>
                    </a:lnTo>
                    <a:lnTo>
                      <a:pt x="123" y="20"/>
                    </a:lnTo>
                    <a:lnTo>
                      <a:pt x="128" y="18"/>
                    </a:lnTo>
                    <a:lnTo>
                      <a:pt x="133" y="15"/>
                    </a:lnTo>
                    <a:lnTo>
                      <a:pt x="136" y="17"/>
                    </a:lnTo>
                    <a:lnTo>
                      <a:pt x="139" y="18"/>
                    </a:lnTo>
                    <a:lnTo>
                      <a:pt x="144" y="18"/>
                    </a:lnTo>
                    <a:lnTo>
                      <a:pt x="144" y="20"/>
                    </a:lnTo>
                    <a:lnTo>
                      <a:pt x="143" y="27"/>
                    </a:lnTo>
                    <a:lnTo>
                      <a:pt x="144" y="32"/>
                    </a:lnTo>
                    <a:lnTo>
                      <a:pt x="144" y="37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9" y="53"/>
                    </a:lnTo>
                    <a:lnTo>
                      <a:pt x="144" y="56"/>
                    </a:lnTo>
                    <a:lnTo>
                      <a:pt x="136" y="66"/>
                    </a:lnTo>
                    <a:lnTo>
                      <a:pt x="136" y="71"/>
                    </a:lnTo>
                    <a:lnTo>
                      <a:pt x="134" y="75"/>
                    </a:lnTo>
                    <a:lnTo>
                      <a:pt x="134" y="80"/>
                    </a:lnTo>
                    <a:lnTo>
                      <a:pt x="133" y="83"/>
                    </a:lnTo>
                    <a:lnTo>
                      <a:pt x="133" y="91"/>
                    </a:lnTo>
                    <a:lnTo>
                      <a:pt x="129" y="93"/>
                    </a:lnTo>
                    <a:lnTo>
                      <a:pt x="129" y="95"/>
                    </a:lnTo>
                    <a:lnTo>
                      <a:pt x="133" y="98"/>
                    </a:lnTo>
                    <a:lnTo>
                      <a:pt x="136" y="106"/>
                    </a:lnTo>
                    <a:lnTo>
                      <a:pt x="138" y="111"/>
                    </a:lnTo>
                    <a:lnTo>
                      <a:pt x="143" y="113"/>
                    </a:lnTo>
                    <a:lnTo>
                      <a:pt x="144" y="116"/>
                    </a:lnTo>
                    <a:lnTo>
                      <a:pt x="144" y="123"/>
                    </a:lnTo>
                    <a:lnTo>
                      <a:pt x="141" y="123"/>
                    </a:lnTo>
                    <a:lnTo>
                      <a:pt x="136" y="123"/>
                    </a:lnTo>
                    <a:lnTo>
                      <a:pt x="136" y="125"/>
                    </a:lnTo>
                    <a:lnTo>
                      <a:pt x="131" y="120"/>
                    </a:lnTo>
                    <a:lnTo>
                      <a:pt x="128" y="121"/>
                    </a:lnTo>
                    <a:lnTo>
                      <a:pt x="126" y="126"/>
                    </a:lnTo>
                    <a:lnTo>
                      <a:pt x="114" y="121"/>
                    </a:lnTo>
                    <a:lnTo>
                      <a:pt x="103" y="125"/>
                    </a:lnTo>
                    <a:lnTo>
                      <a:pt x="71" y="125"/>
                    </a:lnTo>
                    <a:lnTo>
                      <a:pt x="61" y="126"/>
                    </a:lnTo>
                    <a:lnTo>
                      <a:pt x="61" y="128"/>
                    </a:lnTo>
                    <a:lnTo>
                      <a:pt x="45" y="133"/>
                    </a:lnTo>
                    <a:lnTo>
                      <a:pt x="43" y="136"/>
                    </a:lnTo>
                    <a:lnTo>
                      <a:pt x="38" y="136"/>
                    </a:lnTo>
                    <a:lnTo>
                      <a:pt x="30" y="143"/>
                    </a:lnTo>
                    <a:lnTo>
                      <a:pt x="26" y="1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2" name="Freeform 115">
                <a:extLst>
                  <a:ext uri="{FF2B5EF4-FFF2-40B4-BE49-F238E27FC236}">
                    <a16:creationId xmlns:a16="http://schemas.microsoft.com/office/drawing/2014/main" id="{FDEADFDA-182B-B046-8738-6F29DC199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7555" y="3138978"/>
                <a:ext cx="55653" cy="75744"/>
              </a:xfrm>
              <a:custGeom>
                <a:avLst/>
                <a:gdLst/>
                <a:ahLst/>
                <a:cxnLst>
                  <a:cxn ang="0">
                    <a:pos x="7" y="136"/>
                  </a:cxn>
                  <a:cxn ang="0">
                    <a:pos x="15" y="136"/>
                  </a:cxn>
                  <a:cxn ang="0">
                    <a:pos x="14" y="126"/>
                  </a:cxn>
                  <a:cxn ang="0">
                    <a:pos x="7" y="119"/>
                  </a:cxn>
                  <a:cxn ang="0">
                    <a:pos x="0" y="108"/>
                  </a:cxn>
                  <a:cxn ang="0">
                    <a:pos x="4" y="104"/>
                  </a:cxn>
                  <a:cxn ang="0">
                    <a:pos x="5" y="93"/>
                  </a:cxn>
                  <a:cxn ang="0">
                    <a:pos x="7" y="84"/>
                  </a:cxn>
                  <a:cxn ang="0">
                    <a:pos x="15" y="69"/>
                  </a:cxn>
                  <a:cxn ang="0">
                    <a:pos x="20" y="63"/>
                  </a:cxn>
                  <a:cxn ang="0">
                    <a:pos x="20" y="51"/>
                  </a:cxn>
                  <a:cxn ang="0">
                    <a:pos x="15" y="45"/>
                  </a:cxn>
                  <a:cxn ang="0">
                    <a:pos x="15" y="33"/>
                  </a:cxn>
                  <a:cxn ang="0">
                    <a:pos x="12" y="20"/>
                  </a:cxn>
                  <a:cxn ang="0">
                    <a:pos x="9" y="10"/>
                  </a:cxn>
                  <a:cxn ang="0">
                    <a:pos x="17" y="5"/>
                  </a:cxn>
                  <a:cxn ang="0">
                    <a:pos x="37" y="5"/>
                  </a:cxn>
                  <a:cxn ang="0">
                    <a:pos x="59" y="3"/>
                  </a:cxn>
                  <a:cxn ang="0">
                    <a:pos x="70" y="0"/>
                  </a:cxn>
                  <a:cxn ang="0">
                    <a:pos x="74" y="6"/>
                  </a:cxn>
                  <a:cxn ang="0">
                    <a:pos x="77" y="11"/>
                  </a:cxn>
                  <a:cxn ang="0">
                    <a:pos x="85" y="20"/>
                  </a:cxn>
                  <a:cxn ang="0">
                    <a:pos x="88" y="28"/>
                  </a:cxn>
                  <a:cxn ang="0">
                    <a:pos x="90" y="38"/>
                  </a:cxn>
                  <a:cxn ang="0">
                    <a:pos x="93" y="46"/>
                  </a:cxn>
                  <a:cxn ang="0">
                    <a:pos x="92" y="53"/>
                  </a:cxn>
                  <a:cxn ang="0">
                    <a:pos x="93" y="58"/>
                  </a:cxn>
                  <a:cxn ang="0">
                    <a:pos x="93" y="65"/>
                  </a:cxn>
                  <a:cxn ang="0">
                    <a:pos x="95" y="74"/>
                  </a:cxn>
                  <a:cxn ang="0">
                    <a:pos x="93" y="93"/>
                  </a:cxn>
                  <a:cxn ang="0">
                    <a:pos x="92" y="101"/>
                  </a:cxn>
                  <a:cxn ang="0">
                    <a:pos x="95" y="113"/>
                  </a:cxn>
                  <a:cxn ang="0">
                    <a:pos x="100" y="116"/>
                  </a:cxn>
                  <a:cxn ang="0">
                    <a:pos x="90" y="121"/>
                  </a:cxn>
                  <a:cxn ang="0">
                    <a:pos x="65" y="136"/>
                  </a:cxn>
                  <a:cxn ang="0">
                    <a:pos x="30" y="146"/>
                  </a:cxn>
                  <a:cxn ang="0">
                    <a:pos x="7" y="141"/>
                  </a:cxn>
                </a:cxnLst>
                <a:rect l="0" t="0" r="r" b="b"/>
                <a:pathLst>
                  <a:path w="103" h="146">
                    <a:moveTo>
                      <a:pt x="7" y="138"/>
                    </a:moveTo>
                    <a:lnTo>
                      <a:pt x="7" y="136"/>
                    </a:lnTo>
                    <a:lnTo>
                      <a:pt x="12" y="136"/>
                    </a:lnTo>
                    <a:lnTo>
                      <a:pt x="15" y="136"/>
                    </a:lnTo>
                    <a:lnTo>
                      <a:pt x="15" y="129"/>
                    </a:lnTo>
                    <a:lnTo>
                      <a:pt x="14" y="126"/>
                    </a:lnTo>
                    <a:lnTo>
                      <a:pt x="9" y="124"/>
                    </a:lnTo>
                    <a:lnTo>
                      <a:pt x="7" y="119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06"/>
                    </a:lnTo>
                    <a:lnTo>
                      <a:pt x="4" y="104"/>
                    </a:lnTo>
                    <a:lnTo>
                      <a:pt x="4" y="96"/>
                    </a:lnTo>
                    <a:lnTo>
                      <a:pt x="5" y="93"/>
                    </a:lnTo>
                    <a:lnTo>
                      <a:pt x="5" y="88"/>
                    </a:lnTo>
                    <a:lnTo>
                      <a:pt x="7" y="84"/>
                    </a:lnTo>
                    <a:lnTo>
                      <a:pt x="7" y="79"/>
                    </a:lnTo>
                    <a:lnTo>
                      <a:pt x="15" y="69"/>
                    </a:lnTo>
                    <a:lnTo>
                      <a:pt x="20" y="66"/>
                    </a:lnTo>
                    <a:lnTo>
                      <a:pt x="20" y="63"/>
                    </a:lnTo>
                    <a:lnTo>
                      <a:pt x="22" y="58"/>
                    </a:lnTo>
                    <a:lnTo>
                      <a:pt x="20" y="51"/>
                    </a:lnTo>
                    <a:lnTo>
                      <a:pt x="15" y="50"/>
                    </a:lnTo>
                    <a:lnTo>
                      <a:pt x="15" y="45"/>
                    </a:lnTo>
                    <a:lnTo>
                      <a:pt x="14" y="40"/>
                    </a:lnTo>
                    <a:lnTo>
                      <a:pt x="15" y="33"/>
                    </a:lnTo>
                    <a:lnTo>
                      <a:pt x="15" y="25"/>
                    </a:lnTo>
                    <a:lnTo>
                      <a:pt x="12" y="20"/>
                    </a:lnTo>
                    <a:lnTo>
                      <a:pt x="10" y="18"/>
                    </a:lnTo>
                    <a:lnTo>
                      <a:pt x="9" y="10"/>
                    </a:lnTo>
                    <a:lnTo>
                      <a:pt x="9" y="5"/>
                    </a:lnTo>
                    <a:lnTo>
                      <a:pt x="17" y="5"/>
                    </a:lnTo>
                    <a:lnTo>
                      <a:pt x="35" y="5"/>
                    </a:lnTo>
                    <a:lnTo>
                      <a:pt x="37" y="5"/>
                    </a:lnTo>
                    <a:lnTo>
                      <a:pt x="50" y="5"/>
                    </a:lnTo>
                    <a:lnTo>
                      <a:pt x="59" y="3"/>
                    </a:lnTo>
                    <a:lnTo>
                      <a:pt x="65" y="3"/>
                    </a:lnTo>
                    <a:lnTo>
                      <a:pt x="70" y="0"/>
                    </a:lnTo>
                    <a:lnTo>
                      <a:pt x="72" y="1"/>
                    </a:lnTo>
                    <a:lnTo>
                      <a:pt x="74" y="6"/>
                    </a:lnTo>
                    <a:lnTo>
                      <a:pt x="77" y="8"/>
                    </a:lnTo>
                    <a:lnTo>
                      <a:pt x="77" y="11"/>
                    </a:lnTo>
                    <a:lnTo>
                      <a:pt x="82" y="16"/>
                    </a:lnTo>
                    <a:lnTo>
                      <a:pt x="85" y="20"/>
                    </a:lnTo>
                    <a:lnTo>
                      <a:pt x="90" y="23"/>
                    </a:lnTo>
                    <a:lnTo>
                      <a:pt x="88" y="28"/>
                    </a:lnTo>
                    <a:lnTo>
                      <a:pt x="88" y="36"/>
                    </a:lnTo>
                    <a:lnTo>
                      <a:pt x="90" y="38"/>
                    </a:lnTo>
                    <a:lnTo>
                      <a:pt x="93" y="38"/>
                    </a:lnTo>
                    <a:lnTo>
                      <a:pt x="93" y="46"/>
                    </a:lnTo>
                    <a:lnTo>
                      <a:pt x="92" y="50"/>
                    </a:lnTo>
                    <a:lnTo>
                      <a:pt x="92" y="53"/>
                    </a:lnTo>
                    <a:lnTo>
                      <a:pt x="93" y="55"/>
                    </a:lnTo>
                    <a:lnTo>
                      <a:pt x="93" y="58"/>
                    </a:lnTo>
                    <a:lnTo>
                      <a:pt x="92" y="61"/>
                    </a:lnTo>
                    <a:lnTo>
                      <a:pt x="93" y="65"/>
                    </a:lnTo>
                    <a:lnTo>
                      <a:pt x="93" y="71"/>
                    </a:lnTo>
                    <a:lnTo>
                      <a:pt x="95" y="74"/>
                    </a:lnTo>
                    <a:lnTo>
                      <a:pt x="95" y="88"/>
                    </a:lnTo>
                    <a:lnTo>
                      <a:pt x="93" y="93"/>
                    </a:lnTo>
                    <a:lnTo>
                      <a:pt x="93" y="96"/>
                    </a:lnTo>
                    <a:lnTo>
                      <a:pt x="92" y="101"/>
                    </a:lnTo>
                    <a:lnTo>
                      <a:pt x="93" y="106"/>
                    </a:lnTo>
                    <a:lnTo>
                      <a:pt x="95" y="113"/>
                    </a:lnTo>
                    <a:lnTo>
                      <a:pt x="98" y="113"/>
                    </a:lnTo>
                    <a:lnTo>
                      <a:pt x="100" y="116"/>
                    </a:lnTo>
                    <a:lnTo>
                      <a:pt x="103" y="119"/>
                    </a:lnTo>
                    <a:lnTo>
                      <a:pt x="90" y="121"/>
                    </a:lnTo>
                    <a:lnTo>
                      <a:pt x="78" y="126"/>
                    </a:lnTo>
                    <a:lnTo>
                      <a:pt x="65" y="136"/>
                    </a:lnTo>
                    <a:lnTo>
                      <a:pt x="50" y="136"/>
                    </a:lnTo>
                    <a:lnTo>
                      <a:pt x="30" y="146"/>
                    </a:lnTo>
                    <a:lnTo>
                      <a:pt x="20" y="143"/>
                    </a:lnTo>
                    <a:lnTo>
                      <a:pt x="7" y="141"/>
                    </a:lnTo>
                    <a:lnTo>
                      <a:pt x="7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3" name="Freeform 116">
                <a:extLst>
                  <a:ext uri="{FF2B5EF4-FFF2-40B4-BE49-F238E27FC236}">
                    <a16:creationId xmlns:a16="http://schemas.microsoft.com/office/drawing/2014/main" id="{1EA021F2-A9EC-E147-B21B-0467132EA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6084" y="3138978"/>
                <a:ext cx="26756" cy="62255"/>
              </a:xfrm>
              <a:custGeom>
                <a:avLst/>
                <a:gdLst/>
                <a:ahLst/>
                <a:cxnLst>
                  <a:cxn ang="0">
                    <a:pos x="28" y="6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5" y="11"/>
                  </a:cxn>
                  <a:cxn ang="0">
                    <a:pos x="10" y="16"/>
                  </a:cxn>
                  <a:cxn ang="0">
                    <a:pos x="13" y="20"/>
                  </a:cxn>
                  <a:cxn ang="0">
                    <a:pos x="18" y="23"/>
                  </a:cxn>
                  <a:cxn ang="0">
                    <a:pos x="16" y="28"/>
                  </a:cxn>
                  <a:cxn ang="0">
                    <a:pos x="16" y="36"/>
                  </a:cxn>
                  <a:cxn ang="0">
                    <a:pos x="18" y="38"/>
                  </a:cxn>
                  <a:cxn ang="0">
                    <a:pos x="21" y="38"/>
                  </a:cxn>
                  <a:cxn ang="0">
                    <a:pos x="21" y="46"/>
                  </a:cxn>
                  <a:cxn ang="0">
                    <a:pos x="20" y="50"/>
                  </a:cxn>
                  <a:cxn ang="0">
                    <a:pos x="20" y="53"/>
                  </a:cxn>
                  <a:cxn ang="0">
                    <a:pos x="21" y="55"/>
                  </a:cxn>
                  <a:cxn ang="0">
                    <a:pos x="21" y="58"/>
                  </a:cxn>
                  <a:cxn ang="0">
                    <a:pos x="20" y="61"/>
                  </a:cxn>
                  <a:cxn ang="0">
                    <a:pos x="21" y="65"/>
                  </a:cxn>
                  <a:cxn ang="0">
                    <a:pos x="21" y="71"/>
                  </a:cxn>
                  <a:cxn ang="0">
                    <a:pos x="23" y="74"/>
                  </a:cxn>
                  <a:cxn ang="0">
                    <a:pos x="23" y="88"/>
                  </a:cxn>
                  <a:cxn ang="0">
                    <a:pos x="21" y="93"/>
                  </a:cxn>
                  <a:cxn ang="0">
                    <a:pos x="21" y="96"/>
                  </a:cxn>
                  <a:cxn ang="0">
                    <a:pos x="20" y="101"/>
                  </a:cxn>
                  <a:cxn ang="0">
                    <a:pos x="21" y="106"/>
                  </a:cxn>
                  <a:cxn ang="0">
                    <a:pos x="23" y="113"/>
                  </a:cxn>
                  <a:cxn ang="0">
                    <a:pos x="26" y="113"/>
                  </a:cxn>
                  <a:cxn ang="0">
                    <a:pos x="28" y="116"/>
                  </a:cxn>
                  <a:cxn ang="0">
                    <a:pos x="31" y="119"/>
                  </a:cxn>
                  <a:cxn ang="0">
                    <a:pos x="33" y="119"/>
                  </a:cxn>
                  <a:cxn ang="0">
                    <a:pos x="46" y="111"/>
                  </a:cxn>
                  <a:cxn ang="0">
                    <a:pos x="48" y="113"/>
                  </a:cxn>
                  <a:cxn ang="0">
                    <a:pos x="50" y="108"/>
                  </a:cxn>
                  <a:cxn ang="0">
                    <a:pos x="46" y="103"/>
                  </a:cxn>
                  <a:cxn ang="0">
                    <a:pos x="46" y="96"/>
                  </a:cxn>
                  <a:cxn ang="0">
                    <a:pos x="45" y="91"/>
                  </a:cxn>
                  <a:cxn ang="0">
                    <a:pos x="45" y="65"/>
                  </a:cxn>
                  <a:cxn ang="0">
                    <a:pos x="45" y="61"/>
                  </a:cxn>
                  <a:cxn ang="0">
                    <a:pos x="48" y="58"/>
                  </a:cxn>
                  <a:cxn ang="0">
                    <a:pos x="48" y="53"/>
                  </a:cxn>
                  <a:cxn ang="0">
                    <a:pos x="46" y="50"/>
                  </a:cxn>
                  <a:cxn ang="0">
                    <a:pos x="46" y="43"/>
                  </a:cxn>
                  <a:cxn ang="0">
                    <a:pos x="45" y="35"/>
                  </a:cxn>
                  <a:cxn ang="0">
                    <a:pos x="40" y="23"/>
                  </a:cxn>
                  <a:cxn ang="0">
                    <a:pos x="36" y="21"/>
                  </a:cxn>
                  <a:cxn ang="0">
                    <a:pos x="33" y="18"/>
                  </a:cxn>
                  <a:cxn ang="0">
                    <a:pos x="28" y="16"/>
                  </a:cxn>
                  <a:cxn ang="0">
                    <a:pos x="26" y="10"/>
                  </a:cxn>
                  <a:cxn ang="0">
                    <a:pos x="28" y="6"/>
                  </a:cxn>
                </a:cxnLst>
                <a:rect l="0" t="0" r="r" b="b"/>
                <a:pathLst>
                  <a:path w="50" h="119">
                    <a:moveTo>
                      <a:pt x="28" y="6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6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10" y="16"/>
                    </a:lnTo>
                    <a:lnTo>
                      <a:pt x="13" y="20"/>
                    </a:lnTo>
                    <a:lnTo>
                      <a:pt x="18" y="23"/>
                    </a:lnTo>
                    <a:lnTo>
                      <a:pt x="16" y="28"/>
                    </a:lnTo>
                    <a:lnTo>
                      <a:pt x="16" y="36"/>
                    </a:lnTo>
                    <a:lnTo>
                      <a:pt x="18" y="38"/>
                    </a:lnTo>
                    <a:lnTo>
                      <a:pt x="21" y="38"/>
                    </a:lnTo>
                    <a:lnTo>
                      <a:pt x="21" y="46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5"/>
                    </a:lnTo>
                    <a:lnTo>
                      <a:pt x="21" y="58"/>
                    </a:lnTo>
                    <a:lnTo>
                      <a:pt x="20" y="61"/>
                    </a:lnTo>
                    <a:lnTo>
                      <a:pt x="21" y="65"/>
                    </a:lnTo>
                    <a:lnTo>
                      <a:pt x="21" y="71"/>
                    </a:lnTo>
                    <a:lnTo>
                      <a:pt x="23" y="74"/>
                    </a:lnTo>
                    <a:lnTo>
                      <a:pt x="23" y="88"/>
                    </a:lnTo>
                    <a:lnTo>
                      <a:pt x="21" y="93"/>
                    </a:lnTo>
                    <a:lnTo>
                      <a:pt x="21" y="96"/>
                    </a:lnTo>
                    <a:lnTo>
                      <a:pt x="20" y="101"/>
                    </a:lnTo>
                    <a:lnTo>
                      <a:pt x="21" y="106"/>
                    </a:lnTo>
                    <a:lnTo>
                      <a:pt x="23" y="113"/>
                    </a:lnTo>
                    <a:lnTo>
                      <a:pt x="26" y="113"/>
                    </a:lnTo>
                    <a:lnTo>
                      <a:pt x="28" y="116"/>
                    </a:lnTo>
                    <a:lnTo>
                      <a:pt x="31" y="119"/>
                    </a:lnTo>
                    <a:lnTo>
                      <a:pt x="33" y="119"/>
                    </a:lnTo>
                    <a:lnTo>
                      <a:pt x="46" y="111"/>
                    </a:lnTo>
                    <a:lnTo>
                      <a:pt x="48" y="113"/>
                    </a:lnTo>
                    <a:lnTo>
                      <a:pt x="50" y="108"/>
                    </a:lnTo>
                    <a:lnTo>
                      <a:pt x="46" y="103"/>
                    </a:lnTo>
                    <a:lnTo>
                      <a:pt x="46" y="96"/>
                    </a:lnTo>
                    <a:lnTo>
                      <a:pt x="45" y="91"/>
                    </a:lnTo>
                    <a:lnTo>
                      <a:pt x="45" y="65"/>
                    </a:lnTo>
                    <a:lnTo>
                      <a:pt x="45" y="61"/>
                    </a:lnTo>
                    <a:lnTo>
                      <a:pt x="48" y="58"/>
                    </a:lnTo>
                    <a:lnTo>
                      <a:pt x="48" y="53"/>
                    </a:lnTo>
                    <a:lnTo>
                      <a:pt x="46" y="50"/>
                    </a:lnTo>
                    <a:lnTo>
                      <a:pt x="46" y="43"/>
                    </a:lnTo>
                    <a:lnTo>
                      <a:pt x="45" y="35"/>
                    </a:lnTo>
                    <a:lnTo>
                      <a:pt x="40" y="23"/>
                    </a:lnTo>
                    <a:lnTo>
                      <a:pt x="36" y="21"/>
                    </a:lnTo>
                    <a:lnTo>
                      <a:pt x="33" y="18"/>
                    </a:lnTo>
                    <a:lnTo>
                      <a:pt x="28" y="16"/>
                    </a:lnTo>
                    <a:lnTo>
                      <a:pt x="26" y="10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4" name="Freeform 117">
                <a:extLst>
                  <a:ext uri="{FF2B5EF4-FFF2-40B4-BE49-F238E27FC236}">
                    <a16:creationId xmlns:a16="http://schemas.microsoft.com/office/drawing/2014/main" id="{3DAFCA32-44CF-7546-9954-C96E98DBE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9998" y="3123414"/>
                <a:ext cx="40669" cy="74706"/>
              </a:xfrm>
              <a:custGeom>
                <a:avLst/>
                <a:gdLst/>
                <a:ahLst/>
                <a:cxnLst>
                  <a:cxn ang="0">
                    <a:pos x="35" y="11"/>
                  </a:cxn>
                  <a:cxn ang="0">
                    <a:pos x="27" y="16"/>
                  </a:cxn>
                  <a:cxn ang="0">
                    <a:pos x="15" y="20"/>
                  </a:cxn>
                  <a:cxn ang="0">
                    <a:pos x="12" y="26"/>
                  </a:cxn>
                  <a:cxn ang="0">
                    <a:pos x="9" y="33"/>
                  </a:cxn>
                  <a:cxn ang="0">
                    <a:pos x="0" y="40"/>
                  </a:cxn>
                  <a:cxn ang="0">
                    <a:pos x="7" y="48"/>
                  </a:cxn>
                  <a:cxn ang="0">
                    <a:pos x="14" y="53"/>
                  </a:cxn>
                  <a:cxn ang="0">
                    <a:pos x="20" y="73"/>
                  </a:cxn>
                  <a:cxn ang="0">
                    <a:pos x="22" y="83"/>
                  </a:cxn>
                  <a:cxn ang="0">
                    <a:pos x="19" y="91"/>
                  </a:cxn>
                  <a:cxn ang="0">
                    <a:pos x="19" y="121"/>
                  </a:cxn>
                  <a:cxn ang="0">
                    <a:pos x="20" y="133"/>
                  </a:cxn>
                  <a:cxn ang="0">
                    <a:pos x="22" y="143"/>
                  </a:cxn>
                  <a:cxn ang="0">
                    <a:pos x="49" y="138"/>
                  </a:cxn>
                  <a:cxn ang="0">
                    <a:pos x="49" y="134"/>
                  </a:cxn>
                  <a:cxn ang="0">
                    <a:pos x="49" y="119"/>
                  </a:cxn>
                  <a:cxn ang="0">
                    <a:pos x="47" y="106"/>
                  </a:cxn>
                  <a:cxn ang="0">
                    <a:pos x="49" y="101"/>
                  </a:cxn>
                  <a:cxn ang="0">
                    <a:pos x="47" y="98"/>
                  </a:cxn>
                  <a:cxn ang="0">
                    <a:pos x="47" y="93"/>
                  </a:cxn>
                  <a:cxn ang="0">
                    <a:pos x="47" y="85"/>
                  </a:cxn>
                  <a:cxn ang="0">
                    <a:pos x="49" y="78"/>
                  </a:cxn>
                  <a:cxn ang="0">
                    <a:pos x="55" y="76"/>
                  </a:cxn>
                  <a:cxn ang="0">
                    <a:pos x="60" y="71"/>
                  </a:cxn>
                  <a:cxn ang="0">
                    <a:pos x="65" y="61"/>
                  </a:cxn>
                  <a:cxn ang="0">
                    <a:pos x="72" y="60"/>
                  </a:cxn>
                  <a:cxn ang="0">
                    <a:pos x="67" y="53"/>
                  </a:cxn>
                  <a:cxn ang="0">
                    <a:pos x="70" y="48"/>
                  </a:cxn>
                  <a:cxn ang="0">
                    <a:pos x="77" y="45"/>
                  </a:cxn>
                  <a:cxn ang="0">
                    <a:pos x="74" y="31"/>
                  </a:cxn>
                  <a:cxn ang="0">
                    <a:pos x="65" y="23"/>
                  </a:cxn>
                  <a:cxn ang="0">
                    <a:pos x="67" y="18"/>
                  </a:cxn>
                  <a:cxn ang="0">
                    <a:pos x="57" y="11"/>
                  </a:cxn>
                  <a:cxn ang="0">
                    <a:pos x="44" y="0"/>
                  </a:cxn>
                  <a:cxn ang="0">
                    <a:pos x="44" y="6"/>
                  </a:cxn>
                  <a:cxn ang="0">
                    <a:pos x="35" y="8"/>
                  </a:cxn>
                </a:cxnLst>
                <a:rect l="0" t="0" r="r" b="b"/>
                <a:pathLst>
                  <a:path w="77" h="143">
                    <a:moveTo>
                      <a:pt x="35" y="8"/>
                    </a:moveTo>
                    <a:lnTo>
                      <a:pt x="35" y="11"/>
                    </a:lnTo>
                    <a:lnTo>
                      <a:pt x="30" y="16"/>
                    </a:lnTo>
                    <a:lnTo>
                      <a:pt x="27" y="16"/>
                    </a:lnTo>
                    <a:lnTo>
                      <a:pt x="19" y="21"/>
                    </a:lnTo>
                    <a:lnTo>
                      <a:pt x="15" y="20"/>
                    </a:lnTo>
                    <a:lnTo>
                      <a:pt x="10" y="21"/>
                    </a:lnTo>
                    <a:lnTo>
                      <a:pt x="12" y="26"/>
                    </a:lnTo>
                    <a:lnTo>
                      <a:pt x="7" y="28"/>
                    </a:lnTo>
                    <a:lnTo>
                      <a:pt x="9" y="33"/>
                    </a:lnTo>
                    <a:lnTo>
                      <a:pt x="2" y="35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7" y="48"/>
                    </a:lnTo>
                    <a:lnTo>
                      <a:pt x="10" y="51"/>
                    </a:lnTo>
                    <a:lnTo>
                      <a:pt x="14" y="53"/>
                    </a:lnTo>
                    <a:lnTo>
                      <a:pt x="19" y="65"/>
                    </a:lnTo>
                    <a:lnTo>
                      <a:pt x="20" y="73"/>
                    </a:lnTo>
                    <a:lnTo>
                      <a:pt x="20" y="80"/>
                    </a:lnTo>
                    <a:lnTo>
                      <a:pt x="22" y="83"/>
                    </a:lnTo>
                    <a:lnTo>
                      <a:pt x="22" y="88"/>
                    </a:lnTo>
                    <a:lnTo>
                      <a:pt x="19" y="91"/>
                    </a:lnTo>
                    <a:lnTo>
                      <a:pt x="19" y="95"/>
                    </a:lnTo>
                    <a:lnTo>
                      <a:pt x="19" y="121"/>
                    </a:lnTo>
                    <a:lnTo>
                      <a:pt x="20" y="126"/>
                    </a:lnTo>
                    <a:lnTo>
                      <a:pt x="20" y="133"/>
                    </a:lnTo>
                    <a:lnTo>
                      <a:pt x="24" y="138"/>
                    </a:lnTo>
                    <a:lnTo>
                      <a:pt x="22" y="143"/>
                    </a:lnTo>
                    <a:lnTo>
                      <a:pt x="30" y="143"/>
                    </a:lnTo>
                    <a:lnTo>
                      <a:pt x="49" y="138"/>
                    </a:lnTo>
                    <a:lnTo>
                      <a:pt x="49" y="138"/>
                    </a:lnTo>
                    <a:lnTo>
                      <a:pt x="49" y="134"/>
                    </a:lnTo>
                    <a:lnTo>
                      <a:pt x="49" y="123"/>
                    </a:lnTo>
                    <a:lnTo>
                      <a:pt x="49" y="119"/>
                    </a:lnTo>
                    <a:lnTo>
                      <a:pt x="49" y="116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9" y="101"/>
                    </a:lnTo>
                    <a:lnTo>
                      <a:pt x="47" y="99"/>
                    </a:lnTo>
                    <a:lnTo>
                      <a:pt x="47" y="98"/>
                    </a:lnTo>
                    <a:lnTo>
                      <a:pt x="47" y="95"/>
                    </a:lnTo>
                    <a:lnTo>
                      <a:pt x="47" y="93"/>
                    </a:lnTo>
                    <a:lnTo>
                      <a:pt x="47" y="88"/>
                    </a:lnTo>
                    <a:lnTo>
                      <a:pt x="47" y="85"/>
                    </a:lnTo>
                    <a:lnTo>
                      <a:pt x="47" y="81"/>
                    </a:lnTo>
                    <a:lnTo>
                      <a:pt x="49" y="78"/>
                    </a:lnTo>
                    <a:lnTo>
                      <a:pt x="54" y="76"/>
                    </a:lnTo>
                    <a:lnTo>
                      <a:pt x="55" y="76"/>
                    </a:lnTo>
                    <a:lnTo>
                      <a:pt x="59" y="75"/>
                    </a:lnTo>
                    <a:lnTo>
                      <a:pt x="60" y="71"/>
                    </a:lnTo>
                    <a:lnTo>
                      <a:pt x="64" y="65"/>
                    </a:lnTo>
                    <a:lnTo>
                      <a:pt x="65" y="61"/>
                    </a:lnTo>
                    <a:lnTo>
                      <a:pt x="69" y="60"/>
                    </a:lnTo>
                    <a:lnTo>
                      <a:pt x="72" y="60"/>
                    </a:lnTo>
                    <a:lnTo>
                      <a:pt x="74" y="58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8"/>
                    </a:lnTo>
                    <a:lnTo>
                      <a:pt x="75" y="48"/>
                    </a:lnTo>
                    <a:lnTo>
                      <a:pt x="77" y="45"/>
                    </a:lnTo>
                    <a:lnTo>
                      <a:pt x="74" y="36"/>
                    </a:lnTo>
                    <a:lnTo>
                      <a:pt x="74" y="31"/>
                    </a:lnTo>
                    <a:lnTo>
                      <a:pt x="67" y="26"/>
                    </a:lnTo>
                    <a:lnTo>
                      <a:pt x="65" y="23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2" y="11"/>
                    </a:lnTo>
                    <a:lnTo>
                      <a:pt x="57" y="11"/>
                    </a:lnTo>
                    <a:lnTo>
                      <a:pt x="52" y="5"/>
                    </a:lnTo>
                    <a:lnTo>
                      <a:pt x="44" y="0"/>
                    </a:lnTo>
                    <a:lnTo>
                      <a:pt x="42" y="3"/>
                    </a:lnTo>
                    <a:lnTo>
                      <a:pt x="44" y="6"/>
                    </a:lnTo>
                    <a:lnTo>
                      <a:pt x="39" y="8"/>
                    </a:lnTo>
                    <a:lnTo>
                      <a:pt x="35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5" name="Freeform 118">
                <a:extLst>
                  <a:ext uri="{FF2B5EF4-FFF2-40B4-BE49-F238E27FC236}">
                    <a16:creationId xmlns:a16="http://schemas.microsoft.com/office/drawing/2014/main" id="{87E07FCC-7B6F-3E46-BF12-AD5C91095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2341" y="2995791"/>
                <a:ext cx="151975" cy="188841"/>
              </a:xfrm>
              <a:custGeom>
                <a:avLst/>
                <a:gdLst/>
                <a:ahLst/>
                <a:cxnLst>
                  <a:cxn ang="0">
                    <a:pos x="283" y="90"/>
                  </a:cxn>
                  <a:cxn ang="0">
                    <a:pos x="276" y="181"/>
                  </a:cxn>
                  <a:cxn ang="0">
                    <a:pos x="261" y="181"/>
                  </a:cxn>
                  <a:cxn ang="0">
                    <a:pos x="261" y="196"/>
                  </a:cxn>
                  <a:cxn ang="0">
                    <a:pos x="246" y="208"/>
                  </a:cxn>
                  <a:cxn ang="0">
                    <a:pos x="246" y="220"/>
                  </a:cxn>
                  <a:cxn ang="0">
                    <a:pos x="244" y="226"/>
                  </a:cxn>
                  <a:cxn ang="0">
                    <a:pos x="234" y="243"/>
                  </a:cxn>
                  <a:cxn ang="0">
                    <a:pos x="244" y="246"/>
                  </a:cxn>
                  <a:cxn ang="0">
                    <a:pos x="244" y="251"/>
                  </a:cxn>
                  <a:cxn ang="0">
                    <a:pos x="248" y="261"/>
                  </a:cxn>
                  <a:cxn ang="0">
                    <a:pos x="258" y="273"/>
                  </a:cxn>
                  <a:cxn ang="0">
                    <a:pos x="258" y="281"/>
                  </a:cxn>
                  <a:cxn ang="0">
                    <a:pos x="248" y="286"/>
                  </a:cxn>
                  <a:cxn ang="0">
                    <a:pos x="231" y="291"/>
                  </a:cxn>
                  <a:cxn ang="0">
                    <a:pos x="228" y="298"/>
                  </a:cxn>
                  <a:cxn ang="0">
                    <a:pos x="219" y="304"/>
                  </a:cxn>
                  <a:cxn ang="0">
                    <a:pos x="213" y="313"/>
                  </a:cxn>
                  <a:cxn ang="0">
                    <a:pos x="211" y="323"/>
                  </a:cxn>
                  <a:cxn ang="0">
                    <a:pos x="193" y="329"/>
                  </a:cxn>
                  <a:cxn ang="0">
                    <a:pos x="176" y="328"/>
                  </a:cxn>
                  <a:cxn ang="0">
                    <a:pos x="163" y="329"/>
                  </a:cxn>
                  <a:cxn ang="0">
                    <a:pos x="170" y="338"/>
                  </a:cxn>
                  <a:cxn ang="0">
                    <a:pos x="161" y="347"/>
                  </a:cxn>
                  <a:cxn ang="0">
                    <a:pos x="135" y="354"/>
                  </a:cxn>
                  <a:cxn ang="0">
                    <a:pos x="116" y="362"/>
                  </a:cxn>
                  <a:cxn ang="0">
                    <a:pos x="110" y="352"/>
                  </a:cxn>
                  <a:cxn ang="0">
                    <a:pos x="105" y="364"/>
                  </a:cxn>
                  <a:cxn ang="0">
                    <a:pos x="90" y="366"/>
                  </a:cxn>
                  <a:cxn ang="0">
                    <a:pos x="85" y="356"/>
                  </a:cxn>
                  <a:cxn ang="0">
                    <a:pos x="73" y="341"/>
                  </a:cxn>
                  <a:cxn ang="0">
                    <a:pos x="52" y="324"/>
                  </a:cxn>
                  <a:cxn ang="0">
                    <a:pos x="48" y="318"/>
                  </a:cxn>
                  <a:cxn ang="0">
                    <a:pos x="50" y="308"/>
                  </a:cxn>
                  <a:cxn ang="0">
                    <a:pos x="60" y="308"/>
                  </a:cxn>
                  <a:cxn ang="0">
                    <a:pos x="72" y="308"/>
                  </a:cxn>
                  <a:cxn ang="0">
                    <a:pos x="83" y="311"/>
                  </a:cxn>
                  <a:cxn ang="0">
                    <a:pos x="77" y="303"/>
                  </a:cxn>
                  <a:cxn ang="0">
                    <a:pos x="67" y="291"/>
                  </a:cxn>
                  <a:cxn ang="0">
                    <a:pos x="72" y="278"/>
                  </a:cxn>
                  <a:cxn ang="0">
                    <a:pos x="70" y="271"/>
                  </a:cxn>
                  <a:cxn ang="0">
                    <a:pos x="67" y="258"/>
                  </a:cxn>
                  <a:cxn ang="0">
                    <a:pos x="58" y="246"/>
                  </a:cxn>
                  <a:cxn ang="0">
                    <a:pos x="42" y="235"/>
                  </a:cxn>
                  <a:cxn ang="0">
                    <a:pos x="32" y="198"/>
                  </a:cxn>
                  <a:cxn ang="0">
                    <a:pos x="37" y="195"/>
                  </a:cxn>
                  <a:cxn ang="0">
                    <a:pos x="77" y="123"/>
                  </a:cxn>
                  <a:cxn ang="0">
                    <a:pos x="88" y="70"/>
                  </a:cxn>
                  <a:cxn ang="0">
                    <a:pos x="73" y="45"/>
                  </a:cxn>
                  <a:cxn ang="0">
                    <a:pos x="60" y="12"/>
                  </a:cxn>
                  <a:cxn ang="0">
                    <a:pos x="4" y="241"/>
                  </a:cxn>
                </a:cxnLst>
                <a:rect l="0" t="0" r="r" b="b"/>
                <a:pathLst>
                  <a:path w="284" h="366">
                    <a:moveTo>
                      <a:pt x="60" y="12"/>
                    </a:moveTo>
                    <a:lnTo>
                      <a:pt x="87" y="0"/>
                    </a:lnTo>
                    <a:lnTo>
                      <a:pt x="283" y="90"/>
                    </a:lnTo>
                    <a:lnTo>
                      <a:pt x="284" y="178"/>
                    </a:lnTo>
                    <a:lnTo>
                      <a:pt x="279" y="178"/>
                    </a:lnTo>
                    <a:lnTo>
                      <a:pt x="276" y="181"/>
                    </a:lnTo>
                    <a:lnTo>
                      <a:pt x="271" y="180"/>
                    </a:lnTo>
                    <a:lnTo>
                      <a:pt x="266" y="180"/>
                    </a:lnTo>
                    <a:lnTo>
                      <a:pt x="261" y="181"/>
                    </a:lnTo>
                    <a:lnTo>
                      <a:pt x="261" y="188"/>
                    </a:lnTo>
                    <a:lnTo>
                      <a:pt x="263" y="190"/>
                    </a:lnTo>
                    <a:lnTo>
                      <a:pt x="261" y="196"/>
                    </a:lnTo>
                    <a:lnTo>
                      <a:pt x="253" y="205"/>
                    </a:lnTo>
                    <a:lnTo>
                      <a:pt x="249" y="205"/>
                    </a:lnTo>
                    <a:lnTo>
                      <a:pt x="246" y="208"/>
                    </a:lnTo>
                    <a:lnTo>
                      <a:pt x="246" y="211"/>
                    </a:lnTo>
                    <a:lnTo>
                      <a:pt x="249" y="215"/>
                    </a:lnTo>
                    <a:lnTo>
                      <a:pt x="246" y="220"/>
                    </a:lnTo>
                    <a:lnTo>
                      <a:pt x="241" y="221"/>
                    </a:lnTo>
                    <a:lnTo>
                      <a:pt x="241" y="225"/>
                    </a:lnTo>
                    <a:lnTo>
                      <a:pt x="244" y="226"/>
                    </a:lnTo>
                    <a:lnTo>
                      <a:pt x="246" y="231"/>
                    </a:lnTo>
                    <a:lnTo>
                      <a:pt x="243" y="235"/>
                    </a:lnTo>
                    <a:lnTo>
                      <a:pt x="234" y="243"/>
                    </a:lnTo>
                    <a:lnTo>
                      <a:pt x="234" y="248"/>
                    </a:lnTo>
                    <a:lnTo>
                      <a:pt x="238" y="249"/>
                    </a:lnTo>
                    <a:lnTo>
                      <a:pt x="244" y="246"/>
                    </a:lnTo>
                    <a:lnTo>
                      <a:pt x="248" y="246"/>
                    </a:lnTo>
                    <a:lnTo>
                      <a:pt x="248" y="249"/>
                    </a:lnTo>
                    <a:lnTo>
                      <a:pt x="244" y="251"/>
                    </a:lnTo>
                    <a:lnTo>
                      <a:pt x="248" y="254"/>
                    </a:lnTo>
                    <a:lnTo>
                      <a:pt x="246" y="256"/>
                    </a:lnTo>
                    <a:lnTo>
                      <a:pt x="248" y="261"/>
                    </a:lnTo>
                    <a:lnTo>
                      <a:pt x="248" y="266"/>
                    </a:lnTo>
                    <a:lnTo>
                      <a:pt x="249" y="269"/>
                    </a:lnTo>
                    <a:lnTo>
                      <a:pt x="258" y="273"/>
                    </a:lnTo>
                    <a:lnTo>
                      <a:pt x="261" y="276"/>
                    </a:lnTo>
                    <a:lnTo>
                      <a:pt x="258" y="279"/>
                    </a:lnTo>
                    <a:lnTo>
                      <a:pt x="258" y="281"/>
                    </a:lnTo>
                    <a:lnTo>
                      <a:pt x="258" y="284"/>
                    </a:lnTo>
                    <a:lnTo>
                      <a:pt x="251" y="288"/>
                    </a:lnTo>
                    <a:lnTo>
                      <a:pt x="248" y="286"/>
                    </a:lnTo>
                    <a:lnTo>
                      <a:pt x="243" y="286"/>
                    </a:lnTo>
                    <a:lnTo>
                      <a:pt x="238" y="288"/>
                    </a:lnTo>
                    <a:lnTo>
                      <a:pt x="231" y="291"/>
                    </a:lnTo>
                    <a:lnTo>
                      <a:pt x="231" y="294"/>
                    </a:lnTo>
                    <a:lnTo>
                      <a:pt x="231" y="298"/>
                    </a:lnTo>
                    <a:lnTo>
                      <a:pt x="228" y="298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19" y="304"/>
                    </a:lnTo>
                    <a:lnTo>
                      <a:pt x="216" y="308"/>
                    </a:lnTo>
                    <a:lnTo>
                      <a:pt x="216" y="311"/>
                    </a:lnTo>
                    <a:lnTo>
                      <a:pt x="213" y="313"/>
                    </a:lnTo>
                    <a:lnTo>
                      <a:pt x="211" y="316"/>
                    </a:lnTo>
                    <a:lnTo>
                      <a:pt x="213" y="319"/>
                    </a:lnTo>
                    <a:lnTo>
                      <a:pt x="211" y="323"/>
                    </a:lnTo>
                    <a:lnTo>
                      <a:pt x="208" y="324"/>
                    </a:lnTo>
                    <a:lnTo>
                      <a:pt x="203" y="328"/>
                    </a:lnTo>
                    <a:lnTo>
                      <a:pt x="193" y="329"/>
                    </a:lnTo>
                    <a:lnTo>
                      <a:pt x="186" y="329"/>
                    </a:lnTo>
                    <a:lnTo>
                      <a:pt x="180" y="329"/>
                    </a:lnTo>
                    <a:lnTo>
                      <a:pt x="176" y="328"/>
                    </a:lnTo>
                    <a:lnTo>
                      <a:pt x="171" y="328"/>
                    </a:lnTo>
                    <a:lnTo>
                      <a:pt x="166" y="328"/>
                    </a:lnTo>
                    <a:lnTo>
                      <a:pt x="163" y="329"/>
                    </a:lnTo>
                    <a:lnTo>
                      <a:pt x="163" y="333"/>
                    </a:lnTo>
                    <a:lnTo>
                      <a:pt x="168" y="338"/>
                    </a:lnTo>
                    <a:lnTo>
                      <a:pt x="170" y="338"/>
                    </a:lnTo>
                    <a:lnTo>
                      <a:pt x="171" y="341"/>
                    </a:lnTo>
                    <a:lnTo>
                      <a:pt x="165" y="344"/>
                    </a:lnTo>
                    <a:lnTo>
                      <a:pt x="161" y="347"/>
                    </a:lnTo>
                    <a:lnTo>
                      <a:pt x="155" y="347"/>
                    </a:lnTo>
                    <a:lnTo>
                      <a:pt x="140" y="351"/>
                    </a:lnTo>
                    <a:lnTo>
                      <a:pt x="135" y="354"/>
                    </a:lnTo>
                    <a:lnTo>
                      <a:pt x="126" y="357"/>
                    </a:lnTo>
                    <a:lnTo>
                      <a:pt x="121" y="361"/>
                    </a:lnTo>
                    <a:lnTo>
                      <a:pt x="116" y="362"/>
                    </a:lnTo>
                    <a:lnTo>
                      <a:pt x="115" y="361"/>
                    </a:lnTo>
                    <a:lnTo>
                      <a:pt x="113" y="356"/>
                    </a:lnTo>
                    <a:lnTo>
                      <a:pt x="110" y="352"/>
                    </a:lnTo>
                    <a:lnTo>
                      <a:pt x="108" y="356"/>
                    </a:lnTo>
                    <a:lnTo>
                      <a:pt x="108" y="359"/>
                    </a:lnTo>
                    <a:lnTo>
                      <a:pt x="105" y="364"/>
                    </a:lnTo>
                    <a:lnTo>
                      <a:pt x="98" y="366"/>
                    </a:lnTo>
                    <a:lnTo>
                      <a:pt x="93" y="366"/>
                    </a:lnTo>
                    <a:lnTo>
                      <a:pt x="90" y="366"/>
                    </a:lnTo>
                    <a:lnTo>
                      <a:pt x="88" y="361"/>
                    </a:lnTo>
                    <a:lnTo>
                      <a:pt x="87" y="359"/>
                    </a:lnTo>
                    <a:lnTo>
                      <a:pt x="85" y="356"/>
                    </a:lnTo>
                    <a:lnTo>
                      <a:pt x="82" y="349"/>
                    </a:lnTo>
                    <a:lnTo>
                      <a:pt x="78" y="344"/>
                    </a:lnTo>
                    <a:lnTo>
                      <a:pt x="73" y="341"/>
                    </a:lnTo>
                    <a:lnTo>
                      <a:pt x="65" y="333"/>
                    </a:lnTo>
                    <a:lnTo>
                      <a:pt x="57" y="326"/>
                    </a:lnTo>
                    <a:lnTo>
                      <a:pt x="52" y="324"/>
                    </a:lnTo>
                    <a:lnTo>
                      <a:pt x="52" y="321"/>
                    </a:lnTo>
                    <a:lnTo>
                      <a:pt x="50" y="319"/>
                    </a:lnTo>
                    <a:lnTo>
                      <a:pt x="48" y="318"/>
                    </a:lnTo>
                    <a:lnTo>
                      <a:pt x="48" y="314"/>
                    </a:lnTo>
                    <a:lnTo>
                      <a:pt x="50" y="311"/>
                    </a:lnTo>
                    <a:lnTo>
                      <a:pt x="50" y="308"/>
                    </a:lnTo>
                    <a:lnTo>
                      <a:pt x="53" y="308"/>
                    </a:lnTo>
                    <a:lnTo>
                      <a:pt x="58" y="308"/>
                    </a:lnTo>
                    <a:lnTo>
                      <a:pt x="60" y="308"/>
                    </a:lnTo>
                    <a:lnTo>
                      <a:pt x="65" y="308"/>
                    </a:lnTo>
                    <a:lnTo>
                      <a:pt x="68" y="308"/>
                    </a:lnTo>
                    <a:lnTo>
                      <a:pt x="72" y="308"/>
                    </a:lnTo>
                    <a:lnTo>
                      <a:pt x="77" y="308"/>
                    </a:lnTo>
                    <a:lnTo>
                      <a:pt x="80" y="309"/>
                    </a:lnTo>
                    <a:lnTo>
                      <a:pt x="83" y="311"/>
                    </a:lnTo>
                    <a:lnTo>
                      <a:pt x="85" y="309"/>
                    </a:lnTo>
                    <a:lnTo>
                      <a:pt x="83" y="308"/>
                    </a:lnTo>
                    <a:lnTo>
                      <a:pt x="77" y="303"/>
                    </a:lnTo>
                    <a:lnTo>
                      <a:pt x="75" y="298"/>
                    </a:lnTo>
                    <a:lnTo>
                      <a:pt x="72" y="296"/>
                    </a:lnTo>
                    <a:lnTo>
                      <a:pt x="67" y="291"/>
                    </a:lnTo>
                    <a:lnTo>
                      <a:pt x="67" y="286"/>
                    </a:lnTo>
                    <a:lnTo>
                      <a:pt x="70" y="284"/>
                    </a:lnTo>
                    <a:lnTo>
                      <a:pt x="72" y="278"/>
                    </a:lnTo>
                    <a:lnTo>
                      <a:pt x="68" y="276"/>
                    </a:lnTo>
                    <a:lnTo>
                      <a:pt x="70" y="273"/>
                    </a:lnTo>
                    <a:lnTo>
                      <a:pt x="70" y="271"/>
                    </a:lnTo>
                    <a:lnTo>
                      <a:pt x="70" y="268"/>
                    </a:lnTo>
                    <a:lnTo>
                      <a:pt x="68" y="263"/>
                    </a:lnTo>
                    <a:lnTo>
                      <a:pt x="67" y="258"/>
                    </a:lnTo>
                    <a:lnTo>
                      <a:pt x="65" y="256"/>
                    </a:lnTo>
                    <a:lnTo>
                      <a:pt x="63" y="249"/>
                    </a:lnTo>
                    <a:lnTo>
                      <a:pt x="58" y="246"/>
                    </a:lnTo>
                    <a:lnTo>
                      <a:pt x="47" y="240"/>
                    </a:lnTo>
                    <a:lnTo>
                      <a:pt x="45" y="240"/>
                    </a:lnTo>
                    <a:lnTo>
                      <a:pt x="42" y="235"/>
                    </a:lnTo>
                    <a:lnTo>
                      <a:pt x="37" y="228"/>
                    </a:lnTo>
                    <a:lnTo>
                      <a:pt x="33" y="226"/>
                    </a:lnTo>
                    <a:lnTo>
                      <a:pt x="32" y="198"/>
                    </a:lnTo>
                    <a:lnTo>
                      <a:pt x="32" y="196"/>
                    </a:lnTo>
                    <a:lnTo>
                      <a:pt x="35" y="196"/>
                    </a:lnTo>
                    <a:lnTo>
                      <a:pt x="37" y="195"/>
                    </a:lnTo>
                    <a:lnTo>
                      <a:pt x="38" y="193"/>
                    </a:lnTo>
                    <a:lnTo>
                      <a:pt x="78" y="155"/>
                    </a:lnTo>
                    <a:lnTo>
                      <a:pt x="77" y="123"/>
                    </a:lnTo>
                    <a:lnTo>
                      <a:pt x="83" y="82"/>
                    </a:lnTo>
                    <a:lnTo>
                      <a:pt x="88" y="78"/>
                    </a:lnTo>
                    <a:lnTo>
                      <a:pt x="88" y="70"/>
                    </a:lnTo>
                    <a:lnTo>
                      <a:pt x="72" y="53"/>
                    </a:lnTo>
                    <a:lnTo>
                      <a:pt x="73" y="50"/>
                    </a:lnTo>
                    <a:lnTo>
                      <a:pt x="73" y="45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2"/>
                    </a:lnTo>
                    <a:close/>
                    <a:moveTo>
                      <a:pt x="9" y="236"/>
                    </a:moveTo>
                    <a:lnTo>
                      <a:pt x="7" y="240"/>
                    </a:lnTo>
                    <a:lnTo>
                      <a:pt x="4" y="241"/>
                    </a:lnTo>
                    <a:lnTo>
                      <a:pt x="0" y="240"/>
                    </a:lnTo>
                    <a:lnTo>
                      <a:pt x="9" y="2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6" name="Freeform 119">
                <a:extLst>
                  <a:ext uri="{FF2B5EF4-FFF2-40B4-BE49-F238E27FC236}">
                    <a16:creationId xmlns:a16="http://schemas.microsoft.com/office/drawing/2014/main" id="{8116E432-5040-BF47-A70E-5C5535F46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6" y="2997866"/>
                <a:ext cx="197996" cy="135924"/>
              </a:xfrm>
              <a:custGeom>
                <a:avLst/>
                <a:gdLst/>
                <a:ahLst/>
                <a:cxnLst>
                  <a:cxn ang="0">
                    <a:pos x="78" y="254"/>
                  </a:cxn>
                  <a:cxn ang="0">
                    <a:pos x="68" y="248"/>
                  </a:cxn>
                  <a:cxn ang="0">
                    <a:pos x="58" y="246"/>
                  </a:cxn>
                  <a:cxn ang="0">
                    <a:pos x="55" y="251"/>
                  </a:cxn>
                  <a:cxn ang="0">
                    <a:pos x="45" y="244"/>
                  </a:cxn>
                  <a:cxn ang="0">
                    <a:pos x="48" y="238"/>
                  </a:cxn>
                  <a:cxn ang="0">
                    <a:pos x="45" y="233"/>
                  </a:cxn>
                  <a:cxn ang="0">
                    <a:pos x="31" y="236"/>
                  </a:cxn>
                  <a:cxn ang="0">
                    <a:pos x="23" y="221"/>
                  </a:cxn>
                  <a:cxn ang="0">
                    <a:pos x="0" y="201"/>
                  </a:cxn>
                  <a:cxn ang="0">
                    <a:pos x="3" y="191"/>
                  </a:cxn>
                  <a:cxn ang="0">
                    <a:pos x="11" y="190"/>
                  </a:cxn>
                  <a:cxn ang="0">
                    <a:pos x="33" y="188"/>
                  </a:cxn>
                  <a:cxn ang="0">
                    <a:pos x="50" y="185"/>
                  </a:cxn>
                  <a:cxn ang="0">
                    <a:pos x="61" y="181"/>
                  </a:cxn>
                  <a:cxn ang="0">
                    <a:pos x="76" y="178"/>
                  </a:cxn>
                  <a:cxn ang="0">
                    <a:pos x="90" y="166"/>
                  </a:cxn>
                  <a:cxn ang="0">
                    <a:pos x="94" y="156"/>
                  </a:cxn>
                  <a:cxn ang="0">
                    <a:pos x="98" y="95"/>
                  </a:cxn>
                  <a:cxn ang="0">
                    <a:pos x="164" y="62"/>
                  </a:cxn>
                  <a:cxn ang="0">
                    <a:pos x="315" y="10"/>
                  </a:cxn>
                  <a:cxn ang="0">
                    <a:pos x="342" y="7"/>
                  </a:cxn>
                  <a:cxn ang="0">
                    <a:pos x="355" y="40"/>
                  </a:cxn>
                  <a:cxn ang="0">
                    <a:pos x="354" y="48"/>
                  </a:cxn>
                  <a:cxn ang="0">
                    <a:pos x="370" y="73"/>
                  </a:cxn>
                  <a:cxn ang="0">
                    <a:pos x="359" y="118"/>
                  </a:cxn>
                  <a:cxn ang="0">
                    <a:pos x="320" y="188"/>
                  </a:cxn>
                  <a:cxn ang="0">
                    <a:pos x="317" y="191"/>
                  </a:cxn>
                  <a:cxn ang="0">
                    <a:pos x="314" y="193"/>
                  </a:cxn>
                  <a:cxn ang="0">
                    <a:pos x="310" y="220"/>
                  </a:cxn>
                  <a:cxn ang="0">
                    <a:pos x="307" y="226"/>
                  </a:cxn>
                  <a:cxn ang="0">
                    <a:pos x="300" y="226"/>
                  </a:cxn>
                  <a:cxn ang="0">
                    <a:pos x="295" y="230"/>
                  </a:cxn>
                  <a:cxn ang="0">
                    <a:pos x="291" y="231"/>
                  </a:cxn>
                  <a:cxn ang="0">
                    <a:pos x="281" y="233"/>
                  </a:cxn>
                  <a:cxn ang="0">
                    <a:pos x="266" y="230"/>
                  </a:cxn>
                  <a:cxn ang="0">
                    <a:pos x="249" y="230"/>
                  </a:cxn>
                  <a:cxn ang="0">
                    <a:pos x="232" y="231"/>
                  </a:cxn>
                  <a:cxn ang="0">
                    <a:pos x="219" y="243"/>
                  </a:cxn>
                  <a:cxn ang="0">
                    <a:pos x="206" y="238"/>
                  </a:cxn>
                  <a:cxn ang="0">
                    <a:pos x="192" y="233"/>
                  </a:cxn>
                  <a:cxn ang="0">
                    <a:pos x="188" y="230"/>
                  </a:cxn>
                  <a:cxn ang="0">
                    <a:pos x="179" y="226"/>
                  </a:cxn>
                  <a:cxn ang="0">
                    <a:pos x="171" y="230"/>
                  </a:cxn>
                  <a:cxn ang="0">
                    <a:pos x="164" y="231"/>
                  </a:cxn>
                  <a:cxn ang="0">
                    <a:pos x="159" y="235"/>
                  </a:cxn>
                  <a:cxn ang="0">
                    <a:pos x="149" y="225"/>
                  </a:cxn>
                  <a:cxn ang="0">
                    <a:pos x="139" y="220"/>
                  </a:cxn>
                  <a:cxn ang="0">
                    <a:pos x="133" y="218"/>
                  </a:cxn>
                  <a:cxn ang="0">
                    <a:pos x="124" y="216"/>
                  </a:cxn>
                  <a:cxn ang="0">
                    <a:pos x="118" y="218"/>
                  </a:cxn>
                  <a:cxn ang="0">
                    <a:pos x="108" y="218"/>
                  </a:cxn>
                  <a:cxn ang="0">
                    <a:pos x="99" y="218"/>
                  </a:cxn>
                  <a:cxn ang="0">
                    <a:pos x="94" y="221"/>
                  </a:cxn>
                  <a:cxn ang="0">
                    <a:pos x="90" y="226"/>
                  </a:cxn>
                  <a:cxn ang="0">
                    <a:pos x="90" y="230"/>
                  </a:cxn>
                  <a:cxn ang="0">
                    <a:pos x="90" y="236"/>
                  </a:cxn>
                  <a:cxn ang="0">
                    <a:pos x="91" y="241"/>
                  </a:cxn>
                  <a:cxn ang="0">
                    <a:pos x="81" y="246"/>
                  </a:cxn>
                  <a:cxn ang="0">
                    <a:pos x="81" y="249"/>
                  </a:cxn>
                  <a:cxn ang="0">
                    <a:pos x="86" y="256"/>
                  </a:cxn>
                  <a:cxn ang="0">
                    <a:pos x="83" y="261"/>
                  </a:cxn>
                </a:cxnLst>
                <a:rect l="0" t="0" r="r" b="b"/>
                <a:pathLst>
                  <a:path w="370" h="261">
                    <a:moveTo>
                      <a:pt x="83" y="261"/>
                    </a:moveTo>
                    <a:lnTo>
                      <a:pt x="78" y="254"/>
                    </a:lnTo>
                    <a:lnTo>
                      <a:pt x="73" y="254"/>
                    </a:lnTo>
                    <a:lnTo>
                      <a:pt x="68" y="248"/>
                    </a:lnTo>
                    <a:lnTo>
                      <a:pt x="60" y="243"/>
                    </a:lnTo>
                    <a:lnTo>
                      <a:pt x="58" y="246"/>
                    </a:lnTo>
                    <a:lnTo>
                      <a:pt x="60" y="249"/>
                    </a:lnTo>
                    <a:lnTo>
                      <a:pt x="55" y="251"/>
                    </a:lnTo>
                    <a:lnTo>
                      <a:pt x="50" y="251"/>
                    </a:lnTo>
                    <a:lnTo>
                      <a:pt x="45" y="244"/>
                    </a:lnTo>
                    <a:lnTo>
                      <a:pt x="48" y="241"/>
                    </a:lnTo>
                    <a:lnTo>
                      <a:pt x="48" y="238"/>
                    </a:lnTo>
                    <a:lnTo>
                      <a:pt x="45" y="235"/>
                    </a:lnTo>
                    <a:lnTo>
                      <a:pt x="45" y="233"/>
                    </a:lnTo>
                    <a:lnTo>
                      <a:pt x="41" y="231"/>
                    </a:lnTo>
                    <a:lnTo>
                      <a:pt x="31" y="236"/>
                    </a:lnTo>
                    <a:lnTo>
                      <a:pt x="23" y="231"/>
                    </a:lnTo>
                    <a:lnTo>
                      <a:pt x="23" y="221"/>
                    </a:lnTo>
                    <a:lnTo>
                      <a:pt x="0" y="208"/>
                    </a:lnTo>
                    <a:lnTo>
                      <a:pt x="0" y="201"/>
                    </a:lnTo>
                    <a:lnTo>
                      <a:pt x="3" y="196"/>
                    </a:lnTo>
                    <a:lnTo>
                      <a:pt x="3" y="191"/>
                    </a:lnTo>
                    <a:lnTo>
                      <a:pt x="5" y="188"/>
                    </a:lnTo>
                    <a:lnTo>
                      <a:pt x="11" y="190"/>
                    </a:lnTo>
                    <a:lnTo>
                      <a:pt x="28" y="188"/>
                    </a:lnTo>
                    <a:lnTo>
                      <a:pt x="33" y="188"/>
                    </a:lnTo>
                    <a:lnTo>
                      <a:pt x="40" y="185"/>
                    </a:lnTo>
                    <a:lnTo>
                      <a:pt x="50" y="185"/>
                    </a:lnTo>
                    <a:lnTo>
                      <a:pt x="55" y="185"/>
                    </a:lnTo>
                    <a:lnTo>
                      <a:pt x="61" y="181"/>
                    </a:lnTo>
                    <a:lnTo>
                      <a:pt x="70" y="181"/>
                    </a:lnTo>
                    <a:lnTo>
                      <a:pt x="76" y="178"/>
                    </a:lnTo>
                    <a:lnTo>
                      <a:pt x="88" y="171"/>
                    </a:lnTo>
                    <a:lnTo>
                      <a:pt x="90" y="166"/>
                    </a:lnTo>
                    <a:lnTo>
                      <a:pt x="91" y="160"/>
                    </a:lnTo>
                    <a:lnTo>
                      <a:pt x="94" y="156"/>
                    </a:lnTo>
                    <a:lnTo>
                      <a:pt x="96" y="137"/>
                    </a:lnTo>
                    <a:lnTo>
                      <a:pt x="98" y="95"/>
                    </a:lnTo>
                    <a:lnTo>
                      <a:pt x="134" y="87"/>
                    </a:lnTo>
                    <a:lnTo>
                      <a:pt x="164" y="62"/>
                    </a:lnTo>
                    <a:lnTo>
                      <a:pt x="274" y="0"/>
                    </a:lnTo>
                    <a:lnTo>
                      <a:pt x="315" y="10"/>
                    </a:lnTo>
                    <a:lnTo>
                      <a:pt x="320" y="15"/>
                    </a:lnTo>
                    <a:lnTo>
                      <a:pt x="342" y="7"/>
                    </a:lnTo>
                    <a:lnTo>
                      <a:pt x="344" y="9"/>
                    </a:lnTo>
                    <a:lnTo>
                      <a:pt x="355" y="40"/>
                    </a:lnTo>
                    <a:lnTo>
                      <a:pt x="355" y="45"/>
                    </a:lnTo>
                    <a:lnTo>
                      <a:pt x="354" y="48"/>
                    </a:lnTo>
                    <a:lnTo>
                      <a:pt x="370" y="65"/>
                    </a:lnTo>
                    <a:lnTo>
                      <a:pt x="370" y="73"/>
                    </a:lnTo>
                    <a:lnTo>
                      <a:pt x="365" y="77"/>
                    </a:lnTo>
                    <a:lnTo>
                      <a:pt x="359" y="118"/>
                    </a:lnTo>
                    <a:lnTo>
                      <a:pt x="360" y="150"/>
                    </a:lnTo>
                    <a:lnTo>
                      <a:pt x="320" y="188"/>
                    </a:lnTo>
                    <a:lnTo>
                      <a:pt x="319" y="190"/>
                    </a:lnTo>
                    <a:lnTo>
                      <a:pt x="317" y="191"/>
                    </a:lnTo>
                    <a:lnTo>
                      <a:pt x="314" y="191"/>
                    </a:lnTo>
                    <a:lnTo>
                      <a:pt x="314" y="193"/>
                    </a:lnTo>
                    <a:lnTo>
                      <a:pt x="315" y="221"/>
                    </a:lnTo>
                    <a:lnTo>
                      <a:pt x="310" y="220"/>
                    </a:lnTo>
                    <a:lnTo>
                      <a:pt x="307" y="223"/>
                    </a:lnTo>
                    <a:lnTo>
                      <a:pt x="307" y="226"/>
                    </a:lnTo>
                    <a:lnTo>
                      <a:pt x="304" y="228"/>
                    </a:lnTo>
                    <a:lnTo>
                      <a:pt x="300" y="226"/>
                    </a:lnTo>
                    <a:lnTo>
                      <a:pt x="297" y="226"/>
                    </a:lnTo>
                    <a:lnTo>
                      <a:pt x="295" y="230"/>
                    </a:lnTo>
                    <a:lnTo>
                      <a:pt x="291" y="231"/>
                    </a:lnTo>
                    <a:lnTo>
                      <a:pt x="291" y="231"/>
                    </a:lnTo>
                    <a:lnTo>
                      <a:pt x="282" y="235"/>
                    </a:lnTo>
                    <a:lnTo>
                      <a:pt x="281" y="233"/>
                    </a:lnTo>
                    <a:lnTo>
                      <a:pt x="274" y="233"/>
                    </a:lnTo>
                    <a:lnTo>
                      <a:pt x="266" y="230"/>
                    </a:lnTo>
                    <a:lnTo>
                      <a:pt x="254" y="228"/>
                    </a:lnTo>
                    <a:lnTo>
                      <a:pt x="249" y="230"/>
                    </a:lnTo>
                    <a:lnTo>
                      <a:pt x="237" y="230"/>
                    </a:lnTo>
                    <a:lnTo>
                      <a:pt x="232" y="231"/>
                    </a:lnTo>
                    <a:lnTo>
                      <a:pt x="226" y="238"/>
                    </a:lnTo>
                    <a:lnTo>
                      <a:pt x="219" y="243"/>
                    </a:lnTo>
                    <a:lnTo>
                      <a:pt x="216" y="241"/>
                    </a:lnTo>
                    <a:lnTo>
                      <a:pt x="206" y="238"/>
                    </a:lnTo>
                    <a:lnTo>
                      <a:pt x="201" y="238"/>
                    </a:lnTo>
                    <a:lnTo>
                      <a:pt x="192" y="233"/>
                    </a:lnTo>
                    <a:lnTo>
                      <a:pt x="188" y="231"/>
                    </a:lnTo>
                    <a:lnTo>
                      <a:pt x="188" y="230"/>
                    </a:lnTo>
                    <a:lnTo>
                      <a:pt x="183" y="226"/>
                    </a:lnTo>
                    <a:lnTo>
                      <a:pt x="179" y="226"/>
                    </a:lnTo>
                    <a:lnTo>
                      <a:pt x="179" y="228"/>
                    </a:lnTo>
                    <a:lnTo>
                      <a:pt x="171" y="230"/>
                    </a:lnTo>
                    <a:lnTo>
                      <a:pt x="168" y="231"/>
                    </a:lnTo>
                    <a:lnTo>
                      <a:pt x="164" y="231"/>
                    </a:lnTo>
                    <a:lnTo>
                      <a:pt x="163" y="235"/>
                    </a:lnTo>
                    <a:lnTo>
                      <a:pt x="159" y="235"/>
                    </a:lnTo>
                    <a:lnTo>
                      <a:pt x="154" y="231"/>
                    </a:lnTo>
                    <a:lnTo>
                      <a:pt x="149" y="225"/>
                    </a:lnTo>
                    <a:lnTo>
                      <a:pt x="148" y="223"/>
                    </a:lnTo>
                    <a:lnTo>
                      <a:pt x="139" y="220"/>
                    </a:lnTo>
                    <a:lnTo>
                      <a:pt x="136" y="220"/>
                    </a:lnTo>
                    <a:lnTo>
                      <a:pt x="133" y="218"/>
                    </a:lnTo>
                    <a:lnTo>
                      <a:pt x="126" y="216"/>
                    </a:lnTo>
                    <a:lnTo>
                      <a:pt x="124" y="216"/>
                    </a:lnTo>
                    <a:lnTo>
                      <a:pt x="119" y="216"/>
                    </a:lnTo>
                    <a:lnTo>
                      <a:pt x="118" y="218"/>
                    </a:lnTo>
                    <a:lnTo>
                      <a:pt x="109" y="218"/>
                    </a:lnTo>
                    <a:lnTo>
                      <a:pt x="108" y="218"/>
                    </a:lnTo>
                    <a:lnTo>
                      <a:pt x="104" y="218"/>
                    </a:lnTo>
                    <a:lnTo>
                      <a:pt x="99" y="218"/>
                    </a:lnTo>
                    <a:lnTo>
                      <a:pt x="98" y="220"/>
                    </a:lnTo>
                    <a:lnTo>
                      <a:pt x="94" y="221"/>
                    </a:lnTo>
                    <a:lnTo>
                      <a:pt x="90" y="225"/>
                    </a:lnTo>
                    <a:lnTo>
                      <a:pt x="90" y="226"/>
                    </a:lnTo>
                    <a:lnTo>
                      <a:pt x="90" y="230"/>
                    </a:lnTo>
                    <a:lnTo>
                      <a:pt x="90" y="230"/>
                    </a:lnTo>
                    <a:lnTo>
                      <a:pt x="88" y="231"/>
                    </a:lnTo>
                    <a:lnTo>
                      <a:pt x="90" y="236"/>
                    </a:lnTo>
                    <a:lnTo>
                      <a:pt x="91" y="238"/>
                    </a:lnTo>
                    <a:lnTo>
                      <a:pt x="91" y="241"/>
                    </a:lnTo>
                    <a:lnTo>
                      <a:pt x="86" y="241"/>
                    </a:lnTo>
                    <a:lnTo>
                      <a:pt x="81" y="246"/>
                    </a:lnTo>
                    <a:lnTo>
                      <a:pt x="83" y="248"/>
                    </a:lnTo>
                    <a:lnTo>
                      <a:pt x="81" y="249"/>
                    </a:lnTo>
                    <a:lnTo>
                      <a:pt x="85" y="256"/>
                    </a:lnTo>
                    <a:lnTo>
                      <a:pt x="86" y="256"/>
                    </a:lnTo>
                    <a:lnTo>
                      <a:pt x="88" y="259"/>
                    </a:lnTo>
                    <a:lnTo>
                      <a:pt x="8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7" name="Freeform 120">
                <a:extLst>
                  <a:ext uri="{FF2B5EF4-FFF2-40B4-BE49-F238E27FC236}">
                    <a16:creationId xmlns:a16="http://schemas.microsoft.com/office/drawing/2014/main" id="{439E9BE6-AA1C-F44E-80B0-F1988D543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613" y="3109926"/>
                <a:ext cx="148764" cy="111022"/>
              </a:xfrm>
              <a:custGeom>
                <a:avLst/>
                <a:gdLst/>
                <a:ahLst/>
                <a:cxnLst>
                  <a:cxn ang="0">
                    <a:pos x="261" y="14"/>
                  </a:cxn>
                  <a:cxn ang="0">
                    <a:pos x="244" y="7"/>
                  </a:cxn>
                  <a:cxn ang="0">
                    <a:pos x="237" y="10"/>
                  </a:cxn>
                  <a:cxn ang="0">
                    <a:pos x="228" y="15"/>
                  </a:cxn>
                  <a:cxn ang="0">
                    <a:pos x="218" y="17"/>
                  </a:cxn>
                  <a:cxn ang="0">
                    <a:pos x="191" y="12"/>
                  </a:cxn>
                  <a:cxn ang="0">
                    <a:pos x="169" y="15"/>
                  </a:cxn>
                  <a:cxn ang="0">
                    <a:pos x="153" y="25"/>
                  </a:cxn>
                  <a:cxn ang="0">
                    <a:pos x="129" y="17"/>
                  </a:cxn>
                  <a:cxn ang="0">
                    <a:pos x="120" y="10"/>
                  </a:cxn>
                  <a:cxn ang="0">
                    <a:pos x="108" y="14"/>
                  </a:cxn>
                  <a:cxn ang="0">
                    <a:pos x="100" y="19"/>
                  </a:cxn>
                  <a:cxn ang="0">
                    <a:pos x="86" y="9"/>
                  </a:cxn>
                  <a:cxn ang="0">
                    <a:pos x="73" y="4"/>
                  </a:cxn>
                  <a:cxn ang="0">
                    <a:pos x="61" y="0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7" y="9"/>
                  </a:cxn>
                  <a:cxn ang="0">
                    <a:pos x="27" y="14"/>
                  </a:cxn>
                  <a:cxn ang="0">
                    <a:pos x="28" y="22"/>
                  </a:cxn>
                  <a:cxn ang="0">
                    <a:pos x="18" y="30"/>
                  </a:cxn>
                  <a:cxn ang="0">
                    <a:pos x="22" y="40"/>
                  </a:cxn>
                  <a:cxn ang="0">
                    <a:pos x="20" y="45"/>
                  </a:cxn>
                  <a:cxn ang="0">
                    <a:pos x="27" y="58"/>
                  </a:cxn>
                  <a:cxn ang="0">
                    <a:pos x="28" y="75"/>
                  </a:cxn>
                  <a:cxn ang="0">
                    <a:pos x="20" y="80"/>
                  </a:cxn>
                  <a:cxn ang="0">
                    <a:pos x="22" y="87"/>
                  </a:cxn>
                  <a:cxn ang="0">
                    <a:pos x="13" y="98"/>
                  </a:cxn>
                  <a:cxn ang="0">
                    <a:pos x="7" y="103"/>
                  </a:cxn>
                  <a:cxn ang="0">
                    <a:pos x="0" y="112"/>
                  </a:cxn>
                  <a:cxn ang="0">
                    <a:pos x="0" y="122"/>
                  </a:cxn>
                  <a:cxn ang="0">
                    <a:pos x="2" y="128"/>
                  </a:cxn>
                  <a:cxn ang="0">
                    <a:pos x="2" y="143"/>
                  </a:cxn>
                  <a:cxn ang="0">
                    <a:pos x="2" y="161"/>
                  </a:cxn>
                  <a:cxn ang="0">
                    <a:pos x="18" y="165"/>
                  </a:cxn>
                  <a:cxn ang="0">
                    <a:pos x="53" y="191"/>
                  </a:cxn>
                  <a:cxn ang="0">
                    <a:pos x="58" y="208"/>
                  </a:cxn>
                  <a:cxn ang="0">
                    <a:pos x="96" y="215"/>
                  </a:cxn>
                  <a:cxn ang="0">
                    <a:pos x="116" y="210"/>
                  </a:cxn>
                  <a:cxn ang="0">
                    <a:pos x="128" y="203"/>
                  </a:cxn>
                  <a:cxn ang="0">
                    <a:pos x="134" y="206"/>
                  </a:cxn>
                  <a:cxn ang="0">
                    <a:pos x="144" y="191"/>
                  </a:cxn>
                  <a:cxn ang="0">
                    <a:pos x="146" y="180"/>
                  </a:cxn>
                  <a:cxn ang="0">
                    <a:pos x="154" y="171"/>
                  </a:cxn>
                  <a:cxn ang="0">
                    <a:pos x="163" y="160"/>
                  </a:cxn>
                  <a:cxn ang="0">
                    <a:pos x="171" y="155"/>
                  </a:cxn>
                  <a:cxn ang="0">
                    <a:pos x="181" y="156"/>
                  </a:cxn>
                  <a:cxn ang="0">
                    <a:pos x="193" y="166"/>
                  </a:cxn>
                  <a:cxn ang="0">
                    <a:pos x="204" y="160"/>
                  </a:cxn>
                  <a:cxn ang="0">
                    <a:pos x="209" y="155"/>
                  </a:cxn>
                  <a:cxn ang="0">
                    <a:pos x="214" y="141"/>
                  </a:cxn>
                  <a:cxn ang="0">
                    <a:pos x="221" y="128"/>
                  </a:cxn>
                  <a:cxn ang="0">
                    <a:pos x="236" y="117"/>
                  </a:cxn>
                  <a:cxn ang="0">
                    <a:pos x="236" y="102"/>
                  </a:cxn>
                  <a:cxn ang="0">
                    <a:pos x="251" y="92"/>
                  </a:cxn>
                  <a:cxn ang="0">
                    <a:pos x="251" y="78"/>
                  </a:cxn>
                  <a:cxn ang="0">
                    <a:pos x="261" y="65"/>
                  </a:cxn>
                  <a:cxn ang="0">
                    <a:pos x="269" y="60"/>
                  </a:cxn>
                  <a:cxn ang="0">
                    <a:pos x="277" y="52"/>
                  </a:cxn>
                  <a:cxn ang="0">
                    <a:pos x="274" y="40"/>
                  </a:cxn>
                  <a:cxn ang="0">
                    <a:pos x="267" y="28"/>
                  </a:cxn>
                  <a:cxn ang="0">
                    <a:pos x="266" y="19"/>
                  </a:cxn>
                </a:cxnLst>
                <a:rect l="0" t="0" r="r" b="b"/>
                <a:pathLst>
                  <a:path w="277" h="215">
                    <a:moveTo>
                      <a:pt x="266" y="19"/>
                    </a:moveTo>
                    <a:lnTo>
                      <a:pt x="264" y="19"/>
                    </a:lnTo>
                    <a:lnTo>
                      <a:pt x="261" y="14"/>
                    </a:lnTo>
                    <a:lnTo>
                      <a:pt x="256" y="7"/>
                    </a:lnTo>
                    <a:lnTo>
                      <a:pt x="247" y="4"/>
                    </a:lnTo>
                    <a:lnTo>
                      <a:pt x="244" y="7"/>
                    </a:lnTo>
                    <a:lnTo>
                      <a:pt x="244" y="10"/>
                    </a:lnTo>
                    <a:lnTo>
                      <a:pt x="241" y="12"/>
                    </a:lnTo>
                    <a:lnTo>
                      <a:pt x="237" y="10"/>
                    </a:lnTo>
                    <a:lnTo>
                      <a:pt x="234" y="10"/>
                    </a:lnTo>
                    <a:lnTo>
                      <a:pt x="232" y="14"/>
                    </a:lnTo>
                    <a:lnTo>
                      <a:pt x="228" y="15"/>
                    </a:lnTo>
                    <a:lnTo>
                      <a:pt x="226" y="19"/>
                    </a:lnTo>
                    <a:lnTo>
                      <a:pt x="223" y="20"/>
                    </a:lnTo>
                    <a:lnTo>
                      <a:pt x="218" y="17"/>
                    </a:lnTo>
                    <a:lnTo>
                      <a:pt x="211" y="17"/>
                    </a:lnTo>
                    <a:lnTo>
                      <a:pt x="203" y="14"/>
                    </a:lnTo>
                    <a:lnTo>
                      <a:pt x="191" y="12"/>
                    </a:lnTo>
                    <a:lnTo>
                      <a:pt x="186" y="14"/>
                    </a:lnTo>
                    <a:lnTo>
                      <a:pt x="174" y="14"/>
                    </a:lnTo>
                    <a:lnTo>
                      <a:pt x="169" y="15"/>
                    </a:lnTo>
                    <a:lnTo>
                      <a:pt x="163" y="22"/>
                    </a:lnTo>
                    <a:lnTo>
                      <a:pt x="156" y="27"/>
                    </a:lnTo>
                    <a:lnTo>
                      <a:pt x="153" y="25"/>
                    </a:lnTo>
                    <a:lnTo>
                      <a:pt x="143" y="22"/>
                    </a:lnTo>
                    <a:lnTo>
                      <a:pt x="138" y="22"/>
                    </a:lnTo>
                    <a:lnTo>
                      <a:pt x="129" y="17"/>
                    </a:lnTo>
                    <a:lnTo>
                      <a:pt x="125" y="15"/>
                    </a:lnTo>
                    <a:lnTo>
                      <a:pt x="125" y="14"/>
                    </a:lnTo>
                    <a:lnTo>
                      <a:pt x="120" y="10"/>
                    </a:lnTo>
                    <a:lnTo>
                      <a:pt x="116" y="10"/>
                    </a:lnTo>
                    <a:lnTo>
                      <a:pt x="116" y="12"/>
                    </a:lnTo>
                    <a:lnTo>
                      <a:pt x="108" y="14"/>
                    </a:lnTo>
                    <a:lnTo>
                      <a:pt x="105" y="15"/>
                    </a:lnTo>
                    <a:lnTo>
                      <a:pt x="101" y="15"/>
                    </a:lnTo>
                    <a:lnTo>
                      <a:pt x="100" y="19"/>
                    </a:lnTo>
                    <a:lnTo>
                      <a:pt x="96" y="19"/>
                    </a:lnTo>
                    <a:lnTo>
                      <a:pt x="91" y="15"/>
                    </a:lnTo>
                    <a:lnTo>
                      <a:pt x="86" y="9"/>
                    </a:lnTo>
                    <a:lnTo>
                      <a:pt x="85" y="7"/>
                    </a:lnTo>
                    <a:lnTo>
                      <a:pt x="76" y="4"/>
                    </a:lnTo>
                    <a:lnTo>
                      <a:pt x="73" y="4"/>
                    </a:lnTo>
                    <a:lnTo>
                      <a:pt x="70" y="2"/>
                    </a:lnTo>
                    <a:lnTo>
                      <a:pt x="63" y="0"/>
                    </a:lnTo>
                    <a:lnTo>
                      <a:pt x="61" y="0"/>
                    </a:lnTo>
                    <a:lnTo>
                      <a:pt x="56" y="0"/>
                    </a:lnTo>
                    <a:lnTo>
                      <a:pt x="55" y="2"/>
                    </a:lnTo>
                    <a:lnTo>
                      <a:pt x="46" y="2"/>
                    </a:lnTo>
                    <a:lnTo>
                      <a:pt x="45" y="2"/>
                    </a:lnTo>
                    <a:lnTo>
                      <a:pt x="41" y="2"/>
                    </a:lnTo>
                    <a:lnTo>
                      <a:pt x="36" y="2"/>
                    </a:lnTo>
                    <a:lnTo>
                      <a:pt x="35" y="4"/>
                    </a:lnTo>
                    <a:lnTo>
                      <a:pt x="31" y="5"/>
                    </a:lnTo>
                    <a:lnTo>
                      <a:pt x="27" y="9"/>
                    </a:lnTo>
                    <a:lnTo>
                      <a:pt x="27" y="10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7" y="20"/>
                    </a:lnTo>
                    <a:lnTo>
                      <a:pt x="28" y="22"/>
                    </a:lnTo>
                    <a:lnTo>
                      <a:pt x="28" y="25"/>
                    </a:lnTo>
                    <a:lnTo>
                      <a:pt x="23" y="2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18" y="33"/>
                    </a:lnTo>
                    <a:lnTo>
                      <a:pt x="22" y="40"/>
                    </a:lnTo>
                    <a:lnTo>
                      <a:pt x="23" y="40"/>
                    </a:lnTo>
                    <a:lnTo>
                      <a:pt x="25" y="43"/>
                    </a:lnTo>
                    <a:lnTo>
                      <a:pt x="20" y="45"/>
                    </a:lnTo>
                    <a:lnTo>
                      <a:pt x="18" y="50"/>
                    </a:lnTo>
                    <a:lnTo>
                      <a:pt x="20" y="53"/>
                    </a:lnTo>
                    <a:lnTo>
                      <a:pt x="27" y="58"/>
                    </a:lnTo>
                    <a:lnTo>
                      <a:pt x="27" y="63"/>
                    </a:lnTo>
                    <a:lnTo>
                      <a:pt x="30" y="72"/>
                    </a:lnTo>
                    <a:lnTo>
                      <a:pt x="28" y="75"/>
                    </a:lnTo>
                    <a:lnTo>
                      <a:pt x="23" y="75"/>
                    </a:lnTo>
                    <a:lnTo>
                      <a:pt x="22" y="77"/>
                    </a:lnTo>
                    <a:lnTo>
                      <a:pt x="20" y="80"/>
                    </a:lnTo>
                    <a:lnTo>
                      <a:pt x="27" y="85"/>
                    </a:lnTo>
                    <a:lnTo>
                      <a:pt x="25" y="87"/>
                    </a:lnTo>
                    <a:lnTo>
                      <a:pt x="22" y="87"/>
                    </a:lnTo>
                    <a:lnTo>
                      <a:pt x="18" y="88"/>
                    </a:lnTo>
                    <a:lnTo>
                      <a:pt x="17" y="92"/>
                    </a:lnTo>
                    <a:lnTo>
                      <a:pt x="13" y="98"/>
                    </a:lnTo>
                    <a:lnTo>
                      <a:pt x="12" y="102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2" y="105"/>
                    </a:lnTo>
                    <a:lnTo>
                      <a:pt x="0" y="108"/>
                    </a:lnTo>
                    <a:lnTo>
                      <a:pt x="0" y="112"/>
                    </a:lnTo>
                    <a:lnTo>
                      <a:pt x="0" y="115"/>
                    </a:lnTo>
                    <a:lnTo>
                      <a:pt x="0" y="120"/>
                    </a:lnTo>
                    <a:lnTo>
                      <a:pt x="0" y="122"/>
                    </a:lnTo>
                    <a:lnTo>
                      <a:pt x="0" y="125"/>
                    </a:lnTo>
                    <a:lnTo>
                      <a:pt x="0" y="126"/>
                    </a:lnTo>
                    <a:lnTo>
                      <a:pt x="2" y="128"/>
                    </a:lnTo>
                    <a:lnTo>
                      <a:pt x="2" y="130"/>
                    </a:lnTo>
                    <a:lnTo>
                      <a:pt x="0" y="133"/>
                    </a:lnTo>
                    <a:lnTo>
                      <a:pt x="2" y="143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2" y="161"/>
                    </a:lnTo>
                    <a:lnTo>
                      <a:pt x="2" y="165"/>
                    </a:lnTo>
                    <a:lnTo>
                      <a:pt x="12" y="166"/>
                    </a:lnTo>
                    <a:lnTo>
                      <a:pt x="18" y="165"/>
                    </a:lnTo>
                    <a:lnTo>
                      <a:pt x="36" y="173"/>
                    </a:lnTo>
                    <a:lnTo>
                      <a:pt x="46" y="181"/>
                    </a:lnTo>
                    <a:lnTo>
                      <a:pt x="53" y="191"/>
                    </a:lnTo>
                    <a:lnTo>
                      <a:pt x="53" y="200"/>
                    </a:lnTo>
                    <a:lnTo>
                      <a:pt x="56" y="200"/>
                    </a:lnTo>
                    <a:lnTo>
                      <a:pt x="58" y="208"/>
                    </a:lnTo>
                    <a:lnTo>
                      <a:pt x="65" y="213"/>
                    </a:lnTo>
                    <a:lnTo>
                      <a:pt x="73" y="215"/>
                    </a:lnTo>
                    <a:lnTo>
                      <a:pt x="96" y="215"/>
                    </a:lnTo>
                    <a:lnTo>
                      <a:pt x="101" y="211"/>
                    </a:lnTo>
                    <a:lnTo>
                      <a:pt x="105" y="213"/>
                    </a:lnTo>
                    <a:lnTo>
                      <a:pt x="116" y="210"/>
                    </a:lnTo>
                    <a:lnTo>
                      <a:pt x="120" y="211"/>
                    </a:lnTo>
                    <a:lnTo>
                      <a:pt x="126" y="210"/>
                    </a:lnTo>
                    <a:lnTo>
                      <a:pt x="128" y="203"/>
                    </a:lnTo>
                    <a:lnTo>
                      <a:pt x="133" y="208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4" y="205"/>
                    </a:lnTo>
                    <a:lnTo>
                      <a:pt x="141" y="198"/>
                    </a:lnTo>
                    <a:lnTo>
                      <a:pt x="144" y="191"/>
                    </a:lnTo>
                    <a:lnTo>
                      <a:pt x="143" y="186"/>
                    </a:lnTo>
                    <a:lnTo>
                      <a:pt x="143" y="181"/>
                    </a:lnTo>
                    <a:lnTo>
                      <a:pt x="146" y="180"/>
                    </a:lnTo>
                    <a:lnTo>
                      <a:pt x="146" y="176"/>
                    </a:lnTo>
                    <a:lnTo>
                      <a:pt x="149" y="173"/>
                    </a:lnTo>
                    <a:lnTo>
                      <a:pt x="154" y="171"/>
                    </a:lnTo>
                    <a:lnTo>
                      <a:pt x="156" y="170"/>
                    </a:lnTo>
                    <a:lnTo>
                      <a:pt x="163" y="165"/>
                    </a:lnTo>
                    <a:lnTo>
                      <a:pt x="163" y="160"/>
                    </a:lnTo>
                    <a:lnTo>
                      <a:pt x="164" y="158"/>
                    </a:lnTo>
                    <a:lnTo>
                      <a:pt x="169" y="156"/>
                    </a:lnTo>
                    <a:lnTo>
                      <a:pt x="171" y="155"/>
                    </a:lnTo>
                    <a:lnTo>
                      <a:pt x="173" y="155"/>
                    </a:lnTo>
                    <a:lnTo>
                      <a:pt x="179" y="158"/>
                    </a:lnTo>
                    <a:lnTo>
                      <a:pt x="181" y="156"/>
                    </a:lnTo>
                    <a:lnTo>
                      <a:pt x="186" y="160"/>
                    </a:lnTo>
                    <a:lnTo>
                      <a:pt x="189" y="163"/>
                    </a:lnTo>
                    <a:lnTo>
                      <a:pt x="193" y="166"/>
                    </a:lnTo>
                    <a:lnTo>
                      <a:pt x="196" y="168"/>
                    </a:lnTo>
                    <a:lnTo>
                      <a:pt x="201" y="165"/>
                    </a:lnTo>
                    <a:lnTo>
                      <a:pt x="204" y="160"/>
                    </a:lnTo>
                    <a:lnTo>
                      <a:pt x="204" y="158"/>
                    </a:lnTo>
                    <a:lnTo>
                      <a:pt x="206" y="155"/>
                    </a:lnTo>
                    <a:lnTo>
                      <a:pt x="209" y="155"/>
                    </a:lnTo>
                    <a:lnTo>
                      <a:pt x="213" y="150"/>
                    </a:lnTo>
                    <a:lnTo>
                      <a:pt x="213" y="146"/>
                    </a:lnTo>
                    <a:lnTo>
                      <a:pt x="214" y="141"/>
                    </a:lnTo>
                    <a:lnTo>
                      <a:pt x="223" y="135"/>
                    </a:lnTo>
                    <a:lnTo>
                      <a:pt x="223" y="131"/>
                    </a:lnTo>
                    <a:lnTo>
                      <a:pt x="221" y="128"/>
                    </a:lnTo>
                    <a:lnTo>
                      <a:pt x="224" y="125"/>
                    </a:lnTo>
                    <a:lnTo>
                      <a:pt x="231" y="120"/>
                    </a:lnTo>
                    <a:lnTo>
                      <a:pt x="236" y="117"/>
                    </a:lnTo>
                    <a:lnTo>
                      <a:pt x="236" y="112"/>
                    </a:lnTo>
                    <a:lnTo>
                      <a:pt x="237" y="108"/>
                    </a:lnTo>
                    <a:lnTo>
                      <a:pt x="236" y="102"/>
                    </a:lnTo>
                    <a:lnTo>
                      <a:pt x="239" y="98"/>
                    </a:lnTo>
                    <a:lnTo>
                      <a:pt x="246" y="97"/>
                    </a:lnTo>
                    <a:lnTo>
                      <a:pt x="251" y="92"/>
                    </a:lnTo>
                    <a:lnTo>
                      <a:pt x="251" y="87"/>
                    </a:lnTo>
                    <a:lnTo>
                      <a:pt x="251" y="82"/>
                    </a:lnTo>
                    <a:lnTo>
                      <a:pt x="251" y="78"/>
                    </a:lnTo>
                    <a:lnTo>
                      <a:pt x="254" y="73"/>
                    </a:lnTo>
                    <a:lnTo>
                      <a:pt x="257" y="67"/>
                    </a:lnTo>
                    <a:lnTo>
                      <a:pt x="261" y="65"/>
                    </a:lnTo>
                    <a:lnTo>
                      <a:pt x="261" y="63"/>
                    </a:lnTo>
                    <a:lnTo>
                      <a:pt x="266" y="60"/>
                    </a:lnTo>
                    <a:lnTo>
                      <a:pt x="269" y="60"/>
                    </a:lnTo>
                    <a:lnTo>
                      <a:pt x="271" y="57"/>
                    </a:lnTo>
                    <a:lnTo>
                      <a:pt x="277" y="53"/>
                    </a:lnTo>
                    <a:lnTo>
                      <a:pt x="277" y="52"/>
                    </a:lnTo>
                    <a:lnTo>
                      <a:pt x="276" y="45"/>
                    </a:lnTo>
                    <a:lnTo>
                      <a:pt x="276" y="43"/>
                    </a:lnTo>
                    <a:lnTo>
                      <a:pt x="274" y="40"/>
                    </a:lnTo>
                    <a:lnTo>
                      <a:pt x="269" y="38"/>
                    </a:lnTo>
                    <a:lnTo>
                      <a:pt x="267" y="35"/>
                    </a:lnTo>
                    <a:lnTo>
                      <a:pt x="267" y="28"/>
                    </a:lnTo>
                    <a:lnTo>
                      <a:pt x="267" y="25"/>
                    </a:lnTo>
                    <a:lnTo>
                      <a:pt x="266" y="19"/>
                    </a:lnTo>
                    <a:lnTo>
                      <a:pt x="266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8" name="Freeform 121">
                <a:extLst>
                  <a:ext uri="{FF2B5EF4-FFF2-40B4-BE49-F238E27FC236}">
                    <a16:creationId xmlns:a16="http://schemas.microsoft.com/office/drawing/2014/main" id="{B4570EB5-CC95-1D4F-B2EE-AD73F9B4A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8494" y="3265564"/>
                <a:ext cx="4281" cy="4150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9" y="2"/>
                  </a:cxn>
                  <a:cxn ang="0">
                    <a:pos x="7" y="5"/>
                  </a:cxn>
                  <a:cxn ang="0">
                    <a:pos x="4" y="7"/>
                  </a:cxn>
                  <a:cxn ang="0">
                    <a:pos x="2" y="7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9" y="2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79" name="Freeform 122">
                <a:extLst>
                  <a:ext uri="{FF2B5EF4-FFF2-40B4-BE49-F238E27FC236}">
                    <a16:creationId xmlns:a16="http://schemas.microsoft.com/office/drawing/2014/main" id="{0A230154-1771-414F-A5CD-7C470631D2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3109" y="3225098"/>
                <a:ext cx="7491" cy="933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0"/>
                  </a:cxn>
                  <a:cxn ang="0">
                    <a:pos x="3" y="10"/>
                  </a:cxn>
                  <a:cxn ang="0">
                    <a:pos x="5" y="5"/>
                  </a:cxn>
                  <a:cxn ang="0">
                    <a:pos x="10" y="0"/>
                  </a:cxn>
                  <a:cxn ang="0">
                    <a:pos x="11" y="1"/>
                  </a:cxn>
                  <a:cxn ang="0">
                    <a:pos x="13" y="8"/>
                  </a:cxn>
                  <a:cxn ang="0">
                    <a:pos x="10" y="16"/>
                  </a:cxn>
                  <a:cxn ang="0">
                    <a:pos x="5" y="16"/>
                  </a:cxn>
                  <a:cxn ang="0">
                    <a:pos x="0" y="13"/>
                  </a:cxn>
                </a:cxnLst>
                <a:rect l="0" t="0" r="r" b="b"/>
                <a:pathLst>
                  <a:path w="13" h="16">
                    <a:moveTo>
                      <a:pt x="0" y="13"/>
                    </a:moveTo>
                    <a:lnTo>
                      <a:pt x="0" y="10"/>
                    </a:lnTo>
                    <a:lnTo>
                      <a:pt x="3" y="10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1" y="1"/>
                    </a:lnTo>
                    <a:lnTo>
                      <a:pt x="13" y="8"/>
                    </a:lnTo>
                    <a:lnTo>
                      <a:pt x="10" y="16"/>
                    </a:lnTo>
                    <a:lnTo>
                      <a:pt x="5" y="16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0" name="Freeform 123">
                <a:extLst>
                  <a:ext uri="{FF2B5EF4-FFF2-40B4-BE49-F238E27FC236}">
                    <a16:creationId xmlns:a16="http://schemas.microsoft.com/office/drawing/2014/main" id="{16CB75B8-5F2B-D14D-B8C3-9F55BBDF3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390" y="3119264"/>
                <a:ext cx="98463" cy="130736"/>
              </a:xfrm>
              <a:custGeom>
                <a:avLst/>
                <a:gdLst/>
                <a:ahLst/>
                <a:cxnLst>
                  <a:cxn ang="0">
                    <a:pos x="7" y="179"/>
                  </a:cxn>
                  <a:cxn ang="0">
                    <a:pos x="9" y="162"/>
                  </a:cxn>
                  <a:cxn ang="0">
                    <a:pos x="15" y="154"/>
                  </a:cxn>
                  <a:cxn ang="0">
                    <a:pos x="29" y="146"/>
                  </a:cxn>
                  <a:cxn ang="0">
                    <a:pos x="35" y="137"/>
                  </a:cxn>
                  <a:cxn ang="0">
                    <a:pos x="45" y="139"/>
                  </a:cxn>
                  <a:cxn ang="0">
                    <a:pos x="55" y="144"/>
                  </a:cxn>
                  <a:cxn ang="0">
                    <a:pos x="67" y="146"/>
                  </a:cxn>
                  <a:cxn ang="0">
                    <a:pos x="72" y="136"/>
                  </a:cxn>
                  <a:cxn ang="0">
                    <a:pos x="79" y="127"/>
                  </a:cxn>
                  <a:cxn ang="0">
                    <a:pos x="89" y="112"/>
                  </a:cxn>
                  <a:cxn ang="0">
                    <a:pos x="97" y="101"/>
                  </a:cxn>
                  <a:cxn ang="0">
                    <a:pos x="103" y="89"/>
                  </a:cxn>
                  <a:cxn ang="0">
                    <a:pos x="112" y="78"/>
                  </a:cxn>
                  <a:cxn ang="0">
                    <a:pos x="117" y="63"/>
                  </a:cxn>
                  <a:cxn ang="0">
                    <a:pos x="123" y="48"/>
                  </a:cxn>
                  <a:cxn ang="0">
                    <a:pos x="132" y="41"/>
                  </a:cxn>
                  <a:cxn ang="0">
                    <a:pos x="143" y="34"/>
                  </a:cxn>
                  <a:cxn ang="0">
                    <a:pos x="142" y="24"/>
                  </a:cxn>
                  <a:cxn ang="0">
                    <a:pos x="133" y="16"/>
                  </a:cxn>
                  <a:cxn ang="0">
                    <a:pos x="132" y="0"/>
                  </a:cxn>
                  <a:cxn ang="0">
                    <a:pos x="150" y="16"/>
                  </a:cxn>
                  <a:cxn ang="0">
                    <a:pos x="155" y="28"/>
                  </a:cxn>
                  <a:cxn ang="0">
                    <a:pos x="153" y="36"/>
                  </a:cxn>
                  <a:cxn ang="0">
                    <a:pos x="152" y="46"/>
                  </a:cxn>
                  <a:cxn ang="0">
                    <a:pos x="160" y="58"/>
                  </a:cxn>
                  <a:cxn ang="0">
                    <a:pos x="170" y="69"/>
                  </a:cxn>
                  <a:cxn ang="0">
                    <a:pos x="162" y="68"/>
                  </a:cxn>
                  <a:cxn ang="0">
                    <a:pos x="150" y="68"/>
                  </a:cxn>
                  <a:cxn ang="0">
                    <a:pos x="138" y="68"/>
                  </a:cxn>
                  <a:cxn ang="0">
                    <a:pos x="133" y="74"/>
                  </a:cxn>
                  <a:cxn ang="0">
                    <a:pos x="137" y="81"/>
                  </a:cxn>
                  <a:cxn ang="0">
                    <a:pos x="150" y="93"/>
                  </a:cxn>
                  <a:cxn ang="0">
                    <a:pos x="167" y="109"/>
                  </a:cxn>
                  <a:cxn ang="0">
                    <a:pos x="167" y="126"/>
                  </a:cxn>
                  <a:cxn ang="0">
                    <a:pos x="157" y="139"/>
                  </a:cxn>
                  <a:cxn ang="0">
                    <a:pos x="147" y="151"/>
                  </a:cxn>
                  <a:cxn ang="0">
                    <a:pos x="147" y="166"/>
                  </a:cxn>
                  <a:cxn ang="0">
                    <a:pos x="148" y="181"/>
                  </a:cxn>
                  <a:cxn ang="0">
                    <a:pos x="157" y="194"/>
                  </a:cxn>
                  <a:cxn ang="0">
                    <a:pos x="168" y="210"/>
                  </a:cxn>
                  <a:cxn ang="0">
                    <a:pos x="183" y="225"/>
                  </a:cxn>
                  <a:cxn ang="0">
                    <a:pos x="185" y="235"/>
                  </a:cxn>
                  <a:cxn ang="0">
                    <a:pos x="183" y="239"/>
                  </a:cxn>
                  <a:cxn ang="0">
                    <a:pos x="182" y="249"/>
                  </a:cxn>
                  <a:cxn ang="0">
                    <a:pos x="178" y="249"/>
                  </a:cxn>
                  <a:cxn ang="0">
                    <a:pos x="172" y="249"/>
                  </a:cxn>
                  <a:cxn ang="0">
                    <a:pos x="162" y="247"/>
                  </a:cxn>
                  <a:cxn ang="0">
                    <a:pos x="157" y="249"/>
                  </a:cxn>
                  <a:cxn ang="0">
                    <a:pos x="148" y="247"/>
                  </a:cxn>
                  <a:cxn ang="0">
                    <a:pos x="143" y="245"/>
                  </a:cxn>
                  <a:cxn ang="0">
                    <a:pos x="108" y="242"/>
                  </a:cxn>
                  <a:cxn ang="0">
                    <a:pos x="98" y="242"/>
                  </a:cxn>
                  <a:cxn ang="0">
                    <a:pos x="90" y="242"/>
                  </a:cxn>
                  <a:cxn ang="0">
                    <a:pos x="79" y="240"/>
                  </a:cxn>
                  <a:cxn ang="0">
                    <a:pos x="67" y="242"/>
                  </a:cxn>
                  <a:cxn ang="0">
                    <a:pos x="65" y="244"/>
                  </a:cxn>
                  <a:cxn ang="0">
                    <a:pos x="32" y="242"/>
                  </a:cxn>
                  <a:cxn ang="0">
                    <a:pos x="29" y="237"/>
                  </a:cxn>
                  <a:cxn ang="0">
                    <a:pos x="27" y="215"/>
                  </a:cxn>
                  <a:cxn ang="0">
                    <a:pos x="25" y="201"/>
                  </a:cxn>
                  <a:cxn ang="0">
                    <a:pos x="10" y="201"/>
                  </a:cxn>
                  <a:cxn ang="0">
                    <a:pos x="0" y="187"/>
                  </a:cxn>
                </a:cxnLst>
                <a:rect l="0" t="0" r="r" b="b"/>
                <a:pathLst>
                  <a:path w="185" h="250">
                    <a:moveTo>
                      <a:pt x="0" y="187"/>
                    </a:moveTo>
                    <a:lnTo>
                      <a:pt x="0" y="186"/>
                    </a:lnTo>
                    <a:lnTo>
                      <a:pt x="7" y="179"/>
                    </a:lnTo>
                    <a:lnTo>
                      <a:pt x="10" y="172"/>
                    </a:lnTo>
                    <a:lnTo>
                      <a:pt x="9" y="167"/>
                    </a:lnTo>
                    <a:lnTo>
                      <a:pt x="9" y="162"/>
                    </a:lnTo>
                    <a:lnTo>
                      <a:pt x="12" y="161"/>
                    </a:lnTo>
                    <a:lnTo>
                      <a:pt x="12" y="157"/>
                    </a:lnTo>
                    <a:lnTo>
                      <a:pt x="15" y="154"/>
                    </a:lnTo>
                    <a:lnTo>
                      <a:pt x="20" y="152"/>
                    </a:lnTo>
                    <a:lnTo>
                      <a:pt x="22" y="151"/>
                    </a:lnTo>
                    <a:lnTo>
                      <a:pt x="29" y="146"/>
                    </a:lnTo>
                    <a:lnTo>
                      <a:pt x="29" y="141"/>
                    </a:lnTo>
                    <a:lnTo>
                      <a:pt x="30" y="139"/>
                    </a:lnTo>
                    <a:lnTo>
                      <a:pt x="35" y="137"/>
                    </a:lnTo>
                    <a:lnTo>
                      <a:pt x="37" y="136"/>
                    </a:lnTo>
                    <a:lnTo>
                      <a:pt x="39" y="136"/>
                    </a:lnTo>
                    <a:lnTo>
                      <a:pt x="45" y="139"/>
                    </a:lnTo>
                    <a:lnTo>
                      <a:pt x="47" y="137"/>
                    </a:lnTo>
                    <a:lnTo>
                      <a:pt x="52" y="141"/>
                    </a:lnTo>
                    <a:lnTo>
                      <a:pt x="55" y="144"/>
                    </a:lnTo>
                    <a:lnTo>
                      <a:pt x="59" y="147"/>
                    </a:lnTo>
                    <a:lnTo>
                      <a:pt x="62" y="149"/>
                    </a:lnTo>
                    <a:lnTo>
                      <a:pt x="67" y="146"/>
                    </a:lnTo>
                    <a:lnTo>
                      <a:pt x="70" y="141"/>
                    </a:lnTo>
                    <a:lnTo>
                      <a:pt x="70" y="139"/>
                    </a:lnTo>
                    <a:lnTo>
                      <a:pt x="72" y="136"/>
                    </a:lnTo>
                    <a:lnTo>
                      <a:pt x="75" y="136"/>
                    </a:lnTo>
                    <a:lnTo>
                      <a:pt x="79" y="131"/>
                    </a:lnTo>
                    <a:lnTo>
                      <a:pt x="79" y="127"/>
                    </a:lnTo>
                    <a:lnTo>
                      <a:pt x="80" y="122"/>
                    </a:lnTo>
                    <a:lnTo>
                      <a:pt x="89" y="116"/>
                    </a:lnTo>
                    <a:lnTo>
                      <a:pt x="89" y="112"/>
                    </a:lnTo>
                    <a:lnTo>
                      <a:pt x="87" y="109"/>
                    </a:lnTo>
                    <a:lnTo>
                      <a:pt x="90" y="106"/>
                    </a:lnTo>
                    <a:lnTo>
                      <a:pt x="97" y="101"/>
                    </a:lnTo>
                    <a:lnTo>
                      <a:pt x="102" y="98"/>
                    </a:lnTo>
                    <a:lnTo>
                      <a:pt x="102" y="93"/>
                    </a:lnTo>
                    <a:lnTo>
                      <a:pt x="103" y="89"/>
                    </a:lnTo>
                    <a:lnTo>
                      <a:pt x="102" y="83"/>
                    </a:lnTo>
                    <a:lnTo>
                      <a:pt x="105" y="79"/>
                    </a:lnTo>
                    <a:lnTo>
                      <a:pt x="112" y="78"/>
                    </a:lnTo>
                    <a:lnTo>
                      <a:pt x="117" y="73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20" y="54"/>
                    </a:lnTo>
                    <a:lnTo>
                      <a:pt x="123" y="48"/>
                    </a:lnTo>
                    <a:lnTo>
                      <a:pt x="127" y="46"/>
                    </a:lnTo>
                    <a:lnTo>
                      <a:pt x="127" y="44"/>
                    </a:lnTo>
                    <a:lnTo>
                      <a:pt x="132" y="41"/>
                    </a:lnTo>
                    <a:lnTo>
                      <a:pt x="135" y="41"/>
                    </a:lnTo>
                    <a:lnTo>
                      <a:pt x="137" y="38"/>
                    </a:lnTo>
                    <a:lnTo>
                      <a:pt x="143" y="34"/>
                    </a:lnTo>
                    <a:lnTo>
                      <a:pt x="143" y="33"/>
                    </a:lnTo>
                    <a:lnTo>
                      <a:pt x="142" y="26"/>
                    </a:lnTo>
                    <a:lnTo>
                      <a:pt x="142" y="24"/>
                    </a:lnTo>
                    <a:lnTo>
                      <a:pt x="140" y="21"/>
                    </a:lnTo>
                    <a:lnTo>
                      <a:pt x="135" y="19"/>
                    </a:lnTo>
                    <a:lnTo>
                      <a:pt x="133" y="16"/>
                    </a:lnTo>
                    <a:lnTo>
                      <a:pt x="133" y="9"/>
                    </a:lnTo>
                    <a:lnTo>
                      <a:pt x="133" y="6"/>
                    </a:lnTo>
                    <a:lnTo>
                      <a:pt x="132" y="0"/>
                    </a:lnTo>
                    <a:lnTo>
                      <a:pt x="143" y="6"/>
                    </a:lnTo>
                    <a:lnTo>
                      <a:pt x="148" y="9"/>
                    </a:lnTo>
                    <a:lnTo>
                      <a:pt x="150" y="16"/>
                    </a:lnTo>
                    <a:lnTo>
                      <a:pt x="152" y="18"/>
                    </a:lnTo>
                    <a:lnTo>
                      <a:pt x="153" y="23"/>
                    </a:lnTo>
                    <a:lnTo>
                      <a:pt x="155" y="28"/>
                    </a:lnTo>
                    <a:lnTo>
                      <a:pt x="155" y="31"/>
                    </a:lnTo>
                    <a:lnTo>
                      <a:pt x="155" y="33"/>
                    </a:lnTo>
                    <a:lnTo>
                      <a:pt x="153" y="36"/>
                    </a:lnTo>
                    <a:lnTo>
                      <a:pt x="157" y="38"/>
                    </a:lnTo>
                    <a:lnTo>
                      <a:pt x="155" y="44"/>
                    </a:lnTo>
                    <a:lnTo>
                      <a:pt x="152" y="46"/>
                    </a:lnTo>
                    <a:lnTo>
                      <a:pt x="152" y="51"/>
                    </a:lnTo>
                    <a:lnTo>
                      <a:pt x="157" y="56"/>
                    </a:lnTo>
                    <a:lnTo>
                      <a:pt x="160" y="58"/>
                    </a:lnTo>
                    <a:lnTo>
                      <a:pt x="162" y="63"/>
                    </a:lnTo>
                    <a:lnTo>
                      <a:pt x="168" y="68"/>
                    </a:lnTo>
                    <a:lnTo>
                      <a:pt x="170" y="69"/>
                    </a:lnTo>
                    <a:lnTo>
                      <a:pt x="168" y="71"/>
                    </a:lnTo>
                    <a:lnTo>
                      <a:pt x="165" y="69"/>
                    </a:lnTo>
                    <a:lnTo>
                      <a:pt x="162" y="68"/>
                    </a:lnTo>
                    <a:lnTo>
                      <a:pt x="157" y="68"/>
                    </a:lnTo>
                    <a:lnTo>
                      <a:pt x="153" y="68"/>
                    </a:lnTo>
                    <a:lnTo>
                      <a:pt x="150" y="68"/>
                    </a:lnTo>
                    <a:lnTo>
                      <a:pt x="145" y="68"/>
                    </a:lnTo>
                    <a:lnTo>
                      <a:pt x="143" y="68"/>
                    </a:lnTo>
                    <a:lnTo>
                      <a:pt x="138" y="68"/>
                    </a:lnTo>
                    <a:lnTo>
                      <a:pt x="135" y="68"/>
                    </a:lnTo>
                    <a:lnTo>
                      <a:pt x="135" y="71"/>
                    </a:lnTo>
                    <a:lnTo>
                      <a:pt x="133" y="74"/>
                    </a:lnTo>
                    <a:lnTo>
                      <a:pt x="133" y="78"/>
                    </a:lnTo>
                    <a:lnTo>
                      <a:pt x="135" y="79"/>
                    </a:lnTo>
                    <a:lnTo>
                      <a:pt x="137" y="81"/>
                    </a:lnTo>
                    <a:lnTo>
                      <a:pt x="137" y="84"/>
                    </a:lnTo>
                    <a:lnTo>
                      <a:pt x="142" y="86"/>
                    </a:lnTo>
                    <a:lnTo>
                      <a:pt x="150" y="93"/>
                    </a:lnTo>
                    <a:lnTo>
                      <a:pt x="158" y="101"/>
                    </a:lnTo>
                    <a:lnTo>
                      <a:pt x="163" y="104"/>
                    </a:lnTo>
                    <a:lnTo>
                      <a:pt x="167" y="109"/>
                    </a:lnTo>
                    <a:lnTo>
                      <a:pt x="170" y="116"/>
                    </a:lnTo>
                    <a:lnTo>
                      <a:pt x="172" y="121"/>
                    </a:lnTo>
                    <a:lnTo>
                      <a:pt x="167" y="126"/>
                    </a:lnTo>
                    <a:lnTo>
                      <a:pt x="163" y="127"/>
                    </a:lnTo>
                    <a:lnTo>
                      <a:pt x="160" y="132"/>
                    </a:lnTo>
                    <a:lnTo>
                      <a:pt x="157" y="139"/>
                    </a:lnTo>
                    <a:lnTo>
                      <a:pt x="153" y="144"/>
                    </a:lnTo>
                    <a:lnTo>
                      <a:pt x="148" y="151"/>
                    </a:lnTo>
                    <a:lnTo>
                      <a:pt x="147" y="151"/>
                    </a:lnTo>
                    <a:lnTo>
                      <a:pt x="143" y="154"/>
                    </a:lnTo>
                    <a:lnTo>
                      <a:pt x="145" y="159"/>
                    </a:lnTo>
                    <a:lnTo>
                      <a:pt x="147" y="166"/>
                    </a:lnTo>
                    <a:lnTo>
                      <a:pt x="145" y="171"/>
                    </a:lnTo>
                    <a:lnTo>
                      <a:pt x="147" y="176"/>
                    </a:lnTo>
                    <a:lnTo>
                      <a:pt x="148" y="181"/>
                    </a:lnTo>
                    <a:lnTo>
                      <a:pt x="148" y="189"/>
                    </a:lnTo>
                    <a:lnTo>
                      <a:pt x="150" y="191"/>
                    </a:lnTo>
                    <a:lnTo>
                      <a:pt x="157" y="194"/>
                    </a:lnTo>
                    <a:lnTo>
                      <a:pt x="162" y="199"/>
                    </a:lnTo>
                    <a:lnTo>
                      <a:pt x="163" y="204"/>
                    </a:lnTo>
                    <a:lnTo>
                      <a:pt x="168" y="210"/>
                    </a:lnTo>
                    <a:lnTo>
                      <a:pt x="172" y="217"/>
                    </a:lnTo>
                    <a:lnTo>
                      <a:pt x="175" y="220"/>
                    </a:lnTo>
                    <a:lnTo>
                      <a:pt x="183" y="225"/>
                    </a:lnTo>
                    <a:lnTo>
                      <a:pt x="183" y="230"/>
                    </a:lnTo>
                    <a:lnTo>
                      <a:pt x="183" y="234"/>
                    </a:lnTo>
                    <a:lnTo>
                      <a:pt x="185" y="235"/>
                    </a:lnTo>
                    <a:lnTo>
                      <a:pt x="185" y="235"/>
                    </a:lnTo>
                    <a:lnTo>
                      <a:pt x="185" y="237"/>
                    </a:lnTo>
                    <a:lnTo>
                      <a:pt x="183" y="239"/>
                    </a:lnTo>
                    <a:lnTo>
                      <a:pt x="180" y="244"/>
                    </a:lnTo>
                    <a:lnTo>
                      <a:pt x="180" y="245"/>
                    </a:lnTo>
                    <a:lnTo>
                      <a:pt x="182" y="249"/>
                    </a:lnTo>
                    <a:lnTo>
                      <a:pt x="182" y="250"/>
                    </a:lnTo>
                    <a:lnTo>
                      <a:pt x="178" y="250"/>
                    </a:lnTo>
                    <a:lnTo>
                      <a:pt x="178" y="249"/>
                    </a:lnTo>
                    <a:lnTo>
                      <a:pt x="175" y="250"/>
                    </a:lnTo>
                    <a:lnTo>
                      <a:pt x="173" y="249"/>
                    </a:lnTo>
                    <a:lnTo>
                      <a:pt x="172" y="249"/>
                    </a:lnTo>
                    <a:lnTo>
                      <a:pt x="167" y="249"/>
                    </a:lnTo>
                    <a:lnTo>
                      <a:pt x="165" y="249"/>
                    </a:lnTo>
                    <a:lnTo>
                      <a:pt x="162" y="247"/>
                    </a:lnTo>
                    <a:lnTo>
                      <a:pt x="158" y="247"/>
                    </a:lnTo>
                    <a:lnTo>
                      <a:pt x="158" y="247"/>
                    </a:lnTo>
                    <a:lnTo>
                      <a:pt x="157" y="249"/>
                    </a:lnTo>
                    <a:lnTo>
                      <a:pt x="155" y="247"/>
                    </a:lnTo>
                    <a:lnTo>
                      <a:pt x="152" y="245"/>
                    </a:lnTo>
                    <a:lnTo>
                      <a:pt x="148" y="247"/>
                    </a:lnTo>
                    <a:lnTo>
                      <a:pt x="147" y="244"/>
                    </a:lnTo>
                    <a:lnTo>
                      <a:pt x="145" y="244"/>
                    </a:lnTo>
                    <a:lnTo>
                      <a:pt x="143" y="245"/>
                    </a:lnTo>
                    <a:lnTo>
                      <a:pt x="140" y="244"/>
                    </a:lnTo>
                    <a:lnTo>
                      <a:pt x="110" y="244"/>
                    </a:lnTo>
                    <a:lnTo>
                      <a:pt x="108" y="242"/>
                    </a:lnTo>
                    <a:lnTo>
                      <a:pt x="107" y="242"/>
                    </a:lnTo>
                    <a:lnTo>
                      <a:pt x="105" y="242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5" y="240"/>
                    </a:lnTo>
                    <a:lnTo>
                      <a:pt x="90" y="242"/>
                    </a:lnTo>
                    <a:lnTo>
                      <a:pt x="89" y="240"/>
                    </a:lnTo>
                    <a:lnTo>
                      <a:pt x="82" y="240"/>
                    </a:lnTo>
                    <a:lnTo>
                      <a:pt x="79" y="240"/>
                    </a:lnTo>
                    <a:lnTo>
                      <a:pt x="72" y="240"/>
                    </a:lnTo>
                    <a:lnTo>
                      <a:pt x="70" y="242"/>
                    </a:lnTo>
                    <a:lnTo>
                      <a:pt x="67" y="242"/>
                    </a:lnTo>
                    <a:lnTo>
                      <a:pt x="65" y="242"/>
                    </a:lnTo>
                    <a:lnTo>
                      <a:pt x="65" y="244"/>
                    </a:lnTo>
                    <a:lnTo>
                      <a:pt x="65" y="244"/>
                    </a:lnTo>
                    <a:lnTo>
                      <a:pt x="35" y="244"/>
                    </a:lnTo>
                    <a:lnTo>
                      <a:pt x="34" y="242"/>
                    </a:lnTo>
                    <a:lnTo>
                      <a:pt x="32" y="242"/>
                    </a:lnTo>
                    <a:lnTo>
                      <a:pt x="29" y="244"/>
                    </a:lnTo>
                    <a:lnTo>
                      <a:pt x="32" y="240"/>
                    </a:lnTo>
                    <a:lnTo>
                      <a:pt x="29" y="237"/>
                    </a:lnTo>
                    <a:lnTo>
                      <a:pt x="32" y="229"/>
                    </a:lnTo>
                    <a:lnTo>
                      <a:pt x="30" y="220"/>
                    </a:lnTo>
                    <a:lnTo>
                      <a:pt x="27" y="215"/>
                    </a:lnTo>
                    <a:lnTo>
                      <a:pt x="27" y="209"/>
                    </a:lnTo>
                    <a:lnTo>
                      <a:pt x="29" y="205"/>
                    </a:lnTo>
                    <a:lnTo>
                      <a:pt x="25" y="201"/>
                    </a:lnTo>
                    <a:lnTo>
                      <a:pt x="17" y="204"/>
                    </a:lnTo>
                    <a:lnTo>
                      <a:pt x="15" y="201"/>
                    </a:lnTo>
                    <a:lnTo>
                      <a:pt x="10" y="201"/>
                    </a:lnTo>
                    <a:lnTo>
                      <a:pt x="9" y="187"/>
                    </a:lnTo>
                    <a:lnTo>
                      <a:pt x="4" y="189"/>
                    </a:lnTo>
                    <a:lnTo>
                      <a:pt x="0" y="18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1" name="Freeform 124">
                <a:extLst>
                  <a:ext uri="{FF2B5EF4-FFF2-40B4-BE49-F238E27FC236}">
                    <a16:creationId xmlns:a16="http://schemas.microsoft.com/office/drawing/2014/main" id="{26FB1CE9-F6E3-2E46-975B-D92A47AD2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8461" y="3244812"/>
                <a:ext cx="73847" cy="70556"/>
              </a:xfrm>
              <a:custGeom>
                <a:avLst/>
                <a:gdLst/>
                <a:ahLst/>
                <a:cxnLst>
                  <a:cxn ang="0">
                    <a:pos x="63" y="2"/>
                  </a:cxn>
                  <a:cxn ang="0">
                    <a:pos x="68" y="2"/>
                  </a:cxn>
                  <a:cxn ang="0">
                    <a:pos x="77" y="0"/>
                  </a:cxn>
                  <a:cxn ang="0">
                    <a:pos x="87" y="0"/>
                  </a:cxn>
                  <a:cxn ang="0">
                    <a:pos x="93" y="0"/>
                  </a:cxn>
                  <a:cxn ang="0">
                    <a:pos x="96" y="2"/>
                  </a:cxn>
                  <a:cxn ang="0">
                    <a:pos x="105" y="2"/>
                  </a:cxn>
                  <a:cxn ang="0">
                    <a:pos x="108" y="4"/>
                  </a:cxn>
                  <a:cxn ang="0">
                    <a:pos x="106" y="7"/>
                  </a:cxn>
                  <a:cxn ang="0">
                    <a:pos x="108" y="17"/>
                  </a:cxn>
                  <a:cxn ang="0">
                    <a:pos x="108" y="24"/>
                  </a:cxn>
                  <a:cxn ang="0">
                    <a:pos x="115" y="24"/>
                  </a:cxn>
                  <a:cxn ang="0">
                    <a:pos x="123" y="22"/>
                  </a:cxn>
                  <a:cxn ang="0">
                    <a:pos x="136" y="20"/>
                  </a:cxn>
                  <a:cxn ang="0">
                    <a:pos x="138" y="29"/>
                  </a:cxn>
                  <a:cxn ang="0">
                    <a:pos x="138" y="34"/>
                  </a:cxn>
                  <a:cxn ang="0">
                    <a:pos x="133" y="39"/>
                  </a:cxn>
                  <a:cxn ang="0">
                    <a:pos x="128" y="45"/>
                  </a:cxn>
                  <a:cxn ang="0">
                    <a:pos x="130" y="49"/>
                  </a:cxn>
                  <a:cxn ang="0">
                    <a:pos x="128" y="50"/>
                  </a:cxn>
                  <a:cxn ang="0">
                    <a:pos x="125" y="54"/>
                  </a:cxn>
                  <a:cxn ang="0">
                    <a:pos x="128" y="57"/>
                  </a:cxn>
                  <a:cxn ang="0">
                    <a:pos x="131" y="60"/>
                  </a:cxn>
                  <a:cxn ang="0">
                    <a:pos x="136" y="65"/>
                  </a:cxn>
                  <a:cxn ang="0">
                    <a:pos x="138" y="72"/>
                  </a:cxn>
                  <a:cxn ang="0">
                    <a:pos x="130" y="97"/>
                  </a:cxn>
                  <a:cxn ang="0">
                    <a:pos x="131" y="105"/>
                  </a:cxn>
                  <a:cxn ang="0">
                    <a:pos x="126" y="102"/>
                  </a:cxn>
                  <a:cxn ang="0">
                    <a:pos x="116" y="100"/>
                  </a:cxn>
                  <a:cxn ang="0">
                    <a:pos x="111" y="102"/>
                  </a:cxn>
                  <a:cxn ang="0">
                    <a:pos x="101" y="98"/>
                  </a:cxn>
                  <a:cxn ang="0">
                    <a:pos x="93" y="90"/>
                  </a:cxn>
                  <a:cxn ang="0">
                    <a:pos x="92" y="98"/>
                  </a:cxn>
                  <a:cxn ang="0">
                    <a:pos x="83" y="102"/>
                  </a:cxn>
                  <a:cxn ang="0">
                    <a:pos x="78" y="103"/>
                  </a:cxn>
                  <a:cxn ang="0">
                    <a:pos x="70" y="103"/>
                  </a:cxn>
                  <a:cxn ang="0">
                    <a:pos x="63" y="107"/>
                  </a:cxn>
                  <a:cxn ang="0">
                    <a:pos x="65" y="113"/>
                  </a:cxn>
                  <a:cxn ang="0">
                    <a:pos x="72" y="112"/>
                  </a:cxn>
                  <a:cxn ang="0">
                    <a:pos x="78" y="117"/>
                  </a:cxn>
                  <a:cxn ang="0">
                    <a:pos x="78" y="130"/>
                  </a:cxn>
                  <a:cxn ang="0">
                    <a:pos x="70" y="125"/>
                  </a:cxn>
                  <a:cxn ang="0">
                    <a:pos x="63" y="128"/>
                  </a:cxn>
                  <a:cxn ang="0">
                    <a:pos x="62" y="132"/>
                  </a:cxn>
                  <a:cxn ang="0">
                    <a:pos x="57" y="137"/>
                  </a:cxn>
                  <a:cxn ang="0">
                    <a:pos x="52" y="130"/>
                  </a:cxn>
                  <a:cxn ang="0">
                    <a:pos x="40" y="122"/>
                  </a:cxn>
                  <a:cxn ang="0">
                    <a:pos x="23" y="108"/>
                  </a:cxn>
                  <a:cxn ang="0">
                    <a:pos x="18" y="102"/>
                  </a:cxn>
                  <a:cxn ang="0">
                    <a:pos x="13" y="93"/>
                  </a:cxn>
                  <a:cxn ang="0">
                    <a:pos x="8" y="82"/>
                  </a:cxn>
                  <a:cxn ang="0">
                    <a:pos x="5" y="77"/>
                  </a:cxn>
                  <a:cxn ang="0">
                    <a:pos x="0" y="65"/>
                  </a:cxn>
                  <a:cxn ang="0">
                    <a:pos x="12" y="63"/>
                  </a:cxn>
                  <a:cxn ang="0">
                    <a:pos x="13" y="45"/>
                  </a:cxn>
                  <a:cxn ang="0">
                    <a:pos x="27" y="45"/>
                  </a:cxn>
                  <a:cxn ang="0">
                    <a:pos x="13" y="37"/>
                  </a:cxn>
                  <a:cxn ang="0">
                    <a:pos x="20" y="30"/>
                  </a:cxn>
                  <a:cxn ang="0">
                    <a:pos x="25" y="29"/>
                  </a:cxn>
                  <a:cxn ang="0">
                    <a:pos x="30" y="29"/>
                  </a:cxn>
                  <a:cxn ang="0">
                    <a:pos x="63" y="4"/>
                  </a:cxn>
                </a:cxnLst>
                <a:rect l="0" t="0" r="r" b="b"/>
                <a:pathLst>
                  <a:path w="138" h="137">
                    <a:moveTo>
                      <a:pt x="63" y="4"/>
                    </a:moveTo>
                    <a:lnTo>
                      <a:pt x="63" y="2"/>
                    </a:lnTo>
                    <a:lnTo>
                      <a:pt x="65" y="2"/>
                    </a:lnTo>
                    <a:lnTo>
                      <a:pt x="68" y="2"/>
                    </a:lnTo>
                    <a:lnTo>
                      <a:pt x="70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7" y="0"/>
                    </a:lnTo>
                    <a:lnTo>
                      <a:pt x="88" y="2"/>
                    </a:lnTo>
                    <a:lnTo>
                      <a:pt x="93" y="0"/>
                    </a:lnTo>
                    <a:lnTo>
                      <a:pt x="96" y="0"/>
                    </a:lnTo>
                    <a:lnTo>
                      <a:pt x="96" y="2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6" y="7"/>
                    </a:lnTo>
                    <a:lnTo>
                      <a:pt x="108" y="12"/>
                    </a:lnTo>
                    <a:lnTo>
                      <a:pt x="108" y="17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10" y="25"/>
                    </a:lnTo>
                    <a:lnTo>
                      <a:pt x="115" y="24"/>
                    </a:lnTo>
                    <a:lnTo>
                      <a:pt x="118" y="24"/>
                    </a:lnTo>
                    <a:lnTo>
                      <a:pt x="123" y="22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38" y="22"/>
                    </a:lnTo>
                    <a:lnTo>
                      <a:pt x="138" y="29"/>
                    </a:lnTo>
                    <a:lnTo>
                      <a:pt x="136" y="32"/>
                    </a:lnTo>
                    <a:lnTo>
                      <a:pt x="138" y="34"/>
                    </a:lnTo>
                    <a:lnTo>
                      <a:pt x="138" y="39"/>
                    </a:lnTo>
                    <a:lnTo>
                      <a:pt x="133" y="39"/>
                    </a:lnTo>
                    <a:lnTo>
                      <a:pt x="128" y="42"/>
                    </a:lnTo>
                    <a:lnTo>
                      <a:pt x="128" y="45"/>
                    </a:lnTo>
                    <a:lnTo>
                      <a:pt x="130" y="45"/>
                    </a:lnTo>
                    <a:lnTo>
                      <a:pt x="130" y="49"/>
                    </a:lnTo>
                    <a:lnTo>
                      <a:pt x="130" y="49"/>
                    </a:lnTo>
                    <a:lnTo>
                      <a:pt x="128" y="50"/>
                    </a:lnTo>
                    <a:lnTo>
                      <a:pt x="125" y="52"/>
                    </a:lnTo>
                    <a:lnTo>
                      <a:pt x="125" y="54"/>
                    </a:lnTo>
                    <a:lnTo>
                      <a:pt x="126" y="55"/>
                    </a:lnTo>
                    <a:lnTo>
                      <a:pt x="128" y="57"/>
                    </a:lnTo>
                    <a:lnTo>
                      <a:pt x="130" y="59"/>
                    </a:lnTo>
                    <a:lnTo>
                      <a:pt x="131" y="60"/>
                    </a:lnTo>
                    <a:lnTo>
                      <a:pt x="135" y="63"/>
                    </a:lnTo>
                    <a:lnTo>
                      <a:pt x="136" y="65"/>
                    </a:lnTo>
                    <a:lnTo>
                      <a:pt x="138" y="67"/>
                    </a:lnTo>
                    <a:lnTo>
                      <a:pt x="138" y="72"/>
                    </a:lnTo>
                    <a:lnTo>
                      <a:pt x="136" y="80"/>
                    </a:lnTo>
                    <a:lnTo>
                      <a:pt x="130" y="97"/>
                    </a:lnTo>
                    <a:lnTo>
                      <a:pt x="131" y="100"/>
                    </a:lnTo>
                    <a:lnTo>
                      <a:pt x="131" y="105"/>
                    </a:lnTo>
                    <a:lnTo>
                      <a:pt x="128" y="105"/>
                    </a:lnTo>
                    <a:lnTo>
                      <a:pt x="126" y="102"/>
                    </a:lnTo>
                    <a:lnTo>
                      <a:pt x="123" y="100"/>
                    </a:lnTo>
                    <a:lnTo>
                      <a:pt x="116" y="100"/>
                    </a:lnTo>
                    <a:lnTo>
                      <a:pt x="115" y="102"/>
                    </a:lnTo>
                    <a:lnTo>
                      <a:pt x="111" y="102"/>
                    </a:lnTo>
                    <a:lnTo>
                      <a:pt x="105" y="103"/>
                    </a:lnTo>
                    <a:lnTo>
                      <a:pt x="101" y="98"/>
                    </a:lnTo>
                    <a:lnTo>
                      <a:pt x="98" y="90"/>
                    </a:lnTo>
                    <a:lnTo>
                      <a:pt x="93" y="90"/>
                    </a:lnTo>
                    <a:lnTo>
                      <a:pt x="92" y="92"/>
                    </a:lnTo>
                    <a:lnTo>
                      <a:pt x="92" y="98"/>
                    </a:lnTo>
                    <a:lnTo>
                      <a:pt x="92" y="102"/>
                    </a:lnTo>
                    <a:lnTo>
                      <a:pt x="83" y="102"/>
                    </a:lnTo>
                    <a:lnTo>
                      <a:pt x="78" y="102"/>
                    </a:lnTo>
                    <a:lnTo>
                      <a:pt x="78" y="103"/>
                    </a:lnTo>
                    <a:lnTo>
                      <a:pt x="75" y="105"/>
                    </a:lnTo>
                    <a:lnTo>
                      <a:pt x="70" y="103"/>
                    </a:lnTo>
                    <a:lnTo>
                      <a:pt x="65" y="103"/>
                    </a:lnTo>
                    <a:lnTo>
                      <a:pt x="63" y="107"/>
                    </a:lnTo>
                    <a:lnTo>
                      <a:pt x="65" y="108"/>
                    </a:lnTo>
                    <a:lnTo>
                      <a:pt x="65" y="113"/>
                    </a:lnTo>
                    <a:lnTo>
                      <a:pt x="68" y="112"/>
                    </a:lnTo>
                    <a:lnTo>
                      <a:pt x="72" y="112"/>
                    </a:lnTo>
                    <a:lnTo>
                      <a:pt x="75" y="113"/>
                    </a:lnTo>
                    <a:lnTo>
                      <a:pt x="78" y="117"/>
                    </a:lnTo>
                    <a:lnTo>
                      <a:pt x="78" y="127"/>
                    </a:lnTo>
                    <a:lnTo>
                      <a:pt x="78" y="130"/>
                    </a:lnTo>
                    <a:lnTo>
                      <a:pt x="72" y="125"/>
                    </a:lnTo>
                    <a:lnTo>
                      <a:pt x="70" y="125"/>
                    </a:lnTo>
                    <a:lnTo>
                      <a:pt x="68" y="128"/>
                    </a:lnTo>
                    <a:lnTo>
                      <a:pt x="63" y="128"/>
                    </a:lnTo>
                    <a:lnTo>
                      <a:pt x="62" y="130"/>
                    </a:lnTo>
                    <a:lnTo>
                      <a:pt x="62" y="132"/>
                    </a:lnTo>
                    <a:lnTo>
                      <a:pt x="58" y="137"/>
                    </a:lnTo>
                    <a:lnTo>
                      <a:pt x="57" y="137"/>
                    </a:lnTo>
                    <a:lnTo>
                      <a:pt x="53" y="135"/>
                    </a:lnTo>
                    <a:lnTo>
                      <a:pt x="52" y="130"/>
                    </a:lnTo>
                    <a:lnTo>
                      <a:pt x="43" y="127"/>
                    </a:lnTo>
                    <a:lnTo>
                      <a:pt x="40" y="122"/>
                    </a:lnTo>
                    <a:lnTo>
                      <a:pt x="30" y="113"/>
                    </a:lnTo>
                    <a:lnTo>
                      <a:pt x="23" y="108"/>
                    </a:lnTo>
                    <a:lnTo>
                      <a:pt x="25" y="107"/>
                    </a:lnTo>
                    <a:lnTo>
                      <a:pt x="18" y="102"/>
                    </a:lnTo>
                    <a:lnTo>
                      <a:pt x="17" y="97"/>
                    </a:lnTo>
                    <a:lnTo>
                      <a:pt x="13" y="93"/>
                    </a:lnTo>
                    <a:lnTo>
                      <a:pt x="13" y="87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5" y="77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7" y="67"/>
                    </a:lnTo>
                    <a:lnTo>
                      <a:pt x="12" y="63"/>
                    </a:lnTo>
                    <a:lnTo>
                      <a:pt x="12" y="50"/>
                    </a:lnTo>
                    <a:lnTo>
                      <a:pt x="13" y="45"/>
                    </a:lnTo>
                    <a:lnTo>
                      <a:pt x="15" y="47"/>
                    </a:lnTo>
                    <a:lnTo>
                      <a:pt x="27" y="45"/>
                    </a:lnTo>
                    <a:lnTo>
                      <a:pt x="18" y="44"/>
                    </a:lnTo>
                    <a:lnTo>
                      <a:pt x="13" y="37"/>
                    </a:lnTo>
                    <a:lnTo>
                      <a:pt x="18" y="35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5" y="29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63" y="30"/>
                    </a:lnTo>
                    <a:lnTo>
                      <a:pt x="63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2" name="Freeform 125">
                <a:extLst>
                  <a:ext uri="{FF2B5EF4-FFF2-40B4-BE49-F238E27FC236}">
                    <a16:creationId xmlns:a16="http://schemas.microsoft.com/office/drawing/2014/main" id="{426FFE02-3401-8248-B293-478596FBA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4882" y="3245850"/>
                <a:ext cx="26756" cy="14526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9" y="28"/>
                  </a:cxn>
                  <a:cxn ang="0">
                    <a:pos x="12" y="27"/>
                  </a:cxn>
                  <a:cxn ang="0">
                    <a:pos x="15" y="27"/>
                  </a:cxn>
                  <a:cxn ang="0">
                    <a:pos x="17" y="27"/>
                  </a:cxn>
                  <a:cxn ang="0">
                    <a:pos x="50" y="28"/>
                  </a:cxn>
                  <a:cxn ang="0">
                    <a:pos x="50" y="2"/>
                  </a:cxn>
                  <a:cxn ang="0">
                    <a:pos x="20" y="2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4" y="7"/>
                  </a:cxn>
                  <a:cxn ang="0">
                    <a:pos x="7" y="13"/>
                  </a:cxn>
                  <a:cxn ang="0">
                    <a:pos x="0" y="25"/>
                  </a:cxn>
                  <a:cxn ang="0">
                    <a:pos x="7" y="27"/>
                  </a:cxn>
                  <a:cxn ang="0">
                    <a:pos x="7" y="28"/>
                  </a:cxn>
                </a:cxnLst>
                <a:rect l="0" t="0" r="r" b="b"/>
                <a:pathLst>
                  <a:path w="50" h="28">
                    <a:moveTo>
                      <a:pt x="7" y="28"/>
                    </a:moveTo>
                    <a:lnTo>
                      <a:pt x="9" y="28"/>
                    </a:lnTo>
                    <a:lnTo>
                      <a:pt x="12" y="27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50" y="28"/>
                    </a:lnTo>
                    <a:lnTo>
                      <a:pt x="50" y="2"/>
                    </a:lnTo>
                    <a:lnTo>
                      <a:pt x="20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4" y="7"/>
                    </a:lnTo>
                    <a:lnTo>
                      <a:pt x="7" y="13"/>
                    </a:lnTo>
                    <a:lnTo>
                      <a:pt x="0" y="25"/>
                    </a:lnTo>
                    <a:lnTo>
                      <a:pt x="7" y="27"/>
                    </a:lnTo>
                    <a:lnTo>
                      <a:pt x="7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3" name="Freeform 126">
                <a:extLst>
                  <a:ext uri="{FF2B5EF4-FFF2-40B4-BE49-F238E27FC236}">
                    <a16:creationId xmlns:a16="http://schemas.microsoft.com/office/drawing/2014/main" id="{9A7F826F-43AA-5E4C-A93B-5AD0ADD4C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498" y="3226136"/>
                <a:ext cx="99533" cy="102722"/>
              </a:xfrm>
              <a:custGeom>
                <a:avLst/>
                <a:gdLst/>
                <a:ahLst/>
                <a:cxnLst>
                  <a:cxn ang="0">
                    <a:pos x="4" y="165"/>
                  </a:cxn>
                  <a:cxn ang="0">
                    <a:pos x="12" y="160"/>
                  </a:cxn>
                  <a:cxn ang="0">
                    <a:pos x="20" y="162"/>
                  </a:cxn>
                  <a:cxn ang="0">
                    <a:pos x="14" y="147"/>
                  </a:cxn>
                  <a:cxn ang="0">
                    <a:pos x="7" y="143"/>
                  </a:cxn>
                  <a:cxn ang="0">
                    <a:pos x="12" y="138"/>
                  </a:cxn>
                  <a:cxn ang="0">
                    <a:pos x="20" y="137"/>
                  </a:cxn>
                  <a:cxn ang="0">
                    <a:pos x="34" y="133"/>
                  </a:cxn>
                  <a:cxn ang="0">
                    <a:pos x="40" y="125"/>
                  </a:cxn>
                  <a:cxn ang="0">
                    <a:pos x="53" y="137"/>
                  </a:cxn>
                  <a:cxn ang="0">
                    <a:pos x="65" y="135"/>
                  </a:cxn>
                  <a:cxn ang="0">
                    <a:pos x="73" y="140"/>
                  </a:cxn>
                  <a:cxn ang="0">
                    <a:pos x="78" y="115"/>
                  </a:cxn>
                  <a:cxn ang="0">
                    <a:pos x="78" y="100"/>
                  </a:cxn>
                  <a:cxn ang="0">
                    <a:pos x="72" y="94"/>
                  </a:cxn>
                  <a:cxn ang="0">
                    <a:pos x="67" y="89"/>
                  </a:cxn>
                  <a:cxn ang="0">
                    <a:pos x="72" y="84"/>
                  </a:cxn>
                  <a:cxn ang="0">
                    <a:pos x="70" y="80"/>
                  </a:cxn>
                  <a:cxn ang="0">
                    <a:pos x="80" y="74"/>
                  </a:cxn>
                  <a:cxn ang="0">
                    <a:pos x="80" y="64"/>
                  </a:cxn>
                  <a:cxn ang="0">
                    <a:pos x="70" y="55"/>
                  </a:cxn>
                  <a:cxn ang="0">
                    <a:pos x="57" y="59"/>
                  </a:cxn>
                  <a:cxn ang="0">
                    <a:pos x="50" y="55"/>
                  </a:cxn>
                  <a:cxn ang="0">
                    <a:pos x="48" y="42"/>
                  </a:cxn>
                  <a:cxn ang="0">
                    <a:pos x="83" y="40"/>
                  </a:cxn>
                  <a:cxn ang="0">
                    <a:pos x="88" y="42"/>
                  </a:cxn>
                  <a:cxn ang="0">
                    <a:pos x="97" y="44"/>
                  </a:cxn>
                  <a:cxn ang="0">
                    <a:pos x="102" y="42"/>
                  </a:cxn>
                  <a:cxn ang="0">
                    <a:pos x="112" y="44"/>
                  </a:cxn>
                  <a:cxn ang="0">
                    <a:pos x="118" y="44"/>
                  </a:cxn>
                  <a:cxn ang="0">
                    <a:pos x="122" y="44"/>
                  </a:cxn>
                  <a:cxn ang="0">
                    <a:pos x="123" y="34"/>
                  </a:cxn>
                  <a:cxn ang="0">
                    <a:pos x="141" y="9"/>
                  </a:cxn>
                  <a:cxn ang="0">
                    <a:pos x="158" y="2"/>
                  </a:cxn>
                  <a:cxn ang="0">
                    <a:pos x="170" y="0"/>
                  </a:cxn>
                  <a:cxn ang="0">
                    <a:pos x="178" y="4"/>
                  </a:cxn>
                  <a:cxn ang="0">
                    <a:pos x="183" y="4"/>
                  </a:cxn>
                  <a:cxn ang="0">
                    <a:pos x="181" y="20"/>
                  </a:cxn>
                  <a:cxn ang="0">
                    <a:pos x="171" y="44"/>
                  </a:cxn>
                  <a:cxn ang="0">
                    <a:pos x="166" y="57"/>
                  </a:cxn>
                  <a:cxn ang="0">
                    <a:pos x="165" y="74"/>
                  </a:cxn>
                  <a:cxn ang="0">
                    <a:pos x="161" y="82"/>
                  </a:cxn>
                  <a:cxn ang="0">
                    <a:pos x="151" y="108"/>
                  </a:cxn>
                  <a:cxn ang="0">
                    <a:pos x="140" y="112"/>
                  </a:cxn>
                  <a:cxn ang="0">
                    <a:pos x="130" y="125"/>
                  </a:cxn>
                  <a:cxn ang="0">
                    <a:pos x="120" y="142"/>
                  </a:cxn>
                  <a:cxn ang="0">
                    <a:pos x="120" y="162"/>
                  </a:cxn>
                  <a:cxn ang="0">
                    <a:pos x="112" y="173"/>
                  </a:cxn>
                  <a:cxn ang="0">
                    <a:pos x="97" y="187"/>
                  </a:cxn>
                  <a:cxn ang="0">
                    <a:pos x="82" y="192"/>
                  </a:cxn>
                  <a:cxn ang="0">
                    <a:pos x="82" y="182"/>
                  </a:cxn>
                  <a:cxn ang="0">
                    <a:pos x="68" y="185"/>
                  </a:cxn>
                  <a:cxn ang="0">
                    <a:pos x="62" y="190"/>
                  </a:cxn>
                  <a:cxn ang="0">
                    <a:pos x="55" y="190"/>
                  </a:cxn>
                  <a:cxn ang="0">
                    <a:pos x="47" y="190"/>
                  </a:cxn>
                  <a:cxn ang="0">
                    <a:pos x="43" y="183"/>
                  </a:cxn>
                  <a:cxn ang="0">
                    <a:pos x="35" y="185"/>
                  </a:cxn>
                  <a:cxn ang="0">
                    <a:pos x="27" y="192"/>
                  </a:cxn>
                  <a:cxn ang="0">
                    <a:pos x="20" y="198"/>
                  </a:cxn>
                  <a:cxn ang="0">
                    <a:pos x="14" y="187"/>
                  </a:cxn>
                  <a:cxn ang="0">
                    <a:pos x="5" y="177"/>
                  </a:cxn>
                </a:cxnLst>
                <a:rect l="0" t="0" r="r" b="b"/>
                <a:pathLst>
                  <a:path w="186" h="198">
                    <a:moveTo>
                      <a:pt x="0" y="172"/>
                    </a:moveTo>
                    <a:lnTo>
                      <a:pt x="4" y="167"/>
                    </a:lnTo>
                    <a:lnTo>
                      <a:pt x="4" y="165"/>
                    </a:lnTo>
                    <a:lnTo>
                      <a:pt x="5" y="163"/>
                    </a:lnTo>
                    <a:lnTo>
                      <a:pt x="10" y="163"/>
                    </a:lnTo>
                    <a:lnTo>
                      <a:pt x="12" y="160"/>
                    </a:lnTo>
                    <a:lnTo>
                      <a:pt x="14" y="160"/>
                    </a:lnTo>
                    <a:lnTo>
                      <a:pt x="20" y="165"/>
                    </a:lnTo>
                    <a:lnTo>
                      <a:pt x="20" y="162"/>
                    </a:lnTo>
                    <a:lnTo>
                      <a:pt x="20" y="152"/>
                    </a:lnTo>
                    <a:lnTo>
                      <a:pt x="17" y="148"/>
                    </a:lnTo>
                    <a:lnTo>
                      <a:pt x="14" y="147"/>
                    </a:lnTo>
                    <a:lnTo>
                      <a:pt x="10" y="147"/>
                    </a:lnTo>
                    <a:lnTo>
                      <a:pt x="7" y="148"/>
                    </a:lnTo>
                    <a:lnTo>
                      <a:pt x="7" y="143"/>
                    </a:lnTo>
                    <a:lnTo>
                      <a:pt x="5" y="142"/>
                    </a:lnTo>
                    <a:lnTo>
                      <a:pt x="7" y="138"/>
                    </a:lnTo>
                    <a:lnTo>
                      <a:pt x="12" y="138"/>
                    </a:lnTo>
                    <a:lnTo>
                      <a:pt x="17" y="140"/>
                    </a:lnTo>
                    <a:lnTo>
                      <a:pt x="20" y="138"/>
                    </a:lnTo>
                    <a:lnTo>
                      <a:pt x="20" y="137"/>
                    </a:lnTo>
                    <a:lnTo>
                      <a:pt x="25" y="137"/>
                    </a:lnTo>
                    <a:lnTo>
                      <a:pt x="34" y="137"/>
                    </a:lnTo>
                    <a:lnTo>
                      <a:pt x="34" y="133"/>
                    </a:lnTo>
                    <a:lnTo>
                      <a:pt x="34" y="127"/>
                    </a:lnTo>
                    <a:lnTo>
                      <a:pt x="35" y="125"/>
                    </a:lnTo>
                    <a:lnTo>
                      <a:pt x="40" y="125"/>
                    </a:lnTo>
                    <a:lnTo>
                      <a:pt x="43" y="133"/>
                    </a:lnTo>
                    <a:lnTo>
                      <a:pt x="47" y="138"/>
                    </a:lnTo>
                    <a:lnTo>
                      <a:pt x="53" y="137"/>
                    </a:lnTo>
                    <a:lnTo>
                      <a:pt x="57" y="137"/>
                    </a:lnTo>
                    <a:lnTo>
                      <a:pt x="58" y="135"/>
                    </a:lnTo>
                    <a:lnTo>
                      <a:pt x="65" y="135"/>
                    </a:lnTo>
                    <a:lnTo>
                      <a:pt x="68" y="137"/>
                    </a:lnTo>
                    <a:lnTo>
                      <a:pt x="70" y="140"/>
                    </a:lnTo>
                    <a:lnTo>
                      <a:pt x="73" y="140"/>
                    </a:lnTo>
                    <a:lnTo>
                      <a:pt x="73" y="135"/>
                    </a:lnTo>
                    <a:lnTo>
                      <a:pt x="72" y="132"/>
                    </a:lnTo>
                    <a:lnTo>
                      <a:pt x="78" y="115"/>
                    </a:lnTo>
                    <a:lnTo>
                      <a:pt x="80" y="107"/>
                    </a:lnTo>
                    <a:lnTo>
                      <a:pt x="80" y="102"/>
                    </a:lnTo>
                    <a:lnTo>
                      <a:pt x="78" y="100"/>
                    </a:lnTo>
                    <a:lnTo>
                      <a:pt x="77" y="98"/>
                    </a:lnTo>
                    <a:lnTo>
                      <a:pt x="73" y="95"/>
                    </a:lnTo>
                    <a:lnTo>
                      <a:pt x="72" y="94"/>
                    </a:lnTo>
                    <a:lnTo>
                      <a:pt x="70" y="92"/>
                    </a:lnTo>
                    <a:lnTo>
                      <a:pt x="68" y="90"/>
                    </a:lnTo>
                    <a:lnTo>
                      <a:pt x="67" y="89"/>
                    </a:lnTo>
                    <a:lnTo>
                      <a:pt x="67" y="87"/>
                    </a:lnTo>
                    <a:lnTo>
                      <a:pt x="70" y="85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0"/>
                    </a:lnTo>
                    <a:lnTo>
                      <a:pt x="70" y="80"/>
                    </a:lnTo>
                    <a:lnTo>
                      <a:pt x="70" y="77"/>
                    </a:lnTo>
                    <a:lnTo>
                      <a:pt x="75" y="74"/>
                    </a:lnTo>
                    <a:lnTo>
                      <a:pt x="80" y="74"/>
                    </a:lnTo>
                    <a:lnTo>
                      <a:pt x="80" y="69"/>
                    </a:lnTo>
                    <a:lnTo>
                      <a:pt x="78" y="67"/>
                    </a:lnTo>
                    <a:lnTo>
                      <a:pt x="80" y="64"/>
                    </a:lnTo>
                    <a:lnTo>
                      <a:pt x="80" y="57"/>
                    </a:lnTo>
                    <a:lnTo>
                      <a:pt x="78" y="55"/>
                    </a:lnTo>
                    <a:lnTo>
                      <a:pt x="70" y="55"/>
                    </a:lnTo>
                    <a:lnTo>
                      <a:pt x="65" y="57"/>
                    </a:lnTo>
                    <a:lnTo>
                      <a:pt x="60" y="59"/>
                    </a:lnTo>
                    <a:lnTo>
                      <a:pt x="57" y="59"/>
                    </a:lnTo>
                    <a:lnTo>
                      <a:pt x="52" y="60"/>
                    </a:lnTo>
                    <a:lnTo>
                      <a:pt x="50" y="59"/>
                    </a:lnTo>
                    <a:lnTo>
                      <a:pt x="50" y="55"/>
                    </a:lnTo>
                    <a:lnTo>
                      <a:pt x="50" y="52"/>
                    </a:lnTo>
                    <a:lnTo>
                      <a:pt x="50" y="47"/>
                    </a:lnTo>
                    <a:lnTo>
                      <a:pt x="48" y="42"/>
                    </a:lnTo>
                    <a:lnTo>
                      <a:pt x="50" y="39"/>
                    </a:lnTo>
                    <a:lnTo>
                      <a:pt x="80" y="39"/>
                    </a:lnTo>
                    <a:lnTo>
                      <a:pt x="83" y="40"/>
                    </a:lnTo>
                    <a:lnTo>
                      <a:pt x="85" y="39"/>
                    </a:lnTo>
                    <a:lnTo>
                      <a:pt x="87" y="39"/>
                    </a:lnTo>
                    <a:lnTo>
                      <a:pt x="88" y="42"/>
                    </a:lnTo>
                    <a:lnTo>
                      <a:pt x="92" y="40"/>
                    </a:lnTo>
                    <a:lnTo>
                      <a:pt x="95" y="42"/>
                    </a:lnTo>
                    <a:lnTo>
                      <a:pt x="97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102" y="42"/>
                    </a:lnTo>
                    <a:lnTo>
                      <a:pt x="105" y="44"/>
                    </a:lnTo>
                    <a:lnTo>
                      <a:pt x="107" y="44"/>
                    </a:lnTo>
                    <a:lnTo>
                      <a:pt x="112" y="44"/>
                    </a:lnTo>
                    <a:lnTo>
                      <a:pt x="113" y="44"/>
                    </a:lnTo>
                    <a:lnTo>
                      <a:pt x="115" y="45"/>
                    </a:lnTo>
                    <a:lnTo>
                      <a:pt x="118" y="44"/>
                    </a:lnTo>
                    <a:lnTo>
                      <a:pt x="118" y="45"/>
                    </a:lnTo>
                    <a:lnTo>
                      <a:pt x="122" y="45"/>
                    </a:lnTo>
                    <a:lnTo>
                      <a:pt x="122" y="44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3" y="34"/>
                    </a:lnTo>
                    <a:lnTo>
                      <a:pt x="125" y="32"/>
                    </a:lnTo>
                    <a:lnTo>
                      <a:pt x="136" y="14"/>
                    </a:lnTo>
                    <a:lnTo>
                      <a:pt x="141" y="9"/>
                    </a:lnTo>
                    <a:lnTo>
                      <a:pt x="146" y="9"/>
                    </a:lnTo>
                    <a:lnTo>
                      <a:pt x="148" y="5"/>
                    </a:lnTo>
                    <a:lnTo>
                      <a:pt x="158" y="2"/>
                    </a:lnTo>
                    <a:lnTo>
                      <a:pt x="163" y="2"/>
                    </a:lnTo>
                    <a:lnTo>
                      <a:pt x="165" y="0"/>
                    </a:lnTo>
                    <a:lnTo>
                      <a:pt x="170" y="0"/>
                    </a:lnTo>
                    <a:lnTo>
                      <a:pt x="173" y="0"/>
                    </a:lnTo>
                    <a:lnTo>
                      <a:pt x="175" y="2"/>
                    </a:lnTo>
                    <a:lnTo>
                      <a:pt x="178" y="4"/>
                    </a:lnTo>
                    <a:lnTo>
                      <a:pt x="181" y="4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6" y="9"/>
                    </a:lnTo>
                    <a:lnTo>
                      <a:pt x="186" y="17"/>
                    </a:lnTo>
                    <a:lnTo>
                      <a:pt x="181" y="20"/>
                    </a:lnTo>
                    <a:lnTo>
                      <a:pt x="180" y="24"/>
                    </a:lnTo>
                    <a:lnTo>
                      <a:pt x="170" y="35"/>
                    </a:lnTo>
                    <a:lnTo>
                      <a:pt x="171" y="44"/>
                    </a:lnTo>
                    <a:lnTo>
                      <a:pt x="170" y="49"/>
                    </a:lnTo>
                    <a:lnTo>
                      <a:pt x="170" y="54"/>
                    </a:lnTo>
                    <a:lnTo>
                      <a:pt x="166" y="57"/>
                    </a:lnTo>
                    <a:lnTo>
                      <a:pt x="166" y="64"/>
                    </a:lnTo>
                    <a:lnTo>
                      <a:pt x="166" y="67"/>
                    </a:lnTo>
                    <a:lnTo>
                      <a:pt x="165" y="74"/>
                    </a:lnTo>
                    <a:lnTo>
                      <a:pt x="166" y="74"/>
                    </a:lnTo>
                    <a:lnTo>
                      <a:pt x="165" y="80"/>
                    </a:lnTo>
                    <a:lnTo>
                      <a:pt x="161" y="82"/>
                    </a:lnTo>
                    <a:lnTo>
                      <a:pt x="160" y="89"/>
                    </a:lnTo>
                    <a:lnTo>
                      <a:pt x="160" y="97"/>
                    </a:lnTo>
                    <a:lnTo>
                      <a:pt x="151" y="108"/>
                    </a:lnTo>
                    <a:lnTo>
                      <a:pt x="146" y="108"/>
                    </a:lnTo>
                    <a:lnTo>
                      <a:pt x="143" y="112"/>
                    </a:lnTo>
                    <a:lnTo>
                      <a:pt x="140" y="112"/>
                    </a:lnTo>
                    <a:lnTo>
                      <a:pt x="135" y="115"/>
                    </a:lnTo>
                    <a:lnTo>
                      <a:pt x="130" y="120"/>
                    </a:lnTo>
                    <a:lnTo>
                      <a:pt x="130" y="125"/>
                    </a:lnTo>
                    <a:lnTo>
                      <a:pt x="122" y="132"/>
                    </a:lnTo>
                    <a:lnTo>
                      <a:pt x="120" y="137"/>
                    </a:lnTo>
                    <a:lnTo>
                      <a:pt x="120" y="142"/>
                    </a:lnTo>
                    <a:lnTo>
                      <a:pt x="122" y="143"/>
                    </a:lnTo>
                    <a:lnTo>
                      <a:pt x="122" y="157"/>
                    </a:lnTo>
                    <a:lnTo>
                      <a:pt x="120" y="162"/>
                    </a:lnTo>
                    <a:lnTo>
                      <a:pt x="120" y="167"/>
                    </a:lnTo>
                    <a:lnTo>
                      <a:pt x="115" y="172"/>
                    </a:lnTo>
                    <a:lnTo>
                      <a:pt x="112" y="173"/>
                    </a:lnTo>
                    <a:lnTo>
                      <a:pt x="108" y="175"/>
                    </a:lnTo>
                    <a:lnTo>
                      <a:pt x="107" y="178"/>
                    </a:lnTo>
                    <a:lnTo>
                      <a:pt x="97" y="187"/>
                    </a:lnTo>
                    <a:lnTo>
                      <a:pt x="92" y="192"/>
                    </a:lnTo>
                    <a:lnTo>
                      <a:pt x="87" y="195"/>
                    </a:lnTo>
                    <a:lnTo>
                      <a:pt x="82" y="192"/>
                    </a:lnTo>
                    <a:lnTo>
                      <a:pt x="80" y="188"/>
                    </a:lnTo>
                    <a:lnTo>
                      <a:pt x="78" y="187"/>
                    </a:lnTo>
                    <a:lnTo>
                      <a:pt x="82" y="182"/>
                    </a:lnTo>
                    <a:lnTo>
                      <a:pt x="82" y="180"/>
                    </a:lnTo>
                    <a:lnTo>
                      <a:pt x="73" y="182"/>
                    </a:lnTo>
                    <a:lnTo>
                      <a:pt x="68" y="185"/>
                    </a:lnTo>
                    <a:lnTo>
                      <a:pt x="65" y="185"/>
                    </a:lnTo>
                    <a:lnTo>
                      <a:pt x="62" y="185"/>
                    </a:lnTo>
                    <a:lnTo>
                      <a:pt x="62" y="190"/>
                    </a:lnTo>
                    <a:lnTo>
                      <a:pt x="60" y="193"/>
                    </a:lnTo>
                    <a:lnTo>
                      <a:pt x="55" y="193"/>
                    </a:lnTo>
                    <a:lnTo>
                      <a:pt x="55" y="190"/>
                    </a:lnTo>
                    <a:lnTo>
                      <a:pt x="53" y="188"/>
                    </a:lnTo>
                    <a:lnTo>
                      <a:pt x="50" y="190"/>
                    </a:lnTo>
                    <a:lnTo>
                      <a:pt x="47" y="190"/>
                    </a:lnTo>
                    <a:lnTo>
                      <a:pt x="47" y="190"/>
                    </a:lnTo>
                    <a:lnTo>
                      <a:pt x="47" y="187"/>
                    </a:lnTo>
                    <a:lnTo>
                      <a:pt x="43" y="183"/>
                    </a:lnTo>
                    <a:lnTo>
                      <a:pt x="42" y="182"/>
                    </a:lnTo>
                    <a:lnTo>
                      <a:pt x="40" y="182"/>
                    </a:lnTo>
                    <a:lnTo>
                      <a:pt x="35" y="185"/>
                    </a:lnTo>
                    <a:lnTo>
                      <a:pt x="32" y="185"/>
                    </a:lnTo>
                    <a:lnTo>
                      <a:pt x="30" y="190"/>
                    </a:lnTo>
                    <a:lnTo>
                      <a:pt x="27" y="192"/>
                    </a:lnTo>
                    <a:lnTo>
                      <a:pt x="25" y="192"/>
                    </a:lnTo>
                    <a:lnTo>
                      <a:pt x="22" y="196"/>
                    </a:lnTo>
                    <a:lnTo>
                      <a:pt x="20" y="198"/>
                    </a:lnTo>
                    <a:lnTo>
                      <a:pt x="17" y="195"/>
                    </a:lnTo>
                    <a:lnTo>
                      <a:pt x="17" y="192"/>
                    </a:lnTo>
                    <a:lnTo>
                      <a:pt x="14" y="187"/>
                    </a:lnTo>
                    <a:lnTo>
                      <a:pt x="14" y="183"/>
                    </a:lnTo>
                    <a:lnTo>
                      <a:pt x="7" y="178"/>
                    </a:lnTo>
                    <a:lnTo>
                      <a:pt x="5" y="177"/>
                    </a:lnTo>
                    <a:lnTo>
                      <a:pt x="0" y="1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4" name="Freeform 127">
                <a:extLst>
                  <a:ext uri="{FF2B5EF4-FFF2-40B4-BE49-F238E27FC236}">
                    <a16:creationId xmlns:a16="http://schemas.microsoft.com/office/drawing/2014/main" id="{041DC323-9549-C54D-9884-3649D44B6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0200" y="3320556"/>
                <a:ext cx="13913" cy="16601"/>
              </a:xfrm>
              <a:custGeom>
                <a:avLst/>
                <a:gdLst/>
                <a:ahLst/>
                <a:cxnLst>
                  <a:cxn ang="0">
                    <a:pos x="27" y="8"/>
                  </a:cxn>
                  <a:cxn ang="0">
                    <a:pos x="27" y="5"/>
                  </a:cxn>
                  <a:cxn ang="0">
                    <a:pos x="23" y="1"/>
                  </a:cxn>
                  <a:cxn ang="0">
                    <a:pos x="22" y="0"/>
                  </a:cxn>
                  <a:cxn ang="0">
                    <a:pos x="20" y="0"/>
                  </a:cxn>
                  <a:cxn ang="0">
                    <a:pos x="15" y="3"/>
                  </a:cxn>
                  <a:cxn ang="0">
                    <a:pos x="12" y="3"/>
                  </a:cxn>
                  <a:cxn ang="0">
                    <a:pos x="10" y="8"/>
                  </a:cxn>
                  <a:cxn ang="0">
                    <a:pos x="7" y="10"/>
                  </a:cxn>
                  <a:cxn ang="0">
                    <a:pos x="5" y="10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4" y="19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4" y="33"/>
                  </a:cxn>
                  <a:cxn ang="0">
                    <a:pos x="9" y="29"/>
                  </a:cxn>
                  <a:cxn ang="0">
                    <a:pos x="12" y="29"/>
                  </a:cxn>
                  <a:cxn ang="0">
                    <a:pos x="15" y="26"/>
                  </a:cxn>
                  <a:cxn ang="0">
                    <a:pos x="15" y="18"/>
                  </a:cxn>
                  <a:cxn ang="0">
                    <a:pos x="17" y="16"/>
                  </a:cxn>
                  <a:cxn ang="0">
                    <a:pos x="22" y="13"/>
                  </a:cxn>
                  <a:cxn ang="0">
                    <a:pos x="27" y="8"/>
                  </a:cxn>
                </a:cxnLst>
                <a:rect l="0" t="0" r="r" b="b"/>
                <a:pathLst>
                  <a:path w="27" h="33">
                    <a:moveTo>
                      <a:pt x="27" y="8"/>
                    </a:moveTo>
                    <a:lnTo>
                      <a:pt x="27" y="5"/>
                    </a:lnTo>
                    <a:lnTo>
                      <a:pt x="23" y="1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0" y="8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4" y="19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4" y="33"/>
                    </a:lnTo>
                    <a:lnTo>
                      <a:pt x="9" y="29"/>
                    </a:lnTo>
                    <a:lnTo>
                      <a:pt x="12" y="29"/>
                    </a:lnTo>
                    <a:lnTo>
                      <a:pt x="15" y="26"/>
                    </a:lnTo>
                    <a:lnTo>
                      <a:pt x="15" y="18"/>
                    </a:lnTo>
                    <a:lnTo>
                      <a:pt x="17" y="16"/>
                    </a:lnTo>
                    <a:lnTo>
                      <a:pt x="22" y="13"/>
                    </a:lnTo>
                    <a:lnTo>
                      <a:pt x="2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5" name="Freeform 128">
                <a:extLst>
                  <a:ext uri="{FF2B5EF4-FFF2-40B4-BE49-F238E27FC236}">
                    <a16:creationId xmlns:a16="http://schemas.microsoft.com/office/drawing/2014/main" id="{C23A246A-26BB-2446-875C-884C5048C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023" y="3281128"/>
                <a:ext cx="144483" cy="129699"/>
              </a:xfrm>
              <a:custGeom>
                <a:avLst/>
                <a:gdLst/>
                <a:ahLst/>
                <a:cxnLst>
                  <a:cxn ang="0">
                    <a:pos x="33" y="3"/>
                  </a:cxn>
                  <a:cxn ang="0">
                    <a:pos x="115" y="0"/>
                  </a:cxn>
                  <a:cxn ang="0">
                    <a:pos x="208" y="57"/>
                  </a:cxn>
                  <a:cxn ang="0">
                    <a:pos x="241" y="80"/>
                  </a:cxn>
                  <a:cxn ang="0">
                    <a:pos x="241" y="85"/>
                  </a:cxn>
                  <a:cxn ang="0">
                    <a:pos x="231" y="111"/>
                  </a:cxn>
                  <a:cxn ang="0">
                    <a:pos x="243" y="126"/>
                  </a:cxn>
                  <a:cxn ang="0">
                    <a:pos x="248" y="136"/>
                  </a:cxn>
                  <a:cxn ang="0">
                    <a:pos x="241" y="143"/>
                  </a:cxn>
                  <a:cxn ang="0">
                    <a:pos x="244" y="160"/>
                  </a:cxn>
                  <a:cxn ang="0">
                    <a:pos x="244" y="173"/>
                  </a:cxn>
                  <a:cxn ang="0">
                    <a:pos x="246" y="180"/>
                  </a:cxn>
                  <a:cxn ang="0">
                    <a:pos x="249" y="188"/>
                  </a:cxn>
                  <a:cxn ang="0">
                    <a:pos x="259" y="206"/>
                  </a:cxn>
                  <a:cxn ang="0">
                    <a:pos x="271" y="213"/>
                  </a:cxn>
                  <a:cxn ang="0">
                    <a:pos x="268" y="216"/>
                  </a:cxn>
                  <a:cxn ang="0">
                    <a:pos x="258" y="221"/>
                  </a:cxn>
                  <a:cxn ang="0">
                    <a:pos x="243" y="224"/>
                  </a:cxn>
                  <a:cxn ang="0">
                    <a:pos x="234" y="226"/>
                  </a:cxn>
                  <a:cxn ang="0">
                    <a:pos x="218" y="231"/>
                  </a:cxn>
                  <a:cxn ang="0">
                    <a:pos x="208" y="229"/>
                  </a:cxn>
                  <a:cxn ang="0">
                    <a:pos x="204" y="236"/>
                  </a:cxn>
                  <a:cxn ang="0">
                    <a:pos x="191" y="236"/>
                  </a:cxn>
                  <a:cxn ang="0">
                    <a:pos x="185" y="234"/>
                  </a:cxn>
                  <a:cxn ang="0">
                    <a:pos x="175" y="239"/>
                  </a:cxn>
                  <a:cxn ang="0">
                    <a:pos x="166" y="236"/>
                  </a:cxn>
                  <a:cxn ang="0">
                    <a:pos x="156" y="234"/>
                  </a:cxn>
                  <a:cxn ang="0">
                    <a:pos x="151" y="234"/>
                  </a:cxn>
                  <a:cxn ang="0">
                    <a:pos x="120" y="251"/>
                  </a:cxn>
                  <a:cxn ang="0">
                    <a:pos x="111" y="198"/>
                  </a:cxn>
                  <a:cxn ang="0">
                    <a:pos x="105" y="193"/>
                  </a:cxn>
                  <a:cxn ang="0">
                    <a:pos x="98" y="189"/>
                  </a:cxn>
                  <a:cxn ang="0">
                    <a:pos x="93" y="189"/>
                  </a:cxn>
                  <a:cxn ang="0">
                    <a:pos x="88" y="188"/>
                  </a:cxn>
                  <a:cxn ang="0">
                    <a:pos x="82" y="183"/>
                  </a:cxn>
                  <a:cxn ang="0">
                    <a:pos x="75" y="176"/>
                  </a:cxn>
                  <a:cxn ang="0">
                    <a:pos x="57" y="173"/>
                  </a:cxn>
                  <a:cxn ang="0">
                    <a:pos x="50" y="166"/>
                  </a:cxn>
                  <a:cxn ang="0">
                    <a:pos x="40" y="166"/>
                  </a:cxn>
                  <a:cxn ang="0">
                    <a:pos x="8" y="123"/>
                  </a:cxn>
                  <a:cxn ang="0">
                    <a:pos x="12" y="80"/>
                  </a:cxn>
                  <a:cxn ang="0">
                    <a:pos x="30" y="65"/>
                  </a:cxn>
                  <a:cxn ang="0">
                    <a:pos x="40" y="57"/>
                  </a:cxn>
                  <a:cxn ang="0">
                    <a:pos x="37" y="47"/>
                  </a:cxn>
                  <a:cxn ang="0">
                    <a:pos x="32" y="40"/>
                  </a:cxn>
                  <a:cxn ang="0">
                    <a:pos x="32" y="37"/>
                  </a:cxn>
                  <a:cxn ang="0">
                    <a:pos x="38" y="33"/>
                  </a:cxn>
                  <a:cxn ang="0">
                    <a:pos x="40" y="23"/>
                  </a:cxn>
                  <a:cxn ang="0">
                    <a:pos x="37" y="12"/>
                  </a:cxn>
                </a:cxnLst>
                <a:rect l="0" t="0" r="r" b="b"/>
                <a:pathLst>
                  <a:path w="271" h="251">
                    <a:moveTo>
                      <a:pt x="30" y="5"/>
                    </a:moveTo>
                    <a:lnTo>
                      <a:pt x="32" y="3"/>
                    </a:lnTo>
                    <a:lnTo>
                      <a:pt x="33" y="3"/>
                    </a:lnTo>
                    <a:lnTo>
                      <a:pt x="35" y="2"/>
                    </a:lnTo>
                    <a:lnTo>
                      <a:pt x="65" y="2"/>
                    </a:lnTo>
                    <a:lnTo>
                      <a:pt x="115" y="0"/>
                    </a:lnTo>
                    <a:lnTo>
                      <a:pt x="204" y="47"/>
                    </a:lnTo>
                    <a:lnTo>
                      <a:pt x="209" y="53"/>
                    </a:lnTo>
                    <a:lnTo>
                      <a:pt x="208" y="57"/>
                    </a:lnTo>
                    <a:lnTo>
                      <a:pt x="208" y="58"/>
                    </a:lnTo>
                    <a:lnTo>
                      <a:pt x="211" y="62"/>
                    </a:lnTo>
                    <a:lnTo>
                      <a:pt x="241" y="80"/>
                    </a:lnTo>
                    <a:lnTo>
                      <a:pt x="239" y="80"/>
                    </a:lnTo>
                    <a:lnTo>
                      <a:pt x="241" y="82"/>
                    </a:lnTo>
                    <a:lnTo>
                      <a:pt x="241" y="85"/>
                    </a:lnTo>
                    <a:lnTo>
                      <a:pt x="239" y="87"/>
                    </a:lnTo>
                    <a:lnTo>
                      <a:pt x="234" y="101"/>
                    </a:lnTo>
                    <a:lnTo>
                      <a:pt x="231" y="111"/>
                    </a:lnTo>
                    <a:lnTo>
                      <a:pt x="231" y="116"/>
                    </a:lnTo>
                    <a:lnTo>
                      <a:pt x="238" y="121"/>
                    </a:lnTo>
                    <a:lnTo>
                      <a:pt x="243" y="126"/>
                    </a:lnTo>
                    <a:lnTo>
                      <a:pt x="246" y="126"/>
                    </a:lnTo>
                    <a:lnTo>
                      <a:pt x="249" y="135"/>
                    </a:lnTo>
                    <a:lnTo>
                      <a:pt x="248" y="136"/>
                    </a:lnTo>
                    <a:lnTo>
                      <a:pt x="246" y="136"/>
                    </a:lnTo>
                    <a:lnTo>
                      <a:pt x="243" y="138"/>
                    </a:lnTo>
                    <a:lnTo>
                      <a:pt x="241" y="143"/>
                    </a:lnTo>
                    <a:lnTo>
                      <a:pt x="241" y="151"/>
                    </a:lnTo>
                    <a:lnTo>
                      <a:pt x="246" y="155"/>
                    </a:lnTo>
                    <a:lnTo>
                      <a:pt x="244" y="160"/>
                    </a:lnTo>
                    <a:lnTo>
                      <a:pt x="241" y="161"/>
                    </a:lnTo>
                    <a:lnTo>
                      <a:pt x="243" y="166"/>
                    </a:lnTo>
                    <a:lnTo>
                      <a:pt x="244" y="173"/>
                    </a:lnTo>
                    <a:lnTo>
                      <a:pt x="244" y="173"/>
                    </a:lnTo>
                    <a:lnTo>
                      <a:pt x="244" y="176"/>
                    </a:lnTo>
                    <a:lnTo>
                      <a:pt x="246" y="180"/>
                    </a:lnTo>
                    <a:lnTo>
                      <a:pt x="249" y="183"/>
                    </a:lnTo>
                    <a:lnTo>
                      <a:pt x="246" y="186"/>
                    </a:lnTo>
                    <a:lnTo>
                      <a:pt x="249" y="188"/>
                    </a:lnTo>
                    <a:lnTo>
                      <a:pt x="251" y="194"/>
                    </a:lnTo>
                    <a:lnTo>
                      <a:pt x="251" y="198"/>
                    </a:lnTo>
                    <a:lnTo>
                      <a:pt x="259" y="206"/>
                    </a:lnTo>
                    <a:lnTo>
                      <a:pt x="266" y="206"/>
                    </a:lnTo>
                    <a:lnTo>
                      <a:pt x="271" y="211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71" y="213"/>
                    </a:lnTo>
                    <a:lnTo>
                      <a:pt x="268" y="216"/>
                    </a:lnTo>
                    <a:lnTo>
                      <a:pt x="264" y="214"/>
                    </a:lnTo>
                    <a:lnTo>
                      <a:pt x="261" y="218"/>
                    </a:lnTo>
                    <a:lnTo>
                      <a:pt x="258" y="221"/>
                    </a:lnTo>
                    <a:lnTo>
                      <a:pt x="253" y="221"/>
                    </a:lnTo>
                    <a:lnTo>
                      <a:pt x="249" y="224"/>
                    </a:lnTo>
                    <a:lnTo>
                      <a:pt x="243" y="224"/>
                    </a:lnTo>
                    <a:lnTo>
                      <a:pt x="241" y="226"/>
                    </a:lnTo>
                    <a:lnTo>
                      <a:pt x="238" y="228"/>
                    </a:lnTo>
                    <a:lnTo>
                      <a:pt x="234" y="226"/>
                    </a:lnTo>
                    <a:lnTo>
                      <a:pt x="224" y="229"/>
                    </a:lnTo>
                    <a:lnTo>
                      <a:pt x="223" y="231"/>
                    </a:lnTo>
                    <a:lnTo>
                      <a:pt x="218" y="231"/>
                    </a:lnTo>
                    <a:lnTo>
                      <a:pt x="216" y="229"/>
                    </a:lnTo>
                    <a:lnTo>
                      <a:pt x="211" y="229"/>
                    </a:lnTo>
                    <a:lnTo>
                      <a:pt x="208" y="229"/>
                    </a:lnTo>
                    <a:lnTo>
                      <a:pt x="206" y="229"/>
                    </a:lnTo>
                    <a:lnTo>
                      <a:pt x="208" y="233"/>
                    </a:lnTo>
                    <a:lnTo>
                      <a:pt x="204" y="236"/>
                    </a:lnTo>
                    <a:lnTo>
                      <a:pt x="198" y="236"/>
                    </a:lnTo>
                    <a:lnTo>
                      <a:pt x="193" y="238"/>
                    </a:lnTo>
                    <a:lnTo>
                      <a:pt x="191" y="236"/>
                    </a:lnTo>
                    <a:lnTo>
                      <a:pt x="188" y="236"/>
                    </a:lnTo>
                    <a:lnTo>
                      <a:pt x="186" y="234"/>
                    </a:lnTo>
                    <a:lnTo>
                      <a:pt x="185" y="234"/>
                    </a:lnTo>
                    <a:lnTo>
                      <a:pt x="183" y="234"/>
                    </a:lnTo>
                    <a:lnTo>
                      <a:pt x="180" y="236"/>
                    </a:lnTo>
                    <a:lnTo>
                      <a:pt x="175" y="239"/>
                    </a:lnTo>
                    <a:lnTo>
                      <a:pt x="168" y="241"/>
                    </a:lnTo>
                    <a:lnTo>
                      <a:pt x="168" y="239"/>
                    </a:lnTo>
                    <a:lnTo>
                      <a:pt x="166" y="236"/>
                    </a:lnTo>
                    <a:lnTo>
                      <a:pt x="163" y="236"/>
                    </a:lnTo>
                    <a:lnTo>
                      <a:pt x="160" y="234"/>
                    </a:lnTo>
                    <a:lnTo>
                      <a:pt x="156" y="234"/>
                    </a:lnTo>
                    <a:lnTo>
                      <a:pt x="156" y="231"/>
                    </a:lnTo>
                    <a:lnTo>
                      <a:pt x="153" y="233"/>
                    </a:lnTo>
                    <a:lnTo>
                      <a:pt x="151" y="234"/>
                    </a:lnTo>
                    <a:lnTo>
                      <a:pt x="148" y="234"/>
                    </a:lnTo>
                    <a:lnTo>
                      <a:pt x="125" y="234"/>
                    </a:lnTo>
                    <a:lnTo>
                      <a:pt x="120" y="251"/>
                    </a:lnTo>
                    <a:lnTo>
                      <a:pt x="120" y="214"/>
                    </a:lnTo>
                    <a:lnTo>
                      <a:pt x="118" y="206"/>
                    </a:lnTo>
                    <a:lnTo>
                      <a:pt x="111" y="198"/>
                    </a:lnTo>
                    <a:lnTo>
                      <a:pt x="108" y="194"/>
                    </a:lnTo>
                    <a:lnTo>
                      <a:pt x="105" y="193"/>
                    </a:lnTo>
                    <a:lnTo>
                      <a:pt x="105" y="193"/>
                    </a:lnTo>
                    <a:lnTo>
                      <a:pt x="103" y="191"/>
                    </a:lnTo>
                    <a:lnTo>
                      <a:pt x="101" y="191"/>
                    </a:lnTo>
                    <a:lnTo>
                      <a:pt x="98" y="189"/>
                    </a:lnTo>
                    <a:lnTo>
                      <a:pt x="96" y="191"/>
                    </a:lnTo>
                    <a:lnTo>
                      <a:pt x="95" y="189"/>
                    </a:lnTo>
                    <a:lnTo>
                      <a:pt x="93" y="189"/>
                    </a:lnTo>
                    <a:lnTo>
                      <a:pt x="91" y="186"/>
                    </a:lnTo>
                    <a:lnTo>
                      <a:pt x="88" y="186"/>
                    </a:lnTo>
                    <a:lnTo>
                      <a:pt x="88" y="188"/>
                    </a:lnTo>
                    <a:lnTo>
                      <a:pt x="88" y="188"/>
                    </a:lnTo>
                    <a:lnTo>
                      <a:pt x="85" y="188"/>
                    </a:lnTo>
                    <a:lnTo>
                      <a:pt x="82" y="183"/>
                    </a:lnTo>
                    <a:lnTo>
                      <a:pt x="80" y="180"/>
                    </a:lnTo>
                    <a:lnTo>
                      <a:pt x="77" y="180"/>
                    </a:lnTo>
                    <a:lnTo>
                      <a:pt x="75" y="176"/>
                    </a:lnTo>
                    <a:lnTo>
                      <a:pt x="72" y="176"/>
                    </a:lnTo>
                    <a:lnTo>
                      <a:pt x="62" y="173"/>
                    </a:lnTo>
                    <a:lnTo>
                      <a:pt x="57" y="173"/>
                    </a:lnTo>
                    <a:lnTo>
                      <a:pt x="53" y="171"/>
                    </a:lnTo>
                    <a:lnTo>
                      <a:pt x="53" y="170"/>
                    </a:lnTo>
                    <a:lnTo>
                      <a:pt x="50" y="166"/>
                    </a:lnTo>
                    <a:lnTo>
                      <a:pt x="47" y="166"/>
                    </a:lnTo>
                    <a:lnTo>
                      <a:pt x="43" y="166"/>
                    </a:lnTo>
                    <a:lnTo>
                      <a:pt x="40" y="166"/>
                    </a:lnTo>
                    <a:lnTo>
                      <a:pt x="32" y="163"/>
                    </a:lnTo>
                    <a:lnTo>
                      <a:pt x="25" y="145"/>
                    </a:lnTo>
                    <a:lnTo>
                      <a:pt x="8" y="123"/>
                    </a:lnTo>
                    <a:lnTo>
                      <a:pt x="3" y="98"/>
                    </a:lnTo>
                    <a:lnTo>
                      <a:pt x="0" y="80"/>
                    </a:lnTo>
                    <a:lnTo>
                      <a:pt x="12" y="80"/>
                    </a:lnTo>
                    <a:lnTo>
                      <a:pt x="20" y="78"/>
                    </a:lnTo>
                    <a:lnTo>
                      <a:pt x="25" y="72"/>
                    </a:lnTo>
                    <a:lnTo>
                      <a:pt x="30" y="65"/>
                    </a:lnTo>
                    <a:lnTo>
                      <a:pt x="33" y="63"/>
                    </a:lnTo>
                    <a:lnTo>
                      <a:pt x="37" y="60"/>
                    </a:lnTo>
                    <a:lnTo>
                      <a:pt x="40" y="57"/>
                    </a:lnTo>
                    <a:lnTo>
                      <a:pt x="42" y="53"/>
                    </a:lnTo>
                    <a:lnTo>
                      <a:pt x="40" y="47"/>
                    </a:lnTo>
                    <a:lnTo>
                      <a:pt x="37" y="47"/>
                    </a:lnTo>
                    <a:lnTo>
                      <a:pt x="35" y="43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37"/>
                    </a:lnTo>
                    <a:lnTo>
                      <a:pt x="32" y="35"/>
                    </a:lnTo>
                    <a:lnTo>
                      <a:pt x="32" y="37"/>
                    </a:lnTo>
                    <a:lnTo>
                      <a:pt x="35" y="37"/>
                    </a:lnTo>
                    <a:lnTo>
                      <a:pt x="37" y="35"/>
                    </a:lnTo>
                    <a:lnTo>
                      <a:pt x="38" y="33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0" y="23"/>
                    </a:lnTo>
                    <a:lnTo>
                      <a:pt x="38" y="17"/>
                    </a:lnTo>
                    <a:lnTo>
                      <a:pt x="37" y="13"/>
                    </a:lnTo>
                    <a:lnTo>
                      <a:pt x="37" y="12"/>
                    </a:lnTo>
                    <a:lnTo>
                      <a:pt x="33" y="10"/>
                    </a:lnTo>
                    <a:lnTo>
                      <a:pt x="3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6" name="Freeform 129">
                <a:extLst>
                  <a:ext uri="{FF2B5EF4-FFF2-40B4-BE49-F238E27FC236}">
                    <a16:creationId xmlns:a16="http://schemas.microsoft.com/office/drawing/2014/main" id="{431CB79F-5536-594F-8288-2E5F33063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0671" y="3283203"/>
                <a:ext cx="26756" cy="18677"/>
              </a:xfrm>
              <a:custGeom>
                <a:avLst/>
                <a:gdLst/>
                <a:ahLst/>
                <a:cxnLst>
                  <a:cxn ang="0">
                    <a:pos x="15" y="5"/>
                  </a:cxn>
                  <a:cxn ang="0">
                    <a:pos x="15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6" y="3"/>
                  </a:cxn>
                  <a:cxn ang="0">
                    <a:pos x="28" y="5"/>
                  </a:cxn>
                  <a:cxn ang="0">
                    <a:pos x="31" y="5"/>
                  </a:cxn>
                  <a:cxn ang="0">
                    <a:pos x="33" y="3"/>
                  </a:cxn>
                  <a:cxn ang="0">
                    <a:pos x="33" y="0"/>
                  </a:cxn>
                  <a:cxn ang="0">
                    <a:pos x="38" y="0"/>
                  </a:cxn>
                  <a:cxn ang="0">
                    <a:pos x="41" y="5"/>
                  </a:cxn>
                  <a:cxn ang="0">
                    <a:pos x="45" y="7"/>
                  </a:cxn>
                  <a:cxn ang="0">
                    <a:pos x="45" y="8"/>
                  </a:cxn>
                  <a:cxn ang="0">
                    <a:pos x="46" y="12"/>
                  </a:cxn>
                  <a:cxn ang="0">
                    <a:pos x="48" y="18"/>
                  </a:cxn>
                  <a:cxn ang="0">
                    <a:pos x="50" y="23"/>
                  </a:cxn>
                  <a:cxn ang="0">
                    <a:pos x="48" y="25"/>
                  </a:cxn>
                  <a:cxn ang="0">
                    <a:pos x="46" y="28"/>
                  </a:cxn>
                  <a:cxn ang="0">
                    <a:pos x="45" y="30"/>
                  </a:cxn>
                  <a:cxn ang="0">
                    <a:pos x="43" y="32"/>
                  </a:cxn>
                  <a:cxn ang="0">
                    <a:pos x="40" y="32"/>
                  </a:cxn>
                  <a:cxn ang="0">
                    <a:pos x="40" y="30"/>
                  </a:cxn>
                  <a:cxn ang="0">
                    <a:pos x="40" y="28"/>
                  </a:cxn>
                  <a:cxn ang="0">
                    <a:pos x="36" y="28"/>
                  </a:cxn>
                  <a:cxn ang="0">
                    <a:pos x="35" y="25"/>
                  </a:cxn>
                  <a:cxn ang="0">
                    <a:pos x="31" y="23"/>
                  </a:cxn>
                  <a:cxn ang="0">
                    <a:pos x="30" y="22"/>
                  </a:cxn>
                  <a:cxn ang="0">
                    <a:pos x="28" y="22"/>
                  </a:cxn>
                  <a:cxn ang="0">
                    <a:pos x="28" y="27"/>
                  </a:cxn>
                  <a:cxn ang="0">
                    <a:pos x="25" y="33"/>
                  </a:cxn>
                  <a:cxn ang="0">
                    <a:pos x="25" y="35"/>
                  </a:cxn>
                  <a:cxn ang="0">
                    <a:pos x="20" y="37"/>
                  </a:cxn>
                  <a:cxn ang="0">
                    <a:pos x="18" y="35"/>
                  </a:cxn>
                  <a:cxn ang="0">
                    <a:pos x="16" y="35"/>
                  </a:cxn>
                  <a:cxn ang="0">
                    <a:pos x="15" y="37"/>
                  </a:cxn>
                  <a:cxn ang="0">
                    <a:pos x="11" y="35"/>
                  </a:cxn>
                  <a:cxn ang="0">
                    <a:pos x="10" y="32"/>
                  </a:cxn>
                  <a:cxn ang="0">
                    <a:pos x="6" y="30"/>
                  </a:cxn>
                  <a:cxn ang="0">
                    <a:pos x="3" y="30"/>
                  </a:cxn>
                  <a:cxn ang="0">
                    <a:pos x="0" y="32"/>
                  </a:cxn>
                  <a:cxn ang="0">
                    <a:pos x="1" y="27"/>
                  </a:cxn>
                  <a:cxn ang="0">
                    <a:pos x="5" y="13"/>
                  </a:cxn>
                  <a:cxn ang="0">
                    <a:pos x="8" y="10"/>
                  </a:cxn>
                  <a:cxn ang="0">
                    <a:pos x="15" y="5"/>
                  </a:cxn>
                </a:cxnLst>
                <a:rect l="0" t="0" r="r" b="b"/>
                <a:pathLst>
                  <a:path w="50" h="37">
                    <a:moveTo>
                      <a:pt x="15" y="5"/>
                    </a:moveTo>
                    <a:lnTo>
                      <a:pt x="15" y="5"/>
                    </a:lnTo>
                    <a:lnTo>
                      <a:pt x="20" y="5"/>
                    </a:lnTo>
                    <a:lnTo>
                      <a:pt x="23" y="2"/>
                    </a:lnTo>
                    <a:lnTo>
                      <a:pt x="26" y="3"/>
                    </a:lnTo>
                    <a:lnTo>
                      <a:pt x="28" y="5"/>
                    </a:lnTo>
                    <a:lnTo>
                      <a:pt x="31" y="5"/>
                    </a:lnTo>
                    <a:lnTo>
                      <a:pt x="33" y="3"/>
                    </a:lnTo>
                    <a:lnTo>
                      <a:pt x="33" y="0"/>
                    </a:lnTo>
                    <a:lnTo>
                      <a:pt x="38" y="0"/>
                    </a:lnTo>
                    <a:lnTo>
                      <a:pt x="41" y="5"/>
                    </a:lnTo>
                    <a:lnTo>
                      <a:pt x="45" y="7"/>
                    </a:lnTo>
                    <a:lnTo>
                      <a:pt x="45" y="8"/>
                    </a:lnTo>
                    <a:lnTo>
                      <a:pt x="46" y="12"/>
                    </a:lnTo>
                    <a:lnTo>
                      <a:pt x="48" y="18"/>
                    </a:lnTo>
                    <a:lnTo>
                      <a:pt x="50" y="23"/>
                    </a:lnTo>
                    <a:lnTo>
                      <a:pt x="48" y="25"/>
                    </a:lnTo>
                    <a:lnTo>
                      <a:pt x="46" y="28"/>
                    </a:lnTo>
                    <a:lnTo>
                      <a:pt x="45" y="30"/>
                    </a:lnTo>
                    <a:lnTo>
                      <a:pt x="43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36" y="28"/>
                    </a:lnTo>
                    <a:lnTo>
                      <a:pt x="35" y="25"/>
                    </a:lnTo>
                    <a:lnTo>
                      <a:pt x="31" y="23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7"/>
                    </a:lnTo>
                    <a:lnTo>
                      <a:pt x="25" y="33"/>
                    </a:lnTo>
                    <a:lnTo>
                      <a:pt x="25" y="35"/>
                    </a:lnTo>
                    <a:lnTo>
                      <a:pt x="20" y="37"/>
                    </a:lnTo>
                    <a:lnTo>
                      <a:pt x="18" y="35"/>
                    </a:lnTo>
                    <a:lnTo>
                      <a:pt x="16" y="35"/>
                    </a:lnTo>
                    <a:lnTo>
                      <a:pt x="15" y="37"/>
                    </a:lnTo>
                    <a:lnTo>
                      <a:pt x="11" y="35"/>
                    </a:lnTo>
                    <a:lnTo>
                      <a:pt x="10" y="32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0" y="32"/>
                    </a:lnTo>
                    <a:lnTo>
                      <a:pt x="1" y="27"/>
                    </a:lnTo>
                    <a:lnTo>
                      <a:pt x="5" y="13"/>
                    </a:lnTo>
                    <a:lnTo>
                      <a:pt x="8" y="10"/>
                    </a:lnTo>
                    <a:lnTo>
                      <a:pt x="15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7" name="Freeform 130">
                <a:extLst>
                  <a:ext uri="{FF2B5EF4-FFF2-40B4-BE49-F238E27FC236}">
                    <a16:creationId xmlns:a16="http://schemas.microsoft.com/office/drawing/2014/main" id="{DE73B795-CC08-4944-A0FC-05F00F4A6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0671" y="3294617"/>
                <a:ext cx="26756" cy="26977"/>
              </a:xfrm>
              <a:custGeom>
                <a:avLst/>
                <a:gdLst/>
                <a:ahLst/>
                <a:cxnLst>
                  <a:cxn ang="0">
                    <a:pos x="8" y="53"/>
                  </a:cxn>
                  <a:cxn ang="0">
                    <a:pos x="20" y="53"/>
                  </a:cxn>
                  <a:cxn ang="0">
                    <a:pos x="28" y="51"/>
                  </a:cxn>
                  <a:cxn ang="0">
                    <a:pos x="33" y="45"/>
                  </a:cxn>
                  <a:cxn ang="0">
                    <a:pos x="38" y="38"/>
                  </a:cxn>
                  <a:cxn ang="0">
                    <a:pos x="41" y="36"/>
                  </a:cxn>
                  <a:cxn ang="0">
                    <a:pos x="45" y="33"/>
                  </a:cxn>
                  <a:cxn ang="0">
                    <a:pos x="48" y="30"/>
                  </a:cxn>
                  <a:cxn ang="0">
                    <a:pos x="50" y="26"/>
                  </a:cxn>
                  <a:cxn ang="0">
                    <a:pos x="48" y="20"/>
                  </a:cxn>
                  <a:cxn ang="0">
                    <a:pos x="45" y="20"/>
                  </a:cxn>
                  <a:cxn ang="0">
                    <a:pos x="43" y="16"/>
                  </a:cxn>
                  <a:cxn ang="0">
                    <a:pos x="40" y="15"/>
                  </a:cxn>
                  <a:cxn ang="0">
                    <a:pos x="40" y="13"/>
                  </a:cxn>
                  <a:cxn ang="0">
                    <a:pos x="40" y="10"/>
                  </a:cxn>
                  <a:cxn ang="0">
                    <a:pos x="40" y="6"/>
                  </a:cxn>
                  <a:cxn ang="0">
                    <a:pos x="36" y="6"/>
                  </a:cxn>
                  <a:cxn ang="0">
                    <a:pos x="35" y="3"/>
                  </a:cxn>
                  <a:cxn ang="0">
                    <a:pos x="31" y="1"/>
                  </a:cxn>
                  <a:cxn ang="0">
                    <a:pos x="30" y="0"/>
                  </a:cxn>
                  <a:cxn ang="0">
                    <a:pos x="28" y="0"/>
                  </a:cxn>
                  <a:cxn ang="0">
                    <a:pos x="28" y="5"/>
                  </a:cxn>
                  <a:cxn ang="0">
                    <a:pos x="25" y="11"/>
                  </a:cxn>
                  <a:cxn ang="0">
                    <a:pos x="25" y="13"/>
                  </a:cxn>
                  <a:cxn ang="0">
                    <a:pos x="20" y="15"/>
                  </a:cxn>
                  <a:cxn ang="0">
                    <a:pos x="18" y="13"/>
                  </a:cxn>
                  <a:cxn ang="0">
                    <a:pos x="16" y="13"/>
                  </a:cxn>
                  <a:cxn ang="0">
                    <a:pos x="15" y="15"/>
                  </a:cxn>
                  <a:cxn ang="0">
                    <a:pos x="11" y="13"/>
                  </a:cxn>
                  <a:cxn ang="0">
                    <a:pos x="10" y="10"/>
                  </a:cxn>
                  <a:cxn ang="0">
                    <a:pos x="6" y="8"/>
                  </a:cxn>
                  <a:cxn ang="0">
                    <a:pos x="3" y="8"/>
                  </a:cxn>
                  <a:cxn ang="0">
                    <a:pos x="0" y="10"/>
                  </a:cxn>
                  <a:cxn ang="0">
                    <a:pos x="0" y="11"/>
                  </a:cxn>
                  <a:cxn ang="0">
                    <a:pos x="3" y="16"/>
                  </a:cxn>
                  <a:cxn ang="0">
                    <a:pos x="3" y="21"/>
                  </a:cxn>
                  <a:cxn ang="0">
                    <a:pos x="3" y="26"/>
                  </a:cxn>
                  <a:cxn ang="0">
                    <a:pos x="8" y="53"/>
                  </a:cxn>
                </a:cxnLst>
                <a:rect l="0" t="0" r="r" b="b"/>
                <a:pathLst>
                  <a:path w="50" h="53">
                    <a:moveTo>
                      <a:pt x="8" y="53"/>
                    </a:moveTo>
                    <a:lnTo>
                      <a:pt x="20" y="53"/>
                    </a:lnTo>
                    <a:lnTo>
                      <a:pt x="28" y="51"/>
                    </a:lnTo>
                    <a:lnTo>
                      <a:pt x="33" y="45"/>
                    </a:lnTo>
                    <a:lnTo>
                      <a:pt x="38" y="38"/>
                    </a:lnTo>
                    <a:lnTo>
                      <a:pt x="41" y="36"/>
                    </a:lnTo>
                    <a:lnTo>
                      <a:pt x="45" y="33"/>
                    </a:lnTo>
                    <a:lnTo>
                      <a:pt x="48" y="30"/>
                    </a:lnTo>
                    <a:lnTo>
                      <a:pt x="50" y="26"/>
                    </a:lnTo>
                    <a:lnTo>
                      <a:pt x="48" y="20"/>
                    </a:lnTo>
                    <a:lnTo>
                      <a:pt x="45" y="20"/>
                    </a:lnTo>
                    <a:lnTo>
                      <a:pt x="43" y="16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6" y="6"/>
                    </a:lnTo>
                    <a:lnTo>
                      <a:pt x="35" y="3"/>
                    </a:lnTo>
                    <a:lnTo>
                      <a:pt x="31" y="1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5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0" y="15"/>
                    </a:lnTo>
                    <a:lnTo>
                      <a:pt x="18" y="13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1" y="13"/>
                    </a:lnTo>
                    <a:lnTo>
                      <a:pt x="10" y="10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3" y="16"/>
                    </a:lnTo>
                    <a:lnTo>
                      <a:pt x="3" y="21"/>
                    </a:lnTo>
                    <a:lnTo>
                      <a:pt x="3" y="26"/>
                    </a:lnTo>
                    <a:lnTo>
                      <a:pt x="8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8" name="Freeform 131">
                <a:extLst>
                  <a:ext uri="{FF2B5EF4-FFF2-40B4-BE49-F238E27FC236}">
                    <a16:creationId xmlns:a16="http://schemas.microsoft.com/office/drawing/2014/main" id="{5BA8C3C6-F7FA-5044-95F3-A6C1A0278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1271" y="3208496"/>
                <a:ext cx="248298" cy="215818"/>
              </a:xfrm>
              <a:custGeom>
                <a:avLst/>
                <a:gdLst/>
                <a:ahLst/>
                <a:cxnLst>
                  <a:cxn ang="0">
                    <a:pos x="13" y="232"/>
                  </a:cxn>
                  <a:cxn ang="0">
                    <a:pos x="31" y="227"/>
                  </a:cxn>
                  <a:cxn ang="0">
                    <a:pos x="49" y="216"/>
                  </a:cxn>
                  <a:cxn ang="0">
                    <a:pos x="63" y="229"/>
                  </a:cxn>
                  <a:cxn ang="0">
                    <a:pos x="91" y="206"/>
                  </a:cxn>
                  <a:cxn ang="0">
                    <a:pos x="96" y="171"/>
                  </a:cxn>
                  <a:cxn ang="0">
                    <a:pos x="119" y="146"/>
                  </a:cxn>
                  <a:cxn ang="0">
                    <a:pos x="141" y="114"/>
                  </a:cxn>
                  <a:cxn ang="0">
                    <a:pos x="146" y="88"/>
                  </a:cxn>
                  <a:cxn ang="0">
                    <a:pos x="162" y="51"/>
                  </a:cxn>
                  <a:cxn ang="0">
                    <a:pos x="159" y="25"/>
                  </a:cxn>
                  <a:cxn ang="0">
                    <a:pos x="167" y="11"/>
                  </a:cxn>
                  <a:cxn ang="0">
                    <a:pos x="182" y="6"/>
                  </a:cxn>
                  <a:cxn ang="0">
                    <a:pos x="207" y="21"/>
                  </a:cxn>
                  <a:cxn ang="0">
                    <a:pos x="234" y="23"/>
                  </a:cxn>
                  <a:cxn ang="0">
                    <a:pos x="249" y="23"/>
                  </a:cxn>
                  <a:cxn ang="0">
                    <a:pos x="269" y="16"/>
                  </a:cxn>
                  <a:cxn ang="0">
                    <a:pos x="300" y="6"/>
                  </a:cxn>
                  <a:cxn ang="0">
                    <a:pos x="315" y="10"/>
                  </a:cxn>
                  <a:cxn ang="0">
                    <a:pos x="327" y="0"/>
                  </a:cxn>
                  <a:cxn ang="0">
                    <a:pos x="347" y="6"/>
                  </a:cxn>
                  <a:cxn ang="0">
                    <a:pos x="377" y="8"/>
                  </a:cxn>
                  <a:cxn ang="0">
                    <a:pos x="395" y="23"/>
                  </a:cxn>
                  <a:cxn ang="0">
                    <a:pos x="411" y="20"/>
                  </a:cxn>
                  <a:cxn ang="0">
                    <a:pos x="431" y="15"/>
                  </a:cxn>
                  <a:cxn ang="0">
                    <a:pos x="450" y="33"/>
                  </a:cxn>
                  <a:cxn ang="0">
                    <a:pos x="461" y="41"/>
                  </a:cxn>
                  <a:cxn ang="0">
                    <a:pos x="458" y="68"/>
                  </a:cxn>
                  <a:cxn ang="0">
                    <a:pos x="440" y="103"/>
                  </a:cxn>
                  <a:cxn ang="0">
                    <a:pos x="425" y="147"/>
                  </a:cxn>
                  <a:cxn ang="0">
                    <a:pos x="413" y="187"/>
                  </a:cxn>
                  <a:cxn ang="0">
                    <a:pos x="446" y="300"/>
                  </a:cxn>
                  <a:cxn ang="0">
                    <a:pos x="403" y="337"/>
                  </a:cxn>
                  <a:cxn ang="0">
                    <a:pos x="400" y="352"/>
                  </a:cxn>
                  <a:cxn ang="0">
                    <a:pos x="395" y="380"/>
                  </a:cxn>
                  <a:cxn ang="0">
                    <a:pos x="418" y="395"/>
                  </a:cxn>
                  <a:cxn ang="0">
                    <a:pos x="425" y="417"/>
                  </a:cxn>
                  <a:cxn ang="0">
                    <a:pos x="408" y="417"/>
                  </a:cxn>
                  <a:cxn ang="0">
                    <a:pos x="375" y="392"/>
                  </a:cxn>
                  <a:cxn ang="0">
                    <a:pos x="360" y="377"/>
                  </a:cxn>
                  <a:cxn ang="0">
                    <a:pos x="343" y="385"/>
                  </a:cxn>
                  <a:cxn ang="0">
                    <a:pos x="318" y="378"/>
                  </a:cxn>
                  <a:cxn ang="0">
                    <a:pos x="308" y="368"/>
                  </a:cxn>
                  <a:cxn ang="0">
                    <a:pos x="295" y="372"/>
                  </a:cxn>
                  <a:cxn ang="0">
                    <a:pos x="285" y="363"/>
                  </a:cxn>
                  <a:cxn ang="0">
                    <a:pos x="265" y="368"/>
                  </a:cxn>
                  <a:cxn ang="0">
                    <a:pos x="247" y="367"/>
                  </a:cxn>
                  <a:cxn ang="0">
                    <a:pos x="244" y="360"/>
                  </a:cxn>
                  <a:cxn ang="0">
                    <a:pos x="240" y="343"/>
                  </a:cxn>
                  <a:cxn ang="0">
                    <a:pos x="235" y="332"/>
                  </a:cxn>
                  <a:cxn ang="0">
                    <a:pos x="234" y="310"/>
                  </a:cxn>
                  <a:cxn ang="0">
                    <a:pos x="232" y="294"/>
                  </a:cxn>
                  <a:cxn ang="0">
                    <a:pos x="206" y="277"/>
                  </a:cxn>
                  <a:cxn ang="0">
                    <a:pos x="174" y="280"/>
                  </a:cxn>
                  <a:cxn ang="0">
                    <a:pos x="151" y="297"/>
                  </a:cxn>
                  <a:cxn ang="0">
                    <a:pos x="124" y="289"/>
                  </a:cxn>
                  <a:cxn ang="0">
                    <a:pos x="114" y="270"/>
                  </a:cxn>
                  <a:cxn ang="0">
                    <a:pos x="109" y="254"/>
                  </a:cxn>
                  <a:cxn ang="0">
                    <a:pos x="53" y="249"/>
                  </a:cxn>
                  <a:cxn ang="0">
                    <a:pos x="24" y="249"/>
                  </a:cxn>
                  <a:cxn ang="0">
                    <a:pos x="11" y="252"/>
                  </a:cxn>
                </a:cxnLst>
                <a:rect l="0" t="0" r="r" b="b"/>
                <a:pathLst>
                  <a:path w="463" h="417">
                    <a:moveTo>
                      <a:pt x="0" y="249"/>
                    </a:moveTo>
                    <a:lnTo>
                      <a:pt x="5" y="245"/>
                    </a:lnTo>
                    <a:lnTo>
                      <a:pt x="8" y="245"/>
                    </a:lnTo>
                    <a:lnTo>
                      <a:pt x="11" y="242"/>
                    </a:lnTo>
                    <a:lnTo>
                      <a:pt x="11" y="234"/>
                    </a:lnTo>
                    <a:lnTo>
                      <a:pt x="13" y="232"/>
                    </a:lnTo>
                    <a:lnTo>
                      <a:pt x="18" y="229"/>
                    </a:lnTo>
                    <a:lnTo>
                      <a:pt x="23" y="224"/>
                    </a:lnTo>
                    <a:lnTo>
                      <a:pt x="26" y="224"/>
                    </a:lnTo>
                    <a:lnTo>
                      <a:pt x="29" y="222"/>
                    </a:lnTo>
                    <a:lnTo>
                      <a:pt x="31" y="224"/>
                    </a:lnTo>
                    <a:lnTo>
                      <a:pt x="31" y="227"/>
                    </a:lnTo>
                    <a:lnTo>
                      <a:pt x="36" y="227"/>
                    </a:lnTo>
                    <a:lnTo>
                      <a:pt x="38" y="224"/>
                    </a:lnTo>
                    <a:lnTo>
                      <a:pt x="38" y="219"/>
                    </a:lnTo>
                    <a:lnTo>
                      <a:pt x="41" y="219"/>
                    </a:lnTo>
                    <a:lnTo>
                      <a:pt x="44" y="219"/>
                    </a:lnTo>
                    <a:lnTo>
                      <a:pt x="49" y="216"/>
                    </a:lnTo>
                    <a:lnTo>
                      <a:pt x="58" y="214"/>
                    </a:lnTo>
                    <a:lnTo>
                      <a:pt x="58" y="216"/>
                    </a:lnTo>
                    <a:lnTo>
                      <a:pt x="54" y="221"/>
                    </a:lnTo>
                    <a:lnTo>
                      <a:pt x="56" y="222"/>
                    </a:lnTo>
                    <a:lnTo>
                      <a:pt x="58" y="226"/>
                    </a:lnTo>
                    <a:lnTo>
                      <a:pt x="63" y="229"/>
                    </a:lnTo>
                    <a:lnTo>
                      <a:pt x="68" y="226"/>
                    </a:lnTo>
                    <a:lnTo>
                      <a:pt x="73" y="221"/>
                    </a:lnTo>
                    <a:lnTo>
                      <a:pt x="83" y="212"/>
                    </a:lnTo>
                    <a:lnTo>
                      <a:pt x="84" y="209"/>
                    </a:lnTo>
                    <a:lnTo>
                      <a:pt x="88" y="207"/>
                    </a:lnTo>
                    <a:lnTo>
                      <a:pt x="91" y="206"/>
                    </a:lnTo>
                    <a:lnTo>
                      <a:pt x="96" y="201"/>
                    </a:lnTo>
                    <a:lnTo>
                      <a:pt x="96" y="196"/>
                    </a:lnTo>
                    <a:lnTo>
                      <a:pt x="98" y="191"/>
                    </a:lnTo>
                    <a:lnTo>
                      <a:pt x="98" y="177"/>
                    </a:lnTo>
                    <a:lnTo>
                      <a:pt x="96" y="176"/>
                    </a:lnTo>
                    <a:lnTo>
                      <a:pt x="96" y="171"/>
                    </a:lnTo>
                    <a:lnTo>
                      <a:pt x="98" y="166"/>
                    </a:lnTo>
                    <a:lnTo>
                      <a:pt x="106" y="159"/>
                    </a:lnTo>
                    <a:lnTo>
                      <a:pt x="106" y="154"/>
                    </a:lnTo>
                    <a:lnTo>
                      <a:pt x="111" y="149"/>
                    </a:lnTo>
                    <a:lnTo>
                      <a:pt x="116" y="146"/>
                    </a:lnTo>
                    <a:lnTo>
                      <a:pt x="119" y="146"/>
                    </a:lnTo>
                    <a:lnTo>
                      <a:pt x="122" y="142"/>
                    </a:lnTo>
                    <a:lnTo>
                      <a:pt x="127" y="142"/>
                    </a:lnTo>
                    <a:lnTo>
                      <a:pt x="136" y="131"/>
                    </a:lnTo>
                    <a:lnTo>
                      <a:pt x="136" y="123"/>
                    </a:lnTo>
                    <a:lnTo>
                      <a:pt x="137" y="116"/>
                    </a:lnTo>
                    <a:lnTo>
                      <a:pt x="141" y="114"/>
                    </a:lnTo>
                    <a:lnTo>
                      <a:pt x="142" y="108"/>
                    </a:lnTo>
                    <a:lnTo>
                      <a:pt x="141" y="108"/>
                    </a:lnTo>
                    <a:lnTo>
                      <a:pt x="142" y="101"/>
                    </a:lnTo>
                    <a:lnTo>
                      <a:pt x="142" y="98"/>
                    </a:lnTo>
                    <a:lnTo>
                      <a:pt x="142" y="91"/>
                    </a:lnTo>
                    <a:lnTo>
                      <a:pt x="146" y="88"/>
                    </a:lnTo>
                    <a:lnTo>
                      <a:pt x="146" y="83"/>
                    </a:lnTo>
                    <a:lnTo>
                      <a:pt x="147" y="78"/>
                    </a:lnTo>
                    <a:lnTo>
                      <a:pt x="146" y="69"/>
                    </a:lnTo>
                    <a:lnTo>
                      <a:pt x="156" y="58"/>
                    </a:lnTo>
                    <a:lnTo>
                      <a:pt x="157" y="54"/>
                    </a:lnTo>
                    <a:lnTo>
                      <a:pt x="162" y="51"/>
                    </a:lnTo>
                    <a:lnTo>
                      <a:pt x="162" y="43"/>
                    </a:lnTo>
                    <a:lnTo>
                      <a:pt x="159" y="38"/>
                    </a:lnTo>
                    <a:lnTo>
                      <a:pt x="159" y="33"/>
                    </a:lnTo>
                    <a:lnTo>
                      <a:pt x="161" y="31"/>
                    </a:lnTo>
                    <a:lnTo>
                      <a:pt x="162" y="28"/>
                    </a:lnTo>
                    <a:lnTo>
                      <a:pt x="159" y="25"/>
                    </a:lnTo>
                    <a:lnTo>
                      <a:pt x="159" y="21"/>
                    </a:lnTo>
                    <a:lnTo>
                      <a:pt x="162" y="21"/>
                    </a:lnTo>
                    <a:lnTo>
                      <a:pt x="164" y="20"/>
                    </a:lnTo>
                    <a:lnTo>
                      <a:pt x="164" y="18"/>
                    </a:lnTo>
                    <a:lnTo>
                      <a:pt x="166" y="15"/>
                    </a:lnTo>
                    <a:lnTo>
                      <a:pt x="167" y="11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6" y="8"/>
                    </a:lnTo>
                    <a:lnTo>
                      <a:pt x="179" y="8"/>
                    </a:lnTo>
                    <a:lnTo>
                      <a:pt x="181" y="6"/>
                    </a:lnTo>
                    <a:lnTo>
                      <a:pt x="182" y="6"/>
                    </a:lnTo>
                    <a:lnTo>
                      <a:pt x="186" y="8"/>
                    </a:lnTo>
                    <a:lnTo>
                      <a:pt x="189" y="8"/>
                    </a:lnTo>
                    <a:lnTo>
                      <a:pt x="196" y="15"/>
                    </a:lnTo>
                    <a:lnTo>
                      <a:pt x="199" y="15"/>
                    </a:lnTo>
                    <a:lnTo>
                      <a:pt x="206" y="20"/>
                    </a:lnTo>
                    <a:lnTo>
                      <a:pt x="207" y="21"/>
                    </a:lnTo>
                    <a:lnTo>
                      <a:pt x="212" y="21"/>
                    </a:lnTo>
                    <a:lnTo>
                      <a:pt x="217" y="23"/>
                    </a:lnTo>
                    <a:lnTo>
                      <a:pt x="224" y="25"/>
                    </a:lnTo>
                    <a:lnTo>
                      <a:pt x="227" y="25"/>
                    </a:lnTo>
                    <a:lnTo>
                      <a:pt x="230" y="23"/>
                    </a:lnTo>
                    <a:lnTo>
                      <a:pt x="234" y="23"/>
                    </a:lnTo>
                    <a:lnTo>
                      <a:pt x="237" y="25"/>
                    </a:lnTo>
                    <a:lnTo>
                      <a:pt x="244" y="26"/>
                    </a:lnTo>
                    <a:lnTo>
                      <a:pt x="245" y="26"/>
                    </a:lnTo>
                    <a:lnTo>
                      <a:pt x="250" y="26"/>
                    </a:lnTo>
                    <a:lnTo>
                      <a:pt x="252" y="25"/>
                    </a:lnTo>
                    <a:lnTo>
                      <a:pt x="249" y="23"/>
                    </a:lnTo>
                    <a:lnTo>
                      <a:pt x="249" y="20"/>
                    </a:lnTo>
                    <a:lnTo>
                      <a:pt x="252" y="16"/>
                    </a:lnTo>
                    <a:lnTo>
                      <a:pt x="257" y="13"/>
                    </a:lnTo>
                    <a:lnTo>
                      <a:pt x="260" y="13"/>
                    </a:lnTo>
                    <a:lnTo>
                      <a:pt x="265" y="13"/>
                    </a:lnTo>
                    <a:lnTo>
                      <a:pt x="269" y="16"/>
                    </a:lnTo>
                    <a:lnTo>
                      <a:pt x="272" y="15"/>
                    </a:lnTo>
                    <a:lnTo>
                      <a:pt x="282" y="13"/>
                    </a:lnTo>
                    <a:lnTo>
                      <a:pt x="284" y="11"/>
                    </a:lnTo>
                    <a:lnTo>
                      <a:pt x="287" y="10"/>
                    </a:lnTo>
                    <a:lnTo>
                      <a:pt x="297" y="6"/>
                    </a:lnTo>
                    <a:lnTo>
                      <a:pt x="300" y="6"/>
                    </a:lnTo>
                    <a:lnTo>
                      <a:pt x="302" y="8"/>
                    </a:lnTo>
                    <a:lnTo>
                      <a:pt x="304" y="8"/>
                    </a:lnTo>
                    <a:lnTo>
                      <a:pt x="304" y="11"/>
                    </a:lnTo>
                    <a:lnTo>
                      <a:pt x="307" y="11"/>
                    </a:lnTo>
                    <a:lnTo>
                      <a:pt x="308" y="10"/>
                    </a:lnTo>
                    <a:lnTo>
                      <a:pt x="315" y="10"/>
                    </a:lnTo>
                    <a:lnTo>
                      <a:pt x="318" y="8"/>
                    </a:lnTo>
                    <a:lnTo>
                      <a:pt x="322" y="8"/>
                    </a:lnTo>
                    <a:lnTo>
                      <a:pt x="325" y="5"/>
                    </a:lnTo>
                    <a:lnTo>
                      <a:pt x="323" y="3"/>
                    </a:lnTo>
                    <a:lnTo>
                      <a:pt x="323" y="1"/>
                    </a:lnTo>
                    <a:lnTo>
                      <a:pt x="327" y="0"/>
                    </a:lnTo>
                    <a:lnTo>
                      <a:pt x="330" y="3"/>
                    </a:lnTo>
                    <a:lnTo>
                      <a:pt x="335" y="3"/>
                    </a:lnTo>
                    <a:lnTo>
                      <a:pt x="337" y="3"/>
                    </a:lnTo>
                    <a:lnTo>
                      <a:pt x="340" y="5"/>
                    </a:lnTo>
                    <a:lnTo>
                      <a:pt x="343" y="5"/>
                    </a:lnTo>
                    <a:lnTo>
                      <a:pt x="347" y="6"/>
                    </a:lnTo>
                    <a:lnTo>
                      <a:pt x="357" y="6"/>
                    </a:lnTo>
                    <a:lnTo>
                      <a:pt x="357" y="8"/>
                    </a:lnTo>
                    <a:lnTo>
                      <a:pt x="365" y="5"/>
                    </a:lnTo>
                    <a:lnTo>
                      <a:pt x="370" y="5"/>
                    </a:lnTo>
                    <a:lnTo>
                      <a:pt x="375" y="8"/>
                    </a:lnTo>
                    <a:lnTo>
                      <a:pt x="377" y="8"/>
                    </a:lnTo>
                    <a:lnTo>
                      <a:pt x="377" y="11"/>
                    </a:lnTo>
                    <a:lnTo>
                      <a:pt x="380" y="15"/>
                    </a:lnTo>
                    <a:lnTo>
                      <a:pt x="383" y="15"/>
                    </a:lnTo>
                    <a:lnTo>
                      <a:pt x="385" y="18"/>
                    </a:lnTo>
                    <a:lnTo>
                      <a:pt x="390" y="21"/>
                    </a:lnTo>
                    <a:lnTo>
                      <a:pt x="395" y="23"/>
                    </a:lnTo>
                    <a:lnTo>
                      <a:pt x="398" y="23"/>
                    </a:lnTo>
                    <a:lnTo>
                      <a:pt x="400" y="20"/>
                    </a:lnTo>
                    <a:lnTo>
                      <a:pt x="403" y="18"/>
                    </a:lnTo>
                    <a:lnTo>
                      <a:pt x="408" y="18"/>
                    </a:lnTo>
                    <a:lnTo>
                      <a:pt x="411" y="18"/>
                    </a:lnTo>
                    <a:lnTo>
                      <a:pt x="411" y="20"/>
                    </a:lnTo>
                    <a:lnTo>
                      <a:pt x="415" y="20"/>
                    </a:lnTo>
                    <a:lnTo>
                      <a:pt x="420" y="18"/>
                    </a:lnTo>
                    <a:lnTo>
                      <a:pt x="421" y="16"/>
                    </a:lnTo>
                    <a:lnTo>
                      <a:pt x="425" y="13"/>
                    </a:lnTo>
                    <a:lnTo>
                      <a:pt x="430" y="13"/>
                    </a:lnTo>
                    <a:lnTo>
                      <a:pt x="431" y="15"/>
                    </a:lnTo>
                    <a:lnTo>
                      <a:pt x="435" y="20"/>
                    </a:lnTo>
                    <a:lnTo>
                      <a:pt x="436" y="23"/>
                    </a:lnTo>
                    <a:lnTo>
                      <a:pt x="438" y="25"/>
                    </a:lnTo>
                    <a:lnTo>
                      <a:pt x="445" y="26"/>
                    </a:lnTo>
                    <a:lnTo>
                      <a:pt x="448" y="28"/>
                    </a:lnTo>
                    <a:lnTo>
                      <a:pt x="450" y="33"/>
                    </a:lnTo>
                    <a:lnTo>
                      <a:pt x="451" y="34"/>
                    </a:lnTo>
                    <a:lnTo>
                      <a:pt x="451" y="38"/>
                    </a:lnTo>
                    <a:lnTo>
                      <a:pt x="453" y="39"/>
                    </a:lnTo>
                    <a:lnTo>
                      <a:pt x="453" y="39"/>
                    </a:lnTo>
                    <a:lnTo>
                      <a:pt x="460" y="39"/>
                    </a:lnTo>
                    <a:lnTo>
                      <a:pt x="461" y="41"/>
                    </a:lnTo>
                    <a:lnTo>
                      <a:pt x="460" y="44"/>
                    </a:lnTo>
                    <a:lnTo>
                      <a:pt x="458" y="48"/>
                    </a:lnTo>
                    <a:lnTo>
                      <a:pt x="458" y="53"/>
                    </a:lnTo>
                    <a:lnTo>
                      <a:pt x="456" y="61"/>
                    </a:lnTo>
                    <a:lnTo>
                      <a:pt x="456" y="66"/>
                    </a:lnTo>
                    <a:lnTo>
                      <a:pt x="458" y="68"/>
                    </a:lnTo>
                    <a:lnTo>
                      <a:pt x="461" y="71"/>
                    </a:lnTo>
                    <a:lnTo>
                      <a:pt x="463" y="74"/>
                    </a:lnTo>
                    <a:lnTo>
                      <a:pt x="461" y="78"/>
                    </a:lnTo>
                    <a:lnTo>
                      <a:pt x="450" y="93"/>
                    </a:lnTo>
                    <a:lnTo>
                      <a:pt x="441" y="99"/>
                    </a:lnTo>
                    <a:lnTo>
                      <a:pt x="440" y="103"/>
                    </a:lnTo>
                    <a:lnTo>
                      <a:pt x="430" y="119"/>
                    </a:lnTo>
                    <a:lnTo>
                      <a:pt x="428" y="121"/>
                    </a:lnTo>
                    <a:lnTo>
                      <a:pt x="428" y="128"/>
                    </a:lnTo>
                    <a:lnTo>
                      <a:pt x="428" y="136"/>
                    </a:lnTo>
                    <a:lnTo>
                      <a:pt x="425" y="142"/>
                    </a:lnTo>
                    <a:lnTo>
                      <a:pt x="425" y="147"/>
                    </a:lnTo>
                    <a:lnTo>
                      <a:pt x="418" y="154"/>
                    </a:lnTo>
                    <a:lnTo>
                      <a:pt x="415" y="157"/>
                    </a:lnTo>
                    <a:lnTo>
                      <a:pt x="411" y="171"/>
                    </a:lnTo>
                    <a:lnTo>
                      <a:pt x="410" y="177"/>
                    </a:lnTo>
                    <a:lnTo>
                      <a:pt x="413" y="182"/>
                    </a:lnTo>
                    <a:lnTo>
                      <a:pt x="413" y="187"/>
                    </a:lnTo>
                    <a:lnTo>
                      <a:pt x="413" y="192"/>
                    </a:lnTo>
                    <a:lnTo>
                      <a:pt x="421" y="237"/>
                    </a:lnTo>
                    <a:lnTo>
                      <a:pt x="426" y="262"/>
                    </a:lnTo>
                    <a:lnTo>
                      <a:pt x="443" y="284"/>
                    </a:lnTo>
                    <a:lnTo>
                      <a:pt x="450" y="302"/>
                    </a:lnTo>
                    <a:lnTo>
                      <a:pt x="446" y="300"/>
                    </a:lnTo>
                    <a:lnTo>
                      <a:pt x="407" y="309"/>
                    </a:lnTo>
                    <a:lnTo>
                      <a:pt x="397" y="325"/>
                    </a:lnTo>
                    <a:lnTo>
                      <a:pt x="398" y="330"/>
                    </a:lnTo>
                    <a:lnTo>
                      <a:pt x="402" y="332"/>
                    </a:lnTo>
                    <a:lnTo>
                      <a:pt x="403" y="333"/>
                    </a:lnTo>
                    <a:lnTo>
                      <a:pt x="403" y="337"/>
                    </a:lnTo>
                    <a:lnTo>
                      <a:pt x="402" y="337"/>
                    </a:lnTo>
                    <a:lnTo>
                      <a:pt x="402" y="340"/>
                    </a:lnTo>
                    <a:lnTo>
                      <a:pt x="402" y="343"/>
                    </a:lnTo>
                    <a:lnTo>
                      <a:pt x="402" y="347"/>
                    </a:lnTo>
                    <a:lnTo>
                      <a:pt x="402" y="352"/>
                    </a:lnTo>
                    <a:lnTo>
                      <a:pt x="400" y="352"/>
                    </a:lnTo>
                    <a:lnTo>
                      <a:pt x="400" y="353"/>
                    </a:lnTo>
                    <a:lnTo>
                      <a:pt x="398" y="357"/>
                    </a:lnTo>
                    <a:lnTo>
                      <a:pt x="393" y="360"/>
                    </a:lnTo>
                    <a:lnTo>
                      <a:pt x="393" y="363"/>
                    </a:lnTo>
                    <a:lnTo>
                      <a:pt x="393" y="375"/>
                    </a:lnTo>
                    <a:lnTo>
                      <a:pt x="395" y="380"/>
                    </a:lnTo>
                    <a:lnTo>
                      <a:pt x="397" y="383"/>
                    </a:lnTo>
                    <a:lnTo>
                      <a:pt x="403" y="390"/>
                    </a:lnTo>
                    <a:lnTo>
                      <a:pt x="405" y="393"/>
                    </a:lnTo>
                    <a:lnTo>
                      <a:pt x="408" y="395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16" y="393"/>
                    </a:lnTo>
                    <a:lnTo>
                      <a:pt x="416" y="390"/>
                    </a:lnTo>
                    <a:lnTo>
                      <a:pt x="421" y="390"/>
                    </a:lnTo>
                    <a:lnTo>
                      <a:pt x="425" y="390"/>
                    </a:lnTo>
                    <a:lnTo>
                      <a:pt x="426" y="413"/>
                    </a:lnTo>
                    <a:lnTo>
                      <a:pt x="425" y="417"/>
                    </a:lnTo>
                    <a:lnTo>
                      <a:pt x="421" y="415"/>
                    </a:lnTo>
                    <a:lnTo>
                      <a:pt x="421" y="413"/>
                    </a:lnTo>
                    <a:lnTo>
                      <a:pt x="418" y="413"/>
                    </a:lnTo>
                    <a:lnTo>
                      <a:pt x="415" y="415"/>
                    </a:lnTo>
                    <a:lnTo>
                      <a:pt x="411" y="417"/>
                    </a:lnTo>
                    <a:lnTo>
                      <a:pt x="408" y="417"/>
                    </a:lnTo>
                    <a:lnTo>
                      <a:pt x="403" y="412"/>
                    </a:lnTo>
                    <a:lnTo>
                      <a:pt x="398" y="407"/>
                    </a:lnTo>
                    <a:lnTo>
                      <a:pt x="393" y="403"/>
                    </a:lnTo>
                    <a:lnTo>
                      <a:pt x="388" y="397"/>
                    </a:lnTo>
                    <a:lnTo>
                      <a:pt x="383" y="393"/>
                    </a:lnTo>
                    <a:lnTo>
                      <a:pt x="375" y="392"/>
                    </a:lnTo>
                    <a:lnTo>
                      <a:pt x="368" y="388"/>
                    </a:lnTo>
                    <a:lnTo>
                      <a:pt x="368" y="385"/>
                    </a:lnTo>
                    <a:lnTo>
                      <a:pt x="365" y="382"/>
                    </a:lnTo>
                    <a:lnTo>
                      <a:pt x="365" y="375"/>
                    </a:lnTo>
                    <a:lnTo>
                      <a:pt x="363" y="375"/>
                    </a:lnTo>
                    <a:lnTo>
                      <a:pt x="360" y="377"/>
                    </a:lnTo>
                    <a:lnTo>
                      <a:pt x="357" y="377"/>
                    </a:lnTo>
                    <a:lnTo>
                      <a:pt x="355" y="382"/>
                    </a:lnTo>
                    <a:lnTo>
                      <a:pt x="355" y="385"/>
                    </a:lnTo>
                    <a:lnTo>
                      <a:pt x="347" y="387"/>
                    </a:lnTo>
                    <a:lnTo>
                      <a:pt x="343" y="387"/>
                    </a:lnTo>
                    <a:lnTo>
                      <a:pt x="343" y="385"/>
                    </a:lnTo>
                    <a:lnTo>
                      <a:pt x="337" y="385"/>
                    </a:lnTo>
                    <a:lnTo>
                      <a:pt x="333" y="383"/>
                    </a:lnTo>
                    <a:lnTo>
                      <a:pt x="327" y="380"/>
                    </a:lnTo>
                    <a:lnTo>
                      <a:pt x="325" y="380"/>
                    </a:lnTo>
                    <a:lnTo>
                      <a:pt x="320" y="378"/>
                    </a:lnTo>
                    <a:lnTo>
                      <a:pt x="318" y="378"/>
                    </a:lnTo>
                    <a:lnTo>
                      <a:pt x="318" y="377"/>
                    </a:lnTo>
                    <a:lnTo>
                      <a:pt x="318" y="373"/>
                    </a:lnTo>
                    <a:lnTo>
                      <a:pt x="317" y="372"/>
                    </a:lnTo>
                    <a:lnTo>
                      <a:pt x="317" y="367"/>
                    </a:lnTo>
                    <a:lnTo>
                      <a:pt x="315" y="367"/>
                    </a:lnTo>
                    <a:lnTo>
                      <a:pt x="308" y="368"/>
                    </a:lnTo>
                    <a:lnTo>
                      <a:pt x="307" y="370"/>
                    </a:lnTo>
                    <a:lnTo>
                      <a:pt x="304" y="370"/>
                    </a:lnTo>
                    <a:lnTo>
                      <a:pt x="300" y="372"/>
                    </a:lnTo>
                    <a:lnTo>
                      <a:pt x="297" y="373"/>
                    </a:lnTo>
                    <a:lnTo>
                      <a:pt x="295" y="373"/>
                    </a:lnTo>
                    <a:lnTo>
                      <a:pt x="295" y="372"/>
                    </a:lnTo>
                    <a:lnTo>
                      <a:pt x="295" y="367"/>
                    </a:lnTo>
                    <a:lnTo>
                      <a:pt x="294" y="367"/>
                    </a:lnTo>
                    <a:lnTo>
                      <a:pt x="290" y="365"/>
                    </a:lnTo>
                    <a:lnTo>
                      <a:pt x="287" y="365"/>
                    </a:lnTo>
                    <a:lnTo>
                      <a:pt x="285" y="363"/>
                    </a:lnTo>
                    <a:lnTo>
                      <a:pt x="285" y="363"/>
                    </a:lnTo>
                    <a:lnTo>
                      <a:pt x="280" y="363"/>
                    </a:lnTo>
                    <a:lnTo>
                      <a:pt x="277" y="365"/>
                    </a:lnTo>
                    <a:lnTo>
                      <a:pt x="272" y="367"/>
                    </a:lnTo>
                    <a:lnTo>
                      <a:pt x="270" y="368"/>
                    </a:lnTo>
                    <a:lnTo>
                      <a:pt x="267" y="368"/>
                    </a:lnTo>
                    <a:lnTo>
                      <a:pt x="265" y="368"/>
                    </a:lnTo>
                    <a:lnTo>
                      <a:pt x="259" y="368"/>
                    </a:lnTo>
                    <a:lnTo>
                      <a:pt x="257" y="367"/>
                    </a:lnTo>
                    <a:lnTo>
                      <a:pt x="254" y="365"/>
                    </a:lnTo>
                    <a:lnTo>
                      <a:pt x="250" y="365"/>
                    </a:lnTo>
                    <a:lnTo>
                      <a:pt x="249" y="365"/>
                    </a:lnTo>
                    <a:lnTo>
                      <a:pt x="247" y="367"/>
                    </a:lnTo>
                    <a:lnTo>
                      <a:pt x="245" y="368"/>
                    </a:lnTo>
                    <a:lnTo>
                      <a:pt x="244" y="368"/>
                    </a:lnTo>
                    <a:lnTo>
                      <a:pt x="242" y="367"/>
                    </a:lnTo>
                    <a:lnTo>
                      <a:pt x="242" y="362"/>
                    </a:lnTo>
                    <a:lnTo>
                      <a:pt x="244" y="360"/>
                    </a:lnTo>
                    <a:lnTo>
                      <a:pt x="244" y="360"/>
                    </a:lnTo>
                    <a:lnTo>
                      <a:pt x="245" y="357"/>
                    </a:lnTo>
                    <a:lnTo>
                      <a:pt x="242" y="353"/>
                    </a:lnTo>
                    <a:lnTo>
                      <a:pt x="242" y="350"/>
                    </a:lnTo>
                    <a:lnTo>
                      <a:pt x="242" y="348"/>
                    </a:lnTo>
                    <a:lnTo>
                      <a:pt x="242" y="347"/>
                    </a:lnTo>
                    <a:lnTo>
                      <a:pt x="240" y="343"/>
                    </a:lnTo>
                    <a:lnTo>
                      <a:pt x="240" y="340"/>
                    </a:lnTo>
                    <a:lnTo>
                      <a:pt x="240" y="338"/>
                    </a:lnTo>
                    <a:lnTo>
                      <a:pt x="240" y="335"/>
                    </a:lnTo>
                    <a:lnTo>
                      <a:pt x="239" y="335"/>
                    </a:lnTo>
                    <a:lnTo>
                      <a:pt x="237" y="332"/>
                    </a:lnTo>
                    <a:lnTo>
                      <a:pt x="235" y="332"/>
                    </a:lnTo>
                    <a:lnTo>
                      <a:pt x="235" y="328"/>
                    </a:lnTo>
                    <a:lnTo>
                      <a:pt x="234" y="327"/>
                    </a:lnTo>
                    <a:lnTo>
                      <a:pt x="234" y="324"/>
                    </a:lnTo>
                    <a:lnTo>
                      <a:pt x="232" y="322"/>
                    </a:lnTo>
                    <a:lnTo>
                      <a:pt x="234" y="319"/>
                    </a:lnTo>
                    <a:lnTo>
                      <a:pt x="234" y="310"/>
                    </a:lnTo>
                    <a:lnTo>
                      <a:pt x="232" y="307"/>
                    </a:lnTo>
                    <a:lnTo>
                      <a:pt x="232" y="305"/>
                    </a:lnTo>
                    <a:lnTo>
                      <a:pt x="234" y="304"/>
                    </a:lnTo>
                    <a:lnTo>
                      <a:pt x="234" y="300"/>
                    </a:lnTo>
                    <a:lnTo>
                      <a:pt x="230" y="297"/>
                    </a:lnTo>
                    <a:lnTo>
                      <a:pt x="232" y="294"/>
                    </a:lnTo>
                    <a:lnTo>
                      <a:pt x="234" y="290"/>
                    </a:lnTo>
                    <a:lnTo>
                      <a:pt x="234" y="287"/>
                    </a:lnTo>
                    <a:lnTo>
                      <a:pt x="234" y="284"/>
                    </a:lnTo>
                    <a:lnTo>
                      <a:pt x="234" y="280"/>
                    </a:lnTo>
                    <a:lnTo>
                      <a:pt x="206" y="279"/>
                    </a:lnTo>
                    <a:lnTo>
                      <a:pt x="206" y="277"/>
                    </a:lnTo>
                    <a:lnTo>
                      <a:pt x="206" y="275"/>
                    </a:lnTo>
                    <a:lnTo>
                      <a:pt x="207" y="272"/>
                    </a:lnTo>
                    <a:lnTo>
                      <a:pt x="199" y="272"/>
                    </a:lnTo>
                    <a:lnTo>
                      <a:pt x="199" y="274"/>
                    </a:lnTo>
                    <a:lnTo>
                      <a:pt x="176" y="274"/>
                    </a:lnTo>
                    <a:lnTo>
                      <a:pt x="174" y="280"/>
                    </a:lnTo>
                    <a:lnTo>
                      <a:pt x="172" y="284"/>
                    </a:lnTo>
                    <a:lnTo>
                      <a:pt x="171" y="285"/>
                    </a:lnTo>
                    <a:lnTo>
                      <a:pt x="172" y="289"/>
                    </a:lnTo>
                    <a:lnTo>
                      <a:pt x="172" y="295"/>
                    </a:lnTo>
                    <a:lnTo>
                      <a:pt x="154" y="295"/>
                    </a:lnTo>
                    <a:lnTo>
                      <a:pt x="151" y="297"/>
                    </a:lnTo>
                    <a:lnTo>
                      <a:pt x="142" y="297"/>
                    </a:lnTo>
                    <a:lnTo>
                      <a:pt x="139" y="297"/>
                    </a:lnTo>
                    <a:lnTo>
                      <a:pt x="134" y="297"/>
                    </a:lnTo>
                    <a:lnTo>
                      <a:pt x="129" y="297"/>
                    </a:lnTo>
                    <a:lnTo>
                      <a:pt x="126" y="295"/>
                    </a:lnTo>
                    <a:lnTo>
                      <a:pt x="124" y="289"/>
                    </a:lnTo>
                    <a:lnTo>
                      <a:pt x="121" y="284"/>
                    </a:lnTo>
                    <a:lnTo>
                      <a:pt x="119" y="282"/>
                    </a:lnTo>
                    <a:lnTo>
                      <a:pt x="117" y="280"/>
                    </a:lnTo>
                    <a:lnTo>
                      <a:pt x="117" y="277"/>
                    </a:lnTo>
                    <a:lnTo>
                      <a:pt x="116" y="275"/>
                    </a:lnTo>
                    <a:lnTo>
                      <a:pt x="114" y="270"/>
                    </a:lnTo>
                    <a:lnTo>
                      <a:pt x="112" y="267"/>
                    </a:lnTo>
                    <a:lnTo>
                      <a:pt x="112" y="264"/>
                    </a:lnTo>
                    <a:lnTo>
                      <a:pt x="112" y="260"/>
                    </a:lnTo>
                    <a:lnTo>
                      <a:pt x="112" y="259"/>
                    </a:lnTo>
                    <a:lnTo>
                      <a:pt x="111" y="255"/>
                    </a:lnTo>
                    <a:lnTo>
                      <a:pt x="109" y="254"/>
                    </a:lnTo>
                    <a:lnTo>
                      <a:pt x="111" y="252"/>
                    </a:lnTo>
                    <a:lnTo>
                      <a:pt x="111" y="249"/>
                    </a:lnTo>
                    <a:lnTo>
                      <a:pt x="86" y="249"/>
                    </a:lnTo>
                    <a:lnTo>
                      <a:pt x="68" y="249"/>
                    </a:lnTo>
                    <a:lnTo>
                      <a:pt x="59" y="250"/>
                    </a:lnTo>
                    <a:lnTo>
                      <a:pt x="53" y="249"/>
                    </a:lnTo>
                    <a:lnTo>
                      <a:pt x="48" y="249"/>
                    </a:lnTo>
                    <a:lnTo>
                      <a:pt x="41" y="249"/>
                    </a:lnTo>
                    <a:lnTo>
                      <a:pt x="36" y="250"/>
                    </a:lnTo>
                    <a:lnTo>
                      <a:pt x="31" y="250"/>
                    </a:lnTo>
                    <a:lnTo>
                      <a:pt x="28" y="249"/>
                    </a:lnTo>
                    <a:lnTo>
                      <a:pt x="24" y="249"/>
                    </a:lnTo>
                    <a:lnTo>
                      <a:pt x="19" y="250"/>
                    </a:lnTo>
                    <a:lnTo>
                      <a:pt x="16" y="250"/>
                    </a:lnTo>
                    <a:lnTo>
                      <a:pt x="14" y="252"/>
                    </a:lnTo>
                    <a:lnTo>
                      <a:pt x="13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11" y="252"/>
                    </a:lnTo>
                    <a:lnTo>
                      <a:pt x="8" y="250"/>
                    </a:lnTo>
                    <a:lnTo>
                      <a:pt x="1" y="250"/>
                    </a:lnTo>
                    <a:lnTo>
                      <a:pt x="0" y="2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89" name="Freeform 132">
                <a:extLst>
                  <a:ext uri="{FF2B5EF4-FFF2-40B4-BE49-F238E27FC236}">
                    <a16:creationId xmlns:a16="http://schemas.microsoft.com/office/drawing/2014/main" id="{899E0C5A-0844-5546-9358-6130F85C63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7762" y="3377624"/>
                <a:ext cx="41739" cy="9130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3" y="3"/>
                  </a:cxn>
                  <a:cxn ang="0">
                    <a:pos x="16" y="5"/>
                  </a:cxn>
                  <a:cxn ang="0">
                    <a:pos x="21" y="5"/>
                  </a:cxn>
                  <a:cxn ang="0">
                    <a:pos x="25" y="7"/>
                  </a:cxn>
                  <a:cxn ang="0">
                    <a:pos x="28" y="8"/>
                  </a:cxn>
                  <a:cxn ang="0">
                    <a:pos x="38" y="20"/>
                  </a:cxn>
                  <a:cxn ang="0">
                    <a:pos x="40" y="65"/>
                  </a:cxn>
                  <a:cxn ang="0">
                    <a:pos x="43" y="88"/>
                  </a:cxn>
                  <a:cxn ang="0">
                    <a:pos x="53" y="95"/>
                  </a:cxn>
                  <a:cxn ang="0">
                    <a:pos x="58" y="98"/>
                  </a:cxn>
                  <a:cxn ang="0">
                    <a:pos x="68" y="110"/>
                  </a:cxn>
                  <a:cxn ang="0">
                    <a:pos x="75" y="121"/>
                  </a:cxn>
                  <a:cxn ang="0">
                    <a:pos x="76" y="126"/>
                  </a:cxn>
                  <a:cxn ang="0">
                    <a:pos x="73" y="130"/>
                  </a:cxn>
                  <a:cxn ang="0">
                    <a:pos x="70" y="131"/>
                  </a:cxn>
                  <a:cxn ang="0">
                    <a:pos x="70" y="135"/>
                  </a:cxn>
                  <a:cxn ang="0">
                    <a:pos x="73" y="146"/>
                  </a:cxn>
                  <a:cxn ang="0">
                    <a:pos x="68" y="151"/>
                  </a:cxn>
                  <a:cxn ang="0">
                    <a:pos x="60" y="160"/>
                  </a:cxn>
                  <a:cxn ang="0">
                    <a:pos x="56" y="166"/>
                  </a:cxn>
                  <a:cxn ang="0">
                    <a:pos x="58" y="176"/>
                  </a:cxn>
                  <a:cxn ang="0">
                    <a:pos x="51" y="175"/>
                  </a:cxn>
                  <a:cxn ang="0">
                    <a:pos x="50" y="168"/>
                  </a:cxn>
                  <a:cxn ang="0">
                    <a:pos x="45" y="165"/>
                  </a:cxn>
                  <a:cxn ang="0">
                    <a:pos x="36" y="156"/>
                  </a:cxn>
                  <a:cxn ang="0">
                    <a:pos x="33" y="148"/>
                  </a:cxn>
                  <a:cxn ang="0">
                    <a:pos x="36" y="140"/>
                  </a:cxn>
                  <a:cxn ang="0">
                    <a:pos x="41" y="130"/>
                  </a:cxn>
                  <a:cxn ang="0">
                    <a:pos x="43" y="118"/>
                  </a:cxn>
                  <a:cxn ang="0">
                    <a:pos x="35" y="115"/>
                  </a:cxn>
                  <a:cxn ang="0">
                    <a:pos x="26" y="116"/>
                  </a:cxn>
                  <a:cxn ang="0">
                    <a:pos x="21" y="116"/>
                  </a:cxn>
                  <a:cxn ang="0">
                    <a:pos x="18" y="113"/>
                  </a:cxn>
                  <a:cxn ang="0">
                    <a:pos x="15" y="108"/>
                  </a:cxn>
                  <a:cxn ang="0">
                    <a:pos x="7" y="106"/>
                  </a:cxn>
                  <a:cxn ang="0">
                    <a:pos x="5" y="101"/>
                  </a:cxn>
                  <a:cxn ang="0">
                    <a:pos x="0" y="95"/>
                  </a:cxn>
                  <a:cxn ang="0">
                    <a:pos x="7" y="90"/>
                  </a:cxn>
                  <a:cxn ang="0">
                    <a:pos x="7" y="85"/>
                  </a:cxn>
                  <a:cxn ang="0">
                    <a:pos x="7" y="80"/>
                  </a:cxn>
                  <a:cxn ang="0">
                    <a:pos x="13" y="75"/>
                  </a:cxn>
                  <a:cxn ang="0">
                    <a:pos x="16" y="70"/>
                  </a:cxn>
                  <a:cxn ang="0">
                    <a:pos x="20" y="68"/>
                  </a:cxn>
                  <a:cxn ang="0">
                    <a:pos x="16" y="65"/>
                  </a:cxn>
                  <a:cxn ang="0">
                    <a:pos x="16" y="62"/>
                  </a:cxn>
                  <a:cxn ang="0">
                    <a:pos x="15" y="55"/>
                  </a:cxn>
                  <a:cxn ang="0">
                    <a:pos x="16" y="50"/>
                  </a:cxn>
                  <a:cxn ang="0">
                    <a:pos x="15" y="43"/>
                  </a:cxn>
                  <a:cxn ang="0">
                    <a:pos x="20" y="33"/>
                  </a:cxn>
                  <a:cxn ang="0">
                    <a:pos x="21" y="32"/>
                  </a:cxn>
                  <a:cxn ang="0">
                    <a:pos x="20" y="23"/>
                  </a:cxn>
                  <a:cxn ang="0">
                    <a:pos x="15" y="18"/>
                  </a:cxn>
                  <a:cxn ang="0">
                    <a:pos x="18" y="12"/>
                  </a:cxn>
                  <a:cxn ang="0">
                    <a:pos x="11" y="8"/>
                  </a:cxn>
                  <a:cxn ang="0">
                    <a:pos x="8" y="5"/>
                  </a:cxn>
                </a:cxnLst>
                <a:rect l="0" t="0" r="r" b="b"/>
                <a:pathLst>
                  <a:path w="76" h="178">
                    <a:moveTo>
                      <a:pt x="8" y="2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18" y="3"/>
                    </a:lnTo>
                    <a:lnTo>
                      <a:pt x="21" y="5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8" y="8"/>
                    </a:lnTo>
                    <a:lnTo>
                      <a:pt x="31" y="12"/>
                    </a:lnTo>
                    <a:lnTo>
                      <a:pt x="38" y="20"/>
                    </a:lnTo>
                    <a:lnTo>
                      <a:pt x="40" y="28"/>
                    </a:lnTo>
                    <a:lnTo>
                      <a:pt x="40" y="65"/>
                    </a:lnTo>
                    <a:lnTo>
                      <a:pt x="38" y="68"/>
                    </a:lnTo>
                    <a:lnTo>
                      <a:pt x="43" y="88"/>
                    </a:lnTo>
                    <a:lnTo>
                      <a:pt x="50" y="93"/>
                    </a:lnTo>
                    <a:lnTo>
                      <a:pt x="53" y="95"/>
                    </a:lnTo>
                    <a:lnTo>
                      <a:pt x="55" y="98"/>
                    </a:lnTo>
                    <a:lnTo>
                      <a:pt x="58" y="98"/>
                    </a:lnTo>
                    <a:lnTo>
                      <a:pt x="66" y="105"/>
                    </a:lnTo>
                    <a:lnTo>
                      <a:pt x="68" y="110"/>
                    </a:lnTo>
                    <a:lnTo>
                      <a:pt x="73" y="116"/>
                    </a:lnTo>
                    <a:lnTo>
                      <a:pt x="75" y="121"/>
                    </a:lnTo>
                    <a:lnTo>
                      <a:pt x="76" y="125"/>
                    </a:lnTo>
                    <a:lnTo>
                      <a:pt x="76" y="126"/>
                    </a:lnTo>
                    <a:lnTo>
                      <a:pt x="75" y="128"/>
                    </a:lnTo>
                    <a:lnTo>
                      <a:pt x="73" y="130"/>
                    </a:lnTo>
                    <a:lnTo>
                      <a:pt x="70" y="130"/>
                    </a:lnTo>
                    <a:lnTo>
                      <a:pt x="70" y="131"/>
                    </a:lnTo>
                    <a:lnTo>
                      <a:pt x="71" y="133"/>
                    </a:lnTo>
                    <a:lnTo>
                      <a:pt x="70" y="135"/>
                    </a:lnTo>
                    <a:lnTo>
                      <a:pt x="73" y="138"/>
                    </a:lnTo>
                    <a:lnTo>
                      <a:pt x="73" y="146"/>
                    </a:lnTo>
                    <a:lnTo>
                      <a:pt x="71" y="150"/>
                    </a:lnTo>
                    <a:lnTo>
                      <a:pt x="68" y="151"/>
                    </a:lnTo>
                    <a:lnTo>
                      <a:pt x="63" y="153"/>
                    </a:lnTo>
                    <a:lnTo>
                      <a:pt x="60" y="160"/>
                    </a:lnTo>
                    <a:lnTo>
                      <a:pt x="60" y="163"/>
                    </a:lnTo>
                    <a:lnTo>
                      <a:pt x="56" y="166"/>
                    </a:lnTo>
                    <a:lnTo>
                      <a:pt x="58" y="173"/>
                    </a:lnTo>
                    <a:lnTo>
                      <a:pt x="58" y="176"/>
                    </a:lnTo>
                    <a:lnTo>
                      <a:pt x="53" y="178"/>
                    </a:lnTo>
                    <a:lnTo>
                      <a:pt x="51" y="175"/>
                    </a:lnTo>
                    <a:lnTo>
                      <a:pt x="53" y="171"/>
                    </a:lnTo>
                    <a:lnTo>
                      <a:pt x="50" y="168"/>
                    </a:lnTo>
                    <a:lnTo>
                      <a:pt x="48" y="166"/>
                    </a:lnTo>
                    <a:lnTo>
                      <a:pt x="45" y="165"/>
                    </a:lnTo>
                    <a:lnTo>
                      <a:pt x="40" y="160"/>
                    </a:lnTo>
                    <a:lnTo>
                      <a:pt x="36" y="156"/>
                    </a:lnTo>
                    <a:lnTo>
                      <a:pt x="35" y="153"/>
                    </a:lnTo>
                    <a:lnTo>
                      <a:pt x="33" y="148"/>
                    </a:lnTo>
                    <a:lnTo>
                      <a:pt x="33" y="145"/>
                    </a:lnTo>
                    <a:lnTo>
                      <a:pt x="36" y="140"/>
                    </a:lnTo>
                    <a:lnTo>
                      <a:pt x="36" y="135"/>
                    </a:lnTo>
                    <a:lnTo>
                      <a:pt x="41" y="130"/>
                    </a:lnTo>
                    <a:lnTo>
                      <a:pt x="43" y="125"/>
                    </a:lnTo>
                    <a:lnTo>
                      <a:pt x="43" y="118"/>
                    </a:lnTo>
                    <a:lnTo>
                      <a:pt x="40" y="115"/>
                    </a:lnTo>
                    <a:lnTo>
                      <a:pt x="35" y="115"/>
                    </a:lnTo>
                    <a:lnTo>
                      <a:pt x="30" y="115"/>
                    </a:lnTo>
                    <a:lnTo>
                      <a:pt x="26" y="116"/>
                    </a:lnTo>
                    <a:lnTo>
                      <a:pt x="23" y="116"/>
                    </a:lnTo>
                    <a:lnTo>
                      <a:pt x="21" y="116"/>
                    </a:lnTo>
                    <a:lnTo>
                      <a:pt x="18" y="115"/>
                    </a:lnTo>
                    <a:lnTo>
                      <a:pt x="18" y="113"/>
                    </a:lnTo>
                    <a:lnTo>
                      <a:pt x="15" y="110"/>
                    </a:lnTo>
                    <a:lnTo>
                      <a:pt x="15" y="108"/>
                    </a:lnTo>
                    <a:lnTo>
                      <a:pt x="13" y="106"/>
                    </a:lnTo>
                    <a:lnTo>
                      <a:pt x="7" y="106"/>
                    </a:lnTo>
                    <a:lnTo>
                      <a:pt x="7" y="105"/>
                    </a:lnTo>
                    <a:lnTo>
                      <a:pt x="5" y="101"/>
                    </a:lnTo>
                    <a:lnTo>
                      <a:pt x="0" y="97"/>
                    </a:lnTo>
                    <a:lnTo>
                      <a:pt x="0" y="95"/>
                    </a:lnTo>
                    <a:lnTo>
                      <a:pt x="3" y="93"/>
                    </a:lnTo>
                    <a:lnTo>
                      <a:pt x="7" y="90"/>
                    </a:lnTo>
                    <a:lnTo>
                      <a:pt x="7" y="87"/>
                    </a:lnTo>
                    <a:lnTo>
                      <a:pt x="7" y="85"/>
                    </a:lnTo>
                    <a:lnTo>
                      <a:pt x="7" y="83"/>
                    </a:lnTo>
                    <a:lnTo>
                      <a:pt x="7" y="80"/>
                    </a:lnTo>
                    <a:lnTo>
                      <a:pt x="7" y="78"/>
                    </a:lnTo>
                    <a:lnTo>
                      <a:pt x="13" y="75"/>
                    </a:lnTo>
                    <a:lnTo>
                      <a:pt x="16" y="73"/>
                    </a:lnTo>
                    <a:lnTo>
                      <a:pt x="16" y="70"/>
                    </a:lnTo>
                    <a:lnTo>
                      <a:pt x="20" y="70"/>
                    </a:lnTo>
                    <a:lnTo>
                      <a:pt x="20" y="68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5" y="62"/>
                    </a:lnTo>
                    <a:lnTo>
                      <a:pt x="16" y="62"/>
                    </a:lnTo>
                    <a:lnTo>
                      <a:pt x="16" y="58"/>
                    </a:lnTo>
                    <a:lnTo>
                      <a:pt x="15" y="55"/>
                    </a:lnTo>
                    <a:lnTo>
                      <a:pt x="16" y="53"/>
                    </a:lnTo>
                    <a:lnTo>
                      <a:pt x="16" y="50"/>
                    </a:lnTo>
                    <a:lnTo>
                      <a:pt x="16" y="47"/>
                    </a:lnTo>
                    <a:lnTo>
                      <a:pt x="15" y="43"/>
                    </a:lnTo>
                    <a:lnTo>
                      <a:pt x="15" y="38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1" y="32"/>
                    </a:lnTo>
                    <a:lnTo>
                      <a:pt x="21" y="27"/>
                    </a:lnTo>
                    <a:lnTo>
                      <a:pt x="20" y="23"/>
                    </a:lnTo>
                    <a:lnTo>
                      <a:pt x="16" y="20"/>
                    </a:lnTo>
                    <a:lnTo>
                      <a:pt x="15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5" y="10"/>
                    </a:lnTo>
                    <a:lnTo>
                      <a:pt x="11" y="8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0" name="Freeform 133">
                <a:extLst>
                  <a:ext uri="{FF2B5EF4-FFF2-40B4-BE49-F238E27FC236}">
                    <a16:creationId xmlns:a16="http://schemas.microsoft.com/office/drawing/2014/main" id="{13083F20-7149-5D43-A181-D65E41449A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6489" y="3364135"/>
                <a:ext cx="153045" cy="114135"/>
              </a:xfrm>
              <a:custGeom>
                <a:avLst/>
                <a:gdLst/>
                <a:ahLst/>
                <a:cxnLst>
                  <a:cxn ang="0">
                    <a:pos x="62" y="67"/>
                  </a:cxn>
                  <a:cxn ang="0">
                    <a:pos x="65" y="73"/>
                  </a:cxn>
                  <a:cxn ang="0">
                    <a:pos x="76" y="68"/>
                  </a:cxn>
                  <a:cxn ang="0">
                    <a:pos x="86" y="73"/>
                  </a:cxn>
                  <a:cxn ang="0">
                    <a:pos x="93" y="80"/>
                  </a:cxn>
                  <a:cxn ang="0">
                    <a:pos x="111" y="85"/>
                  </a:cxn>
                  <a:cxn ang="0">
                    <a:pos x="123" y="82"/>
                  </a:cxn>
                  <a:cxn ang="0">
                    <a:pos x="133" y="75"/>
                  </a:cxn>
                  <a:cxn ang="0">
                    <a:pos x="143" y="92"/>
                  </a:cxn>
                  <a:cxn ang="0">
                    <a:pos x="166" y="107"/>
                  </a:cxn>
                  <a:cxn ang="0">
                    <a:pos x="183" y="115"/>
                  </a:cxn>
                  <a:cxn ang="0">
                    <a:pos x="193" y="117"/>
                  </a:cxn>
                  <a:cxn ang="0">
                    <a:pos x="184" y="90"/>
                  </a:cxn>
                  <a:cxn ang="0">
                    <a:pos x="176" y="95"/>
                  </a:cxn>
                  <a:cxn ang="0">
                    <a:pos x="163" y="80"/>
                  </a:cxn>
                  <a:cxn ang="0">
                    <a:pos x="166" y="57"/>
                  </a:cxn>
                  <a:cxn ang="0">
                    <a:pos x="170" y="47"/>
                  </a:cxn>
                  <a:cxn ang="0">
                    <a:pos x="171" y="37"/>
                  </a:cxn>
                  <a:cxn ang="0">
                    <a:pos x="165" y="25"/>
                  </a:cxn>
                  <a:cxn ang="0">
                    <a:pos x="229" y="5"/>
                  </a:cxn>
                  <a:cxn ang="0">
                    <a:pos x="239" y="10"/>
                  </a:cxn>
                  <a:cxn ang="0">
                    <a:pos x="261" y="15"/>
                  </a:cxn>
                  <a:cxn ang="0">
                    <a:pos x="271" y="27"/>
                  </a:cxn>
                  <a:cxn ang="0">
                    <a:pos x="277" y="33"/>
                  </a:cxn>
                  <a:cxn ang="0">
                    <a:pos x="281" y="43"/>
                  </a:cxn>
                  <a:cxn ang="0">
                    <a:pos x="287" y="57"/>
                  </a:cxn>
                  <a:cxn ang="0">
                    <a:pos x="281" y="68"/>
                  </a:cxn>
                  <a:cxn ang="0">
                    <a:pos x="281" y="80"/>
                  </a:cxn>
                  <a:cxn ang="0">
                    <a:pos x="282" y="90"/>
                  </a:cxn>
                  <a:cxn ang="0">
                    <a:pos x="282" y="95"/>
                  </a:cxn>
                  <a:cxn ang="0">
                    <a:pos x="273" y="105"/>
                  </a:cxn>
                  <a:cxn ang="0">
                    <a:pos x="273" y="115"/>
                  </a:cxn>
                  <a:cxn ang="0">
                    <a:pos x="271" y="126"/>
                  </a:cxn>
                  <a:cxn ang="0">
                    <a:pos x="266" y="135"/>
                  </a:cxn>
                  <a:cxn ang="0">
                    <a:pos x="216" y="150"/>
                  </a:cxn>
                  <a:cxn ang="0">
                    <a:pos x="208" y="166"/>
                  </a:cxn>
                  <a:cxn ang="0">
                    <a:pos x="196" y="166"/>
                  </a:cxn>
                  <a:cxn ang="0">
                    <a:pos x="181" y="168"/>
                  </a:cxn>
                  <a:cxn ang="0">
                    <a:pos x="170" y="178"/>
                  </a:cxn>
                  <a:cxn ang="0">
                    <a:pos x="166" y="185"/>
                  </a:cxn>
                  <a:cxn ang="0">
                    <a:pos x="125" y="218"/>
                  </a:cxn>
                  <a:cxn ang="0">
                    <a:pos x="110" y="216"/>
                  </a:cxn>
                  <a:cxn ang="0">
                    <a:pos x="100" y="216"/>
                  </a:cxn>
                  <a:cxn ang="0">
                    <a:pos x="85" y="215"/>
                  </a:cxn>
                  <a:cxn ang="0">
                    <a:pos x="73" y="210"/>
                  </a:cxn>
                  <a:cxn ang="0">
                    <a:pos x="67" y="208"/>
                  </a:cxn>
                  <a:cxn ang="0">
                    <a:pos x="33" y="213"/>
                  </a:cxn>
                  <a:cxn ang="0">
                    <a:pos x="25" y="203"/>
                  </a:cxn>
                  <a:cxn ang="0">
                    <a:pos x="10" y="191"/>
                  </a:cxn>
                  <a:cxn ang="0">
                    <a:pos x="0" y="180"/>
                  </a:cxn>
                  <a:cxn ang="0">
                    <a:pos x="53" y="98"/>
                  </a:cxn>
                  <a:cxn ang="0">
                    <a:pos x="53" y="85"/>
                  </a:cxn>
                  <a:cxn ang="0">
                    <a:pos x="53" y="65"/>
                  </a:cxn>
                </a:cxnLst>
                <a:rect l="0" t="0" r="r" b="b"/>
                <a:pathLst>
                  <a:path w="287" h="220">
                    <a:moveTo>
                      <a:pt x="53" y="63"/>
                    </a:moveTo>
                    <a:lnTo>
                      <a:pt x="55" y="65"/>
                    </a:lnTo>
                    <a:lnTo>
                      <a:pt x="58" y="65"/>
                    </a:lnTo>
                    <a:lnTo>
                      <a:pt x="62" y="67"/>
                    </a:lnTo>
                    <a:lnTo>
                      <a:pt x="63" y="67"/>
                    </a:lnTo>
                    <a:lnTo>
                      <a:pt x="63" y="72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8" y="72"/>
                    </a:lnTo>
                    <a:lnTo>
                      <a:pt x="72" y="70"/>
                    </a:lnTo>
                    <a:lnTo>
                      <a:pt x="75" y="70"/>
                    </a:lnTo>
                    <a:lnTo>
                      <a:pt x="76" y="68"/>
                    </a:lnTo>
                    <a:lnTo>
                      <a:pt x="83" y="67"/>
                    </a:lnTo>
                    <a:lnTo>
                      <a:pt x="85" y="67"/>
                    </a:lnTo>
                    <a:lnTo>
                      <a:pt x="85" y="72"/>
                    </a:lnTo>
                    <a:lnTo>
                      <a:pt x="86" y="73"/>
                    </a:lnTo>
                    <a:lnTo>
                      <a:pt x="86" y="77"/>
                    </a:lnTo>
                    <a:lnTo>
                      <a:pt x="86" y="78"/>
                    </a:lnTo>
                    <a:lnTo>
                      <a:pt x="88" y="78"/>
                    </a:lnTo>
                    <a:lnTo>
                      <a:pt x="93" y="80"/>
                    </a:lnTo>
                    <a:lnTo>
                      <a:pt x="95" y="80"/>
                    </a:lnTo>
                    <a:lnTo>
                      <a:pt x="101" y="83"/>
                    </a:lnTo>
                    <a:lnTo>
                      <a:pt x="105" y="85"/>
                    </a:lnTo>
                    <a:lnTo>
                      <a:pt x="111" y="85"/>
                    </a:lnTo>
                    <a:lnTo>
                      <a:pt x="111" y="87"/>
                    </a:lnTo>
                    <a:lnTo>
                      <a:pt x="115" y="87"/>
                    </a:lnTo>
                    <a:lnTo>
                      <a:pt x="123" y="85"/>
                    </a:lnTo>
                    <a:lnTo>
                      <a:pt x="123" y="82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31" y="75"/>
                    </a:lnTo>
                    <a:lnTo>
                      <a:pt x="133" y="75"/>
                    </a:lnTo>
                    <a:lnTo>
                      <a:pt x="133" y="82"/>
                    </a:lnTo>
                    <a:lnTo>
                      <a:pt x="136" y="85"/>
                    </a:lnTo>
                    <a:lnTo>
                      <a:pt x="136" y="88"/>
                    </a:lnTo>
                    <a:lnTo>
                      <a:pt x="143" y="92"/>
                    </a:lnTo>
                    <a:lnTo>
                      <a:pt x="151" y="93"/>
                    </a:lnTo>
                    <a:lnTo>
                      <a:pt x="156" y="97"/>
                    </a:lnTo>
                    <a:lnTo>
                      <a:pt x="161" y="103"/>
                    </a:lnTo>
                    <a:lnTo>
                      <a:pt x="166" y="107"/>
                    </a:lnTo>
                    <a:lnTo>
                      <a:pt x="171" y="112"/>
                    </a:lnTo>
                    <a:lnTo>
                      <a:pt x="176" y="117"/>
                    </a:lnTo>
                    <a:lnTo>
                      <a:pt x="179" y="117"/>
                    </a:lnTo>
                    <a:lnTo>
                      <a:pt x="183" y="115"/>
                    </a:lnTo>
                    <a:lnTo>
                      <a:pt x="186" y="113"/>
                    </a:lnTo>
                    <a:lnTo>
                      <a:pt x="189" y="113"/>
                    </a:lnTo>
                    <a:lnTo>
                      <a:pt x="189" y="115"/>
                    </a:lnTo>
                    <a:lnTo>
                      <a:pt x="193" y="117"/>
                    </a:lnTo>
                    <a:lnTo>
                      <a:pt x="194" y="113"/>
                    </a:lnTo>
                    <a:lnTo>
                      <a:pt x="193" y="90"/>
                    </a:lnTo>
                    <a:lnTo>
                      <a:pt x="189" y="90"/>
                    </a:lnTo>
                    <a:lnTo>
                      <a:pt x="184" y="90"/>
                    </a:lnTo>
                    <a:lnTo>
                      <a:pt x="184" y="93"/>
                    </a:lnTo>
                    <a:lnTo>
                      <a:pt x="186" y="95"/>
                    </a:lnTo>
                    <a:lnTo>
                      <a:pt x="186" y="95"/>
                    </a:lnTo>
                    <a:lnTo>
                      <a:pt x="176" y="95"/>
                    </a:lnTo>
                    <a:lnTo>
                      <a:pt x="173" y="93"/>
                    </a:lnTo>
                    <a:lnTo>
                      <a:pt x="171" y="90"/>
                    </a:lnTo>
                    <a:lnTo>
                      <a:pt x="165" y="83"/>
                    </a:lnTo>
                    <a:lnTo>
                      <a:pt x="163" y="80"/>
                    </a:lnTo>
                    <a:lnTo>
                      <a:pt x="161" y="75"/>
                    </a:lnTo>
                    <a:lnTo>
                      <a:pt x="161" y="63"/>
                    </a:lnTo>
                    <a:lnTo>
                      <a:pt x="161" y="60"/>
                    </a:lnTo>
                    <a:lnTo>
                      <a:pt x="166" y="57"/>
                    </a:lnTo>
                    <a:lnTo>
                      <a:pt x="168" y="53"/>
                    </a:lnTo>
                    <a:lnTo>
                      <a:pt x="168" y="52"/>
                    </a:lnTo>
                    <a:lnTo>
                      <a:pt x="170" y="52"/>
                    </a:lnTo>
                    <a:lnTo>
                      <a:pt x="170" y="47"/>
                    </a:lnTo>
                    <a:lnTo>
                      <a:pt x="170" y="43"/>
                    </a:lnTo>
                    <a:lnTo>
                      <a:pt x="170" y="40"/>
                    </a:lnTo>
                    <a:lnTo>
                      <a:pt x="170" y="37"/>
                    </a:lnTo>
                    <a:lnTo>
                      <a:pt x="171" y="37"/>
                    </a:lnTo>
                    <a:lnTo>
                      <a:pt x="171" y="33"/>
                    </a:lnTo>
                    <a:lnTo>
                      <a:pt x="170" y="32"/>
                    </a:lnTo>
                    <a:lnTo>
                      <a:pt x="166" y="30"/>
                    </a:lnTo>
                    <a:lnTo>
                      <a:pt x="165" y="25"/>
                    </a:lnTo>
                    <a:lnTo>
                      <a:pt x="175" y="9"/>
                    </a:lnTo>
                    <a:lnTo>
                      <a:pt x="214" y="0"/>
                    </a:lnTo>
                    <a:lnTo>
                      <a:pt x="226" y="5"/>
                    </a:lnTo>
                    <a:lnTo>
                      <a:pt x="229" y="5"/>
                    </a:lnTo>
                    <a:lnTo>
                      <a:pt x="233" y="5"/>
                    </a:lnTo>
                    <a:lnTo>
                      <a:pt x="236" y="5"/>
                    </a:lnTo>
                    <a:lnTo>
                      <a:pt x="239" y="9"/>
                    </a:lnTo>
                    <a:lnTo>
                      <a:pt x="239" y="10"/>
                    </a:lnTo>
                    <a:lnTo>
                      <a:pt x="243" y="12"/>
                    </a:lnTo>
                    <a:lnTo>
                      <a:pt x="248" y="12"/>
                    </a:lnTo>
                    <a:lnTo>
                      <a:pt x="258" y="15"/>
                    </a:lnTo>
                    <a:lnTo>
                      <a:pt x="261" y="15"/>
                    </a:lnTo>
                    <a:lnTo>
                      <a:pt x="263" y="19"/>
                    </a:lnTo>
                    <a:lnTo>
                      <a:pt x="266" y="19"/>
                    </a:lnTo>
                    <a:lnTo>
                      <a:pt x="268" y="22"/>
                    </a:lnTo>
                    <a:lnTo>
                      <a:pt x="271" y="27"/>
                    </a:lnTo>
                    <a:lnTo>
                      <a:pt x="274" y="27"/>
                    </a:lnTo>
                    <a:lnTo>
                      <a:pt x="274" y="30"/>
                    </a:lnTo>
                    <a:lnTo>
                      <a:pt x="276" y="30"/>
                    </a:lnTo>
                    <a:lnTo>
                      <a:pt x="277" y="33"/>
                    </a:lnTo>
                    <a:lnTo>
                      <a:pt x="281" y="35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1" y="43"/>
                    </a:lnTo>
                    <a:lnTo>
                      <a:pt x="282" y="45"/>
                    </a:lnTo>
                    <a:lnTo>
                      <a:pt x="286" y="48"/>
                    </a:lnTo>
                    <a:lnTo>
                      <a:pt x="287" y="52"/>
                    </a:lnTo>
                    <a:lnTo>
                      <a:pt x="287" y="57"/>
                    </a:lnTo>
                    <a:lnTo>
                      <a:pt x="286" y="58"/>
                    </a:lnTo>
                    <a:lnTo>
                      <a:pt x="286" y="58"/>
                    </a:lnTo>
                    <a:lnTo>
                      <a:pt x="281" y="63"/>
                    </a:lnTo>
                    <a:lnTo>
                      <a:pt x="281" y="68"/>
                    </a:lnTo>
                    <a:lnTo>
                      <a:pt x="282" y="72"/>
                    </a:lnTo>
                    <a:lnTo>
                      <a:pt x="282" y="75"/>
                    </a:lnTo>
                    <a:lnTo>
                      <a:pt x="282" y="78"/>
                    </a:lnTo>
                    <a:lnTo>
                      <a:pt x="281" y="80"/>
                    </a:lnTo>
                    <a:lnTo>
                      <a:pt x="282" y="83"/>
                    </a:lnTo>
                    <a:lnTo>
                      <a:pt x="282" y="87"/>
                    </a:lnTo>
                    <a:lnTo>
                      <a:pt x="281" y="87"/>
                    </a:lnTo>
                    <a:lnTo>
                      <a:pt x="282" y="90"/>
                    </a:lnTo>
                    <a:lnTo>
                      <a:pt x="282" y="92"/>
                    </a:lnTo>
                    <a:lnTo>
                      <a:pt x="286" y="93"/>
                    </a:lnTo>
                    <a:lnTo>
                      <a:pt x="286" y="95"/>
                    </a:lnTo>
                    <a:lnTo>
                      <a:pt x="282" y="95"/>
                    </a:lnTo>
                    <a:lnTo>
                      <a:pt x="282" y="98"/>
                    </a:lnTo>
                    <a:lnTo>
                      <a:pt x="279" y="100"/>
                    </a:lnTo>
                    <a:lnTo>
                      <a:pt x="273" y="103"/>
                    </a:lnTo>
                    <a:lnTo>
                      <a:pt x="273" y="105"/>
                    </a:lnTo>
                    <a:lnTo>
                      <a:pt x="273" y="108"/>
                    </a:lnTo>
                    <a:lnTo>
                      <a:pt x="273" y="110"/>
                    </a:lnTo>
                    <a:lnTo>
                      <a:pt x="273" y="112"/>
                    </a:lnTo>
                    <a:lnTo>
                      <a:pt x="273" y="115"/>
                    </a:lnTo>
                    <a:lnTo>
                      <a:pt x="269" y="118"/>
                    </a:lnTo>
                    <a:lnTo>
                      <a:pt x="266" y="120"/>
                    </a:lnTo>
                    <a:lnTo>
                      <a:pt x="266" y="122"/>
                    </a:lnTo>
                    <a:lnTo>
                      <a:pt x="271" y="126"/>
                    </a:lnTo>
                    <a:lnTo>
                      <a:pt x="273" y="130"/>
                    </a:lnTo>
                    <a:lnTo>
                      <a:pt x="273" y="131"/>
                    </a:lnTo>
                    <a:lnTo>
                      <a:pt x="273" y="131"/>
                    </a:lnTo>
                    <a:lnTo>
                      <a:pt x="266" y="135"/>
                    </a:lnTo>
                    <a:lnTo>
                      <a:pt x="251" y="140"/>
                    </a:lnTo>
                    <a:lnTo>
                      <a:pt x="246" y="140"/>
                    </a:lnTo>
                    <a:lnTo>
                      <a:pt x="221" y="150"/>
                    </a:lnTo>
                    <a:lnTo>
                      <a:pt x="216" y="150"/>
                    </a:lnTo>
                    <a:lnTo>
                      <a:pt x="208" y="155"/>
                    </a:lnTo>
                    <a:lnTo>
                      <a:pt x="206" y="158"/>
                    </a:lnTo>
                    <a:lnTo>
                      <a:pt x="208" y="165"/>
                    </a:lnTo>
                    <a:lnTo>
                      <a:pt x="208" y="166"/>
                    </a:lnTo>
                    <a:lnTo>
                      <a:pt x="206" y="166"/>
                    </a:lnTo>
                    <a:lnTo>
                      <a:pt x="204" y="166"/>
                    </a:lnTo>
                    <a:lnTo>
                      <a:pt x="199" y="166"/>
                    </a:lnTo>
                    <a:lnTo>
                      <a:pt x="196" y="166"/>
                    </a:lnTo>
                    <a:lnTo>
                      <a:pt x="196" y="165"/>
                    </a:lnTo>
                    <a:lnTo>
                      <a:pt x="189" y="165"/>
                    </a:lnTo>
                    <a:lnTo>
                      <a:pt x="184" y="166"/>
                    </a:lnTo>
                    <a:lnTo>
                      <a:pt x="181" y="168"/>
                    </a:lnTo>
                    <a:lnTo>
                      <a:pt x="178" y="170"/>
                    </a:lnTo>
                    <a:lnTo>
                      <a:pt x="170" y="173"/>
                    </a:lnTo>
                    <a:lnTo>
                      <a:pt x="168" y="176"/>
                    </a:lnTo>
                    <a:lnTo>
                      <a:pt x="170" y="178"/>
                    </a:lnTo>
                    <a:lnTo>
                      <a:pt x="168" y="180"/>
                    </a:lnTo>
                    <a:lnTo>
                      <a:pt x="168" y="181"/>
                    </a:lnTo>
                    <a:lnTo>
                      <a:pt x="168" y="183"/>
                    </a:lnTo>
                    <a:lnTo>
                      <a:pt x="166" y="185"/>
                    </a:lnTo>
                    <a:lnTo>
                      <a:pt x="158" y="188"/>
                    </a:lnTo>
                    <a:lnTo>
                      <a:pt x="143" y="196"/>
                    </a:lnTo>
                    <a:lnTo>
                      <a:pt x="131" y="210"/>
                    </a:lnTo>
                    <a:lnTo>
                      <a:pt x="125" y="218"/>
                    </a:lnTo>
                    <a:lnTo>
                      <a:pt x="118" y="220"/>
                    </a:lnTo>
                    <a:lnTo>
                      <a:pt x="113" y="220"/>
                    </a:lnTo>
                    <a:lnTo>
                      <a:pt x="110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6" y="216"/>
                    </a:lnTo>
                    <a:lnTo>
                      <a:pt x="105" y="215"/>
                    </a:lnTo>
                    <a:lnTo>
                      <a:pt x="100" y="216"/>
                    </a:lnTo>
                    <a:lnTo>
                      <a:pt x="95" y="218"/>
                    </a:lnTo>
                    <a:lnTo>
                      <a:pt x="93" y="218"/>
                    </a:lnTo>
                    <a:lnTo>
                      <a:pt x="90" y="216"/>
                    </a:lnTo>
                    <a:lnTo>
                      <a:pt x="85" y="215"/>
                    </a:lnTo>
                    <a:lnTo>
                      <a:pt x="80" y="215"/>
                    </a:lnTo>
                    <a:lnTo>
                      <a:pt x="78" y="213"/>
                    </a:lnTo>
                    <a:lnTo>
                      <a:pt x="73" y="210"/>
                    </a:lnTo>
                    <a:lnTo>
                      <a:pt x="73" y="210"/>
                    </a:lnTo>
                    <a:lnTo>
                      <a:pt x="72" y="208"/>
                    </a:lnTo>
                    <a:lnTo>
                      <a:pt x="68" y="210"/>
                    </a:lnTo>
                    <a:lnTo>
                      <a:pt x="67" y="208"/>
                    </a:lnTo>
                    <a:lnTo>
                      <a:pt x="67" y="208"/>
                    </a:lnTo>
                    <a:lnTo>
                      <a:pt x="65" y="206"/>
                    </a:lnTo>
                    <a:lnTo>
                      <a:pt x="60" y="208"/>
                    </a:lnTo>
                    <a:lnTo>
                      <a:pt x="57" y="208"/>
                    </a:lnTo>
                    <a:lnTo>
                      <a:pt x="33" y="213"/>
                    </a:lnTo>
                    <a:lnTo>
                      <a:pt x="32" y="210"/>
                    </a:lnTo>
                    <a:lnTo>
                      <a:pt x="30" y="208"/>
                    </a:lnTo>
                    <a:lnTo>
                      <a:pt x="27" y="205"/>
                    </a:lnTo>
                    <a:lnTo>
                      <a:pt x="25" y="203"/>
                    </a:lnTo>
                    <a:lnTo>
                      <a:pt x="22" y="201"/>
                    </a:lnTo>
                    <a:lnTo>
                      <a:pt x="18" y="198"/>
                    </a:lnTo>
                    <a:lnTo>
                      <a:pt x="13" y="193"/>
                    </a:lnTo>
                    <a:lnTo>
                      <a:pt x="10" y="191"/>
                    </a:lnTo>
                    <a:lnTo>
                      <a:pt x="8" y="190"/>
                    </a:lnTo>
                    <a:lnTo>
                      <a:pt x="5" y="186"/>
                    </a:lnTo>
                    <a:lnTo>
                      <a:pt x="2" y="183"/>
                    </a:lnTo>
                    <a:lnTo>
                      <a:pt x="0" y="180"/>
                    </a:lnTo>
                    <a:lnTo>
                      <a:pt x="2" y="108"/>
                    </a:lnTo>
                    <a:lnTo>
                      <a:pt x="55" y="108"/>
                    </a:lnTo>
                    <a:lnTo>
                      <a:pt x="53" y="105"/>
                    </a:lnTo>
                    <a:lnTo>
                      <a:pt x="53" y="98"/>
                    </a:lnTo>
                    <a:lnTo>
                      <a:pt x="55" y="97"/>
                    </a:lnTo>
                    <a:lnTo>
                      <a:pt x="55" y="93"/>
                    </a:lnTo>
                    <a:lnTo>
                      <a:pt x="53" y="90"/>
                    </a:lnTo>
                    <a:lnTo>
                      <a:pt x="53" y="85"/>
                    </a:lnTo>
                    <a:lnTo>
                      <a:pt x="53" y="77"/>
                    </a:lnTo>
                    <a:lnTo>
                      <a:pt x="52" y="68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3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1" name="Freeform 134">
                <a:extLst>
                  <a:ext uri="{FF2B5EF4-FFF2-40B4-BE49-F238E27FC236}">
                    <a16:creationId xmlns:a16="http://schemas.microsoft.com/office/drawing/2014/main" id="{DCB89906-6E0D-9B49-8FCE-CE3A51181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2709" y="3337157"/>
                <a:ext cx="162678" cy="142150"/>
              </a:xfrm>
              <a:custGeom>
                <a:avLst/>
                <a:gdLst/>
                <a:ahLst/>
                <a:cxnLst>
                  <a:cxn ang="0">
                    <a:pos x="276" y="256"/>
                  </a:cxn>
                  <a:cxn ang="0">
                    <a:pos x="262" y="244"/>
                  </a:cxn>
                  <a:cxn ang="0">
                    <a:pos x="251" y="234"/>
                  </a:cxn>
                  <a:cxn ang="0">
                    <a:pos x="302" y="156"/>
                  </a:cxn>
                  <a:cxn ang="0">
                    <a:pos x="302" y="141"/>
                  </a:cxn>
                  <a:cxn ang="0">
                    <a:pos x="302" y="118"/>
                  </a:cxn>
                  <a:cxn ang="0">
                    <a:pos x="294" y="116"/>
                  </a:cxn>
                  <a:cxn ang="0">
                    <a:pos x="282" y="119"/>
                  </a:cxn>
                  <a:cxn ang="0">
                    <a:pos x="267" y="116"/>
                  </a:cxn>
                  <a:cxn ang="0">
                    <a:pos x="261" y="119"/>
                  </a:cxn>
                  <a:cxn ang="0">
                    <a:pos x="261" y="111"/>
                  </a:cxn>
                  <a:cxn ang="0">
                    <a:pos x="259" y="99"/>
                  </a:cxn>
                  <a:cxn ang="0">
                    <a:pos x="257" y="89"/>
                  </a:cxn>
                  <a:cxn ang="0">
                    <a:pos x="252" y="83"/>
                  </a:cxn>
                  <a:cxn ang="0">
                    <a:pos x="249" y="73"/>
                  </a:cxn>
                  <a:cxn ang="0">
                    <a:pos x="249" y="56"/>
                  </a:cxn>
                  <a:cxn ang="0">
                    <a:pos x="249" y="45"/>
                  </a:cxn>
                  <a:cxn ang="0">
                    <a:pos x="251" y="31"/>
                  </a:cxn>
                  <a:cxn ang="0">
                    <a:pos x="224" y="23"/>
                  </a:cxn>
                  <a:cxn ang="0">
                    <a:pos x="191" y="31"/>
                  </a:cxn>
                  <a:cxn ang="0">
                    <a:pos x="189" y="46"/>
                  </a:cxn>
                  <a:cxn ang="0">
                    <a:pos x="156" y="48"/>
                  </a:cxn>
                  <a:cxn ang="0">
                    <a:pos x="141" y="40"/>
                  </a:cxn>
                  <a:cxn ang="0">
                    <a:pos x="134" y="28"/>
                  </a:cxn>
                  <a:cxn ang="0">
                    <a:pos x="129" y="15"/>
                  </a:cxn>
                  <a:cxn ang="0">
                    <a:pos x="126" y="5"/>
                  </a:cxn>
                  <a:cxn ang="0">
                    <a:pos x="85" y="0"/>
                  </a:cxn>
                  <a:cxn ang="0">
                    <a:pos x="58" y="0"/>
                  </a:cxn>
                  <a:cxn ang="0">
                    <a:pos x="41" y="0"/>
                  </a:cxn>
                  <a:cxn ang="0">
                    <a:pos x="30" y="3"/>
                  </a:cxn>
                  <a:cxn ang="0">
                    <a:pos x="20" y="8"/>
                  </a:cxn>
                  <a:cxn ang="0">
                    <a:pos x="36" y="45"/>
                  </a:cxn>
                  <a:cxn ang="0">
                    <a:pos x="40" y="73"/>
                  </a:cxn>
                  <a:cxn ang="0">
                    <a:pos x="53" y="106"/>
                  </a:cxn>
                  <a:cxn ang="0">
                    <a:pos x="46" y="148"/>
                  </a:cxn>
                  <a:cxn ang="0">
                    <a:pos x="18" y="171"/>
                  </a:cxn>
                  <a:cxn ang="0">
                    <a:pos x="10" y="204"/>
                  </a:cxn>
                  <a:cxn ang="0">
                    <a:pos x="2" y="236"/>
                  </a:cxn>
                  <a:cxn ang="0">
                    <a:pos x="0" y="256"/>
                  </a:cxn>
                  <a:cxn ang="0">
                    <a:pos x="8" y="252"/>
                  </a:cxn>
                  <a:cxn ang="0">
                    <a:pos x="22" y="254"/>
                  </a:cxn>
                  <a:cxn ang="0">
                    <a:pos x="36" y="247"/>
                  </a:cxn>
                  <a:cxn ang="0">
                    <a:pos x="43" y="247"/>
                  </a:cxn>
                  <a:cxn ang="0">
                    <a:pos x="48" y="252"/>
                  </a:cxn>
                  <a:cxn ang="0">
                    <a:pos x="63" y="257"/>
                  </a:cxn>
                  <a:cxn ang="0">
                    <a:pos x="161" y="256"/>
                  </a:cxn>
                  <a:cxn ang="0">
                    <a:pos x="171" y="264"/>
                  </a:cxn>
                  <a:cxn ang="0">
                    <a:pos x="184" y="267"/>
                  </a:cxn>
                  <a:cxn ang="0">
                    <a:pos x="201" y="267"/>
                  </a:cxn>
                  <a:cxn ang="0">
                    <a:pos x="209" y="264"/>
                  </a:cxn>
                  <a:cxn ang="0">
                    <a:pos x="226" y="271"/>
                  </a:cxn>
                  <a:cxn ang="0">
                    <a:pos x="232" y="269"/>
                  </a:cxn>
                  <a:cxn ang="0">
                    <a:pos x="239" y="271"/>
                  </a:cxn>
                  <a:cxn ang="0">
                    <a:pos x="282" y="264"/>
                  </a:cxn>
                </a:cxnLst>
                <a:rect l="0" t="0" r="r" b="b"/>
                <a:pathLst>
                  <a:path w="304" h="272">
                    <a:moveTo>
                      <a:pt x="282" y="264"/>
                    </a:moveTo>
                    <a:lnTo>
                      <a:pt x="281" y="261"/>
                    </a:lnTo>
                    <a:lnTo>
                      <a:pt x="279" y="259"/>
                    </a:lnTo>
                    <a:lnTo>
                      <a:pt x="276" y="256"/>
                    </a:lnTo>
                    <a:lnTo>
                      <a:pt x="274" y="254"/>
                    </a:lnTo>
                    <a:lnTo>
                      <a:pt x="271" y="252"/>
                    </a:lnTo>
                    <a:lnTo>
                      <a:pt x="267" y="249"/>
                    </a:lnTo>
                    <a:lnTo>
                      <a:pt x="262" y="244"/>
                    </a:lnTo>
                    <a:lnTo>
                      <a:pt x="259" y="242"/>
                    </a:lnTo>
                    <a:lnTo>
                      <a:pt x="257" y="241"/>
                    </a:lnTo>
                    <a:lnTo>
                      <a:pt x="254" y="237"/>
                    </a:lnTo>
                    <a:lnTo>
                      <a:pt x="251" y="234"/>
                    </a:lnTo>
                    <a:lnTo>
                      <a:pt x="249" y="231"/>
                    </a:lnTo>
                    <a:lnTo>
                      <a:pt x="251" y="159"/>
                    </a:lnTo>
                    <a:lnTo>
                      <a:pt x="304" y="159"/>
                    </a:lnTo>
                    <a:lnTo>
                      <a:pt x="302" y="156"/>
                    </a:lnTo>
                    <a:lnTo>
                      <a:pt x="302" y="149"/>
                    </a:lnTo>
                    <a:lnTo>
                      <a:pt x="304" y="148"/>
                    </a:lnTo>
                    <a:lnTo>
                      <a:pt x="304" y="144"/>
                    </a:lnTo>
                    <a:lnTo>
                      <a:pt x="302" y="141"/>
                    </a:lnTo>
                    <a:lnTo>
                      <a:pt x="302" y="136"/>
                    </a:lnTo>
                    <a:lnTo>
                      <a:pt x="302" y="128"/>
                    </a:lnTo>
                    <a:lnTo>
                      <a:pt x="301" y="119"/>
                    </a:lnTo>
                    <a:lnTo>
                      <a:pt x="302" y="118"/>
                    </a:lnTo>
                    <a:lnTo>
                      <a:pt x="302" y="116"/>
                    </a:lnTo>
                    <a:lnTo>
                      <a:pt x="302" y="114"/>
                    </a:lnTo>
                    <a:lnTo>
                      <a:pt x="297" y="114"/>
                    </a:lnTo>
                    <a:lnTo>
                      <a:pt x="294" y="116"/>
                    </a:lnTo>
                    <a:lnTo>
                      <a:pt x="289" y="118"/>
                    </a:lnTo>
                    <a:lnTo>
                      <a:pt x="287" y="119"/>
                    </a:lnTo>
                    <a:lnTo>
                      <a:pt x="284" y="119"/>
                    </a:lnTo>
                    <a:lnTo>
                      <a:pt x="282" y="119"/>
                    </a:lnTo>
                    <a:lnTo>
                      <a:pt x="276" y="119"/>
                    </a:lnTo>
                    <a:lnTo>
                      <a:pt x="274" y="118"/>
                    </a:lnTo>
                    <a:lnTo>
                      <a:pt x="271" y="116"/>
                    </a:lnTo>
                    <a:lnTo>
                      <a:pt x="267" y="116"/>
                    </a:lnTo>
                    <a:lnTo>
                      <a:pt x="266" y="116"/>
                    </a:lnTo>
                    <a:lnTo>
                      <a:pt x="264" y="118"/>
                    </a:lnTo>
                    <a:lnTo>
                      <a:pt x="262" y="119"/>
                    </a:lnTo>
                    <a:lnTo>
                      <a:pt x="261" y="119"/>
                    </a:lnTo>
                    <a:lnTo>
                      <a:pt x="259" y="118"/>
                    </a:lnTo>
                    <a:lnTo>
                      <a:pt x="259" y="113"/>
                    </a:lnTo>
                    <a:lnTo>
                      <a:pt x="261" y="111"/>
                    </a:lnTo>
                    <a:lnTo>
                      <a:pt x="261" y="111"/>
                    </a:lnTo>
                    <a:lnTo>
                      <a:pt x="262" y="108"/>
                    </a:lnTo>
                    <a:lnTo>
                      <a:pt x="259" y="104"/>
                    </a:lnTo>
                    <a:lnTo>
                      <a:pt x="259" y="101"/>
                    </a:lnTo>
                    <a:lnTo>
                      <a:pt x="259" y="99"/>
                    </a:lnTo>
                    <a:lnTo>
                      <a:pt x="259" y="98"/>
                    </a:lnTo>
                    <a:lnTo>
                      <a:pt x="257" y="94"/>
                    </a:lnTo>
                    <a:lnTo>
                      <a:pt x="257" y="91"/>
                    </a:lnTo>
                    <a:lnTo>
                      <a:pt x="257" y="89"/>
                    </a:lnTo>
                    <a:lnTo>
                      <a:pt x="257" y="86"/>
                    </a:lnTo>
                    <a:lnTo>
                      <a:pt x="256" y="86"/>
                    </a:lnTo>
                    <a:lnTo>
                      <a:pt x="254" y="83"/>
                    </a:lnTo>
                    <a:lnTo>
                      <a:pt x="252" y="83"/>
                    </a:lnTo>
                    <a:lnTo>
                      <a:pt x="252" y="79"/>
                    </a:lnTo>
                    <a:lnTo>
                      <a:pt x="251" y="78"/>
                    </a:lnTo>
                    <a:lnTo>
                      <a:pt x="251" y="75"/>
                    </a:lnTo>
                    <a:lnTo>
                      <a:pt x="249" y="73"/>
                    </a:lnTo>
                    <a:lnTo>
                      <a:pt x="251" y="70"/>
                    </a:lnTo>
                    <a:lnTo>
                      <a:pt x="251" y="61"/>
                    </a:lnTo>
                    <a:lnTo>
                      <a:pt x="249" y="58"/>
                    </a:lnTo>
                    <a:lnTo>
                      <a:pt x="249" y="56"/>
                    </a:lnTo>
                    <a:lnTo>
                      <a:pt x="251" y="55"/>
                    </a:lnTo>
                    <a:lnTo>
                      <a:pt x="251" y="51"/>
                    </a:lnTo>
                    <a:lnTo>
                      <a:pt x="247" y="48"/>
                    </a:lnTo>
                    <a:lnTo>
                      <a:pt x="249" y="45"/>
                    </a:lnTo>
                    <a:lnTo>
                      <a:pt x="251" y="41"/>
                    </a:lnTo>
                    <a:lnTo>
                      <a:pt x="251" y="38"/>
                    </a:lnTo>
                    <a:lnTo>
                      <a:pt x="251" y="35"/>
                    </a:lnTo>
                    <a:lnTo>
                      <a:pt x="251" y="31"/>
                    </a:lnTo>
                    <a:lnTo>
                      <a:pt x="223" y="30"/>
                    </a:lnTo>
                    <a:lnTo>
                      <a:pt x="223" y="28"/>
                    </a:lnTo>
                    <a:lnTo>
                      <a:pt x="223" y="26"/>
                    </a:lnTo>
                    <a:lnTo>
                      <a:pt x="224" y="23"/>
                    </a:lnTo>
                    <a:lnTo>
                      <a:pt x="216" y="23"/>
                    </a:lnTo>
                    <a:lnTo>
                      <a:pt x="216" y="25"/>
                    </a:lnTo>
                    <a:lnTo>
                      <a:pt x="193" y="25"/>
                    </a:lnTo>
                    <a:lnTo>
                      <a:pt x="191" y="31"/>
                    </a:lnTo>
                    <a:lnTo>
                      <a:pt x="189" y="35"/>
                    </a:lnTo>
                    <a:lnTo>
                      <a:pt x="188" y="36"/>
                    </a:lnTo>
                    <a:lnTo>
                      <a:pt x="189" y="40"/>
                    </a:lnTo>
                    <a:lnTo>
                      <a:pt x="189" y="46"/>
                    </a:lnTo>
                    <a:lnTo>
                      <a:pt x="171" y="46"/>
                    </a:lnTo>
                    <a:lnTo>
                      <a:pt x="168" y="48"/>
                    </a:lnTo>
                    <a:lnTo>
                      <a:pt x="159" y="48"/>
                    </a:lnTo>
                    <a:lnTo>
                      <a:pt x="156" y="48"/>
                    </a:lnTo>
                    <a:lnTo>
                      <a:pt x="151" y="48"/>
                    </a:lnTo>
                    <a:lnTo>
                      <a:pt x="146" y="48"/>
                    </a:lnTo>
                    <a:lnTo>
                      <a:pt x="143" y="46"/>
                    </a:lnTo>
                    <a:lnTo>
                      <a:pt x="141" y="40"/>
                    </a:lnTo>
                    <a:lnTo>
                      <a:pt x="138" y="35"/>
                    </a:lnTo>
                    <a:lnTo>
                      <a:pt x="136" y="33"/>
                    </a:lnTo>
                    <a:lnTo>
                      <a:pt x="134" y="31"/>
                    </a:lnTo>
                    <a:lnTo>
                      <a:pt x="134" y="28"/>
                    </a:lnTo>
                    <a:lnTo>
                      <a:pt x="133" y="26"/>
                    </a:lnTo>
                    <a:lnTo>
                      <a:pt x="131" y="21"/>
                    </a:lnTo>
                    <a:lnTo>
                      <a:pt x="129" y="18"/>
                    </a:lnTo>
                    <a:lnTo>
                      <a:pt x="129" y="15"/>
                    </a:lnTo>
                    <a:lnTo>
                      <a:pt x="129" y="11"/>
                    </a:lnTo>
                    <a:lnTo>
                      <a:pt x="129" y="10"/>
                    </a:lnTo>
                    <a:lnTo>
                      <a:pt x="128" y="6"/>
                    </a:lnTo>
                    <a:lnTo>
                      <a:pt x="126" y="5"/>
                    </a:lnTo>
                    <a:lnTo>
                      <a:pt x="128" y="3"/>
                    </a:lnTo>
                    <a:lnTo>
                      <a:pt x="128" y="0"/>
                    </a:lnTo>
                    <a:lnTo>
                      <a:pt x="103" y="0"/>
                    </a:lnTo>
                    <a:lnTo>
                      <a:pt x="85" y="0"/>
                    </a:lnTo>
                    <a:lnTo>
                      <a:pt x="76" y="1"/>
                    </a:lnTo>
                    <a:lnTo>
                      <a:pt x="70" y="0"/>
                    </a:lnTo>
                    <a:lnTo>
                      <a:pt x="65" y="0"/>
                    </a:lnTo>
                    <a:lnTo>
                      <a:pt x="58" y="0"/>
                    </a:lnTo>
                    <a:lnTo>
                      <a:pt x="53" y="1"/>
                    </a:lnTo>
                    <a:lnTo>
                      <a:pt x="48" y="1"/>
                    </a:lnTo>
                    <a:lnTo>
                      <a:pt x="45" y="0"/>
                    </a:lnTo>
                    <a:lnTo>
                      <a:pt x="41" y="0"/>
                    </a:lnTo>
                    <a:lnTo>
                      <a:pt x="36" y="1"/>
                    </a:lnTo>
                    <a:lnTo>
                      <a:pt x="33" y="1"/>
                    </a:lnTo>
                    <a:lnTo>
                      <a:pt x="31" y="3"/>
                    </a:lnTo>
                    <a:lnTo>
                      <a:pt x="30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0" y="8"/>
                    </a:lnTo>
                    <a:lnTo>
                      <a:pt x="23" y="10"/>
                    </a:lnTo>
                    <a:lnTo>
                      <a:pt x="23" y="13"/>
                    </a:lnTo>
                    <a:lnTo>
                      <a:pt x="36" y="26"/>
                    </a:lnTo>
                    <a:lnTo>
                      <a:pt x="36" y="45"/>
                    </a:lnTo>
                    <a:lnTo>
                      <a:pt x="45" y="53"/>
                    </a:lnTo>
                    <a:lnTo>
                      <a:pt x="43" y="61"/>
                    </a:lnTo>
                    <a:lnTo>
                      <a:pt x="35" y="71"/>
                    </a:lnTo>
                    <a:lnTo>
                      <a:pt x="40" y="73"/>
                    </a:lnTo>
                    <a:lnTo>
                      <a:pt x="40" y="81"/>
                    </a:lnTo>
                    <a:lnTo>
                      <a:pt x="43" y="86"/>
                    </a:lnTo>
                    <a:lnTo>
                      <a:pt x="43" y="91"/>
                    </a:lnTo>
                    <a:lnTo>
                      <a:pt x="53" y="106"/>
                    </a:lnTo>
                    <a:lnTo>
                      <a:pt x="53" y="109"/>
                    </a:lnTo>
                    <a:lnTo>
                      <a:pt x="55" y="113"/>
                    </a:lnTo>
                    <a:lnTo>
                      <a:pt x="55" y="131"/>
                    </a:lnTo>
                    <a:lnTo>
                      <a:pt x="46" y="148"/>
                    </a:lnTo>
                    <a:lnTo>
                      <a:pt x="43" y="148"/>
                    </a:lnTo>
                    <a:lnTo>
                      <a:pt x="31" y="154"/>
                    </a:lnTo>
                    <a:lnTo>
                      <a:pt x="31" y="161"/>
                    </a:lnTo>
                    <a:lnTo>
                      <a:pt x="18" y="171"/>
                    </a:lnTo>
                    <a:lnTo>
                      <a:pt x="18" y="177"/>
                    </a:lnTo>
                    <a:lnTo>
                      <a:pt x="17" y="179"/>
                    </a:lnTo>
                    <a:lnTo>
                      <a:pt x="17" y="197"/>
                    </a:lnTo>
                    <a:lnTo>
                      <a:pt x="10" y="204"/>
                    </a:lnTo>
                    <a:lnTo>
                      <a:pt x="8" y="212"/>
                    </a:lnTo>
                    <a:lnTo>
                      <a:pt x="2" y="221"/>
                    </a:lnTo>
                    <a:lnTo>
                      <a:pt x="2" y="227"/>
                    </a:lnTo>
                    <a:lnTo>
                      <a:pt x="2" y="236"/>
                    </a:lnTo>
                    <a:lnTo>
                      <a:pt x="2" y="246"/>
                    </a:lnTo>
                    <a:lnTo>
                      <a:pt x="0" y="252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5" y="256"/>
                    </a:lnTo>
                    <a:lnTo>
                      <a:pt x="5" y="257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10" y="252"/>
                    </a:lnTo>
                    <a:lnTo>
                      <a:pt x="17" y="254"/>
                    </a:lnTo>
                    <a:lnTo>
                      <a:pt x="20" y="256"/>
                    </a:lnTo>
                    <a:lnTo>
                      <a:pt x="22" y="254"/>
                    </a:lnTo>
                    <a:lnTo>
                      <a:pt x="22" y="251"/>
                    </a:lnTo>
                    <a:lnTo>
                      <a:pt x="28" y="246"/>
                    </a:lnTo>
                    <a:lnTo>
                      <a:pt x="31" y="246"/>
                    </a:lnTo>
                    <a:lnTo>
                      <a:pt x="36" y="247"/>
                    </a:lnTo>
                    <a:lnTo>
                      <a:pt x="36" y="247"/>
                    </a:lnTo>
                    <a:lnTo>
                      <a:pt x="38" y="247"/>
                    </a:lnTo>
                    <a:lnTo>
                      <a:pt x="40" y="246"/>
                    </a:lnTo>
                    <a:lnTo>
                      <a:pt x="43" y="247"/>
                    </a:lnTo>
                    <a:lnTo>
                      <a:pt x="43" y="249"/>
                    </a:lnTo>
                    <a:lnTo>
                      <a:pt x="46" y="251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53" y="257"/>
                    </a:lnTo>
                    <a:lnTo>
                      <a:pt x="58" y="259"/>
                    </a:lnTo>
                    <a:lnTo>
                      <a:pt x="61" y="257"/>
                    </a:lnTo>
                    <a:lnTo>
                      <a:pt x="63" y="257"/>
                    </a:lnTo>
                    <a:lnTo>
                      <a:pt x="66" y="256"/>
                    </a:lnTo>
                    <a:lnTo>
                      <a:pt x="70" y="256"/>
                    </a:lnTo>
                    <a:lnTo>
                      <a:pt x="70" y="256"/>
                    </a:lnTo>
                    <a:lnTo>
                      <a:pt x="161" y="256"/>
                    </a:lnTo>
                    <a:lnTo>
                      <a:pt x="163" y="257"/>
                    </a:lnTo>
                    <a:lnTo>
                      <a:pt x="164" y="261"/>
                    </a:lnTo>
                    <a:lnTo>
                      <a:pt x="168" y="262"/>
                    </a:lnTo>
                    <a:lnTo>
                      <a:pt x="171" y="264"/>
                    </a:lnTo>
                    <a:lnTo>
                      <a:pt x="178" y="266"/>
                    </a:lnTo>
                    <a:lnTo>
                      <a:pt x="181" y="266"/>
                    </a:lnTo>
                    <a:lnTo>
                      <a:pt x="183" y="266"/>
                    </a:lnTo>
                    <a:lnTo>
                      <a:pt x="184" y="267"/>
                    </a:lnTo>
                    <a:lnTo>
                      <a:pt x="188" y="269"/>
                    </a:lnTo>
                    <a:lnTo>
                      <a:pt x="191" y="267"/>
                    </a:lnTo>
                    <a:lnTo>
                      <a:pt x="194" y="266"/>
                    </a:lnTo>
                    <a:lnTo>
                      <a:pt x="201" y="267"/>
                    </a:lnTo>
                    <a:lnTo>
                      <a:pt x="204" y="267"/>
                    </a:lnTo>
                    <a:lnTo>
                      <a:pt x="204" y="264"/>
                    </a:lnTo>
                    <a:lnTo>
                      <a:pt x="206" y="264"/>
                    </a:lnTo>
                    <a:lnTo>
                      <a:pt x="209" y="264"/>
                    </a:lnTo>
                    <a:lnTo>
                      <a:pt x="214" y="269"/>
                    </a:lnTo>
                    <a:lnTo>
                      <a:pt x="219" y="271"/>
                    </a:lnTo>
                    <a:lnTo>
                      <a:pt x="224" y="271"/>
                    </a:lnTo>
                    <a:lnTo>
                      <a:pt x="226" y="271"/>
                    </a:lnTo>
                    <a:lnTo>
                      <a:pt x="226" y="269"/>
                    </a:lnTo>
                    <a:lnTo>
                      <a:pt x="227" y="267"/>
                    </a:lnTo>
                    <a:lnTo>
                      <a:pt x="231" y="269"/>
                    </a:lnTo>
                    <a:lnTo>
                      <a:pt x="232" y="269"/>
                    </a:lnTo>
                    <a:lnTo>
                      <a:pt x="234" y="269"/>
                    </a:lnTo>
                    <a:lnTo>
                      <a:pt x="236" y="271"/>
                    </a:lnTo>
                    <a:lnTo>
                      <a:pt x="237" y="271"/>
                    </a:lnTo>
                    <a:lnTo>
                      <a:pt x="239" y="271"/>
                    </a:lnTo>
                    <a:lnTo>
                      <a:pt x="241" y="272"/>
                    </a:lnTo>
                    <a:lnTo>
                      <a:pt x="242" y="271"/>
                    </a:lnTo>
                    <a:lnTo>
                      <a:pt x="244" y="271"/>
                    </a:lnTo>
                    <a:lnTo>
                      <a:pt x="282" y="2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2" name="Freeform 135">
                <a:extLst>
                  <a:ext uri="{FF2B5EF4-FFF2-40B4-BE49-F238E27FC236}">
                    <a16:creationId xmlns:a16="http://schemas.microsoft.com/office/drawing/2014/main" id="{83264D2A-9754-6543-B3C8-C82488B9B8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229" y="3449217"/>
                <a:ext cx="100603" cy="80932"/>
              </a:xfrm>
              <a:custGeom>
                <a:avLst/>
                <a:gdLst/>
                <a:ahLst/>
                <a:cxnLst>
                  <a:cxn ang="0">
                    <a:pos x="7" y="50"/>
                  </a:cxn>
                  <a:cxn ang="0">
                    <a:pos x="17" y="53"/>
                  </a:cxn>
                  <a:cxn ang="0">
                    <a:pos x="28" y="51"/>
                  </a:cxn>
                  <a:cxn ang="0">
                    <a:pos x="32" y="51"/>
                  </a:cxn>
                  <a:cxn ang="0">
                    <a:pos x="47" y="53"/>
                  </a:cxn>
                  <a:cxn ang="0">
                    <a:pos x="80" y="23"/>
                  </a:cxn>
                  <a:cxn ang="0">
                    <a:pos x="90" y="16"/>
                  </a:cxn>
                  <a:cxn ang="0">
                    <a:pos x="90" y="11"/>
                  </a:cxn>
                  <a:cxn ang="0">
                    <a:pos x="103" y="3"/>
                  </a:cxn>
                  <a:cxn ang="0">
                    <a:pos x="118" y="0"/>
                  </a:cxn>
                  <a:cxn ang="0">
                    <a:pos x="126" y="1"/>
                  </a:cxn>
                  <a:cxn ang="0">
                    <a:pos x="130" y="10"/>
                  </a:cxn>
                  <a:cxn ang="0">
                    <a:pos x="143" y="13"/>
                  </a:cxn>
                  <a:cxn ang="0">
                    <a:pos x="155" y="11"/>
                  </a:cxn>
                  <a:cxn ang="0">
                    <a:pos x="170" y="20"/>
                  </a:cxn>
                  <a:cxn ang="0">
                    <a:pos x="185" y="26"/>
                  </a:cxn>
                  <a:cxn ang="0">
                    <a:pos x="188" y="35"/>
                  </a:cxn>
                  <a:cxn ang="0">
                    <a:pos x="188" y="43"/>
                  </a:cxn>
                  <a:cxn ang="0">
                    <a:pos x="185" y="56"/>
                  </a:cxn>
                  <a:cxn ang="0">
                    <a:pos x="188" y="61"/>
                  </a:cxn>
                  <a:cxn ang="0">
                    <a:pos x="183" y="71"/>
                  </a:cxn>
                  <a:cxn ang="0">
                    <a:pos x="180" y="79"/>
                  </a:cxn>
                  <a:cxn ang="0">
                    <a:pos x="183" y="88"/>
                  </a:cxn>
                  <a:cxn ang="0">
                    <a:pos x="186" y="96"/>
                  </a:cxn>
                  <a:cxn ang="0">
                    <a:pos x="176" y="106"/>
                  </a:cxn>
                  <a:cxn ang="0">
                    <a:pos x="175" y="113"/>
                  </a:cxn>
                  <a:cxn ang="0">
                    <a:pos x="171" y="124"/>
                  </a:cxn>
                  <a:cxn ang="0">
                    <a:pos x="140" y="154"/>
                  </a:cxn>
                  <a:cxn ang="0">
                    <a:pos x="121" y="154"/>
                  </a:cxn>
                  <a:cxn ang="0">
                    <a:pos x="111" y="151"/>
                  </a:cxn>
                  <a:cxn ang="0">
                    <a:pos x="97" y="148"/>
                  </a:cxn>
                  <a:cxn ang="0">
                    <a:pos x="92" y="141"/>
                  </a:cxn>
                  <a:cxn ang="0">
                    <a:pos x="82" y="138"/>
                  </a:cxn>
                  <a:cxn ang="0">
                    <a:pos x="70" y="136"/>
                  </a:cxn>
                  <a:cxn ang="0">
                    <a:pos x="57" y="128"/>
                  </a:cxn>
                  <a:cxn ang="0">
                    <a:pos x="55" y="116"/>
                  </a:cxn>
                  <a:cxn ang="0">
                    <a:pos x="47" y="109"/>
                  </a:cxn>
                  <a:cxn ang="0">
                    <a:pos x="47" y="104"/>
                  </a:cxn>
                  <a:cxn ang="0">
                    <a:pos x="37" y="98"/>
                  </a:cxn>
                  <a:cxn ang="0">
                    <a:pos x="23" y="83"/>
                  </a:cxn>
                  <a:cxn ang="0">
                    <a:pos x="18" y="78"/>
                  </a:cxn>
                  <a:cxn ang="0">
                    <a:pos x="13" y="68"/>
                  </a:cxn>
                  <a:cxn ang="0">
                    <a:pos x="8" y="63"/>
                  </a:cxn>
                  <a:cxn ang="0">
                    <a:pos x="0" y="56"/>
                  </a:cxn>
                  <a:cxn ang="0">
                    <a:pos x="0" y="51"/>
                  </a:cxn>
                  <a:cxn ang="0">
                    <a:pos x="0" y="48"/>
                  </a:cxn>
                </a:cxnLst>
                <a:rect l="0" t="0" r="r" b="b"/>
                <a:pathLst>
                  <a:path w="190" h="156">
                    <a:moveTo>
                      <a:pt x="0" y="48"/>
                    </a:moveTo>
                    <a:lnTo>
                      <a:pt x="2" y="50"/>
                    </a:lnTo>
                    <a:lnTo>
                      <a:pt x="7" y="50"/>
                    </a:lnTo>
                    <a:lnTo>
                      <a:pt x="12" y="51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22" y="51"/>
                    </a:lnTo>
                    <a:lnTo>
                      <a:pt x="27" y="50"/>
                    </a:lnTo>
                    <a:lnTo>
                      <a:pt x="28" y="51"/>
                    </a:lnTo>
                    <a:lnTo>
                      <a:pt x="30" y="51"/>
                    </a:lnTo>
                    <a:lnTo>
                      <a:pt x="32" y="51"/>
                    </a:lnTo>
                    <a:lnTo>
                      <a:pt x="32" y="51"/>
                    </a:lnTo>
                    <a:lnTo>
                      <a:pt x="35" y="55"/>
                    </a:lnTo>
                    <a:lnTo>
                      <a:pt x="40" y="55"/>
                    </a:lnTo>
                    <a:lnTo>
                      <a:pt x="47" y="53"/>
                    </a:lnTo>
                    <a:lnTo>
                      <a:pt x="53" y="45"/>
                    </a:lnTo>
                    <a:lnTo>
                      <a:pt x="65" y="31"/>
                    </a:lnTo>
                    <a:lnTo>
                      <a:pt x="80" y="23"/>
                    </a:lnTo>
                    <a:lnTo>
                      <a:pt x="88" y="20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0" y="11"/>
                    </a:lnTo>
                    <a:lnTo>
                      <a:pt x="92" y="8"/>
                    </a:lnTo>
                    <a:lnTo>
                      <a:pt x="100" y="5"/>
                    </a:lnTo>
                    <a:lnTo>
                      <a:pt x="103" y="3"/>
                    </a:lnTo>
                    <a:lnTo>
                      <a:pt x="106" y="1"/>
                    </a:lnTo>
                    <a:lnTo>
                      <a:pt x="111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21" y="1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30" y="1"/>
                    </a:lnTo>
                    <a:lnTo>
                      <a:pt x="130" y="10"/>
                    </a:lnTo>
                    <a:lnTo>
                      <a:pt x="138" y="10"/>
                    </a:lnTo>
                    <a:lnTo>
                      <a:pt x="141" y="10"/>
                    </a:lnTo>
                    <a:lnTo>
                      <a:pt x="143" y="13"/>
                    </a:lnTo>
                    <a:lnTo>
                      <a:pt x="146" y="11"/>
                    </a:lnTo>
                    <a:lnTo>
                      <a:pt x="148" y="10"/>
                    </a:lnTo>
                    <a:lnTo>
                      <a:pt x="155" y="11"/>
                    </a:lnTo>
                    <a:lnTo>
                      <a:pt x="161" y="15"/>
                    </a:lnTo>
                    <a:lnTo>
                      <a:pt x="165" y="20"/>
                    </a:lnTo>
                    <a:lnTo>
                      <a:pt x="170" y="20"/>
                    </a:lnTo>
                    <a:lnTo>
                      <a:pt x="176" y="21"/>
                    </a:lnTo>
                    <a:lnTo>
                      <a:pt x="181" y="25"/>
                    </a:lnTo>
                    <a:lnTo>
                      <a:pt x="185" y="26"/>
                    </a:lnTo>
                    <a:lnTo>
                      <a:pt x="190" y="28"/>
                    </a:lnTo>
                    <a:lnTo>
                      <a:pt x="190" y="31"/>
                    </a:lnTo>
                    <a:lnTo>
                      <a:pt x="188" y="35"/>
                    </a:lnTo>
                    <a:lnTo>
                      <a:pt x="188" y="38"/>
                    </a:lnTo>
                    <a:lnTo>
                      <a:pt x="188" y="41"/>
                    </a:lnTo>
                    <a:lnTo>
                      <a:pt x="188" y="43"/>
                    </a:lnTo>
                    <a:lnTo>
                      <a:pt x="188" y="46"/>
                    </a:lnTo>
                    <a:lnTo>
                      <a:pt x="186" y="50"/>
                    </a:lnTo>
                    <a:lnTo>
                      <a:pt x="185" y="56"/>
                    </a:lnTo>
                    <a:lnTo>
                      <a:pt x="183" y="60"/>
                    </a:lnTo>
                    <a:lnTo>
                      <a:pt x="185" y="61"/>
                    </a:lnTo>
                    <a:lnTo>
                      <a:pt x="188" y="61"/>
                    </a:lnTo>
                    <a:lnTo>
                      <a:pt x="186" y="64"/>
                    </a:lnTo>
                    <a:lnTo>
                      <a:pt x="183" y="66"/>
                    </a:lnTo>
                    <a:lnTo>
                      <a:pt x="183" y="71"/>
                    </a:lnTo>
                    <a:lnTo>
                      <a:pt x="183" y="74"/>
                    </a:lnTo>
                    <a:lnTo>
                      <a:pt x="180" y="76"/>
                    </a:lnTo>
                    <a:lnTo>
                      <a:pt x="180" y="79"/>
                    </a:lnTo>
                    <a:lnTo>
                      <a:pt x="185" y="81"/>
                    </a:lnTo>
                    <a:lnTo>
                      <a:pt x="185" y="86"/>
                    </a:lnTo>
                    <a:lnTo>
                      <a:pt x="183" y="88"/>
                    </a:lnTo>
                    <a:lnTo>
                      <a:pt x="183" y="91"/>
                    </a:lnTo>
                    <a:lnTo>
                      <a:pt x="185" y="93"/>
                    </a:lnTo>
                    <a:lnTo>
                      <a:pt x="186" y="96"/>
                    </a:lnTo>
                    <a:lnTo>
                      <a:pt x="183" y="101"/>
                    </a:lnTo>
                    <a:lnTo>
                      <a:pt x="178" y="104"/>
                    </a:lnTo>
                    <a:lnTo>
                      <a:pt x="176" y="106"/>
                    </a:lnTo>
                    <a:lnTo>
                      <a:pt x="173" y="106"/>
                    </a:lnTo>
                    <a:lnTo>
                      <a:pt x="173" y="109"/>
                    </a:lnTo>
                    <a:lnTo>
                      <a:pt x="175" y="113"/>
                    </a:lnTo>
                    <a:lnTo>
                      <a:pt x="173" y="116"/>
                    </a:lnTo>
                    <a:lnTo>
                      <a:pt x="173" y="123"/>
                    </a:lnTo>
                    <a:lnTo>
                      <a:pt x="171" y="124"/>
                    </a:lnTo>
                    <a:lnTo>
                      <a:pt x="171" y="133"/>
                    </a:lnTo>
                    <a:lnTo>
                      <a:pt x="145" y="156"/>
                    </a:lnTo>
                    <a:lnTo>
                      <a:pt x="140" y="154"/>
                    </a:lnTo>
                    <a:lnTo>
                      <a:pt x="131" y="153"/>
                    </a:lnTo>
                    <a:lnTo>
                      <a:pt x="125" y="153"/>
                    </a:lnTo>
                    <a:lnTo>
                      <a:pt x="121" y="154"/>
                    </a:lnTo>
                    <a:lnTo>
                      <a:pt x="120" y="153"/>
                    </a:lnTo>
                    <a:lnTo>
                      <a:pt x="115" y="151"/>
                    </a:lnTo>
                    <a:lnTo>
                      <a:pt x="111" y="151"/>
                    </a:lnTo>
                    <a:lnTo>
                      <a:pt x="110" y="148"/>
                    </a:lnTo>
                    <a:lnTo>
                      <a:pt x="103" y="148"/>
                    </a:lnTo>
                    <a:lnTo>
                      <a:pt x="97" y="148"/>
                    </a:lnTo>
                    <a:lnTo>
                      <a:pt x="93" y="146"/>
                    </a:lnTo>
                    <a:lnTo>
                      <a:pt x="92" y="144"/>
                    </a:lnTo>
                    <a:lnTo>
                      <a:pt x="92" y="141"/>
                    </a:lnTo>
                    <a:lnTo>
                      <a:pt x="90" y="139"/>
                    </a:lnTo>
                    <a:lnTo>
                      <a:pt x="87" y="139"/>
                    </a:lnTo>
                    <a:lnTo>
                      <a:pt x="82" y="138"/>
                    </a:lnTo>
                    <a:lnTo>
                      <a:pt x="78" y="138"/>
                    </a:lnTo>
                    <a:lnTo>
                      <a:pt x="73" y="134"/>
                    </a:lnTo>
                    <a:lnTo>
                      <a:pt x="70" y="136"/>
                    </a:lnTo>
                    <a:lnTo>
                      <a:pt x="65" y="134"/>
                    </a:lnTo>
                    <a:lnTo>
                      <a:pt x="62" y="131"/>
                    </a:lnTo>
                    <a:lnTo>
                      <a:pt x="57" y="128"/>
                    </a:lnTo>
                    <a:lnTo>
                      <a:pt x="55" y="124"/>
                    </a:lnTo>
                    <a:lnTo>
                      <a:pt x="55" y="121"/>
                    </a:lnTo>
                    <a:lnTo>
                      <a:pt x="55" y="116"/>
                    </a:lnTo>
                    <a:lnTo>
                      <a:pt x="55" y="113"/>
                    </a:lnTo>
                    <a:lnTo>
                      <a:pt x="52" y="111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7" y="106"/>
                    </a:lnTo>
                    <a:lnTo>
                      <a:pt x="47" y="104"/>
                    </a:lnTo>
                    <a:lnTo>
                      <a:pt x="43" y="103"/>
                    </a:lnTo>
                    <a:lnTo>
                      <a:pt x="42" y="101"/>
                    </a:lnTo>
                    <a:lnTo>
                      <a:pt x="37" y="98"/>
                    </a:lnTo>
                    <a:lnTo>
                      <a:pt x="32" y="94"/>
                    </a:lnTo>
                    <a:lnTo>
                      <a:pt x="25" y="86"/>
                    </a:lnTo>
                    <a:lnTo>
                      <a:pt x="23" y="83"/>
                    </a:lnTo>
                    <a:lnTo>
                      <a:pt x="22" y="83"/>
                    </a:lnTo>
                    <a:lnTo>
                      <a:pt x="20" y="81"/>
                    </a:lnTo>
                    <a:lnTo>
                      <a:pt x="18" y="78"/>
                    </a:lnTo>
                    <a:lnTo>
                      <a:pt x="17" y="76"/>
                    </a:lnTo>
                    <a:lnTo>
                      <a:pt x="15" y="71"/>
                    </a:lnTo>
                    <a:lnTo>
                      <a:pt x="13" y="68"/>
                    </a:lnTo>
                    <a:lnTo>
                      <a:pt x="12" y="68"/>
                    </a:lnTo>
                    <a:lnTo>
                      <a:pt x="10" y="64"/>
                    </a:lnTo>
                    <a:lnTo>
                      <a:pt x="8" y="63"/>
                    </a:lnTo>
                    <a:lnTo>
                      <a:pt x="5" y="61"/>
                    </a:lnTo>
                    <a:lnTo>
                      <a:pt x="3" y="60"/>
                    </a:lnTo>
                    <a:lnTo>
                      <a:pt x="0" y="56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3" name="Freeform 136">
                <a:extLst>
                  <a:ext uri="{FF2B5EF4-FFF2-40B4-BE49-F238E27FC236}">
                    <a16:creationId xmlns:a16="http://schemas.microsoft.com/office/drawing/2014/main" id="{EB4D7FC2-3188-3C40-937E-A23F31B29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7593" y="3474119"/>
                <a:ext cx="122008" cy="106872"/>
              </a:xfrm>
              <a:custGeom>
                <a:avLst/>
                <a:gdLst/>
                <a:ahLst/>
                <a:cxnLst>
                  <a:cxn ang="0">
                    <a:pos x="131" y="5"/>
                  </a:cxn>
                  <a:cxn ang="0">
                    <a:pos x="134" y="12"/>
                  </a:cxn>
                  <a:cxn ang="0">
                    <a:pos x="141" y="16"/>
                  </a:cxn>
                  <a:cxn ang="0">
                    <a:pos x="146" y="23"/>
                  </a:cxn>
                  <a:cxn ang="0">
                    <a:pos x="151" y="33"/>
                  </a:cxn>
                  <a:cxn ang="0">
                    <a:pos x="156" y="38"/>
                  </a:cxn>
                  <a:cxn ang="0">
                    <a:pos x="173" y="53"/>
                  </a:cxn>
                  <a:cxn ang="0">
                    <a:pos x="178" y="58"/>
                  </a:cxn>
                  <a:cxn ang="0">
                    <a:pos x="183" y="63"/>
                  </a:cxn>
                  <a:cxn ang="0">
                    <a:pos x="186" y="73"/>
                  </a:cxn>
                  <a:cxn ang="0">
                    <a:pos x="193" y="83"/>
                  </a:cxn>
                  <a:cxn ang="0">
                    <a:pos x="204" y="86"/>
                  </a:cxn>
                  <a:cxn ang="0">
                    <a:pos x="218" y="91"/>
                  </a:cxn>
                  <a:cxn ang="0">
                    <a:pos x="223" y="96"/>
                  </a:cxn>
                  <a:cxn ang="0">
                    <a:pos x="224" y="101"/>
                  </a:cxn>
                  <a:cxn ang="0">
                    <a:pos x="214" y="105"/>
                  </a:cxn>
                  <a:cxn ang="0">
                    <a:pos x="211" y="111"/>
                  </a:cxn>
                  <a:cxn ang="0">
                    <a:pos x="201" y="114"/>
                  </a:cxn>
                  <a:cxn ang="0">
                    <a:pos x="189" y="118"/>
                  </a:cxn>
                  <a:cxn ang="0">
                    <a:pos x="183" y="123"/>
                  </a:cxn>
                  <a:cxn ang="0">
                    <a:pos x="174" y="128"/>
                  </a:cxn>
                  <a:cxn ang="0">
                    <a:pos x="164" y="141"/>
                  </a:cxn>
                  <a:cxn ang="0">
                    <a:pos x="163" y="148"/>
                  </a:cxn>
                  <a:cxn ang="0">
                    <a:pos x="154" y="153"/>
                  </a:cxn>
                  <a:cxn ang="0">
                    <a:pos x="149" y="159"/>
                  </a:cxn>
                  <a:cxn ang="0">
                    <a:pos x="138" y="161"/>
                  </a:cxn>
                  <a:cxn ang="0">
                    <a:pos x="134" y="173"/>
                  </a:cxn>
                  <a:cxn ang="0">
                    <a:pos x="134" y="183"/>
                  </a:cxn>
                  <a:cxn ang="0">
                    <a:pos x="125" y="181"/>
                  </a:cxn>
                  <a:cxn ang="0">
                    <a:pos x="110" y="183"/>
                  </a:cxn>
                  <a:cxn ang="0">
                    <a:pos x="93" y="178"/>
                  </a:cxn>
                  <a:cxn ang="0">
                    <a:pos x="80" y="174"/>
                  </a:cxn>
                  <a:cxn ang="0">
                    <a:pos x="63" y="189"/>
                  </a:cxn>
                  <a:cxn ang="0">
                    <a:pos x="48" y="198"/>
                  </a:cxn>
                  <a:cxn ang="0">
                    <a:pos x="35" y="204"/>
                  </a:cxn>
                  <a:cxn ang="0">
                    <a:pos x="20" y="204"/>
                  </a:cxn>
                  <a:cxn ang="0">
                    <a:pos x="17" y="194"/>
                  </a:cxn>
                  <a:cxn ang="0">
                    <a:pos x="8" y="169"/>
                  </a:cxn>
                  <a:cxn ang="0">
                    <a:pos x="0" y="164"/>
                  </a:cxn>
                  <a:cxn ang="0">
                    <a:pos x="25" y="95"/>
                  </a:cxn>
                  <a:cxn ang="0">
                    <a:pos x="71" y="12"/>
                  </a:cxn>
                  <a:cxn ang="0">
                    <a:pos x="83" y="10"/>
                  </a:cxn>
                  <a:cxn ang="0">
                    <a:pos x="88" y="15"/>
                  </a:cxn>
                  <a:cxn ang="0">
                    <a:pos x="88" y="20"/>
                  </a:cxn>
                  <a:cxn ang="0">
                    <a:pos x="105" y="5"/>
                  </a:cxn>
                  <a:cxn ang="0">
                    <a:pos x="115" y="7"/>
                  </a:cxn>
                  <a:cxn ang="0">
                    <a:pos x="131" y="0"/>
                  </a:cxn>
                </a:cxnLst>
                <a:rect l="0" t="0" r="r" b="b"/>
                <a:pathLst>
                  <a:path w="228" h="206">
                    <a:moveTo>
                      <a:pt x="131" y="0"/>
                    </a:moveTo>
                    <a:lnTo>
                      <a:pt x="131" y="3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1" y="8"/>
                    </a:lnTo>
                    <a:lnTo>
                      <a:pt x="134" y="12"/>
                    </a:lnTo>
                    <a:lnTo>
                      <a:pt x="136" y="13"/>
                    </a:lnTo>
                    <a:lnTo>
                      <a:pt x="139" y="15"/>
                    </a:lnTo>
                    <a:lnTo>
                      <a:pt x="141" y="16"/>
                    </a:lnTo>
                    <a:lnTo>
                      <a:pt x="143" y="20"/>
                    </a:lnTo>
                    <a:lnTo>
                      <a:pt x="144" y="20"/>
                    </a:lnTo>
                    <a:lnTo>
                      <a:pt x="146" y="23"/>
                    </a:lnTo>
                    <a:lnTo>
                      <a:pt x="148" y="28"/>
                    </a:lnTo>
                    <a:lnTo>
                      <a:pt x="149" y="30"/>
                    </a:lnTo>
                    <a:lnTo>
                      <a:pt x="151" y="33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6" y="38"/>
                    </a:lnTo>
                    <a:lnTo>
                      <a:pt x="163" y="46"/>
                    </a:lnTo>
                    <a:lnTo>
                      <a:pt x="168" y="50"/>
                    </a:lnTo>
                    <a:lnTo>
                      <a:pt x="173" y="53"/>
                    </a:lnTo>
                    <a:lnTo>
                      <a:pt x="174" y="55"/>
                    </a:lnTo>
                    <a:lnTo>
                      <a:pt x="178" y="56"/>
                    </a:lnTo>
                    <a:lnTo>
                      <a:pt x="178" y="58"/>
                    </a:lnTo>
                    <a:lnTo>
                      <a:pt x="178" y="60"/>
                    </a:lnTo>
                    <a:lnTo>
                      <a:pt x="178" y="61"/>
                    </a:lnTo>
                    <a:lnTo>
                      <a:pt x="183" y="63"/>
                    </a:lnTo>
                    <a:lnTo>
                      <a:pt x="186" y="65"/>
                    </a:lnTo>
                    <a:lnTo>
                      <a:pt x="186" y="68"/>
                    </a:lnTo>
                    <a:lnTo>
                      <a:pt x="186" y="73"/>
                    </a:lnTo>
                    <a:lnTo>
                      <a:pt x="186" y="76"/>
                    </a:lnTo>
                    <a:lnTo>
                      <a:pt x="188" y="80"/>
                    </a:lnTo>
                    <a:lnTo>
                      <a:pt x="193" y="83"/>
                    </a:lnTo>
                    <a:lnTo>
                      <a:pt x="196" y="86"/>
                    </a:lnTo>
                    <a:lnTo>
                      <a:pt x="201" y="88"/>
                    </a:lnTo>
                    <a:lnTo>
                      <a:pt x="204" y="86"/>
                    </a:lnTo>
                    <a:lnTo>
                      <a:pt x="209" y="90"/>
                    </a:lnTo>
                    <a:lnTo>
                      <a:pt x="213" y="90"/>
                    </a:lnTo>
                    <a:lnTo>
                      <a:pt x="218" y="91"/>
                    </a:lnTo>
                    <a:lnTo>
                      <a:pt x="221" y="91"/>
                    </a:lnTo>
                    <a:lnTo>
                      <a:pt x="223" y="93"/>
                    </a:lnTo>
                    <a:lnTo>
                      <a:pt x="223" y="96"/>
                    </a:lnTo>
                    <a:lnTo>
                      <a:pt x="224" y="98"/>
                    </a:lnTo>
                    <a:lnTo>
                      <a:pt x="228" y="100"/>
                    </a:lnTo>
                    <a:lnTo>
                      <a:pt x="224" y="101"/>
                    </a:lnTo>
                    <a:lnTo>
                      <a:pt x="221" y="101"/>
                    </a:lnTo>
                    <a:lnTo>
                      <a:pt x="218" y="103"/>
                    </a:lnTo>
                    <a:lnTo>
                      <a:pt x="214" y="105"/>
                    </a:lnTo>
                    <a:lnTo>
                      <a:pt x="216" y="106"/>
                    </a:lnTo>
                    <a:lnTo>
                      <a:pt x="214" y="110"/>
                    </a:lnTo>
                    <a:lnTo>
                      <a:pt x="211" y="111"/>
                    </a:lnTo>
                    <a:lnTo>
                      <a:pt x="208" y="113"/>
                    </a:lnTo>
                    <a:lnTo>
                      <a:pt x="203" y="113"/>
                    </a:lnTo>
                    <a:lnTo>
                      <a:pt x="201" y="114"/>
                    </a:lnTo>
                    <a:lnTo>
                      <a:pt x="199" y="113"/>
                    </a:lnTo>
                    <a:lnTo>
                      <a:pt x="194" y="113"/>
                    </a:lnTo>
                    <a:lnTo>
                      <a:pt x="189" y="118"/>
                    </a:lnTo>
                    <a:lnTo>
                      <a:pt x="186" y="119"/>
                    </a:lnTo>
                    <a:lnTo>
                      <a:pt x="184" y="121"/>
                    </a:lnTo>
                    <a:lnTo>
                      <a:pt x="183" y="123"/>
                    </a:lnTo>
                    <a:lnTo>
                      <a:pt x="179" y="124"/>
                    </a:lnTo>
                    <a:lnTo>
                      <a:pt x="178" y="126"/>
                    </a:lnTo>
                    <a:lnTo>
                      <a:pt x="174" y="128"/>
                    </a:lnTo>
                    <a:lnTo>
                      <a:pt x="171" y="129"/>
                    </a:lnTo>
                    <a:lnTo>
                      <a:pt x="164" y="136"/>
                    </a:lnTo>
                    <a:lnTo>
                      <a:pt x="164" y="141"/>
                    </a:lnTo>
                    <a:lnTo>
                      <a:pt x="166" y="144"/>
                    </a:lnTo>
                    <a:lnTo>
                      <a:pt x="166" y="148"/>
                    </a:lnTo>
                    <a:lnTo>
                      <a:pt x="163" y="148"/>
                    </a:lnTo>
                    <a:lnTo>
                      <a:pt x="161" y="149"/>
                    </a:lnTo>
                    <a:lnTo>
                      <a:pt x="158" y="149"/>
                    </a:lnTo>
                    <a:lnTo>
                      <a:pt x="154" y="153"/>
                    </a:lnTo>
                    <a:lnTo>
                      <a:pt x="153" y="156"/>
                    </a:lnTo>
                    <a:lnTo>
                      <a:pt x="151" y="156"/>
                    </a:lnTo>
                    <a:lnTo>
                      <a:pt x="149" y="159"/>
                    </a:lnTo>
                    <a:lnTo>
                      <a:pt x="146" y="159"/>
                    </a:lnTo>
                    <a:lnTo>
                      <a:pt x="143" y="161"/>
                    </a:lnTo>
                    <a:lnTo>
                      <a:pt x="138" y="161"/>
                    </a:lnTo>
                    <a:lnTo>
                      <a:pt x="136" y="166"/>
                    </a:lnTo>
                    <a:lnTo>
                      <a:pt x="136" y="171"/>
                    </a:lnTo>
                    <a:lnTo>
                      <a:pt x="134" y="173"/>
                    </a:lnTo>
                    <a:lnTo>
                      <a:pt x="134" y="176"/>
                    </a:lnTo>
                    <a:lnTo>
                      <a:pt x="133" y="179"/>
                    </a:lnTo>
                    <a:lnTo>
                      <a:pt x="134" y="183"/>
                    </a:lnTo>
                    <a:lnTo>
                      <a:pt x="129" y="184"/>
                    </a:lnTo>
                    <a:lnTo>
                      <a:pt x="126" y="184"/>
                    </a:lnTo>
                    <a:lnTo>
                      <a:pt x="125" y="181"/>
                    </a:lnTo>
                    <a:lnTo>
                      <a:pt x="121" y="183"/>
                    </a:lnTo>
                    <a:lnTo>
                      <a:pt x="115" y="183"/>
                    </a:lnTo>
                    <a:lnTo>
                      <a:pt x="110" y="183"/>
                    </a:lnTo>
                    <a:lnTo>
                      <a:pt x="105" y="183"/>
                    </a:lnTo>
                    <a:lnTo>
                      <a:pt x="101" y="183"/>
                    </a:lnTo>
                    <a:lnTo>
                      <a:pt x="93" y="178"/>
                    </a:lnTo>
                    <a:lnTo>
                      <a:pt x="90" y="178"/>
                    </a:lnTo>
                    <a:lnTo>
                      <a:pt x="88" y="174"/>
                    </a:lnTo>
                    <a:lnTo>
                      <a:pt x="80" y="174"/>
                    </a:lnTo>
                    <a:lnTo>
                      <a:pt x="73" y="174"/>
                    </a:lnTo>
                    <a:lnTo>
                      <a:pt x="66" y="179"/>
                    </a:lnTo>
                    <a:lnTo>
                      <a:pt x="63" y="189"/>
                    </a:lnTo>
                    <a:lnTo>
                      <a:pt x="58" y="193"/>
                    </a:lnTo>
                    <a:lnTo>
                      <a:pt x="50" y="196"/>
                    </a:lnTo>
                    <a:lnTo>
                      <a:pt x="48" y="198"/>
                    </a:lnTo>
                    <a:lnTo>
                      <a:pt x="45" y="201"/>
                    </a:lnTo>
                    <a:lnTo>
                      <a:pt x="40" y="203"/>
                    </a:lnTo>
                    <a:lnTo>
                      <a:pt x="35" y="204"/>
                    </a:lnTo>
                    <a:lnTo>
                      <a:pt x="30" y="204"/>
                    </a:lnTo>
                    <a:lnTo>
                      <a:pt x="25" y="206"/>
                    </a:lnTo>
                    <a:lnTo>
                      <a:pt x="20" y="204"/>
                    </a:lnTo>
                    <a:lnTo>
                      <a:pt x="13" y="206"/>
                    </a:lnTo>
                    <a:lnTo>
                      <a:pt x="13" y="201"/>
                    </a:lnTo>
                    <a:lnTo>
                      <a:pt x="17" y="194"/>
                    </a:lnTo>
                    <a:lnTo>
                      <a:pt x="17" y="188"/>
                    </a:lnTo>
                    <a:lnTo>
                      <a:pt x="10" y="176"/>
                    </a:lnTo>
                    <a:lnTo>
                      <a:pt x="8" y="169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3" y="95"/>
                    </a:lnTo>
                    <a:lnTo>
                      <a:pt x="25" y="95"/>
                    </a:lnTo>
                    <a:lnTo>
                      <a:pt x="30" y="16"/>
                    </a:lnTo>
                    <a:lnTo>
                      <a:pt x="48" y="16"/>
                    </a:lnTo>
                    <a:lnTo>
                      <a:pt x="71" y="12"/>
                    </a:lnTo>
                    <a:lnTo>
                      <a:pt x="78" y="10"/>
                    </a:lnTo>
                    <a:lnTo>
                      <a:pt x="81" y="10"/>
                    </a:lnTo>
                    <a:lnTo>
                      <a:pt x="83" y="10"/>
                    </a:lnTo>
                    <a:lnTo>
                      <a:pt x="85" y="10"/>
                    </a:lnTo>
                    <a:lnTo>
                      <a:pt x="86" y="13"/>
                    </a:lnTo>
                    <a:lnTo>
                      <a:pt x="88" y="15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6" y="15"/>
                    </a:lnTo>
                    <a:lnTo>
                      <a:pt x="100" y="10"/>
                    </a:lnTo>
                    <a:lnTo>
                      <a:pt x="105" y="5"/>
                    </a:lnTo>
                    <a:lnTo>
                      <a:pt x="110" y="5"/>
                    </a:lnTo>
                    <a:lnTo>
                      <a:pt x="111" y="7"/>
                    </a:lnTo>
                    <a:lnTo>
                      <a:pt x="115" y="7"/>
                    </a:lnTo>
                    <a:lnTo>
                      <a:pt x="118" y="5"/>
                    </a:lnTo>
                    <a:lnTo>
                      <a:pt x="126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4" name="Freeform 137">
                <a:extLst>
                  <a:ext uri="{FF2B5EF4-FFF2-40B4-BE49-F238E27FC236}">
                    <a16:creationId xmlns:a16="http://schemas.microsoft.com/office/drawing/2014/main" id="{2A221DC2-30FB-8F40-B4E8-B13728BC0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2709" y="3464781"/>
                <a:ext cx="175521" cy="144225"/>
              </a:xfrm>
              <a:custGeom>
                <a:avLst/>
                <a:gdLst/>
                <a:ahLst/>
                <a:cxnLst>
                  <a:cxn ang="0">
                    <a:pos x="199" y="113"/>
                  </a:cxn>
                  <a:cxn ang="0">
                    <a:pos x="244" y="34"/>
                  </a:cxn>
                  <a:cxn ang="0">
                    <a:pos x="277" y="28"/>
                  </a:cxn>
                  <a:cxn ang="0">
                    <a:pos x="282" y="31"/>
                  </a:cxn>
                  <a:cxn ang="0">
                    <a:pos x="282" y="38"/>
                  </a:cxn>
                  <a:cxn ang="0">
                    <a:pos x="296" y="28"/>
                  </a:cxn>
                  <a:cxn ang="0">
                    <a:pos x="307" y="25"/>
                  </a:cxn>
                  <a:cxn ang="0">
                    <a:pos x="322" y="20"/>
                  </a:cxn>
                  <a:cxn ang="0">
                    <a:pos x="322" y="15"/>
                  </a:cxn>
                  <a:cxn ang="0">
                    <a:pos x="316" y="13"/>
                  </a:cxn>
                  <a:cxn ang="0">
                    <a:pos x="309" y="13"/>
                  </a:cxn>
                  <a:cxn ang="0">
                    <a:pos x="242" y="25"/>
                  </a:cxn>
                  <a:cxn ang="0">
                    <a:pos x="237" y="25"/>
                  </a:cxn>
                  <a:cxn ang="0">
                    <a:pos x="232" y="23"/>
                  </a:cxn>
                  <a:cxn ang="0">
                    <a:pos x="226" y="23"/>
                  </a:cxn>
                  <a:cxn ang="0">
                    <a:pos x="219" y="25"/>
                  </a:cxn>
                  <a:cxn ang="0">
                    <a:pos x="206" y="18"/>
                  </a:cxn>
                  <a:cxn ang="0">
                    <a:pos x="201" y="21"/>
                  </a:cxn>
                  <a:cxn ang="0">
                    <a:pos x="188" y="23"/>
                  </a:cxn>
                  <a:cxn ang="0">
                    <a:pos x="181" y="20"/>
                  </a:cxn>
                  <a:cxn ang="0">
                    <a:pos x="168" y="16"/>
                  </a:cxn>
                  <a:cxn ang="0">
                    <a:pos x="161" y="10"/>
                  </a:cxn>
                  <a:cxn ang="0">
                    <a:pos x="66" y="10"/>
                  </a:cxn>
                  <a:cxn ang="0">
                    <a:pos x="58" y="13"/>
                  </a:cxn>
                  <a:cxn ang="0">
                    <a:pos x="46" y="6"/>
                  </a:cxn>
                  <a:cxn ang="0">
                    <a:pos x="43" y="1"/>
                  </a:cxn>
                  <a:cxn ang="0">
                    <a:pos x="36" y="1"/>
                  </a:cxn>
                  <a:cxn ang="0">
                    <a:pos x="28" y="0"/>
                  </a:cxn>
                  <a:cxn ang="0">
                    <a:pos x="20" y="10"/>
                  </a:cxn>
                  <a:cxn ang="0">
                    <a:pos x="8" y="6"/>
                  </a:cxn>
                  <a:cxn ang="0">
                    <a:pos x="5" y="10"/>
                  </a:cxn>
                  <a:cxn ang="0">
                    <a:pos x="2" y="28"/>
                  </a:cxn>
                  <a:cxn ang="0">
                    <a:pos x="36" y="78"/>
                  </a:cxn>
                  <a:cxn ang="0">
                    <a:pos x="50" y="109"/>
                  </a:cxn>
                  <a:cxn ang="0">
                    <a:pos x="60" y="136"/>
                  </a:cxn>
                  <a:cxn ang="0">
                    <a:pos x="71" y="181"/>
                  </a:cxn>
                  <a:cxn ang="0">
                    <a:pos x="68" y="199"/>
                  </a:cxn>
                  <a:cxn ang="0">
                    <a:pos x="76" y="216"/>
                  </a:cxn>
                  <a:cxn ang="0">
                    <a:pos x="76" y="226"/>
                  </a:cxn>
                  <a:cxn ang="0">
                    <a:pos x="85" y="242"/>
                  </a:cxn>
                  <a:cxn ang="0">
                    <a:pos x="98" y="262"/>
                  </a:cxn>
                  <a:cxn ang="0">
                    <a:pos x="115" y="264"/>
                  </a:cxn>
                  <a:cxn ang="0">
                    <a:pos x="116" y="255"/>
                  </a:cxn>
                  <a:cxn ang="0">
                    <a:pos x="129" y="259"/>
                  </a:cxn>
                  <a:cxn ang="0">
                    <a:pos x="139" y="272"/>
                  </a:cxn>
                  <a:cxn ang="0">
                    <a:pos x="151" y="274"/>
                  </a:cxn>
                  <a:cxn ang="0">
                    <a:pos x="159" y="274"/>
                  </a:cxn>
                  <a:cxn ang="0">
                    <a:pos x="168" y="277"/>
                  </a:cxn>
                  <a:cxn ang="0">
                    <a:pos x="174" y="269"/>
                  </a:cxn>
                  <a:cxn ang="0">
                    <a:pos x="189" y="262"/>
                  </a:cxn>
                  <a:cxn ang="0">
                    <a:pos x="196" y="182"/>
                  </a:cxn>
                </a:cxnLst>
                <a:rect l="0" t="0" r="r" b="b"/>
                <a:pathLst>
                  <a:path w="327" h="277">
                    <a:moveTo>
                      <a:pt x="196" y="182"/>
                    </a:moveTo>
                    <a:lnTo>
                      <a:pt x="196" y="182"/>
                    </a:lnTo>
                    <a:lnTo>
                      <a:pt x="199" y="113"/>
                    </a:lnTo>
                    <a:lnTo>
                      <a:pt x="221" y="113"/>
                    </a:lnTo>
                    <a:lnTo>
                      <a:pt x="226" y="34"/>
                    </a:lnTo>
                    <a:lnTo>
                      <a:pt x="244" y="34"/>
                    </a:lnTo>
                    <a:lnTo>
                      <a:pt x="267" y="30"/>
                    </a:lnTo>
                    <a:lnTo>
                      <a:pt x="274" y="28"/>
                    </a:lnTo>
                    <a:lnTo>
                      <a:pt x="277" y="28"/>
                    </a:lnTo>
                    <a:lnTo>
                      <a:pt x="279" y="28"/>
                    </a:lnTo>
                    <a:lnTo>
                      <a:pt x="281" y="28"/>
                    </a:lnTo>
                    <a:lnTo>
                      <a:pt x="282" y="31"/>
                    </a:lnTo>
                    <a:lnTo>
                      <a:pt x="284" y="33"/>
                    </a:lnTo>
                    <a:lnTo>
                      <a:pt x="282" y="34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92" y="33"/>
                    </a:lnTo>
                    <a:lnTo>
                      <a:pt x="296" y="28"/>
                    </a:lnTo>
                    <a:lnTo>
                      <a:pt x="301" y="23"/>
                    </a:lnTo>
                    <a:lnTo>
                      <a:pt x="306" y="23"/>
                    </a:lnTo>
                    <a:lnTo>
                      <a:pt x="307" y="25"/>
                    </a:lnTo>
                    <a:lnTo>
                      <a:pt x="311" y="25"/>
                    </a:lnTo>
                    <a:lnTo>
                      <a:pt x="314" y="23"/>
                    </a:lnTo>
                    <a:lnTo>
                      <a:pt x="322" y="20"/>
                    </a:lnTo>
                    <a:lnTo>
                      <a:pt x="327" y="18"/>
                    </a:lnTo>
                    <a:lnTo>
                      <a:pt x="322" y="15"/>
                    </a:lnTo>
                    <a:lnTo>
                      <a:pt x="322" y="15"/>
                    </a:lnTo>
                    <a:lnTo>
                      <a:pt x="321" y="13"/>
                    </a:lnTo>
                    <a:lnTo>
                      <a:pt x="317" y="15"/>
                    </a:lnTo>
                    <a:lnTo>
                      <a:pt x="316" y="13"/>
                    </a:lnTo>
                    <a:lnTo>
                      <a:pt x="316" y="13"/>
                    </a:lnTo>
                    <a:lnTo>
                      <a:pt x="314" y="11"/>
                    </a:lnTo>
                    <a:lnTo>
                      <a:pt x="309" y="13"/>
                    </a:lnTo>
                    <a:lnTo>
                      <a:pt x="306" y="13"/>
                    </a:lnTo>
                    <a:lnTo>
                      <a:pt x="244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39" y="25"/>
                    </a:lnTo>
                    <a:lnTo>
                      <a:pt x="237" y="25"/>
                    </a:lnTo>
                    <a:lnTo>
                      <a:pt x="236" y="25"/>
                    </a:lnTo>
                    <a:lnTo>
                      <a:pt x="234" y="23"/>
                    </a:lnTo>
                    <a:lnTo>
                      <a:pt x="232" y="23"/>
                    </a:lnTo>
                    <a:lnTo>
                      <a:pt x="231" y="23"/>
                    </a:lnTo>
                    <a:lnTo>
                      <a:pt x="227" y="21"/>
                    </a:lnTo>
                    <a:lnTo>
                      <a:pt x="226" y="23"/>
                    </a:lnTo>
                    <a:lnTo>
                      <a:pt x="226" y="25"/>
                    </a:lnTo>
                    <a:lnTo>
                      <a:pt x="224" y="25"/>
                    </a:lnTo>
                    <a:lnTo>
                      <a:pt x="219" y="25"/>
                    </a:lnTo>
                    <a:lnTo>
                      <a:pt x="214" y="23"/>
                    </a:lnTo>
                    <a:lnTo>
                      <a:pt x="209" y="18"/>
                    </a:lnTo>
                    <a:lnTo>
                      <a:pt x="206" y="18"/>
                    </a:lnTo>
                    <a:lnTo>
                      <a:pt x="204" y="18"/>
                    </a:lnTo>
                    <a:lnTo>
                      <a:pt x="204" y="21"/>
                    </a:lnTo>
                    <a:lnTo>
                      <a:pt x="201" y="21"/>
                    </a:lnTo>
                    <a:lnTo>
                      <a:pt x="194" y="20"/>
                    </a:lnTo>
                    <a:lnTo>
                      <a:pt x="191" y="21"/>
                    </a:lnTo>
                    <a:lnTo>
                      <a:pt x="188" y="23"/>
                    </a:lnTo>
                    <a:lnTo>
                      <a:pt x="184" y="21"/>
                    </a:lnTo>
                    <a:lnTo>
                      <a:pt x="183" y="20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8"/>
                    </a:lnTo>
                    <a:lnTo>
                      <a:pt x="168" y="16"/>
                    </a:lnTo>
                    <a:lnTo>
                      <a:pt x="164" y="15"/>
                    </a:lnTo>
                    <a:lnTo>
                      <a:pt x="163" y="11"/>
                    </a:lnTo>
                    <a:lnTo>
                      <a:pt x="161" y="10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66" y="10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58" y="13"/>
                    </a:lnTo>
                    <a:lnTo>
                      <a:pt x="53" y="11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6" y="5"/>
                    </a:lnTo>
                    <a:lnTo>
                      <a:pt x="43" y="3"/>
                    </a:lnTo>
                    <a:lnTo>
                      <a:pt x="43" y="1"/>
                    </a:lnTo>
                    <a:lnTo>
                      <a:pt x="40" y="0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20" y="10"/>
                    </a:lnTo>
                    <a:lnTo>
                      <a:pt x="17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5" y="11"/>
                    </a:lnTo>
                    <a:lnTo>
                      <a:pt x="5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28"/>
                    </a:lnTo>
                    <a:lnTo>
                      <a:pt x="17" y="41"/>
                    </a:lnTo>
                    <a:lnTo>
                      <a:pt x="23" y="53"/>
                    </a:lnTo>
                    <a:lnTo>
                      <a:pt x="36" y="78"/>
                    </a:lnTo>
                    <a:lnTo>
                      <a:pt x="38" y="86"/>
                    </a:lnTo>
                    <a:lnTo>
                      <a:pt x="50" y="103"/>
                    </a:lnTo>
                    <a:lnTo>
                      <a:pt x="50" y="109"/>
                    </a:lnTo>
                    <a:lnTo>
                      <a:pt x="63" y="126"/>
                    </a:lnTo>
                    <a:lnTo>
                      <a:pt x="63" y="134"/>
                    </a:lnTo>
                    <a:lnTo>
                      <a:pt x="60" y="136"/>
                    </a:lnTo>
                    <a:lnTo>
                      <a:pt x="63" y="147"/>
                    </a:lnTo>
                    <a:lnTo>
                      <a:pt x="63" y="164"/>
                    </a:lnTo>
                    <a:lnTo>
                      <a:pt x="71" y="181"/>
                    </a:lnTo>
                    <a:lnTo>
                      <a:pt x="70" y="191"/>
                    </a:lnTo>
                    <a:lnTo>
                      <a:pt x="71" y="196"/>
                    </a:lnTo>
                    <a:lnTo>
                      <a:pt x="68" y="199"/>
                    </a:lnTo>
                    <a:lnTo>
                      <a:pt x="71" y="202"/>
                    </a:lnTo>
                    <a:lnTo>
                      <a:pt x="73" y="214"/>
                    </a:lnTo>
                    <a:lnTo>
                      <a:pt x="76" y="216"/>
                    </a:lnTo>
                    <a:lnTo>
                      <a:pt x="80" y="219"/>
                    </a:lnTo>
                    <a:lnTo>
                      <a:pt x="76" y="221"/>
                    </a:lnTo>
                    <a:lnTo>
                      <a:pt x="76" y="226"/>
                    </a:lnTo>
                    <a:lnTo>
                      <a:pt x="80" y="229"/>
                    </a:lnTo>
                    <a:lnTo>
                      <a:pt x="81" y="237"/>
                    </a:lnTo>
                    <a:lnTo>
                      <a:pt x="85" y="242"/>
                    </a:lnTo>
                    <a:lnTo>
                      <a:pt x="91" y="254"/>
                    </a:lnTo>
                    <a:lnTo>
                      <a:pt x="96" y="259"/>
                    </a:lnTo>
                    <a:lnTo>
                      <a:pt x="98" y="262"/>
                    </a:lnTo>
                    <a:lnTo>
                      <a:pt x="106" y="267"/>
                    </a:lnTo>
                    <a:lnTo>
                      <a:pt x="110" y="265"/>
                    </a:lnTo>
                    <a:lnTo>
                      <a:pt x="115" y="264"/>
                    </a:lnTo>
                    <a:lnTo>
                      <a:pt x="115" y="260"/>
                    </a:lnTo>
                    <a:lnTo>
                      <a:pt x="113" y="260"/>
                    </a:lnTo>
                    <a:lnTo>
                      <a:pt x="116" y="255"/>
                    </a:lnTo>
                    <a:lnTo>
                      <a:pt x="121" y="254"/>
                    </a:lnTo>
                    <a:lnTo>
                      <a:pt x="125" y="259"/>
                    </a:lnTo>
                    <a:lnTo>
                      <a:pt x="129" y="259"/>
                    </a:lnTo>
                    <a:lnTo>
                      <a:pt x="128" y="264"/>
                    </a:lnTo>
                    <a:lnTo>
                      <a:pt x="131" y="270"/>
                    </a:lnTo>
                    <a:lnTo>
                      <a:pt x="139" y="272"/>
                    </a:lnTo>
                    <a:lnTo>
                      <a:pt x="144" y="274"/>
                    </a:lnTo>
                    <a:lnTo>
                      <a:pt x="148" y="274"/>
                    </a:lnTo>
                    <a:lnTo>
                      <a:pt x="151" y="274"/>
                    </a:lnTo>
                    <a:lnTo>
                      <a:pt x="154" y="275"/>
                    </a:lnTo>
                    <a:lnTo>
                      <a:pt x="156" y="274"/>
                    </a:lnTo>
                    <a:lnTo>
                      <a:pt x="159" y="274"/>
                    </a:lnTo>
                    <a:lnTo>
                      <a:pt x="163" y="275"/>
                    </a:lnTo>
                    <a:lnTo>
                      <a:pt x="166" y="275"/>
                    </a:lnTo>
                    <a:lnTo>
                      <a:pt x="168" y="277"/>
                    </a:lnTo>
                    <a:lnTo>
                      <a:pt x="169" y="272"/>
                    </a:lnTo>
                    <a:lnTo>
                      <a:pt x="171" y="270"/>
                    </a:lnTo>
                    <a:lnTo>
                      <a:pt x="174" y="269"/>
                    </a:lnTo>
                    <a:lnTo>
                      <a:pt x="176" y="264"/>
                    </a:lnTo>
                    <a:lnTo>
                      <a:pt x="183" y="262"/>
                    </a:lnTo>
                    <a:lnTo>
                      <a:pt x="189" y="262"/>
                    </a:lnTo>
                    <a:lnTo>
                      <a:pt x="193" y="262"/>
                    </a:lnTo>
                    <a:lnTo>
                      <a:pt x="196" y="182"/>
                    </a:lnTo>
                    <a:lnTo>
                      <a:pt x="196" y="1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5" name="Freeform 138">
                <a:extLst>
                  <a:ext uri="{FF2B5EF4-FFF2-40B4-BE49-F238E27FC236}">
                    <a16:creationId xmlns:a16="http://schemas.microsoft.com/office/drawing/2014/main" id="{C853BCFB-4B4A-2046-AAF4-DFD25D32A3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192" y="3407713"/>
                <a:ext cx="98463" cy="161864"/>
              </a:xfrm>
              <a:custGeom>
                <a:avLst/>
                <a:gdLst/>
                <a:ahLst/>
                <a:cxnLst>
                  <a:cxn ang="0">
                    <a:pos x="53" y="306"/>
                  </a:cxn>
                  <a:cxn ang="0">
                    <a:pos x="85" y="299"/>
                  </a:cxn>
                  <a:cxn ang="0">
                    <a:pos x="98" y="282"/>
                  </a:cxn>
                  <a:cxn ang="0">
                    <a:pos x="101" y="267"/>
                  </a:cxn>
                  <a:cxn ang="0">
                    <a:pos x="108" y="257"/>
                  </a:cxn>
                  <a:cxn ang="0">
                    <a:pos x="121" y="224"/>
                  </a:cxn>
                  <a:cxn ang="0">
                    <a:pos x="141" y="181"/>
                  </a:cxn>
                  <a:cxn ang="0">
                    <a:pos x="153" y="154"/>
                  </a:cxn>
                  <a:cxn ang="0">
                    <a:pos x="161" y="125"/>
                  </a:cxn>
                  <a:cxn ang="0">
                    <a:pos x="165" y="106"/>
                  </a:cxn>
                  <a:cxn ang="0">
                    <a:pos x="168" y="91"/>
                  </a:cxn>
                  <a:cxn ang="0">
                    <a:pos x="168" y="78"/>
                  </a:cxn>
                  <a:cxn ang="0">
                    <a:pos x="178" y="90"/>
                  </a:cxn>
                  <a:cxn ang="0">
                    <a:pos x="183" y="78"/>
                  </a:cxn>
                  <a:cxn ang="0">
                    <a:pos x="178" y="63"/>
                  </a:cxn>
                  <a:cxn ang="0">
                    <a:pos x="179" y="48"/>
                  </a:cxn>
                  <a:cxn ang="0">
                    <a:pos x="173" y="18"/>
                  </a:cxn>
                  <a:cxn ang="0">
                    <a:pos x="163" y="8"/>
                  </a:cxn>
                  <a:cxn ang="0">
                    <a:pos x="158" y="8"/>
                  </a:cxn>
                  <a:cxn ang="0">
                    <a:pos x="151" y="13"/>
                  </a:cxn>
                  <a:cxn ang="0">
                    <a:pos x="150" y="23"/>
                  </a:cxn>
                  <a:cxn ang="0">
                    <a:pos x="140" y="38"/>
                  </a:cxn>
                  <a:cxn ang="0">
                    <a:pos x="133" y="37"/>
                  </a:cxn>
                  <a:cxn ang="0">
                    <a:pos x="131" y="48"/>
                  </a:cxn>
                  <a:cxn ang="0">
                    <a:pos x="123" y="51"/>
                  </a:cxn>
                  <a:cxn ang="0">
                    <a:pos x="128" y="63"/>
                  </a:cxn>
                  <a:cxn ang="0">
                    <a:pos x="115" y="70"/>
                  </a:cxn>
                  <a:cxn ang="0">
                    <a:pos x="110" y="65"/>
                  </a:cxn>
                  <a:cxn ang="0">
                    <a:pos x="108" y="75"/>
                  </a:cxn>
                  <a:cxn ang="0">
                    <a:pos x="103" y="81"/>
                  </a:cxn>
                  <a:cxn ang="0">
                    <a:pos x="101" y="73"/>
                  </a:cxn>
                  <a:cxn ang="0">
                    <a:pos x="90" y="91"/>
                  </a:cxn>
                  <a:cxn ang="0">
                    <a:pos x="83" y="83"/>
                  </a:cxn>
                  <a:cxn ang="0">
                    <a:pos x="68" y="86"/>
                  </a:cxn>
                  <a:cxn ang="0">
                    <a:pos x="65" y="90"/>
                  </a:cxn>
                  <a:cxn ang="0">
                    <a:pos x="48" y="96"/>
                  </a:cxn>
                  <a:cxn ang="0">
                    <a:pos x="37" y="98"/>
                  </a:cxn>
                  <a:cxn ang="0">
                    <a:pos x="23" y="123"/>
                  </a:cxn>
                  <a:cxn ang="0">
                    <a:pos x="27" y="140"/>
                  </a:cxn>
                  <a:cxn ang="0">
                    <a:pos x="37" y="164"/>
                  </a:cxn>
                  <a:cxn ang="0">
                    <a:pos x="32" y="181"/>
                  </a:cxn>
                  <a:cxn ang="0">
                    <a:pos x="22" y="194"/>
                  </a:cxn>
                  <a:cxn ang="0">
                    <a:pos x="7" y="211"/>
                  </a:cxn>
                  <a:cxn ang="0">
                    <a:pos x="2" y="231"/>
                  </a:cxn>
                  <a:cxn ang="0">
                    <a:pos x="7" y="251"/>
                  </a:cxn>
                  <a:cxn ang="0">
                    <a:pos x="12" y="259"/>
                  </a:cxn>
                  <a:cxn ang="0">
                    <a:pos x="7" y="274"/>
                  </a:cxn>
                  <a:cxn ang="0">
                    <a:pos x="10" y="289"/>
                  </a:cxn>
                  <a:cxn ang="0">
                    <a:pos x="22" y="301"/>
                  </a:cxn>
                  <a:cxn ang="0">
                    <a:pos x="35" y="307"/>
                  </a:cxn>
                  <a:cxn ang="0">
                    <a:pos x="38" y="311"/>
                  </a:cxn>
                  <a:cxn ang="0">
                    <a:pos x="146" y="18"/>
                  </a:cxn>
                  <a:cxn ang="0">
                    <a:pos x="143" y="28"/>
                  </a:cxn>
                  <a:cxn ang="0">
                    <a:pos x="143" y="30"/>
                  </a:cxn>
                  <a:cxn ang="0">
                    <a:pos x="140" y="30"/>
                  </a:cxn>
                  <a:cxn ang="0">
                    <a:pos x="135" y="28"/>
                  </a:cxn>
                  <a:cxn ang="0">
                    <a:pos x="168" y="110"/>
                  </a:cxn>
                  <a:cxn ang="0">
                    <a:pos x="171" y="110"/>
                  </a:cxn>
                </a:cxnLst>
                <a:rect l="0" t="0" r="r" b="b"/>
                <a:pathLst>
                  <a:path w="184" h="311">
                    <a:moveTo>
                      <a:pt x="38" y="311"/>
                    </a:moveTo>
                    <a:lnTo>
                      <a:pt x="42" y="309"/>
                    </a:lnTo>
                    <a:lnTo>
                      <a:pt x="47" y="309"/>
                    </a:lnTo>
                    <a:lnTo>
                      <a:pt x="53" y="306"/>
                    </a:lnTo>
                    <a:lnTo>
                      <a:pt x="57" y="302"/>
                    </a:lnTo>
                    <a:lnTo>
                      <a:pt x="71" y="301"/>
                    </a:lnTo>
                    <a:lnTo>
                      <a:pt x="76" y="301"/>
                    </a:lnTo>
                    <a:lnTo>
                      <a:pt x="85" y="299"/>
                    </a:lnTo>
                    <a:lnTo>
                      <a:pt x="86" y="294"/>
                    </a:lnTo>
                    <a:lnTo>
                      <a:pt x="91" y="294"/>
                    </a:lnTo>
                    <a:lnTo>
                      <a:pt x="93" y="287"/>
                    </a:lnTo>
                    <a:lnTo>
                      <a:pt x="98" y="282"/>
                    </a:lnTo>
                    <a:lnTo>
                      <a:pt x="98" y="277"/>
                    </a:lnTo>
                    <a:lnTo>
                      <a:pt x="103" y="276"/>
                    </a:lnTo>
                    <a:lnTo>
                      <a:pt x="101" y="269"/>
                    </a:lnTo>
                    <a:lnTo>
                      <a:pt x="101" y="267"/>
                    </a:lnTo>
                    <a:lnTo>
                      <a:pt x="105" y="266"/>
                    </a:lnTo>
                    <a:lnTo>
                      <a:pt x="106" y="257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11" y="251"/>
                    </a:lnTo>
                    <a:lnTo>
                      <a:pt x="115" y="236"/>
                    </a:lnTo>
                    <a:lnTo>
                      <a:pt x="118" y="228"/>
                    </a:lnTo>
                    <a:lnTo>
                      <a:pt x="121" y="224"/>
                    </a:lnTo>
                    <a:lnTo>
                      <a:pt x="123" y="216"/>
                    </a:lnTo>
                    <a:lnTo>
                      <a:pt x="130" y="204"/>
                    </a:lnTo>
                    <a:lnTo>
                      <a:pt x="136" y="188"/>
                    </a:lnTo>
                    <a:lnTo>
                      <a:pt x="141" y="181"/>
                    </a:lnTo>
                    <a:lnTo>
                      <a:pt x="141" y="173"/>
                    </a:lnTo>
                    <a:lnTo>
                      <a:pt x="146" y="164"/>
                    </a:lnTo>
                    <a:lnTo>
                      <a:pt x="146" y="161"/>
                    </a:lnTo>
                    <a:lnTo>
                      <a:pt x="153" y="154"/>
                    </a:lnTo>
                    <a:lnTo>
                      <a:pt x="155" y="141"/>
                    </a:lnTo>
                    <a:lnTo>
                      <a:pt x="158" y="133"/>
                    </a:lnTo>
                    <a:lnTo>
                      <a:pt x="160" y="131"/>
                    </a:lnTo>
                    <a:lnTo>
                      <a:pt x="161" y="125"/>
                    </a:lnTo>
                    <a:lnTo>
                      <a:pt x="158" y="121"/>
                    </a:lnTo>
                    <a:lnTo>
                      <a:pt x="160" y="115"/>
                    </a:lnTo>
                    <a:lnTo>
                      <a:pt x="165" y="110"/>
                    </a:lnTo>
                    <a:lnTo>
                      <a:pt x="165" y="106"/>
                    </a:lnTo>
                    <a:lnTo>
                      <a:pt x="168" y="103"/>
                    </a:lnTo>
                    <a:lnTo>
                      <a:pt x="166" y="96"/>
                    </a:lnTo>
                    <a:lnTo>
                      <a:pt x="165" y="95"/>
                    </a:lnTo>
                    <a:lnTo>
                      <a:pt x="168" y="91"/>
                    </a:lnTo>
                    <a:lnTo>
                      <a:pt x="166" y="86"/>
                    </a:lnTo>
                    <a:lnTo>
                      <a:pt x="165" y="85"/>
                    </a:lnTo>
                    <a:lnTo>
                      <a:pt x="165" y="80"/>
                    </a:lnTo>
                    <a:lnTo>
                      <a:pt x="168" y="78"/>
                    </a:lnTo>
                    <a:lnTo>
                      <a:pt x="171" y="80"/>
                    </a:lnTo>
                    <a:lnTo>
                      <a:pt x="171" y="85"/>
                    </a:lnTo>
                    <a:lnTo>
                      <a:pt x="176" y="90"/>
                    </a:lnTo>
                    <a:lnTo>
                      <a:pt x="178" y="90"/>
                    </a:lnTo>
                    <a:lnTo>
                      <a:pt x="179" y="88"/>
                    </a:lnTo>
                    <a:lnTo>
                      <a:pt x="181" y="83"/>
                    </a:lnTo>
                    <a:lnTo>
                      <a:pt x="181" y="81"/>
                    </a:lnTo>
                    <a:lnTo>
                      <a:pt x="183" y="78"/>
                    </a:lnTo>
                    <a:lnTo>
                      <a:pt x="184" y="76"/>
                    </a:lnTo>
                    <a:lnTo>
                      <a:pt x="184" y="73"/>
                    </a:lnTo>
                    <a:lnTo>
                      <a:pt x="179" y="66"/>
                    </a:lnTo>
                    <a:lnTo>
                      <a:pt x="178" y="63"/>
                    </a:lnTo>
                    <a:lnTo>
                      <a:pt x="179" y="60"/>
                    </a:lnTo>
                    <a:lnTo>
                      <a:pt x="179" y="56"/>
                    </a:lnTo>
                    <a:lnTo>
                      <a:pt x="178" y="50"/>
                    </a:lnTo>
                    <a:lnTo>
                      <a:pt x="179" y="48"/>
                    </a:lnTo>
                    <a:lnTo>
                      <a:pt x="179" y="37"/>
                    </a:lnTo>
                    <a:lnTo>
                      <a:pt x="176" y="32"/>
                    </a:lnTo>
                    <a:lnTo>
                      <a:pt x="174" y="22"/>
                    </a:lnTo>
                    <a:lnTo>
                      <a:pt x="173" y="18"/>
                    </a:lnTo>
                    <a:lnTo>
                      <a:pt x="171" y="20"/>
                    </a:lnTo>
                    <a:lnTo>
                      <a:pt x="168" y="15"/>
                    </a:lnTo>
                    <a:lnTo>
                      <a:pt x="166" y="10"/>
                    </a:lnTo>
                    <a:lnTo>
                      <a:pt x="163" y="8"/>
                    </a:lnTo>
                    <a:lnTo>
                      <a:pt x="165" y="5"/>
                    </a:lnTo>
                    <a:lnTo>
                      <a:pt x="163" y="0"/>
                    </a:lnTo>
                    <a:lnTo>
                      <a:pt x="158" y="5"/>
                    </a:lnTo>
                    <a:lnTo>
                      <a:pt x="158" y="8"/>
                    </a:lnTo>
                    <a:lnTo>
                      <a:pt x="155" y="10"/>
                    </a:lnTo>
                    <a:lnTo>
                      <a:pt x="150" y="8"/>
                    </a:lnTo>
                    <a:lnTo>
                      <a:pt x="148" y="8"/>
                    </a:lnTo>
                    <a:lnTo>
                      <a:pt x="151" y="13"/>
                    </a:lnTo>
                    <a:lnTo>
                      <a:pt x="151" y="15"/>
                    </a:lnTo>
                    <a:lnTo>
                      <a:pt x="155" y="18"/>
                    </a:lnTo>
                    <a:lnTo>
                      <a:pt x="155" y="20"/>
                    </a:lnTo>
                    <a:lnTo>
                      <a:pt x="150" y="23"/>
                    </a:lnTo>
                    <a:lnTo>
                      <a:pt x="150" y="30"/>
                    </a:lnTo>
                    <a:lnTo>
                      <a:pt x="146" y="35"/>
                    </a:lnTo>
                    <a:lnTo>
                      <a:pt x="143" y="33"/>
                    </a:lnTo>
                    <a:lnTo>
                      <a:pt x="140" y="38"/>
                    </a:lnTo>
                    <a:lnTo>
                      <a:pt x="140" y="41"/>
                    </a:lnTo>
                    <a:lnTo>
                      <a:pt x="136" y="43"/>
                    </a:lnTo>
                    <a:lnTo>
                      <a:pt x="133" y="41"/>
                    </a:lnTo>
                    <a:lnTo>
                      <a:pt x="133" y="37"/>
                    </a:lnTo>
                    <a:lnTo>
                      <a:pt x="131" y="37"/>
                    </a:lnTo>
                    <a:lnTo>
                      <a:pt x="128" y="38"/>
                    </a:lnTo>
                    <a:lnTo>
                      <a:pt x="126" y="45"/>
                    </a:lnTo>
                    <a:lnTo>
                      <a:pt x="131" y="48"/>
                    </a:lnTo>
                    <a:lnTo>
                      <a:pt x="133" y="50"/>
                    </a:lnTo>
                    <a:lnTo>
                      <a:pt x="131" y="51"/>
                    </a:lnTo>
                    <a:lnTo>
                      <a:pt x="128" y="51"/>
                    </a:lnTo>
                    <a:lnTo>
                      <a:pt x="123" y="51"/>
                    </a:lnTo>
                    <a:lnTo>
                      <a:pt x="125" y="56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28" y="63"/>
                    </a:lnTo>
                    <a:lnTo>
                      <a:pt x="126" y="60"/>
                    </a:lnTo>
                    <a:lnTo>
                      <a:pt x="121" y="61"/>
                    </a:lnTo>
                    <a:lnTo>
                      <a:pt x="121" y="65"/>
                    </a:lnTo>
                    <a:lnTo>
                      <a:pt x="115" y="70"/>
                    </a:lnTo>
                    <a:lnTo>
                      <a:pt x="115" y="65"/>
                    </a:lnTo>
                    <a:lnTo>
                      <a:pt x="115" y="63"/>
                    </a:lnTo>
                    <a:lnTo>
                      <a:pt x="113" y="60"/>
                    </a:lnTo>
                    <a:lnTo>
                      <a:pt x="110" y="65"/>
                    </a:lnTo>
                    <a:lnTo>
                      <a:pt x="111" y="66"/>
                    </a:lnTo>
                    <a:lnTo>
                      <a:pt x="111" y="68"/>
                    </a:lnTo>
                    <a:lnTo>
                      <a:pt x="105" y="70"/>
                    </a:lnTo>
                    <a:lnTo>
                      <a:pt x="108" y="75"/>
                    </a:lnTo>
                    <a:lnTo>
                      <a:pt x="111" y="76"/>
                    </a:lnTo>
                    <a:lnTo>
                      <a:pt x="110" y="78"/>
                    </a:lnTo>
                    <a:lnTo>
                      <a:pt x="108" y="78"/>
                    </a:lnTo>
                    <a:lnTo>
                      <a:pt x="103" y="81"/>
                    </a:lnTo>
                    <a:lnTo>
                      <a:pt x="103" y="78"/>
                    </a:lnTo>
                    <a:lnTo>
                      <a:pt x="101" y="78"/>
                    </a:lnTo>
                    <a:lnTo>
                      <a:pt x="103" y="75"/>
                    </a:lnTo>
                    <a:lnTo>
                      <a:pt x="101" y="73"/>
                    </a:lnTo>
                    <a:lnTo>
                      <a:pt x="91" y="80"/>
                    </a:lnTo>
                    <a:lnTo>
                      <a:pt x="91" y="86"/>
                    </a:lnTo>
                    <a:lnTo>
                      <a:pt x="91" y="88"/>
                    </a:lnTo>
                    <a:lnTo>
                      <a:pt x="90" y="91"/>
                    </a:lnTo>
                    <a:lnTo>
                      <a:pt x="88" y="90"/>
                    </a:lnTo>
                    <a:lnTo>
                      <a:pt x="85" y="88"/>
                    </a:lnTo>
                    <a:lnTo>
                      <a:pt x="85" y="83"/>
                    </a:lnTo>
                    <a:lnTo>
                      <a:pt x="83" y="83"/>
                    </a:lnTo>
                    <a:lnTo>
                      <a:pt x="78" y="88"/>
                    </a:lnTo>
                    <a:lnTo>
                      <a:pt x="71" y="85"/>
                    </a:lnTo>
                    <a:lnTo>
                      <a:pt x="70" y="86"/>
                    </a:lnTo>
                    <a:lnTo>
                      <a:pt x="68" y="86"/>
                    </a:lnTo>
                    <a:lnTo>
                      <a:pt x="68" y="93"/>
                    </a:lnTo>
                    <a:lnTo>
                      <a:pt x="67" y="91"/>
                    </a:lnTo>
                    <a:lnTo>
                      <a:pt x="65" y="93"/>
                    </a:lnTo>
                    <a:lnTo>
                      <a:pt x="65" y="90"/>
                    </a:lnTo>
                    <a:lnTo>
                      <a:pt x="63" y="88"/>
                    </a:lnTo>
                    <a:lnTo>
                      <a:pt x="60" y="91"/>
                    </a:lnTo>
                    <a:lnTo>
                      <a:pt x="58" y="88"/>
                    </a:lnTo>
                    <a:lnTo>
                      <a:pt x="48" y="96"/>
                    </a:lnTo>
                    <a:lnTo>
                      <a:pt x="45" y="96"/>
                    </a:lnTo>
                    <a:lnTo>
                      <a:pt x="43" y="95"/>
                    </a:lnTo>
                    <a:lnTo>
                      <a:pt x="38" y="95"/>
                    </a:lnTo>
                    <a:lnTo>
                      <a:pt x="37" y="98"/>
                    </a:lnTo>
                    <a:lnTo>
                      <a:pt x="37" y="105"/>
                    </a:lnTo>
                    <a:lnTo>
                      <a:pt x="30" y="115"/>
                    </a:lnTo>
                    <a:lnTo>
                      <a:pt x="30" y="116"/>
                    </a:lnTo>
                    <a:lnTo>
                      <a:pt x="23" y="123"/>
                    </a:lnTo>
                    <a:lnTo>
                      <a:pt x="23" y="126"/>
                    </a:lnTo>
                    <a:lnTo>
                      <a:pt x="27" y="130"/>
                    </a:lnTo>
                    <a:lnTo>
                      <a:pt x="23" y="133"/>
                    </a:lnTo>
                    <a:lnTo>
                      <a:pt x="27" y="140"/>
                    </a:lnTo>
                    <a:lnTo>
                      <a:pt x="27" y="144"/>
                    </a:lnTo>
                    <a:lnTo>
                      <a:pt x="33" y="156"/>
                    </a:lnTo>
                    <a:lnTo>
                      <a:pt x="32" y="159"/>
                    </a:lnTo>
                    <a:lnTo>
                      <a:pt x="37" y="164"/>
                    </a:lnTo>
                    <a:lnTo>
                      <a:pt x="37" y="166"/>
                    </a:lnTo>
                    <a:lnTo>
                      <a:pt x="33" y="169"/>
                    </a:lnTo>
                    <a:lnTo>
                      <a:pt x="35" y="171"/>
                    </a:lnTo>
                    <a:lnTo>
                      <a:pt x="32" y="181"/>
                    </a:lnTo>
                    <a:lnTo>
                      <a:pt x="27" y="184"/>
                    </a:lnTo>
                    <a:lnTo>
                      <a:pt x="27" y="191"/>
                    </a:lnTo>
                    <a:lnTo>
                      <a:pt x="23" y="191"/>
                    </a:lnTo>
                    <a:lnTo>
                      <a:pt x="22" y="194"/>
                    </a:lnTo>
                    <a:lnTo>
                      <a:pt x="17" y="198"/>
                    </a:lnTo>
                    <a:lnTo>
                      <a:pt x="17" y="206"/>
                    </a:lnTo>
                    <a:lnTo>
                      <a:pt x="13" y="209"/>
                    </a:lnTo>
                    <a:lnTo>
                      <a:pt x="7" y="211"/>
                    </a:lnTo>
                    <a:lnTo>
                      <a:pt x="5" y="213"/>
                    </a:lnTo>
                    <a:lnTo>
                      <a:pt x="5" y="219"/>
                    </a:lnTo>
                    <a:lnTo>
                      <a:pt x="0" y="224"/>
                    </a:lnTo>
                    <a:lnTo>
                      <a:pt x="2" y="231"/>
                    </a:lnTo>
                    <a:lnTo>
                      <a:pt x="0" y="234"/>
                    </a:lnTo>
                    <a:lnTo>
                      <a:pt x="0" y="236"/>
                    </a:lnTo>
                    <a:lnTo>
                      <a:pt x="0" y="242"/>
                    </a:lnTo>
                    <a:lnTo>
                      <a:pt x="7" y="251"/>
                    </a:lnTo>
                    <a:lnTo>
                      <a:pt x="7" y="256"/>
                    </a:lnTo>
                    <a:lnTo>
                      <a:pt x="7" y="257"/>
                    </a:lnTo>
                    <a:lnTo>
                      <a:pt x="10" y="259"/>
                    </a:lnTo>
                    <a:lnTo>
                      <a:pt x="12" y="259"/>
                    </a:lnTo>
                    <a:lnTo>
                      <a:pt x="10" y="261"/>
                    </a:lnTo>
                    <a:lnTo>
                      <a:pt x="5" y="262"/>
                    </a:lnTo>
                    <a:lnTo>
                      <a:pt x="5" y="266"/>
                    </a:lnTo>
                    <a:lnTo>
                      <a:pt x="7" y="274"/>
                    </a:lnTo>
                    <a:lnTo>
                      <a:pt x="5" y="282"/>
                    </a:lnTo>
                    <a:lnTo>
                      <a:pt x="7" y="284"/>
                    </a:lnTo>
                    <a:lnTo>
                      <a:pt x="8" y="287"/>
                    </a:lnTo>
                    <a:lnTo>
                      <a:pt x="10" y="289"/>
                    </a:lnTo>
                    <a:lnTo>
                      <a:pt x="13" y="294"/>
                    </a:lnTo>
                    <a:lnTo>
                      <a:pt x="17" y="296"/>
                    </a:lnTo>
                    <a:lnTo>
                      <a:pt x="18" y="297"/>
                    </a:lnTo>
                    <a:lnTo>
                      <a:pt x="22" y="301"/>
                    </a:lnTo>
                    <a:lnTo>
                      <a:pt x="25" y="301"/>
                    </a:lnTo>
                    <a:lnTo>
                      <a:pt x="27" y="302"/>
                    </a:lnTo>
                    <a:lnTo>
                      <a:pt x="30" y="302"/>
                    </a:lnTo>
                    <a:lnTo>
                      <a:pt x="35" y="307"/>
                    </a:lnTo>
                    <a:lnTo>
                      <a:pt x="37" y="307"/>
                    </a:lnTo>
                    <a:lnTo>
                      <a:pt x="37" y="311"/>
                    </a:lnTo>
                    <a:lnTo>
                      <a:pt x="38" y="311"/>
                    </a:lnTo>
                    <a:lnTo>
                      <a:pt x="38" y="311"/>
                    </a:lnTo>
                    <a:close/>
                    <a:moveTo>
                      <a:pt x="145" y="22"/>
                    </a:moveTo>
                    <a:lnTo>
                      <a:pt x="143" y="20"/>
                    </a:lnTo>
                    <a:lnTo>
                      <a:pt x="146" y="17"/>
                    </a:lnTo>
                    <a:lnTo>
                      <a:pt x="146" y="18"/>
                    </a:lnTo>
                    <a:lnTo>
                      <a:pt x="145" y="22"/>
                    </a:lnTo>
                    <a:lnTo>
                      <a:pt x="145" y="22"/>
                    </a:lnTo>
                    <a:close/>
                    <a:moveTo>
                      <a:pt x="143" y="30"/>
                    </a:moveTo>
                    <a:lnTo>
                      <a:pt x="143" y="28"/>
                    </a:lnTo>
                    <a:lnTo>
                      <a:pt x="145" y="30"/>
                    </a:lnTo>
                    <a:lnTo>
                      <a:pt x="143" y="32"/>
                    </a:lnTo>
                    <a:lnTo>
                      <a:pt x="143" y="30"/>
                    </a:lnTo>
                    <a:lnTo>
                      <a:pt x="143" y="30"/>
                    </a:lnTo>
                    <a:close/>
                    <a:moveTo>
                      <a:pt x="135" y="28"/>
                    </a:moveTo>
                    <a:lnTo>
                      <a:pt x="136" y="27"/>
                    </a:lnTo>
                    <a:lnTo>
                      <a:pt x="136" y="28"/>
                    </a:lnTo>
                    <a:lnTo>
                      <a:pt x="140" y="30"/>
                    </a:lnTo>
                    <a:lnTo>
                      <a:pt x="138" y="33"/>
                    </a:lnTo>
                    <a:lnTo>
                      <a:pt x="136" y="32"/>
                    </a:lnTo>
                    <a:lnTo>
                      <a:pt x="133" y="32"/>
                    </a:lnTo>
                    <a:lnTo>
                      <a:pt x="135" y="28"/>
                    </a:lnTo>
                    <a:lnTo>
                      <a:pt x="135" y="28"/>
                    </a:lnTo>
                    <a:close/>
                    <a:moveTo>
                      <a:pt x="168" y="116"/>
                    </a:moveTo>
                    <a:lnTo>
                      <a:pt x="168" y="113"/>
                    </a:lnTo>
                    <a:lnTo>
                      <a:pt x="168" y="110"/>
                    </a:lnTo>
                    <a:lnTo>
                      <a:pt x="169" y="108"/>
                    </a:lnTo>
                    <a:lnTo>
                      <a:pt x="171" y="108"/>
                    </a:lnTo>
                    <a:lnTo>
                      <a:pt x="173" y="105"/>
                    </a:lnTo>
                    <a:lnTo>
                      <a:pt x="171" y="110"/>
                    </a:lnTo>
                    <a:lnTo>
                      <a:pt x="169" y="111"/>
                    </a:lnTo>
                    <a:lnTo>
                      <a:pt x="168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6" name="Freeform 139">
                <a:extLst>
                  <a:ext uri="{FF2B5EF4-FFF2-40B4-BE49-F238E27FC236}">
                    <a16:creationId xmlns:a16="http://schemas.microsoft.com/office/drawing/2014/main" id="{EC62FD7D-B1E1-684D-9C27-868810C2E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6725" y="3391112"/>
                <a:ext cx="134851" cy="190916"/>
              </a:xfrm>
              <a:custGeom>
                <a:avLst/>
                <a:gdLst/>
                <a:ahLst/>
                <a:cxnLst>
                  <a:cxn ang="0">
                    <a:pos x="45" y="229"/>
                  </a:cxn>
                  <a:cxn ang="0">
                    <a:pos x="50" y="217"/>
                  </a:cxn>
                  <a:cxn ang="0">
                    <a:pos x="55" y="201"/>
                  </a:cxn>
                  <a:cxn ang="0">
                    <a:pos x="55" y="187"/>
                  </a:cxn>
                  <a:cxn ang="0">
                    <a:pos x="57" y="174"/>
                  </a:cxn>
                  <a:cxn ang="0">
                    <a:pos x="60" y="156"/>
                  </a:cxn>
                  <a:cxn ang="0">
                    <a:pos x="62" y="141"/>
                  </a:cxn>
                  <a:cxn ang="0">
                    <a:pos x="37" y="133"/>
                  </a:cxn>
                  <a:cxn ang="0">
                    <a:pos x="15" y="126"/>
                  </a:cxn>
                  <a:cxn ang="0">
                    <a:pos x="0" y="106"/>
                  </a:cxn>
                  <a:cxn ang="0">
                    <a:pos x="45" y="88"/>
                  </a:cxn>
                  <a:cxn ang="0">
                    <a:pos x="75" y="83"/>
                  </a:cxn>
                  <a:cxn ang="0">
                    <a:pos x="86" y="89"/>
                  </a:cxn>
                  <a:cxn ang="0">
                    <a:pos x="103" y="98"/>
                  </a:cxn>
                  <a:cxn ang="0">
                    <a:pos x="93" y="121"/>
                  </a:cxn>
                  <a:cxn ang="0">
                    <a:pos x="108" y="139"/>
                  </a:cxn>
                  <a:cxn ang="0">
                    <a:pos x="118" y="149"/>
                  </a:cxn>
                  <a:cxn ang="0">
                    <a:pos x="123" y="126"/>
                  </a:cxn>
                  <a:cxn ang="0">
                    <a:pos x="130" y="108"/>
                  </a:cxn>
                  <a:cxn ang="0">
                    <a:pos x="135" y="101"/>
                  </a:cxn>
                  <a:cxn ang="0">
                    <a:pos x="128" y="83"/>
                  </a:cxn>
                  <a:cxn ang="0">
                    <a:pos x="110" y="66"/>
                  </a:cxn>
                  <a:cxn ang="0">
                    <a:pos x="131" y="21"/>
                  </a:cxn>
                  <a:cxn ang="0">
                    <a:pos x="143" y="23"/>
                  </a:cxn>
                  <a:cxn ang="0">
                    <a:pos x="160" y="23"/>
                  </a:cxn>
                  <a:cxn ang="0">
                    <a:pos x="171" y="23"/>
                  </a:cxn>
                  <a:cxn ang="0">
                    <a:pos x="186" y="16"/>
                  </a:cxn>
                  <a:cxn ang="0">
                    <a:pos x="203" y="18"/>
                  </a:cxn>
                  <a:cxn ang="0">
                    <a:pos x="223" y="11"/>
                  </a:cxn>
                  <a:cxn ang="0">
                    <a:pos x="244" y="1"/>
                  </a:cxn>
                  <a:cxn ang="0">
                    <a:pos x="253" y="6"/>
                  </a:cxn>
                  <a:cxn ang="0">
                    <a:pos x="248" y="20"/>
                  </a:cxn>
                  <a:cxn ang="0">
                    <a:pos x="248" y="36"/>
                  </a:cxn>
                  <a:cxn ang="0">
                    <a:pos x="248" y="58"/>
                  </a:cxn>
                  <a:cxn ang="0">
                    <a:pos x="243" y="81"/>
                  </a:cxn>
                  <a:cxn ang="0">
                    <a:pos x="251" y="93"/>
                  </a:cxn>
                  <a:cxn ang="0">
                    <a:pos x="244" y="101"/>
                  </a:cxn>
                  <a:cxn ang="0">
                    <a:pos x="244" y="108"/>
                  </a:cxn>
                  <a:cxn ang="0">
                    <a:pos x="229" y="128"/>
                  </a:cxn>
                  <a:cxn ang="0">
                    <a:pos x="206" y="144"/>
                  </a:cxn>
                  <a:cxn ang="0">
                    <a:pos x="168" y="161"/>
                  </a:cxn>
                  <a:cxn ang="0">
                    <a:pos x="155" y="166"/>
                  </a:cxn>
                  <a:cxn ang="0">
                    <a:pos x="141" y="182"/>
                  </a:cxn>
                  <a:cxn ang="0">
                    <a:pos x="118" y="196"/>
                  </a:cxn>
                  <a:cxn ang="0">
                    <a:pos x="101" y="204"/>
                  </a:cxn>
                  <a:cxn ang="0">
                    <a:pos x="98" y="214"/>
                  </a:cxn>
                  <a:cxn ang="0">
                    <a:pos x="101" y="236"/>
                  </a:cxn>
                  <a:cxn ang="0">
                    <a:pos x="108" y="264"/>
                  </a:cxn>
                  <a:cxn ang="0">
                    <a:pos x="115" y="264"/>
                  </a:cxn>
                  <a:cxn ang="0">
                    <a:pos x="113" y="279"/>
                  </a:cxn>
                  <a:cxn ang="0">
                    <a:pos x="106" y="295"/>
                  </a:cxn>
                  <a:cxn ang="0">
                    <a:pos x="108" y="310"/>
                  </a:cxn>
                  <a:cxn ang="0">
                    <a:pos x="48" y="337"/>
                  </a:cxn>
                  <a:cxn ang="0">
                    <a:pos x="37" y="349"/>
                  </a:cxn>
                  <a:cxn ang="0">
                    <a:pos x="45" y="357"/>
                  </a:cxn>
                  <a:cxn ang="0">
                    <a:pos x="45" y="365"/>
                  </a:cxn>
                  <a:cxn ang="0">
                    <a:pos x="28" y="365"/>
                  </a:cxn>
                  <a:cxn ang="0">
                    <a:pos x="25" y="352"/>
                  </a:cxn>
                  <a:cxn ang="0">
                    <a:pos x="25" y="329"/>
                  </a:cxn>
                  <a:cxn ang="0">
                    <a:pos x="22" y="297"/>
                  </a:cxn>
                  <a:cxn ang="0">
                    <a:pos x="17" y="269"/>
                  </a:cxn>
                </a:cxnLst>
                <a:rect l="0" t="0" r="r" b="b"/>
                <a:pathLst>
                  <a:path w="253" h="369">
                    <a:moveTo>
                      <a:pt x="17" y="269"/>
                    </a:moveTo>
                    <a:lnTo>
                      <a:pt x="43" y="246"/>
                    </a:lnTo>
                    <a:lnTo>
                      <a:pt x="43" y="237"/>
                    </a:lnTo>
                    <a:lnTo>
                      <a:pt x="45" y="236"/>
                    </a:lnTo>
                    <a:lnTo>
                      <a:pt x="45" y="229"/>
                    </a:lnTo>
                    <a:lnTo>
                      <a:pt x="47" y="226"/>
                    </a:lnTo>
                    <a:lnTo>
                      <a:pt x="45" y="222"/>
                    </a:lnTo>
                    <a:lnTo>
                      <a:pt x="45" y="219"/>
                    </a:lnTo>
                    <a:lnTo>
                      <a:pt x="48" y="219"/>
                    </a:lnTo>
                    <a:lnTo>
                      <a:pt x="50" y="217"/>
                    </a:lnTo>
                    <a:lnTo>
                      <a:pt x="55" y="214"/>
                    </a:lnTo>
                    <a:lnTo>
                      <a:pt x="58" y="209"/>
                    </a:lnTo>
                    <a:lnTo>
                      <a:pt x="57" y="206"/>
                    </a:lnTo>
                    <a:lnTo>
                      <a:pt x="55" y="204"/>
                    </a:lnTo>
                    <a:lnTo>
                      <a:pt x="55" y="201"/>
                    </a:lnTo>
                    <a:lnTo>
                      <a:pt x="57" y="199"/>
                    </a:lnTo>
                    <a:lnTo>
                      <a:pt x="57" y="194"/>
                    </a:lnTo>
                    <a:lnTo>
                      <a:pt x="52" y="192"/>
                    </a:lnTo>
                    <a:lnTo>
                      <a:pt x="52" y="189"/>
                    </a:lnTo>
                    <a:lnTo>
                      <a:pt x="55" y="187"/>
                    </a:lnTo>
                    <a:lnTo>
                      <a:pt x="55" y="184"/>
                    </a:lnTo>
                    <a:lnTo>
                      <a:pt x="55" y="179"/>
                    </a:lnTo>
                    <a:lnTo>
                      <a:pt x="58" y="177"/>
                    </a:lnTo>
                    <a:lnTo>
                      <a:pt x="60" y="174"/>
                    </a:lnTo>
                    <a:lnTo>
                      <a:pt x="57" y="174"/>
                    </a:lnTo>
                    <a:lnTo>
                      <a:pt x="55" y="173"/>
                    </a:lnTo>
                    <a:lnTo>
                      <a:pt x="57" y="169"/>
                    </a:lnTo>
                    <a:lnTo>
                      <a:pt x="58" y="163"/>
                    </a:lnTo>
                    <a:lnTo>
                      <a:pt x="60" y="159"/>
                    </a:lnTo>
                    <a:lnTo>
                      <a:pt x="60" y="156"/>
                    </a:lnTo>
                    <a:lnTo>
                      <a:pt x="60" y="154"/>
                    </a:lnTo>
                    <a:lnTo>
                      <a:pt x="60" y="151"/>
                    </a:lnTo>
                    <a:lnTo>
                      <a:pt x="60" y="148"/>
                    </a:lnTo>
                    <a:lnTo>
                      <a:pt x="62" y="144"/>
                    </a:lnTo>
                    <a:lnTo>
                      <a:pt x="62" y="141"/>
                    </a:lnTo>
                    <a:lnTo>
                      <a:pt x="57" y="139"/>
                    </a:lnTo>
                    <a:lnTo>
                      <a:pt x="53" y="138"/>
                    </a:lnTo>
                    <a:lnTo>
                      <a:pt x="48" y="134"/>
                    </a:lnTo>
                    <a:lnTo>
                      <a:pt x="42" y="133"/>
                    </a:lnTo>
                    <a:lnTo>
                      <a:pt x="37" y="133"/>
                    </a:lnTo>
                    <a:lnTo>
                      <a:pt x="33" y="128"/>
                    </a:lnTo>
                    <a:lnTo>
                      <a:pt x="27" y="124"/>
                    </a:lnTo>
                    <a:lnTo>
                      <a:pt x="20" y="123"/>
                    </a:lnTo>
                    <a:lnTo>
                      <a:pt x="18" y="124"/>
                    </a:lnTo>
                    <a:lnTo>
                      <a:pt x="15" y="126"/>
                    </a:lnTo>
                    <a:lnTo>
                      <a:pt x="13" y="123"/>
                    </a:lnTo>
                    <a:lnTo>
                      <a:pt x="10" y="123"/>
                    </a:lnTo>
                    <a:lnTo>
                      <a:pt x="2" y="123"/>
                    </a:lnTo>
                    <a:lnTo>
                      <a:pt x="2" y="113"/>
                    </a:lnTo>
                    <a:lnTo>
                      <a:pt x="0" y="106"/>
                    </a:lnTo>
                    <a:lnTo>
                      <a:pt x="2" y="103"/>
                    </a:lnTo>
                    <a:lnTo>
                      <a:pt x="10" y="98"/>
                    </a:lnTo>
                    <a:lnTo>
                      <a:pt x="15" y="98"/>
                    </a:lnTo>
                    <a:lnTo>
                      <a:pt x="40" y="88"/>
                    </a:lnTo>
                    <a:lnTo>
                      <a:pt x="45" y="88"/>
                    </a:lnTo>
                    <a:lnTo>
                      <a:pt x="60" y="83"/>
                    </a:lnTo>
                    <a:lnTo>
                      <a:pt x="67" y="79"/>
                    </a:lnTo>
                    <a:lnTo>
                      <a:pt x="73" y="79"/>
                    </a:lnTo>
                    <a:lnTo>
                      <a:pt x="75" y="81"/>
                    </a:lnTo>
                    <a:lnTo>
                      <a:pt x="75" y="83"/>
                    </a:lnTo>
                    <a:lnTo>
                      <a:pt x="78" y="86"/>
                    </a:lnTo>
                    <a:lnTo>
                      <a:pt x="78" y="88"/>
                    </a:lnTo>
                    <a:lnTo>
                      <a:pt x="81" y="89"/>
                    </a:lnTo>
                    <a:lnTo>
                      <a:pt x="83" y="89"/>
                    </a:lnTo>
                    <a:lnTo>
                      <a:pt x="86" y="89"/>
                    </a:lnTo>
                    <a:lnTo>
                      <a:pt x="90" y="88"/>
                    </a:lnTo>
                    <a:lnTo>
                      <a:pt x="95" y="88"/>
                    </a:lnTo>
                    <a:lnTo>
                      <a:pt x="100" y="88"/>
                    </a:lnTo>
                    <a:lnTo>
                      <a:pt x="103" y="91"/>
                    </a:lnTo>
                    <a:lnTo>
                      <a:pt x="103" y="98"/>
                    </a:lnTo>
                    <a:lnTo>
                      <a:pt x="101" y="103"/>
                    </a:lnTo>
                    <a:lnTo>
                      <a:pt x="96" y="108"/>
                    </a:lnTo>
                    <a:lnTo>
                      <a:pt x="96" y="113"/>
                    </a:lnTo>
                    <a:lnTo>
                      <a:pt x="93" y="118"/>
                    </a:lnTo>
                    <a:lnTo>
                      <a:pt x="93" y="121"/>
                    </a:lnTo>
                    <a:lnTo>
                      <a:pt x="95" y="126"/>
                    </a:lnTo>
                    <a:lnTo>
                      <a:pt x="96" y="129"/>
                    </a:lnTo>
                    <a:lnTo>
                      <a:pt x="100" y="133"/>
                    </a:lnTo>
                    <a:lnTo>
                      <a:pt x="105" y="138"/>
                    </a:lnTo>
                    <a:lnTo>
                      <a:pt x="108" y="139"/>
                    </a:lnTo>
                    <a:lnTo>
                      <a:pt x="110" y="141"/>
                    </a:lnTo>
                    <a:lnTo>
                      <a:pt x="113" y="144"/>
                    </a:lnTo>
                    <a:lnTo>
                      <a:pt x="111" y="148"/>
                    </a:lnTo>
                    <a:lnTo>
                      <a:pt x="113" y="151"/>
                    </a:lnTo>
                    <a:lnTo>
                      <a:pt x="118" y="149"/>
                    </a:lnTo>
                    <a:lnTo>
                      <a:pt x="118" y="146"/>
                    </a:lnTo>
                    <a:lnTo>
                      <a:pt x="116" y="139"/>
                    </a:lnTo>
                    <a:lnTo>
                      <a:pt x="120" y="136"/>
                    </a:lnTo>
                    <a:lnTo>
                      <a:pt x="120" y="133"/>
                    </a:lnTo>
                    <a:lnTo>
                      <a:pt x="123" y="126"/>
                    </a:lnTo>
                    <a:lnTo>
                      <a:pt x="128" y="124"/>
                    </a:lnTo>
                    <a:lnTo>
                      <a:pt x="131" y="123"/>
                    </a:lnTo>
                    <a:lnTo>
                      <a:pt x="133" y="119"/>
                    </a:lnTo>
                    <a:lnTo>
                      <a:pt x="133" y="111"/>
                    </a:lnTo>
                    <a:lnTo>
                      <a:pt x="130" y="108"/>
                    </a:lnTo>
                    <a:lnTo>
                      <a:pt x="131" y="106"/>
                    </a:lnTo>
                    <a:lnTo>
                      <a:pt x="130" y="104"/>
                    </a:lnTo>
                    <a:lnTo>
                      <a:pt x="130" y="103"/>
                    </a:lnTo>
                    <a:lnTo>
                      <a:pt x="133" y="103"/>
                    </a:lnTo>
                    <a:lnTo>
                      <a:pt x="135" y="101"/>
                    </a:lnTo>
                    <a:lnTo>
                      <a:pt x="136" y="99"/>
                    </a:lnTo>
                    <a:lnTo>
                      <a:pt x="136" y="98"/>
                    </a:lnTo>
                    <a:lnTo>
                      <a:pt x="135" y="94"/>
                    </a:lnTo>
                    <a:lnTo>
                      <a:pt x="133" y="89"/>
                    </a:lnTo>
                    <a:lnTo>
                      <a:pt x="128" y="83"/>
                    </a:lnTo>
                    <a:lnTo>
                      <a:pt x="126" y="78"/>
                    </a:lnTo>
                    <a:lnTo>
                      <a:pt x="118" y="71"/>
                    </a:lnTo>
                    <a:lnTo>
                      <a:pt x="115" y="71"/>
                    </a:lnTo>
                    <a:lnTo>
                      <a:pt x="113" y="68"/>
                    </a:lnTo>
                    <a:lnTo>
                      <a:pt x="110" y="66"/>
                    </a:lnTo>
                    <a:lnTo>
                      <a:pt x="103" y="61"/>
                    </a:lnTo>
                    <a:lnTo>
                      <a:pt x="98" y="41"/>
                    </a:lnTo>
                    <a:lnTo>
                      <a:pt x="105" y="21"/>
                    </a:lnTo>
                    <a:lnTo>
                      <a:pt x="128" y="21"/>
                    </a:lnTo>
                    <a:lnTo>
                      <a:pt x="131" y="21"/>
                    </a:lnTo>
                    <a:lnTo>
                      <a:pt x="133" y="20"/>
                    </a:lnTo>
                    <a:lnTo>
                      <a:pt x="136" y="18"/>
                    </a:lnTo>
                    <a:lnTo>
                      <a:pt x="136" y="21"/>
                    </a:lnTo>
                    <a:lnTo>
                      <a:pt x="140" y="21"/>
                    </a:lnTo>
                    <a:lnTo>
                      <a:pt x="143" y="23"/>
                    </a:lnTo>
                    <a:lnTo>
                      <a:pt x="146" y="23"/>
                    </a:lnTo>
                    <a:lnTo>
                      <a:pt x="148" y="26"/>
                    </a:lnTo>
                    <a:lnTo>
                      <a:pt x="148" y="28"/>
                    </a:lnTo>
                    <a:lnTo>
                      <a:pt x="155" y="26"/>
                    </a:lnTo>
                    <a:lnTo>
                      <a:pt x="160" y="23"/>
                    </a:lnTo>
                    <a:lnTo>
                      <a:pt x="163" y="21"/>
                    </a:lnTo>
                    <a:lnTo>
                      <a:pt x="165" y="21"/>
                    </a:lnTo>
                    <a:lnTo>
                      <a:pt x="166" y="21"/>
                    </a:lnTo>
                    <a:lnTo>
                      <a:pt x="168" y="23"/>
                    </a:lnTo>
                    <a:lnTo>
                      <a:pt x="171" y="23"/>
                    </a:lnTo>
                    <a:lnTo>
                      <a:pt x="173" y="25"/>
                    </a:lnTo>
                    <a:lnTo>
                      <a:pt x="178" y="23"/>
                    </a:lnTo>
                    <a:lnTo>
                      <a:pt x="184" y="23"/>
                    </a:lnTo>
                    <a:lnTo>
                      <a:pt x="188" y="20"/>
                    </a:lnTo>
                    <a:lnTo>
                      <a:pt x="186" y="16"/>
                    </a:lnTo>
                    <a:lnTo>
                      <a:pt x="188" y="16"/>
                    </a:lnTo>
                    <a:lnTo>
                      <a:pt x="191" y="16"/>
                    </a:lnTo>
                    <a:lnTo>
                      <a:pt x="196" y="16"/>
                    </a:lnTo>
                    <a:lnTo>
                      <a:pt x="198" y="18"/>
                    </a:lnTo>
                    <a:lnTo>
                      <a:pt x="203" y="18"/>
                    </a:lnTo>
                    <a:lnTo>
                      <a:pt x="204" y="16"/>
                    </a:lnTo>
                    <a:lnTo>
                      <a:pt x="214" y="13"/>
                    </a:lnTo>
                    <a:lnTo>
                      <a:pt x="218" y="15"/>
                    </a:lnTo>
                    <a:lnTo>
                      <a:pt x="221" y="13"/>
                    </a:lnTo>
                    <a:lnTo>
                      <a:pt x="223" y="11"/>
                    </a:lnTo>
                    <a:lnTo>
                      <a:pt x="229" y="11"/>
                    </a:lnTo>
                    <a:lnTo>
                      <a:pt x="233" y="8"/>
                    </a:lnTo>
                    <a:lnTo>
                      <a:pt x="238" y="8"/>
                    </a:lnTo>
                    <a:lnTo>
                      <a:pt x="241" y="5"/>
                    </a:lnTo>
                    <a:lnTo>
                      <a:pt x="244" y="1"/>
                    </a:lnTo>
                    <a:lnTo>
                      <a:pt x="248" y="3"/>
                    </a:lnTo>
                    <a:lnTo>
                      <a:pt x="251" y="0"/>
                    </a:lnTo>
                    <a:lnTo>
                      <a:pt x="251" y="0"/>
                    </a:lnTo>
                    <a:lnTo>
                      <a:pt x="253" y="1"/>
                    </a:lnTo>
                    <a:lnTo>
                      <a:pt x="253" y="6"/>
                    </a:lnTo>
                    <a:lnTo>
                      <a:pt x="251" y="8"/>
                    </a:lnTo>
                    <a:lnTo>
                      <a:pt x="253" y="10"/>
                    </a:lnTo>
                    <a:lnTo>
                      <a:pt x="248" y="16"/>
                    </a:lnTo>
                    <a:lnTo>
                      <a:pt x="246" y="18"/>
                    </a:lnTo>
                    <a:lnTo>
                      <a:pt x="248" y="20"/>
                    </a:lnTo>
                    <a:lnTo>
                      <a:pt x="248" y="21"/>
                    </a:lnTo>
                    <a:lnTo>
                      <a:pt x="246" y="23"/>
                    </a:lnTo>
                    <a:lnTo>
                      <a:pt x="248" y="31"/>
                    </a:lnTo>
                    <a:lnTo>
                      <a:pt x="249" y="36"/>
                    </a:lnTo>
                    <a:lnTo>
                      <a:pt x="248" y="36"/>
                    </a:lnTo>
                    <a:lnTo>
                      <a:pt x="248" y="43"/>
                    </a:lnTo>
                    <a:lnTo>
                      <a:pt x="249" y="45"/>
                    </a:lnTo>
                    <a:lnTo>
                      <a:pt x="249" y="50"/>
                    </a:lnTo>
                    <a:lnTo>
                      <a:pt x="248" y="51"/>
                    </a:lnTo>
                    <a:lnTo>
                      <a:pt x="248" y="58"/>
                    </a:lnTo>
                    <a:lnTo>
                      <a:pt x="246" y="68"/>
                    </a:lnTo>
                    <a:lnTo>
                      <a:pt x="246" y="68"/>
                    </a:lnTo>
                    <a:lnTo>
                      <a:pt x="248" y="70"/>
                    </a:lnTo>
                    <a:lnTo>
                      <a:pt x="248" y="79"/>
                    </a:lnTo>
                    <a:lnTo>
                      <a:pt x="243" y="81"/>
                    </a:lnTo>
                    <a:lnTo>
                      <a:pt x="243" y="81"/>
                    </a:lnTo>
                    <a:lnTo>
                      <a:pt x="244" y="83"/>
                    </a:lnTo>
                    <a:lnTo>
                      <a:pt x="249" y="83"/>
                    </a:lnTo>
                    <a:lnTo>
                      <a:pt x="251" y="84"/>
                    </a:lnTo>
                    <a:lnTo>
                      <a:pt x="251" y="93"/>
                    </a:lnTo>
                    <a:lnTo>
                      <a:pt x="249" y="96"/>
                    </a:lnTo>
                    <a:lnTo>
                      <a:pt x="246" y="98"/>
                    </a:lnTo>
                    <a:lnTo>
                      <a:pt x="248" y="99"/>
                    </a:lnTo>
                    <a:lnTo>
                      <a:pt x="248" y="101"/>
                    </a:lnTo>
                    <a:lnTo>
                      <a:pt x="244" y="101"/>
                    </a:lnTo>
                    <a:lnTo>
                      <a:pt x="241" y="104"/>
                    </a:lnTo>
                    <a:lnTo>
                      <a:pt x="243" y="106"/>
                    </a:lnTo>
                    <a:lnTo>
                      <a:pt x="243" y="104"/>
                    </a:lnTo>
                    <a:lnTo>
                      <a:pt x="246" y="104"/>
                    </a:lnTo>
                    <a:lnTo>
                      <a:pt x="244" y="108"/>
                    </a:lnTo>
                    <a:lnTo>
                      <a:pt x="243" y="113"/>
                    </a:lnTo>
                    <a:lnTo>
                      <a:pt x="241" y="113"/>
                    </a:lnTo>
                    <a:lnTo>
                      <a:pt x="234" y="119"/>
                    </a:lnTo>
                    <a:lnTo>
                      <a:pt x="234" y="121"/>
                    </a:lnTo>
                    <a:lnTo>
                      <a:pt x="229" y="128"/>
                    </a:lnTo>
                    <a:lnTo>
                      <a:pt x="226" y="128"/>
                    </a:lnTo>
                    <a:lnTo>
                      <a:pt x="226" y="133"/>
                    </a:lnTo>
                    <a:lnTo>
                      <a:pt x="211" y="141"/>
                    </a:lnTo>
                    <a:lnTo>
                      <a:pt x="208" y="141"/>
                    </a:lnTo>
                    <a:lnTo>
                      <a:pt x="206" y="144"/>
                    </a:lnTo>
                    <a:lnTo>
                      <a:pt x="191" y="151"/>
                    </a:lnTo>
                    <a:lnTo>
                      <a:pt x="184" y="151"/>
                    </a:lnTo>
                    <a:lnTo>
                      <a:pt x="184" y="151"/>
                    </a:lnTo>
                    <a:lnTo>
                      <a:pt x="178" y="154"/>
                    </a:lnTo>
                    <a:lnTo>
                      <a:pt x="168" y="161"/>
                    </a:lnTo>
                    <a:lnTo>
                      <a:pt x="166" y="159"/>
                    </a:lnTo>
                    <a:lnTo>
                      <a:pt x="166" y="161"/>
                    </a:lnTo>
                    <a:lnTo>
                      <a:pt x="160" y="168"/>
                    </a:lnTo>
                    <a:lnTo>
                      <a:pt x="156" y="169"/>
                    </a:lnTo>
                    <a:lnTo>
                      <a:pt x="155" y="166"/>
                    </a:lnTo>
                    <a:lnTo>
                      <a:pt x="155" y="171"/>
                    </a:lnTo>
                    <a:lnTo>
                      <a:pt x="151" y="173"/>
                    </a:lnTo>
                    <a:lnTo>
                      <a:pt x="151" y="176"/>
                    </a:lnTo>
                    <a:lnTo>
                      <a:pt x="141" y="181"/>
                    </a:lnTo>
                    <a:lnTo>
                      <a:pt x="141" y="182"/>
                    </a:lnTo>
                    <a:lnTo>
                      <a:pt x="138" y="184"/>
                    </a:lnTo>
                    <a:lnTo>
                      <a:pt x="136" y="186"/>
                    </a:lnTo>
                    <a:lnTo>
                      <a:pt x="136" y="189"/>
                    </a:lnTo>
                    <a:lnTo>
                      <a:pt x="130" y="189"/>
                    </a:lnTo>
                    <a:lnTo>
                      <a:pt x="118" y="196"/>
                    </a:lnTo>
                    <a:lnTo>
                      <a:pt x="118" y="201"/>
                    </a:lnTo>
                    <a:lnTo>
                      <a:pt x="113" y="204"/>
                    </a:lnTo>
                    <a:lnTo>
                      <a:pt x="108" y="204"/>
                    </a:lnTo>
                    <a:lnTo>
                      <a:pt x="105" y="207"/>
                    </a:lnTo>
                    <a:lnTo>
                      <a:pt x="101" y="204"/>
                    </a:lnTo>
                    <a:lnTo>
                      <a:pt x="98" y="204"/>
                    </a:lnTo>
                    <a:lnTo>
                      <a:pt x="98" y="207"/>
                    </a:lnTo>
                    <a:lnTo>
                      <a:pt x="101" y="209"/>
                    </a:lnTo>
                    <a:lnTo>
                      <a:pt x="101" y="212"/>
                    </a:lnTo>
                    <a:lnTo>
                      <a:pt x="98" y="214"/>
                    </a:lnTo>
                    <a:lnTo>
                      <a:pt x="100" y="217"/>
                    </a:lnTo>
                    <a:lnTo>
                      <a:pt x="96" y="221"/>
                    </a:lnTo>
                    <a:lnTo>
                      <a:pt x="103" y="231"/>
                    </a:lnTo>
                    <a:lnTo>
                      <a:pt x="105" y="232"/>
                    </a:lnTo>
                    <a:lnTo>
                      <a:pt x="101" y="236"/>
                    </a:lnTo>
                    <a:lnTo>
                      <a:pt x="103" y="236"/>
                    </a:lnTo>
                    <a:lnTo>
                      <a:pt x="106" y="241"/>
                    </a:lnTo>
                    <a:lnTo>
                      <a:pt x="106" y="246"/>
                    </a:lnTo>
                    <a:lnTo>
                      <a:pt x="110" y="251"/>
                    </a:lnTo>
                    <a:lnTo>
                      <a:pt x="108" y="264"/>
                    </a:lnTo>
                    <a:lnTo>
                      <a:pt x="110" y="269"/>
                    </a:lnTo>
                    <a:lnTo>
                      <a:pt x="111" y="269"/>
                    </a:lnTo>
                    <a:lnTo>
                      <a:pt x="111" y="264"/>
                    </a:lnTo>
                    <a:lnTo>
                      <a:pt x="113" y="259"/>
                    </a:lnTo>
                    <a:lnTo>
                      <a:pt x="115" y="264"/>
                    </a:lnTo>
                    <a:lnTo>
                      <a:pt x="115" y="264"/>
                    </a:lnTo>
                    <a:lnTo>
                      <a:pt x="115" y="269"/>
                    </a:lnTo>
                    <a:lnTo>
                      <a:pt x="113" y="272"/>
                    </a:lnTo>
                    <a:lnTo>
                      <a:pt x="113" y="277"/>
                    </a:lnTo>
                    <a:lnTo>
                      <a:pt x="113" y="279"/>
                    </a:lnTo>
                    <a:lnTo>
                      <a:pt x="111" y="285"/>
                    </a:lnTo>
                    <a:lnTo>
                      <a:pt x="111" y="289"/>
                    </a:lnTo>
                    <a:lnTo>
                      <a:pt x="108" y="292"/>
                    </a:lnTo>
                    <a:lnTo>
                      <a:pt x="108" y="295"/>
                    </a:lnTo>
                    <a:lnTo>
                      <a:pt x="106" y="295"/>
                    </a:lnTo>
                    <a:lnTo>
                      <a:pt x="108" y="300"/>
                    </a:lnTo>
                    <a:lnTo>
                      <a:pt x="111" y="299"/>
                    </a:lnTo>
                    <a:lnTo>
                      <a:pt x="113" y="300"/>
                    </a:lnTo>
                    <a:lnTo>
                      <a:pt x="110" y="305"/>
                    </a:lnTo>
                    <a:lnTo>
                      <a:pt x="108" y="310"/>
                    </a:lnTo>
                    <a:lnTo>
                      <a:pt x="98" y="319"/>
                    </a:lnTo>
                    <a:lnTo>
                      <a:pt x="83" y="325"/>
                    </a:lnTo>
                    <a:lnTo>
                      <a:pt x="62" y="329"/>
                    </a:lnTo>
                    <a:lnTo>
                      <a:pt x="53" y="335"/>
                    </a:lnTo>
                    <a:lnTo>
                      <a:pt x="48" y="337"/>
                    </a:lnTo>
                    <a:lnTo>
                      <a:pt x="45" y="340"/>
                    </a:lnTo>
                    <a:lnTo>
                      <a:pt x="43" y="342"/>
                    </a:lnTo>
                    <a:lnTo>
                      <a:pt x="42" y="347"/>
                    </a:lnTo>
                    <a:lnTo>
                      <a:pt x="38" y="347"/>
                    </a:lnTo>
                    <a:lnTo>
                      <a:pt x="37" y="349"/>
                    </a:lnTo>
                    <a:lnTo>
                      <a:pt x="37" y="350"/>
                    </a:lnTo>
                    <a:lnTo>
                      <a:pt x="40" y="354"/>
                    </a:lnTo>
                    <a:lnTo>
                      <a:pt x="40" y="359"/>
                    </a:lnTo>
                    <a:lnTo>
                      <a:pt x="42" y="355"/>
                    </a:lnTo>
                    <a:lnTo>
                      <a:pt x="45" y="357"/>
                    </a:lnTo>
                    <a:lnTo>
                      <a:pt x="47" y="354"/>
                    </a:lnTo>
                    <a:lnTo>
                      <a:pt x="48" y="352"/>
                    </a:lnTo>
                    <a:lnTo>
                      <a:pt x="48" y="355"/>
                    </a:lnTo>
                    <a:lnTo>
                      <a:pt x="47" y="360"/>
                    </a:lnTo>
                    <a:lnTo>
                      <a:pt x="45" y="365"/>
                    </a:lnTo>
                    <a:lnTo>
                      <a:pt x="45" y="369"/>
                    </a:lnTo>
                    <a:lnTo>
                      <a:pt x="40" y="369"/>
                    </a:lnTo>
                    <a:lnTo>
                      <a:pt x="32" y="367"/>
                    </a:lnTo>
                    <a:lnTo>
                      <a:pt x="28" y="367"/>
                    </a:lnTo>
                    <a:lnTo>
                      <a:pt x="28" y="365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0" y="357"/>
                    </a:lnTo>
                    <a:lnTo>
                      <a:pt x="28" y="354"/>
                    </a:lnTo>
                    <a:lnTo>
                      <a:pt x="25" y="352"/>
                    </a:lnTo>
                    <a:lnTo>
                      <a:pt x="23" y="350"/>
                    </a:lnTo>
                    <a:lnTo>
                      <a:pt x="23" y="350"/>
                    </a:lnTo>
                    <a:lnTo>
                      <a:pt x="23" y="342"/>
                    </a:lnTo>
                    <a:lnTo>
                      <a:pt x="23" y="335"/>
                    </a:lnTo>
                    <a:lnTo>
                      <a:pt x="25" y="329"/>
                    </a:lnTo>
                    <a:lnTo>
                      <a:pt x="25" y="312"/>
                    </a:lnTo>
                    <a:lnTo>
                      <a:pt x="23" y="307"/>
                    </a:lnTo>
                    <a:lnTo>
                      <a:pt x="22" y="302"/>
                    </a:lnTo>
                    <a:lnTo>
                      <a:pt x="22" y="299"/>
                    </a:lnTo>
                    <a:lnTo>
                      <a:pt x="22" y="297"/>
                    </a:lnTo>
                    <a:lnTo>
                      <a:pt x="22" y="287"/>
                    </a:lnTo>
                    <a:lnTo>
                      <a:pt x="20" y="282"/>
                    </a:lnTo>
                    <a:lnTo>
                      <a:pt x="18" y="275"/>
                    </a:lnTo>
                    <a:lnTo>
                      <a:pt x="17" y="271"/>
                    </a:lnTo>
                    <a:lnTo>
                      <a:pt x="17" y="2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7" name="Freeform 140">
                <a:extLst>
                  <a:ext uri="{FF2B5EF4-FFF2-40B4-BE49-F238E27FC236}">
                    <a16:creationId xmlns:a16="http://schemas.microsoft.com/office/drawing/2014/main" id="{8F1D288B-A81A-C445-AF6F-266CF48F1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3514" y="3568540"/>
                <a:ext cx="18194" cy="17639"/>
              </a:xfrm>
              <a:custGeom>
                <a:avLst/>
                <a:gdLst/>
                <a:ahLst/>
                <a:cxnLst>
                  <a:cxn ang="0">
                    <a:pos x="28" y="8"/>
                  </a:cxn>
                  <a:cxn ang="0">
                    <a:pos x="28" y="8"/>
                  </a:cxn>
                  <a:cxn ang="0">
                    <a:pos x="30" y="10"/>
                  </a:cxn>
                  <a:cxn ang="0">
                    <a:pos x="33" y="12"/>
                  </a:cxn>
                  <a:cxn ang="0">
                    <a:pos x="35" y="15"/>
                  </a:cxn>
                  <a:cxn ang="0">
                    <a:pos x="35" y="17"/>
                  </a:cxn>
                  <a:cxn ang="0">
                    <a:pos x="35" y="20"/>
                  </a:cxn>
                  <a:cxn ang="0">
                    <a:pos x="33" y="23"/>
                  </a:cxn>
                  <a:cxn ang="0">
                    <a:pos x="33" y="25"/>
                  </a:cxn>
                  <a:cxn ang="0">
                    <a:pos x="32" y="25"/>
                  </a:cxn>
                  <a:cxn ang="0">
                    <a:pos x="30" y="27"/>
                  </a:cxn>
                  <a:cxn ang="0">
                    <a:pos x="30" y="30"/>
                  </a:cxn>
                  <a:cxn ang="0">
                    <a:pos x="28" y="33"/>
                  </a:cxn>
                  <a:cxn ang="0">
                    <a:pos x="25" y="35"/>
                  </a:cxn>
                  <a:cxn ang="0">
                    <a:pos x="15" y="35"/>
                  </a:cxn>
                  <a:cxn ang="0">
                    <a:pos x="7" y="30"/>
                  </a:cxn>
                  <a:cxn ang="0">
                    <a:pos x="5" y="27"/>
                  </a:cxn>
                  <a:cxn ang="0">
                    <a:pos x="2" y="23"/>
                  </a:cxn>
                  <a:cxn ang="0">
                    <a:pos x="0" y="22"/>
                  </a:cxn>
                  <a:cxn ang="0">
                    <a:pos x="3" y="17"/>
                  </a:cxn>
                  <a:cxn ang="0">
                    <a:pos x="8" y="7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20" y="3"/>
                  </a:cxn>
                  <a:cxn ang="0">
                    <a:pos x="23" y="7"/>
                  </a:cxn>
                  <a:cxn ang="0">
                    <a:pos x="28" y="8"/>
                  </a:cxn>
                  <a:cxn ang="0">
                    <a:pos x="28" y="8"/>
                  </a:cxn>
                </a:cxnLst>
                <a:rect l="0" t="0" r="r" b="b"/>
                <a:pathLst>
                  <a:path w="35" h="35">
                    <a:moveTo>
                      <a:pt x="28" y="8"/>
                    </a:moveTo>
                    <a:lnTo>
                      <a:pt x="28" y="8"/>
                    </a:lnTo>
                    <a:lnTo>
                      <a:pt x="30" y="10"/>
                    </a:lnTo>
                    <a:lnTo>
                      <a:pt x="33" y="12"/>
                    </a:lnTo>
                    <a:lnTo>
                      <a:pt x="35" y="15"/>
                    </a:lnTo>
                    <a:lnTo>
                      <a:pt x="35" y="17"/>
                    </a:lnTo>
                    <a:lnTo>
                      <a:pt x="35" y="20"/>
                    </a:lnTo>
                    <a:lnTo>
                      <a:pt x="33" y="23"/>
                    </a:lnTo>
                    <a:lnTo>
                      <a:pt x="33" y="25"/>
                    </a:lnTo>
                    <a:lnTo>
                      <a:pt x="32" y="25"/>
                    </a:lnTo>
                    <a:lnTo>
                      <a:pt x="30" y="27"/>
                    </a:lnTo>
                    <a:lnTo>
                      <a:pt x="30" y="30"/>
                    </a:lnTo>
                    <a:lnTo>
                      <a:pt x="28" y="33"/>
                    </a:lnTo>
                    <a:lnTo>
                      <a:pt x="25" y="35"/>
                    </a:lnTo>
                    <a:lnTo>
                      <a:pt x="15" y="35"/>
                    </a:lnTo>
                    <a:lnTo>
                      <a:pt x="7" y="30"/>
                    </a:lnTo>
                    <a:lnTo>
                      <a:pt x="5" y="27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3" y="17"/>
                    </a:lnTo>
                    <a:lnTo>
                      <a:pt x="8" y="7"/>
                    </a:lnTo>
                    <a:lnTo>
                      <a:pt x="10" y="2"/>
                    </a:lnTo>
                    <a:lnTo>
                      <a:pt x="13" y="0"/>
                    </a:lnTo>
                    <a:lnTo>
                      <a:pt x="20" y="3"/>
                    </a:lnTo>
                    <a:lnTo>
                      <a:pt x="23" y="7"/>
                    </a:lnTo>
                    <a:lnTo>
                      <a:pt x="28" y="8"/>
                    </a:lnTo>
                    <a:lnTo>
                      <a:pt x="28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8" name="Freeform 141">
                <a:extLst>
                  <a:ext uri="{FF2B5EF4-FFF2-40B4-BE49-F238E27FC236}">
                    <a16:creationId xmlns:a16="http://schemas.microsoft.com/office/drawing/2014/main" id="{723A30C8-9C61-B94B-83AC-1ECEF29DEB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9431" y="3525998"/>
                <a:ext cx="210839" cy="156676"/>
              </a:xfrm>
              <a:custGeom>
                <a:avLst/>
                <a:gdLst/>
                <a:ahLst/>
                <a:cxnLst>
                  <a:cxn ang="0">
                    <a:pos x="7" y="142"/>
                  </a:cxn>
                  <a:cxn ang="0">
                    <a:pos x="22" y="146"/>
                  </a:cxn>
                  <a:cxn ang="0">
                    <a:pos x="45" y="156"/>
                  </a:cxn>
                  <a:cxn ang="0">
                    <a:pos x="60" y="157"/>
                  </a:cxn>
                  <a:cxn ang="0">
                    <a:pos x="70" y="146"/>
                  </a:cxn>
                  <a:cxn ang="0">
                    <a:pos x="98" y="69"/>
                  </a:cxn>
                  <a:cxn ang="0">
                    <a:pos x="103" y="106"/>
                  </a:cxn>
                  <a:cxn ang="0">
                    <a:pos x="130" y="103"/>
                  </a:cxn>
                  <a:cxn ang="0">
                    <a:pos x="153" y="89"/>
                  </a:cxn>
                  <a:cxn ang="0">
                    <a:pos x="180" y="78"/>
                  </a:cxn>
                  <a:cxn ang="0">
                    <a:pos x="205" y="83"/>
                  </a:cxn>
                  <a:cxn ang="0">
                    <a:pos x="224" y="83"/>
                  </a:cxn>
                  <a:cxn ang="0">
                    <a:pos x="226" y="66"/>
                  </a:cxn>
                  <a:cxn ang="0">
                    <a:pos x="241" y="56"/>
                  </a:cxn>
                  <a:cxn ang="0">
                    <a:pos x="253" y="48"/>
                  </a:cxn>
                  <a:cxn ang="0">
                    <a:pos x="261" y="29"/>
                  </a:cxn>
                  <a:cxn ang="0">
                    <a:pos x="274" y="21"/>
                  </a:cxn>
                  <a:cxn ang="0">
                    <a:pos x="291" y="14"/>
                  </a:cxn>
                  <a:cxn ang="0">
                    <a:pos x="306" y="6"/>
                  </a:cxn>
                  <a:cxn ang="0">
                    <a:pos x="324" y="0"/>
                  </a:cxn>
                  <a:cxn ang="0">
                    <a:pos x="342" y="6"/>
                  </a:cxn>
                  <a:cxn ang="0">
                    <a:pos x="367" y="14"/>
                  </a:cxn>
                  <a:cxn ang="0">
                    <a:pos x="371" y="41"/>
                  </a:cxn>
                  <a:cxn ang="0">
                    <a:pos x="372" y="81"/>
                  </a:cxn>
                  <a:cxn ang="0">
                    <a:pos x="354" y="83"/>
                  </a:cxn>
                  <a:cxn ang="0">
                    <a:pos x="349" y="108"/>
                  </a:cxn>
                  <a:cxn ang="0">
                    <a:pos x="374" y="111"/>
                  </a:cxn>
                  <a:cxn ang="0">
                    <a:pos x="394" y="108"/>
                  </a:cxn>
                  <a:cxn ang="0">
                    <a:pos x="387" y="126"/>
                  </a:cxn>
                  <a:cxn ang="0">
                    <a:pos x="371" y="156"/>
                  </a:cxn>
                  <a:cxn ang="0">
                    <a:pos x="354" y="166"/>
                  </a:cxn>
                  <a:cxn ang="0">
                    <a:pos x="339" y="184"/>
                  </a:cxn>
                  <a:cxn ang="0">
                    <a:pos x="313" y="219"/>
                  </a:cxn>
                  <a:cxn ang="0">
                    <a:pos x="276" y="249"/>
                  </a:cxn>
                  <a:cxn ang="0">
                    <a:pos x="246" y="269"/>
                  </a:cxn>
                  <a:cxn ang="0">
                    <a:pos x="223" y="274"/>
                  </a:cxn>
                  <a:cxn ang="0">
                    <a:pos x="210" y="284"/>
                  </a:cxn>
                  <a:cxn ang="0">
                    <a:pos x="191" y="287"/>
                  </a:cxn>
                  <a:cxn ang="0">
                    <a:pos x="156" y="284"/>
                  </a:cxn>
                  <a:cxn ang="0">
                    <a:pos x="130" y="285"/>
                  </a:cxn>
                  <a:cxn ang="0">
                    <a:pos x="118" y="292"/>
                  </a:cxn>
                  <a:cxn ang="0">
                    <a:pos x="95" y="294"/>
                  </a:cxn>
                  <a:cxn ang="0">
                    <a:pos x="75" y="300"/>
                  </a:cxn>
                  <a:cxn ang="0">
                    <a:pos x="53" y="290"/>
                  </a:cxn>
                  <a:cxn ang="0">
                    <a:pos x="43" y="284"/>
                  </a:cxn>
                  <a:cxn ang="0">
                    <a:pos x="37" y="280"/>
                  </a:cxn>
                  <a:cxn ang="0">
                    <a:pos x="27" y="254"/>
                  </a:cxn>
                  <a:cxn ang="0">
                    <a:pos x="37" y="245"/>
                  </a:cxn>
                  <a:cxn ang="0">
                    <a:pos x="30" y="214"/>
                  </a:cxn>
                  <a:cxn ang="0">
                    <a:pos x="10" y="161"/>
                  </a:cxn>
                  <a:cxn ang="0">
                    <a:pos x="259" y="191"/>
                  </a:cxn>
                  <a:cxn ang="0">
                    <a:pos x="276" y="197"/>
                  </a:cxn>
                  <a:cxn ang="0">
                    <a:pos x="291" y="186"/>
                  </a:cxn>
                  <a:cxn ang="0">
                    <a:pos x="298" y="176"/>
                  </a:cxn>
                  <a:cxn ang="0">
                    <a:pos x="298" y="154"/>
                  </a:cxn>
                  <a:cxn ang="0">
                    <a:pos x="283" y="151"/>
                  </a:cxn>
                  <a:cxn ang="0">
                    <a:pos x="263" y="162"/>
                  </a:cxn>
                  <a:cxn ang="0">
                    <a:pos x="254" y="182"/>
                  </a:cxn>
                </a:cxnLst>
                <a:rect l="0" t="0" r="r" b="b"/>
                <a:pathLst>
                  <a:path w="394" h="302">
                    <a:moveTo>
                      <a:pt x="0" y="149"/>
                    </a:moveTo>
                    <a:lnTo>
                      <a:pt x="4" y="147"/>
                    </a:lnTo>
                    <a:lnTo>
                      <a:pt x="9" y="146"/>
                    </a:lnTo>
                    <a:lnTo>
                      <a:pt x="9" y="142"/>
                    </a:lnTo>
                    <a:lnTo>
                      <a:pt x="7" y="142"/>
                    </a:lnTo>
                    <a:lnTo>
                      <a:pt x="10" y="137"/>
                    </a:lnTo>
                    <a:lnTo>
                      <a:pt x="15" y="136"/>
                    </a:lnTo>
                    <a:lnTo>
                      <a:pt x="19" y="141"/>
                    </a:lnTo>
                    <a:lnTo>
                      <a:pt x="23" y="141"/>
                    </a:lnTo>
                    <a:lnTo>
                      <a:pt x="22" y="146"/>
                    </a:lnTo>
                    <a:lnTo>
                      <a:pt x="25" y="152"/>
                    </a:lnTo>
                    <a:lnTo>
                      <a:pt x="33" y="154"/>
                    </a:lnTo>
                    <a:lnTo>
                      <a:pt x="38" y="156"/>
                    </a:lnTo>
                    <a:lnTo>
                      <a:pt x="42" y="156"/>
                    </a:lnTo>
                    <a:lnTo>
                      <a:pt x="45" y="156"/>
                    </a:lnTo>
                    <a:lnTo>
                      <a:pt x="48" y="157"/>
                    </a:lnTo>
                    <a:lnTo>
                      <a:pt x="50" y="156"/>
                    </a:lnTo>
                    <a:lnTo>
                      <a:pt x="53" y="156"/>
                    </a:lnTo>
                    <a:lnTo>
                      <a:pt x="57" y="157"/>
                    </a:lnTo>
                    <a:lnTo>
                      <a:pt x="60" y="157"/>
                    </a:lnTo>
                    <a:lnTo>
                      <a:pt x="62" y="159"/>
                    </a:lnTo>
                    <a:lnTo>
                      <a:pt x="63" y="154"/>
                    </a:lnTo>
                    <a:lnTo>
                      <a:pt x="65" y="152"/>
                    </a:lnTo>
                    <a:lnTo>
                      <a:pt x="68" y="151"/>
                    </a:lnTo>
                    <a:lnTo>
                      <a:pt x="70" y="146"/>
                    </a:lnTo>
                    <a:lnTo>
                      <a:pt x="77" y="144"/>
                    </a:lnTo>
                    <a:lnTo>
                      <a:pt x="83" y="144"/>
                    </a:lnTo>
                    <a:lnTo>
                      <a:pt x="87" y="144"/>
                    </a:lnTo>
                    <a:lnTo>
                      <a:pt x="90" y="64"/>
                    </a:lnTo>
                    <a:lnTo>
                      <a:pt x="98" y="69"/>
                    </a:lnTo>
                    <a:lnTo>
                      <a:pt x="100" y="76"/>
                    </a:lnTo>
                    <a:lnTo>
                      <a:pt x="107" y="88"/>
                    </a:lnTo>
                    <a:lnTo>
                      <a:pt x="107" y="94"/>
                    </a:lnTo>
                    <a:lnTo>
                      <a:pt x="103" y="101"/>
                    </a:lnTo>
                    <a:lnTo>
                      <a:pt x="103" y="106"/>
                    </a:lnTo>
                    <a:lnTo>
                      <a:pt x="110" y="104"/>
                    </a:lnTo>
                    <a:lnTo>
                      <a:pt x="115" y="106"/>
                    </a:lnTo>
                    <a:lnTo>
                      <a:pt x="120" y="104"/>
                    </a:lnTo>
                    <a:lnTo>
                      <a:pt x="125" y="104"/>
                    </a:lnTo>
                    <a:lnTo>
                      <a:pt x="130" y="103"/>
                    </a:lnTo>
                    <a:lnTo>
                      <a:pt x="135" y="101"/>
                    </a:lnTo>
                    <a:lnTo>
                      <a:pt x="138" y="98"/>
                    </a:lnTo>
                    <a:lnTo>
                      <a:pt x="140" y="96"/>
                    </a:lnTo>
                    <a:lnTo>
                      <a:pt x="148" y="93"/>
                    </a:lnTo>
                    <a:lnTo>
                      <a:pt x="153" y="89"/>
                    </a:lnTo>
                    <a:lnTo>
                      <a:pt x="156" y="79"/>
                    </a:lnTo>
                    <a:lnTo>
                      <a:pt x="163" y="74"/>
                    </a:lnTo>
                    <a:lnTo>
                      <a:pt x="170" y="74"/>
                    </a:lnTo>
                    <a:lnTo>
                      <a:pt x="178" y="74"/>
                    </a:lnTo>
                    <a:lnTo>
                      <a:pt x="180" y="78"/>
                    </a:lnTo>
                    <a:lnTo>
                      <a:pt x="183" y="78"/>
                    </a:lnTo>
                    <a:lnTo>
                      <a:pt x="191" y="83"/>
                    </a:lnTo>
                    <a:lnTo>
                      <a:pt x="195" y="83"/>
                    </a:lnTo>
                    <a:lnTo>
                      <a:pt x="200" y="83"/>
                    </a:lnTo>
                    <a:lnTo>
                      <a:pt x="205" y="83"/>
                    </a:lnTo>
                    <a:lnTo>
                      <a:pt x="211" y="83"/>
                    </a:lnTo>
                    <a:lnTo>
                      <a:pt x="215" y="81"/>
                    </a:lnTo>
                    <a:lnTo>
                      <a:pt x="216" y="84"/>
                    </a:lnTo>
                    <a:lnTo>
                      <a:pt x="219" y="84"/>
                    </a:lnTo>
                    <a:lnTo>
                      <a:pt x="224" y="83"/>
                    </a:lnTo>
                    <a:lnTo>
                      <a:pt x="223" y="79"/>
                    </a:lnTo>
                    <a:lnTo>
                      <a:pt x="224" y="76"/>
                    </a:lnTo>
                    <a:lnTo>
                      <a:pt x="224" y="73"/>
                    </a:lnTo>
                    <a:lnTo>
                      <a:pt x="226" y="71"/>
                    </a:lnTo>
                    <a:lnTo>
                      <a:pt x="226" y="66"/>
                    </a:lnTo>
                    <a:lnTo>
                      <a:pt x="228" y="61"/>
                    </a:lnTo>
                    <a:lnTo>
                      <a:pt x="233" y="61"/>
                    </a:lnTo>
                    <a:lnTo>
                      <a:pt x="236" y="59"/>
                    </a:lnTo>
                    <a:lnTo>
                      <a:pt x="239" y="59"/>
                    </a:lnTo>
                    <a:lnTo>
                      <a:pt x="241" y="56"/>
                    </a:lnTo>
                    <a:lnTo>
                      <a:pt x="243" y="56"/>
                    </a:lnTo>
                    <a:lnTo>
                      <a:pt x="244" y="53"/>
                    </a:lnTo>
                    <a:lnTo>
                      <a:pt x="248" y="49"/>
                    </a:lnTo>
                    <a:lnTo>
                      <a:pt x="251" y="49"/>
                    </a:lnTo>
                    <a:lnTo>
                      <a:pt x="253" y="48"/>
                    </a:lnTo>
                    <a:lnTo>
                      <a:pt x="256" y="48"/>
                    </a:lnTo>
                    <a:lnTo>
                      <a:pt x="256" y="44"/>
                    </a:lnTo>
                    <a:lnTo>
                      <a:pt x="254" y="41"/>
                    </a:lnTo>
                    <a:lnTo>
                      <a:pt x="254" y="36"/>
                    </a:lnTo>
                    <a:lnTo>
                      <a:pt x="261" y="29"/>
                    </a:lnTo>
                    <a:lnTo>
                      <a:pt x="264" y="28"/>
                    </a:lnTo>
                    <a:lnTo>
                      <a:pt x="268" y="26"/>
                    </a:lnTo>
                    <a:lnTo>
                      <a:pt x="269" y="24"/>
                    </a:lnTo>
                    <a:lnTo>
                      <a:pt x="273" y="23"/>
                    </a:lnTo>
                    <a:lnTo>
                      <a:pt x="274" y="21"/>
                    </a:lnTo>
                    <a:lnTo>
                      <a:pt x="276" y="19"/>
                    </a:lnTo>
                    <a:lnTo>
                      <a:pt x="279" y="18"/>
                    </a:lnTo>
                    <a:lnTo>
                      <a:pt x="284" y="13"/>
                    </a:lnTo>
                    <a:lnTo>
                      <a:pt x="289" y="13"/>
                    </a:lnTo>
                    <a:lnTo>
                      <a:pt x="291" y="14"/>
                    </a:lnTo>
                    <a:lnTo>
                      <a:pt x="293" y="13"/>
                    </a:lnTo>
                    <a:lnTo>
                      <a:pt x="298" y="13"/>
                    </a:lnTo>
                    <a:lnTo>
                      <a:pt x="301" y="11"/>
                    </a:lnTo>
                    <a:lnTo>
                      <a:pt x="304" y="10"/>
                    </a:lnTo>
                    <a:lnTo>
                      <a:pt x="306" y="6"/>
                    </a:lnTo>
                    <a:lnTo>
                      <a:pt x="304" y="5"/>
                    </a:lnTo>
                    <a:lnTo>
                      <a:pt x="308" y="3"/>
                    </a:lnTo>
                    <a:lnTo>
                      <a:pt x="311" y="1"/>
                    </a:lnTo>
                    <a:lnTo>
                      <a:pt x="314" y="1"/>
                    </a:lnTo>
                    <a:lnTo>
                      <a:pt x="324" y="0"/>
                    </a:lnTo>
                    <a:lnTo>
                      <a:pt x="331" y="0"/>
                    </a:lnTo>
                    <a:lnTo>
                      <a:pt x="332" y="3"/>
                    </a:lnTo>
                    <a:lnTo>
                      <a:pt x="336" y="3"/>
                    </a:lnTo>
                    <a:lnTo>
                      <a:pt x="341" y="5"/>
                    </a:lnTo>
                    <a:lnTo>
                      <a:pt x="342" y="6"/>
                    </a:lnTo>
                    <a:lnTo>
                      <a:pt x="346" y="5"/>
                    </a:lnTo>
                    <a:lnTo>
                      <a:pt x="352" y="5"/>
                    </a:lnTo>
                    <a:lnTo>
                      <a:pt x="361" y="6"/>
                    </a:lnTo>
                    <a:lnTo>
                      <a:pt x="366" y="10"/>
                    </a:lnTo>
                    <a:lnTo>
                      <a:pt x="367" y="14"/>
                    </a:lnTo>
                    <a:lnTo>
                      <a:pt x="369" y="21"/>
                    </a:lnTo>
                    <a:lnTo>
                      <a:pt x="371" y="26"/>
                    </a:lnTo>
                    <a:lnTo>
                      <a:pt x="371" y="36"/>
                    </a:lnTo>
                    <a:lnTo>
                      <a:pt x="371" y="38"/>
                    </a:lnTo>
                    <a:lnTo>
                      <a:pt x="371" y="41"/>
                    </a:lnTo>
                    <a:lnTo>
                      <a:pt x="372" y="46"/>
                    </a:lnTo>
                    <a:lnTo>
                      <a:pt x="374" y="51"/>
                    </a:lnTo>
                    <a:lnTo>
                      <a:pt x="374" y="68"/>
                    </a:lnTo>
                    <a:lnTo>
                      <a:pt x="372" y="74"/>
                    </a:lnTo>
                    <a:lnTo>
                      <a:pt x="372" y="81"/>
                    </a:lnTo>
                    <a:lnTo>
                      <a:pt x="372" y="89"/>
                    </a:lnTo>
                    <a:lnTo>
                      <a:pt x="367" y="88"/>
                    </a:lnTo>
                    <a:lnTo>
                      <a:pt x="364" y="84"/>
                    </a:lnTo>
                    <a:lnTo>
                      <a:pt x="357" y="81"/>
                    </a:lnTo>
                    <a:lnTo>
                      <a:pt x="354" y="83"/>
                    </a:lnTo>
                    <a:lnTo>
                      <a:pt x="352" y="88"/>
                    </a:lnTo>
                    <a:lnTo>
                      <a:pt x="347" y="98"/>
                    </a:lnTo>
                    <a:lnTo>
                      <a:pt x="344" y="103"/>
                    </a:lnTo>
                    <a:lnTo>
                      <a:pt x="346" y="104"/>
                    </a:lnTo>
                    <a:lnTo>
                      <a:pt x="349" y="108"/>
                    </a:lnTo>
                    <a:lnTo>
                      <a:pt x="351" y="111"/>
                    </a:lnTo>
                    <a:lnTo>
                      <a:pt x="359" y="116"/>
                    </a:lnTo>
                    <a:lnTo>
                      <a:pt x="369" y="116"/>
                    </a:lnTo>
                    <a:lnTo>
                      <a:pt x="372" y="114"/>
                    </a:lnTo>
                    <a:lnTo>
                      <a:pt x="374" y="111"/>
                    </a:lnTo>
                    <a:lnTo>
                      <a:pt x="374" y="108"/>
                    </a:lnTo>
                    <a:lnTo>
                      <a:pt x="376" y="106"/>
                    </a:lnTo>
                    <a:lnTo>
                      <a:pt x="381" y="106"/>
                    </a:lnTo>
                    <a:lnTo>
                      <a:pt x="389" y="108"/>
                    </a:lnTo>
                    <a:lnTo>
                      <a:pt x="394" y="108"/>
                    </a:lnTo>
                    <a:lnTo>
                      <a:pt x="394" y="108"/>
                    </a:lnTo>
                    <a:lnTo>
                      <a:pt x="391" y="111"/>
                    </a:lnTo>
                    <a:lnTo>
                      <a:pt x="392" y="112"/>
                    </a:lnTo>
                    <a:lnTo>
                      <a:pt x="389" y="119"/>
                    </a:lnTo>
                    <a:lnTo>
                      <a:pt x="387" y="126"/>
                    </a:lnTo>
                    <a:lnTo>
                      <a:pt x="384" y="132"/>
                    </a:lnTo>
                    <a:lnTo>
                      <a:pt x="382" y="141"/>
                    </a:lnTo>
                    <a:lnTo>
                      <a:pt x="379" y="146"/>
                    </a:lnTo>
                    <a:lnTo>
                      <a:pt x="377" y="149"/>
                    </a:lnTo>
                    <a:lnTo>
                      <a:pt x="371" y="156"/>
                    </a:lnTo>
                    <a:lnTo>
                      <a:pt x="369" y="156"/>
                    </a:lnTo>
                    <a:lnTo>
                      <a:pt x="367" y="159"/>
                    </a:lnTo>
                    <a:lnTo>
                      <a:pt x="362" y="161"/>
                    </a:lnTo>
                    <a:lnTo>
                      <a:pt x="361" y="162"/>
                    </a:lnTo>
                    <a:lnTo>
                      <a:pt x="354" y="166"/>
                    </a:lnTo>
                    <a:lnTo>
                      <a:pt x="351" y="171"/>
                    </a:lnTo>
                    <a:lnTo>
                      <a:pt x="346" y="176"/>
                    </a:lnTo>
                    <a:lnTo>
                      <a:pt x="346" y="179"/>
                    </a:lnTo>
                    <a:lnTo>
                      <a:pt x="344" y="184"/>
                    </a:lnTo>
                    <a:lnTo>
                      <a:pt x="339" y="184"/>
                    </a:lnTo>
                    <a:lnTo>
                      <a:pt x="336" y="191"/>
                    </a:lnTo>
                    <a:lnTo>
                      <a:pt x="326" y="206"/>
                    </a:lnTo>
                    <a:lnTo>
                      <a:pt x="318" y="212"/>
                    </a:lnTo>
                    <a:lnTo>
                      <a:pt x="316" y="217"/>
                    </a:lnTo>
                    <a:lnTo>
                      <a:pt x="313" y="219"/>
                    </a:lnTo>
                    <a:lnTo>
                      <a:pt x="308" y="224"/>
                    </a:lnTo>
                    <a:lnTo>
                      <a:pt x="306" y="224"/>
                    </a:lnTo>
                    <a:lnTo>
                      <a:pt x="304" y="225"/>
                    </a:lnTo>
                    <a:lnTo>
                      <a:pt x="279" y="249"/>
                    </a:lnTo>
                    <a:lnTo>
                      <a:pt x="276" y="249"/>
                    </a:lnTo>
                    <a:lnTo>
                      <a:pt x="276" y="250"/>
                    </a:lnTo>
                    <a:lnTo>
                      <a:pt x="271" y="254"/>
                    </a:lnTo>
                    <a:lnTo>
                      <a:pt x="254" y="264"/>
                    </a:lnTo>
                    <a:lnTo>
                      <a:pt x="251" y="267"/>
                    </a:lnTo>
                    <a:lnTo>
                      <a:pt x="246" y="269"/>
                    </a:lnTo>
                    <a:lnTo>
                      <a:pt x="246" y="270"/>
                    </a:lnTo>
                    <a:lnTo>
                      <a:pt x="236" y="272"/>
                    </a:lnTo>
                    <a:lnTo>
                      <a:pt x="231" y="275"/>
                    </a:lnTo>
                    <a:lnTo>
                      <a:pt x="226" y="277"/>
                    </a:lnTo>
                    <a:lnTo>
                      <a:pt x="223" y="274"/>
                    </a:lnTo>
                    <a:lnTo>
                      <a:pt x="216" y="275"/>
                    </a:lnTo>
                    <a:lnTo>
                      <a:pt x="210" y="277"/>
                    </a:lnTo>
                    <a:lnTo>
                      <a:pt x="206" y="280"/>
                    </a:lnTo>
                    <a:lnTo>
                      <a:pt x="211" y="284"/>
                    </a:lnTo>
                    <a:lnTo>
                      <a:pt x="210" y="284"/>
                    </a:lnTo>
                    <a:lnTo>
                      <a:pt x="201" y="284"/>
                    </a:lnTo>
                    <a:lnTo>
                      <a:pt x="196" y="282"/>
                    </a:lnTo>
                    <a:lnTo>
                      <a:pt x="193" y="282"/>
                    </a:lnTo>
                    <a:lnTo>
                      <a:pt x="190" y="285"/>
                    </a:lnTo>
                    <a:lnTo>
                      <a:pt x="191" y="287"/>
                    </a:lnTo>
                    <a:lnTo>
                      <a:pt x="190" y="289"/>
                    </a:lnTo>
                    <a:lnTo>
                      <a:pt x="178" y="287"/>
                    </a:lnTo>
                    <a:lnTo>
                      <a:pt x="175" y="285"/>
                    </a:lnTo>
                    <a:lnTo>
                      <a:pt x="163" y="282"/>
                    </a:lnTo>
                    <a:lnTo>
                      <a:pt x="156" y="284"/>
                    </a:lnTo>
                    <a:lnTo>
                      <a:pt x="156" y="285"/>
                    </a:lnTo>
                    <a:lnTo>
                      <a:pt x="151" y="285"/>
                    </a:lnTo>
                    <a:lnTo>
                      <a:pt x="146" y="284"/>
                    </a:lnTo>
                    <a:lnTo>
                      <a:pt x="133" y="284"/>
                    </a:lnTo>
                    <a:lnTo>
                      <a:pt x="130" y="285"/>
                    </a:lnTo>
                    <a:lnTo>
                      <a:pt x="128" y="289"/>
                    </a:lnTo>
                    <a:lnTo>
                      <a:pt x="126" y="287"/>
                    </a:lnTo>
                    <a:lnTo>
                      <a:pt x="123" y="289"/>
                    </a:lnTo>
                    <a:lnTo>
                      <a:pt x="120" y="290"/>
                    </a:lnTo>
                    <a:lnTo>
                      <a:pt x="118" y="292"/>
                    </a:lnTo>
                    <a:lnTo>
                      <a:pt x="113" y="292"/>
                    </a:lnTo>
                    <a:lnTo>
                      <a:pt x="110" y="294"/>
                    </a:lnTo>
                    <a:lnTo>
                      <a:pt x="102" y="292"/>
                    </a:lnTo>
                    <a:lnTo>
                      <a:pt x="97" y="292"/>
                    </a:lnTo>
                    <a:lnTo>
                      <a:pt x="95" y="294"/>
                    </a:lnTo>
                    <a:lnTo>
                      <a:pt x="88" y="292"/>
                    </a:lnTo>
                    <a:lnTo>
                      <a:pt x="83" y="297"/>
                    </a:lnTo>
                    <a:lnTo>
                      <a:pt x="80" y="299"/>
                    </a:lnTo>
                    <a:lnTo>
                      <a:pt x="78" y="302"/>
                    </a:lnTo>
                    <a:lnTo>
                      <a:pt x="75" y="300"/>
                    </a:lnTo>
                    <a:lnTo>
                      <a:pt x="73" y="302"/>
                    </a:lnTo>
                    <a:lnTo>
                      <a:pt x="62" y="297"/>
                    </a:lnTo>
                    <a:lnTo>
                      <a:pt x="58" y="297"/>
                    </a:lnTo>
                    <a:lnTo>
                      <a:pt x="58" y="292"/>
                    </a:lnTo>
                    <a:lnTo>
                      <a:pt x="53" y="290"/>
                    </a:lnTo>
                    <a:lnTo>
                      <a:pt x="50" y="292"/>
                    </a:lnTo>
                    <a:lnTo>
                      <a:pt x="48" y="290"/>
                    </a:lnTo>
                    <a:lnTo>
                      <a:pt x="50" y="289"/>
                    </a:lnTo>
                    <a:lnTo>
                      <a:pt x="48" y="285"/>
                    </a:lnTo>
                    <a:lnTo>
                      <a:pt x="43" y="284"/>
                    </a:lnTo>
                    <a:lnTo>
                      <a:pt x="38" y="287"/>
                    </a:lnTo>
                    <a:lnTo>
                      <a:pt x="38" y="292"/>
                    </a:lnTo>
                    <a:lnTo>
                      <a:pt x="37" y="289"/>
                    </a:lnTo>
                    <a:lnTo>
                      <a:pt x="35" y="285"/>
                    </a:lnTo>
                    <a:lnTo>
                      <a:pt x="37" y="280"/>
                    </a:lnTo>
                    <a:lnTo>
                      <a:pt x="37" y="275"/>
                    </a:lnTo>
                    <a:lnTo>
                      <a:pt x="40" y="270"/>
                    </a:lnTo>
                    <a:lnTo>
                      <a:pt x="35" y="264"/>
                    </a:lnTo>
                    <a:lnTo>
                      <a:pt x="32" y="260"/>
                    </a:lnTo>
                    <a:lnTo>
                      <a:pt x="27" y="254"/>
                    </a:lnTo>
                    <a:lnTo>
                      <a:pt x="27" y="249"/>
                    </a:lnTo>
                    <a:lnTo>
                      <a:pt x="30" y="247"/>
                    </a:lnTo>
                    <a:lnTo>
                      <a:pt x="32" y="249"/>
                    </a:lnTo>
                    <a:lnTo>
                      <a:pt x="35" y="249"/>
                    </a:lnTo>
                    <a:lnTo>
                      <a:pt x="37" y="245"/>
                    </a:lnTo>
                    <a:lnTo>
                      <a:pt x="38" y="239"/>
                    </a:lnTo>
                    <a:lnTo>
                      <a:pt x="37" y="232"/>
                    </a:lnTo>
                    <a:lnTo>
                      <a:pt x="37" y="229"/>
                    </a:lnTo>
                    <a:lnTo>
                      <a:pt x="30" y="219"/>
                    </a:lnTo>
                    <a:lnTo>
                      <a:pt x="30" y="214"/>
                    </a:lnTo>
                    <a:lnTo>
                      <a:pt x="23" y="206"/>
                    </a:lnTo>
                    <a:lnTo>
                      <a:pt x="20" y="192"/>
                    </a:lnTo>
                    <a:lnTo>
                      <a:pt x="15" y="181"/>
                    </a:lnTo>
                    <a:lnTo>
                      <a:pt x="15" y="174"/>
                    </a:lnTo>
                    <a:lnTo>
                      <a:pt x="10" y="161"/>
                    </a:lnTo>
                    <a:lnTo>
                      <a:pt x="2" y="156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49"/>
                    </a:lnTo>
                    <a:close/>
                    <a:moveTo>
                      <a:pt x="259" y="191"/>
                    </a:moveTo>
                    <a:lnTo>
                      <a:pt x="263" y="194"/>
                    </a:lnTo>
                    <a:lnTo>
                      <a:pt x="264" y="197"/>
                    </a:lnTo>
                    <a:lnTo>
                      <a:pt x="271" y="199"/>
                    </a:lnTo>
                    <a:lnTo>
                      <a:pt x="274" y="199"/>
                    </a:lnTo>
                    <a:lnTo>
                      <a:pt x="276" y="197"/>
                    </a:lnTo>
                    <a:lnTo>
                      <a:pt x="278" y="196"/>
                    </a:lnTo>
                    <a:lnTo>
                      <a:pt x="279" y="189"/>
                    </a:lnTo>
                    <a:lnTo>
                      <a:pt x="284" y="189"/>
                    </a:lnTo>
                    <a:lnTo>
                      <a:pt x="288" y="187"/>
                    </a:lnTo>
                    <a:lnTo>
                      <a:pt x="291" y="186"/>
                    </a:lnTo>
                    <a:lnTo>
                      <a:pt x="294" y="187"/>
                    </a:lnTo>
                    <a:lnTo>
                      <a:pt x="299" y="184"/>
                    </a:lnTo>
                    <a:lnTo>
                      <a:pt x="299" y="181"/>
                    </a:lnTo>
                    <a:lnTo>
                      <a:pt x="298" y="179"/>
                    </a:lnTo>
                    <a:lnTo>
                      <a:pt x="298" y="176"/>
                    </a:lnTo>
                    <a:lnTo>
                      <a:pt x="303" y="174"/>
                    </a:lnTo>
                    <a:lnTo>
                      <a:pt x="306" y="171"/>
                    </a:lnTo>
                    <a:lnTo>
                      <a:pt x="306" y="166"/>
                    </a:lnTo>
                    <a:lnTo>
                      <a:pt x="303" y="157"/>
                    </a:lnTo>
                    <a:lnTo>
                      <a:pt x="298" y="154"/>
                    </a:lnTo>
                    <a:lnTo>
                      <a:pt x="293" y="154"/>
                    </a:lnTo>
                    <a:lnTo>
                      <a:pt x="289" y="152"/>
                    </a:lnTo>
                    <a:lnTo>
                      <a:pt x="288" y="152"/>
                    </a:lnTo>
                    <a:lnTo>
                      <a:pt x="286" y="152"/>
                    </a:lnTo>
                    <a:lnTo>
                      <a:pt x="283" y="151"/>
                    </a:lnTo>
                    <a:lnTo>
                      <a:pt x="281" y="152"/>
                    </a:lnTo>
                    <a:lnTo>
                      <a:pt x="279" y="154"/>
                    </a:lnTo>
                    <a:lnTo>
                      <a:pt x="276" y="157"/>
                    </a:lnTo>
                    <a:lnTo>
                      <a:pt x="268" y="159"/>
                    </a:lnTo>
                    <a:lnTo>
                      <a:pt x="263" y="162"/>
                    </a:lnTo>
                    <a:lnTo>
                      <a:pt x="259" y="169"/>
                    </a:lnTo>
                    <a:lnTo>
                      <a:pt x="253" y="172"/>
                    </a:lnTo>
                    <a:lnTo>
                      <a:pt x="251" y="176"/>
                    </a:lnTo>
                    <a:lnTo>
                      <a:pt x="253" y="179"/>
                    </a:lnTo>
                    <a:lnTo>
                      <a:pt x="254" y="182"/>
                    </a:lnTo>
                    <a:lnTo>
                      <a:pt x="256" y="184"/>
                    </a:lnTo>
                    <a:lnTo>
                      <a:pt x="259" y="187"/>
                    </a:lnTo>
                    <a:lnTo>
                      <a:pt x="259" y="1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99" name="Freeform 142">
                <a:extLst>
                  <a:ext uri="{FF2B5EF4-FFF2-40B4-BE49-F238E27FC236}">
                    <a16:creationId xmlns:a16="http://schemas.microsoft.com/office/drawing/2014/main" id="{2F2026FF-C750-4C48-9807-DBFB19D2C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4283" y="3604855"/>
                <a:ext cx="28896" cy="24902"/>
              </a:xfrm>
              <a:custGeom>
                <a:avLst/>
                <a:gdLst/>
                <a:ahLst/>
                <a:cxnLst>
                  <a:cxn ang="0">
                    <a:pos x="8" y="40"/>
                  </a:cxn>
                  <a:cxn ang="0">
                    <a:pos x="8" y="36"/>
                  </a:cxn>
                  <a:cxn ang="0">
                    <a:pos x="5" y="33"/>
                  </a:cxn>
                  <a:cxn ang="0">
                    <a:pos x="3" y="31"/>
                  </a:cxn>
                  <a:cxn ang="0">
                    <a:pos x="2" y="28"/>
                  </a:cxn>
                  <a:cxn ang="0">
                    <a:pos x="0" y="25"/>
                  </a:cxn>
                  <a:cxn ang="0">
                    <a:pos x="2" y="21"/>
                  </a:cxn>
                  <a:cxn ang="0">
                    <a:pos x="8" y="18"/>
                  </a:cxn>
                  <a:cxn ang="0">
                    <a:pos x="12" y="11"/>
                  </a:cxn>
                  <a:cxn ang="0">
                    <a:pos x="17" y="8"/>
                  </a:cxn>
                  <a:cxn ang="0">
                    <a:pos x="25" y="6"/>
                  </a:cxn>
                  <a:cxn ang="0">
                    <a:pos x="28" y="3"/>
                  </a:cxn>
                  <a:cxn ang="0">
                    <a:pos x="30" y="1"/>
                  </a:cxn>
                  <a:cxn ang="0">
                    <a:pos x="32" y="0"/>
                  </a:cxn>
                  <a:cxn ang="0">
                    <a:pos x="35" y="1"/>
                  </a:cxn>
                  <a:cxn ang="0">
                    <a:pos x="37" y="1"/>
                  </a:cxn>
                  <a:cxn ang="0">
                    <a:pos x="38" y="1"/>
                  </a:cxn>
                  <a:cxn ang="0">
                    <a:pos x="42" y="3"/>
                  </a:cxn>
                  <a:cxn ang="0">
                    <a:pos x="47" y="3"/>
                  </a:cxn>
                  <a:cxn ang="0">
                    <a:pos x="52" y="6"/>
                  </a:cxn>
                  <a:cxn ang="0">
                    <a:pos x="55" y="15"/>
                  </a:cxn>
                  <a:cxn ang="0">
                    <a:pos x="55" y="20"/>
                  </a:cxn>
                  <a:cxn ang="0">
                    <a:pos x="52" y="23"/>
                  </a:cxn>
                  <a:cxn ang="0">
                    <a:pos x="47" y="25"/>
                  </a:cxn>
                  <a:cxn ang="0">
                    <a:pos x="47" y="28"/>
                  </a:cxn>
                  <a:cxn ang="0">
                    <a:pos x="48" y="30"/>
                  </a:cxn>
                  <a:cxn ang="0">
                    <a:pos x="48" y="33"/>
                  </a:cxn>
                  <a:cxn ang="0">
                    <a:pos x="43" y="36"/>
                  </a:cxn>
                  <a:cxn ang="0">
                    <a:pos x="40" y="35"/>
                  </a:cxn>
                  <a:cxn ang="0">
                    <a:pos x="37" y="36"/>
                  </a:cxn>
                  <a:cxn ang="0">
                    <a:pos x="33" y="38"/>
                  </a:cxn>
                  <a:cxn ang="0">
                    <a:pos x="28" y="38"/>
                  </a:cxn>
                  <a:cxn ang="0">
                    <a:pos x="27" y="45"/>
                  </a:cxn>
                  <a:cxn ang="0">
                    <a:pos x="25" y="46"/>
                  </a:cxn>
                  <a:cxn ang="0">
                    <a:pos x="23" y="48"/>
                  </a:cxn>
                  <a:cxn ang="0">
                    <a:pos x="20" y="48"/>
                  </a:cxn>
                  <a:cxn ang="0">
                    <a:pos x="13" y="46"/>
                  </a:cxn>
                  <a:cxn ang="0">
                    <a:pos x="12" y="43"/>
                  </a:cxn>
                  <a:cxn ang="0">
                    <a:pos x="8" y="40"/>
                  </a:cxn>
                </a:cxnLst>
                <a:rect l="0" t="0" r="r" b="b"/>
                <a:pathLst>
                  <a:path w="55" h="48">
                    <a:moveTo>
                      <a:pt x="8" y="40"/>
                    </a:moveTo>
                    <a:lnTo>
                      <a:pt x="8" y="36"/>
                    </a:lnTo>
                    <a:lnTo>
                      <a:pt x="5" y="33"/>
                    </a:lnTo>
                    <a:lnTo>
                      <a:pt x="3" y="31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2" y="21"/>
                    </a:lnTo>
                    <a:lnTo>
                      <a:pt x="8" y="18"/>
                    </a:lnTo>
                    <a:lnTo>
                      <a:pt x="12" y="11"/>
                    </a:lnTo>
                    <a:lnTo>
                      <a:pt x="17" y="8"/>
                    </a:lnTo>
                    <a:lnTo>
                      <a:pt x="25" y="6"/>
                    </a:lnTo>
                    <a:lnTo>
                      <a:pt x="28" y="3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5" y="1"/>
                    </a:lnTo>
                    <a:lnTo>
                      <a:pt x="37" y="1"/>
                    </a:lnTo>
                    <a:lnTo>
                      <a:pt x="38" y="1"/>
                    </a:lnTo>
                    <a:lnTo>
                      <a:pt x="42" y="3"/>
                    </a:lnTo>
                    <a:lnTo>
                      <a:pt x="47" y="3"/>
                    </a:lnTo>
                    <a:lnTo>
                      <a:pt x="52" y="6"/>
                    </a:lnTo>
                    <a:lnTo>
                      <a:pt x="55" y="15"/>
                    </a:lnTo>
                    <a:lnTo>
                      <a:pt x="55" y="20"/>
                    </a:lnTo>
                    <a:lnTo>
                      <a:pt x="52" y="23"/>
                    </a:lnTo>
                    <a:lnTo>
                      <a:pt x="47" y="25"/>
                    </a:lnTo>
                    <a:lnTo>
                      <a:pt x="47" y="28"/>
                    </a:lnTo>
                    <a:lnTo>
                      <a:pt x="48" y="30"/>
                    </a:lnTo>
                    <a:lnTo>
                      <a:pt x="48" y="33"/>
                    </a:lnTo>
                    <a:lnTo>
                      <a:pt x="43" y="36"/>
                    </a:lnTo>
                    <a:lnTo>
                      <a:pt x="40" y="35"/>
                    </a:lnTo>
                    <a:lnTo>
                      <a:pt x="37" y="36"/>
                    </a:lnTo>
                    <a:lnTo>
                      <a:pt x="33" y="38"/>
                    </a:lnTo>
                    <a:lnTo>
                      <a:pt x="28" y="38"/>
                    </a:lnTo>
                    <a:lnTo>
                      <a:pt x="27" y="45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0" y="48"/>
                    </a:lnTo>
                    <a:lnTo>
                      <a:pt x="13" y="46"/>
                    </a:lnTo>
                    <a:lnTo>
                      <a:pt x="12" y="43"/>
                    </a:lnTo>
                    <a:lnTo>
                      <a:pt x="8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</p:grpSp>
        <p:sp>
          <p:nvSpPr>
            <p:cNvPr id="7" name="Freeform 143">
              <a:extLst>
                <a:ext uri="{FF2B5EF4-FFF2-40B4-BE49-F238E27FC236}">
                  <a16:creationId xmlns:a16="http://schemas.microsoft.com/office/drawing/2014/main" id="{71B2587F-EBAE-2342-97B8-A3E47E2E7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0920" y="3393187"/>
              <a:ext cx="526562" cy="494930"/>
            </a:xfrm>
            <a:custGeom>
              <a:avLst/>
              <a:gdLst/>
              <a:ahLst/>
              <a:cxnLst>
                <a:cxn ang="0">
                  <a:pos x="975" y="400"/>
                </a:cxn>
                <a:cxn ang="0">
                  <a:pos x="839" y="199"/>
                </a:cxn>
                <a:cxn ang="0">
                  <a:pos x="679" y="170"/>
                </a:cxn>
                <a:cxn ang="0">
                  <a:pos x="621" y="138"/>
                </a:cxn>
                <a:cxn ang="0">
                  <a:pos x="616" y="90"/>
                </a:cxn>
                <a:cxn ang="0">
                  <a:pos x="610" y="33"/>
                </a:cxn>
                <a:cxn ang="0">
                  <a:pos x="583" y="47"/>
                </a:cxn>
                <a:cxn ang="0">
                  <a:pos x="493" y="33"/>
                </a:cxn>
                <a:cxn ang="0">
                  <a:pos x="465" y="38"/>
                </a:cxn>
                <a:cxn ang="0">
                  <a:pos x="309" y="130"/>
                </a:cxn>
                <a:cxn ang="0">
                  <a:pos x="3" y="369"/>
                </a:cxn>
                <a:cxn ang="0">
                  <a:pos x="535" y="683"/>
                </a:cxn>
                <a:cxn ang="0">
                  <a:pos x="723" y="789"/>
                </a:cxn>
                <a:cxn ang="0">
                  <a:pos x="661" y="839"/>
                </a:cxn>
                <a:cxn ang="0">
                  <a:pos x="744" y="839"/>
                </a:cxn>
                <a:cxn ang="0">
                  <a:pos x="741" y="852"/>
                </a:cxn>
                <a:cxn ang="0">
                  <a:pos x="661" y="942"/>
                </a:cxn>
                <a:cxn ang="0">
                  <a:pos x="655" y="856"/>
                </a:cxn>
                <a:cxn ang="0">
                  <a:pos x="728" y="862"/>
                </a:cxn>
                <a:cxn ang="0">
                  <a:pos x="718" y="920"/>
                </a:cxn>
                <a:cxn ang="0">
                  <a:pos x="686" y="937"/>
                </a:cxn>
                <a:cxn ang="0">
                  <a:pos x="38" y="626"/>
                </a:cxn>
                <a:cxn ang="0">
                  <a:pos x="113" y="615"/>
                </a:cxn>
                <a:cxn ang="0">
                  <a:pos x="203" y="606"/>
                </a:cxn>
                <a:cxn ang="0">
                  <a:pos x="317" y="560"/>
                </a:cxn>
                <a:cxn ang="0">
                  <a:pos x="457" y="565"/>
                </a:cxn>
                <a:cxn ang="0">
                  <a:pos x="490" y="635"/>
                </a:cxn>
                <a:cxn ang="0">
                  <a:pos x="548" y="601"/>
                </a:cxn>
                <a:cxn ang="0">
                  <a:pos x="523" y="658"/>
                </a:cxn>
                <a:cxn ang="0">
                  <a:pos x="578" y="666"/>
                </a:cxn>
                <a:cxn ang="0">
                  <a:pos x="606" y="759"/>
                </a:cxn>
                <a:cxn ang="0">
                  <a:pos x="686" y="766"/>
                </a:cxn>
                <a:cxn ang="0">
                  <a:pos x="718" y="801"/>
                </a:cxn>
                <a:cxn ang="0">
                  <a:pos x="802" y="762"/>
                </a:cxn>
                <a:cxn ang="0">
                  <a:pos x="876" y="640"/>
                </a:cxn>
                <a:cxn ang="0">
                  <a:pos x="942" y="562"/>
                </a:cxn>
                <a:cxn ang="0">
                  <a:pos x="969" y="434"/>
                </a:cxn>
                <a:cxn ang="0">
                  <a:pos x="942" y="347"/>
                </a:cxn>
                <a:cxn ang="0">
                  <a:pos x="914" y="312"/>
                </a:cxn>
                <a:cxn ang="0">
                  <a:pos x="879" y="243"/>
                </a:cxn>
                <a:cxn ang="0">
                  <a:pos x="836" y="196"/>
                </a:cxn>
                <a:cxn ang="0">
                  <a:pos x="806" y="98"/>
                </a:cxn>
                <a:cxn ang="0">
                  <a:pos x="769" y="42"/>
                </a:cxn>
                <a:cxn ang="0">
                  <a:pos x="739" y="73"/>
                </a:cxn>
                <a:cxn ang="0">
                  <a:pos x="693" y="188"/>
                </a:cxn>
                <a:cxn ang="0">
                  <a:pos x="608" y="138"/>
                </a:cxn>
                <a:cxn ang="0">
                  <a:pos x="608" y="76"/>
                </a:cxn>
                <a:cxn ang="0">
                  <a:pos x="600" y="50"/>
                </a:cxn>
                <a:cxn ang="0">
                  <a:pos x="557" y="42"/>
                </a:cxn>
                <a:cxn ang="0">
                  <a:pos x="513" y="32"/>
                </a:cxn>
                <a:cxn ang="0">
                  <a:pos x="470" y="63"/>
                </a:cxn>
                <a:cxn ang="0">
                  <a:pos x="440" y="110"/>
                </a:cxn>
                <a:cxn ang="0">
                  <a:pos x="405" y="115"/>
                </a:cxn>
                <a:cxn ang="0">
                  <a:pos x="376" y="90"/>
                </a:cxn>
                <a:cxn ang="0">
                  <a:pos x="341" y="103"/>
                </a:cxn>
                <a:cxn ang="0">
                  <a:pos x="316" y="143"/>
                </a:cxn>
                <a:cxn ang="0">
                  <a:pos x="294" y="166"/>
                </a:cxn>
                <a:cxn ang="0">
                  <a:pos x="254" y="191"/>
                </a:cxn>
                <a:cxn ang="0">
                  <a:pos x="140" y="248"/>
                </a:cxn>
                <a:cxn ang="0">
                  <a:pos x="47" y="279"/>
                </a:cxn>
                <a:cxn ang="0">
                  <a:pos x="22" y="390"/>
                </a:cxn>
                <a:cxn ang="0">
                  <a:pos x="33" y="482"/>
                </a:cxn>
              </a:cxnLst>
              <a:rect l="0" t="0" r="r" b="b"/>
              <a:pathLst>
                <a:path w="985" h="955">
                  <a:moveTo>
                    <a:pt x="974" y="455"/>
                  </a:moveTo>
                  <a:lnTo>
                    <a:pt x="975" y="449"/>
                  </a:lnTo>
                  <a:lnTo>
                    <a:pt x="977" y="452"/>
                  </a:lnTo>
                  <a:lnTo>
                    <a:pt x="974" y="455"/>
                  </a:lnTo>
                  <a:lnTo>
                    <a:pt x="974" y="455"/>
                  </a:lnTo>
                  <a:close/>
                  <a:moveTo>
                    <a:pt x="975" y="400"/>
                  </a:moveTo>
                  <a:lnTo>
                    <a:pt x="974" y="394"/>
                  </a:lnTo>
                  <a:lnTo>
                    <a:pt x="974" y="390"/>
                  </a:lnTo>
                  <a:lnTo>
                    <a:pt x="975" y="385"/>
                  </a:lnTo>
                  <a:lnTo>
                    <a:pt x="978" y="382"/>
                  </a:lnTo>
                  <a:lnTo>
                    <a:pt x="982" y="377"/>
                  </a:lnTo>
                  <a:lnTo>
                    <a:pt x="980" y="374"/>
                  </a:lnTo>
                  <a:lnTo>
                    <a:pt x="982" y="370"/>
                  </a:lnTo>
                  <a:lnTo>
                    <a:pt x="983" y="370"/>
                  </a:lnTo>
                  <a:lnTo>
                    <a:pt x="985" y="375"/>
                  </a:lnTo>
                  <a:lnTo>
                    <a:pt x="983" y="382"/>
                  </a:lnTo>
                  <a:lnTo>
                    <a:pt x="978" y="389"/>
                  </a:lnTo>
                  <a:lnTo>
                    <a:pt x="977" y="397"/>
                  </a:lnTo>
                  <a:lnTo>
                    <a:pt x="978" y="402"/>
                  </a:lnTo>
                  <a:lnTo>
                    <a:pt x="975" y="400"/>
                  </a:lnTo>
                  <a:lnTo>
                    <a:pt x="975" y="400"/>
                  </a:lnTo>
                  <a:close/>
                  <a:moveTo>
                    <a:pt x="935" y="336"/>
                  </a:moveTo>
                  <a:lnTo>
                    <a:pt x="939" y="342"/>
                  </a:lnTo>
                  <a:lnTo>
                    <a:pt x="942" y="346"/>
                  </a:lnTo>
                  <a:lnTo>
                    <a:pt x="944" y="342"/>
                  </a:lnTo>
                  <a:lnTo>
                    <a:pt x="940" y="339"/>
                  </a:lnTo>
                  <a:lnTo>
                    <a:pt x="942" y="337"/>
                  </a:lnTo>
                  <a:lnTo>
                    <a:pt x="939" y="336"/>
                  </a:lnTo>
                  <a:lnTo>
                    <a:pt x="935" y="336"/>
                  </a:lnTo>
                  <a:lnTo>
                    <a:pt x="935" y="336"/>
                  </a:lnTo>
                  <a:lnTo>
                    <a:pt x="935" y="336"/>
                  </a:lnTo>
                  <a:close/>
                  <a:moveTo>
                    <a:pt x="929" y="306"/>
                  </a:moveTo>
                  <a:lnTo>
                    <a:pt x="929" y="302"/>
                  </a:lnTo>
                  <a:lnTo>
                    <a:pt x="927" y="304"/>
                  </a:lnTo>
                  <a:lnTo>
                    <a:pt x="929" y="306"/>
                  </a:lnTo>
                  <a:lnTo>
                    <a:pt x="929" y="306"/>
                  </a:lnTo>
                  <a:close/>
                  <a:moveTo>
                    <a:pt x="837" y="208"/>
                  </a:moveTo>
                  <a:lnTo>
                    <a:pt x="839" y="204"/>
                  </a:lnTo>
                  <a:lnTo>
                    <a:pt x="834" y="201"/>
                  </a:lnTo>
                  <a:lnTo>
                    <a:pt x="839" y="199"/>
                  </a:lnTo>
                  <a:lnTo>
                    <a:pt x="841" y="199"/>
                  </a:lnTo>
                  <a:lnTo>
                    <a:pt x="841" y="206"/>
                  </a:lnTo>
                  <a:lnTo>
                    <a:pt x="839" y="211"/>
                  </a:lnTo>
                  <a:lnTo>
                    <a:pt x="837" y="208"/>
                  </a:lnTo>
                  <a:lnTo>
                    <a:pt x="837" y="208"/>
                  </a:lnTo>
                  <a:close/>
                  <a:moveTo>
                    <a:pt x="758" y="0"/>
                  </a:moveTo>
                  <a:lnTo>
                    <a:pt x="759" y="3"/>
                  </a:lnTo>
                  <a:lnTo>
                    <a:pt x="761" y="0"/>
                  </a:lnTo>
                  <a:lnTo>
                    <a:pt x="758" y="0"/>
                  </a:lnTo>
                  <a:lnTo>
                    <a:pt x="758" y="0"/>
                  </a:lnTo>
                  <a:close/>
                  <a:moveTo>
                    <a:pt x="754" y="12"/>
                  </a:moveTo>
                  <a:lnTo>
                    <a:pt x="754" y="17"/>
                  </a:lnTo>
                  <a:lnTo>
                    <a:pt x="756" y="15"/>
                  </a:lnTo>
                  <a:lnTo>
                    <a:pt x="759" y="15"/>
                  </a:lnTo>
                  <a:lnTo>
                    <a:pt x="758" y="12"/>
                  </a:lnTo>
                  <a:lnTo>
                    <a:pt x="754" y="12"/>
                  </a:lnTo>
                  <a:lnTo>
                    <a:pt x="754" y="12"/>
                  </a:lnTo>
                  <a:close/>
                  <a:moveTo>
                    <a:pt x="676" y="170"/>
                  </a:moveTo>
                  <a:lnTo>
                    <a:pt x="678" y="171"/>
                  </a:lnTo>
                  <a:lnTo>
                    <a:pt x="679" y="170"/>
                  </a:lnTo>
                  <a:lnTo>
                    <a:pt x="679" y="168"/>
                  </a:lnTo>
                  <a:lnTo>
                    <a:pt x="676" y="170"/>
                  </a:lnTo>
                  <a:lnTo>
                    <a:pt x="676" y="170"/>
                  </a:lnTo>
                  <a:close/>
                  <a:moveTo>
                    <a:pt x="670" y="160"/>
                  </a:moveTo>
                  <a:lnTo>
                    <a:pt x="673" y="161"/>
                  </a:lnTo>
                  <a:lnTo>
                    <a:pt x="675" y="161"/>
                  </a:lnTo>
                  <a:lnTo>
                    <a:pt x="678" y="158"/>
                  </a:lnTo>
                  <a:lnTo>
                    <a:pt x="683" y="156"/>
                  </a:lnTo>
                  <a:lnTo>
                    <a:pt x="683" y="155"/>
                  </a:lnTo>
                  <a:lnTo>
                    <a:pt x="678" y="155"/>
                  </a:lnTo>
                  <a:lnTo>
                    <a:pt x="671" y="156"/>
                  </a:lnTo>
                  <a:lnTo>
                    <a:pt x="671" y="156"/>
                  </a:lnTo>
                  <a:lnTo>
                    <a:pt x="670" y="160"/>
                  </a:lnTo>
                  <a:lnTo>
                    <a:pt x="670" y="160"/>
                  </a:lnTo>
                  <a:close/>
                  <a:moveTo>
                    <a:pt x="621" y="138"/>
                  </a:moveTo>
                  <a:lnTo>
                    <a:pt x="620" y="136"/>
                  </a:lnTo>
                  <a:lnTo>
                    <a:pt x="620" y="133"/>
                  </a:lnTo>
                  <a:lnTo>
                    <a:pt x="623" y="136"/>
                  </a:lnTo>
                  <a:lnTo>
                    <a:pt x="621" y="138"/>
                  </a:lnTo>
                  <a:lnTo>
                    <a:pt x="621" y="138"/>
                  </a:lnTo>
                  <a:close/>
                  <a:moveTo>
                    <a:pt x="605" y="91"/>
                  </a:moveTo>
                  <a:lnTo>
                    <a:pt x="605" y="90"/>
                  </a:lnTo>
                  <a:lnTo>
                    <a:pt x="603" y="90"/>
                  </a:lnTo>
                  <a:lnTo>
                    <a:pt x="603" y="88"/>
                  </a:lnTo>
                  <a:lnTo>
                    <a:pt x="605" y="86"/>
                  </a:lnTo>
                  <a:lnTo>
                    <a:pt x="608" y="88"/>
                  </a:lnTo>
                  <a:lnTo>
                    <a:pt x="605" y="91"/>
                  </a:lnTo>
                  <a:lnTo>
                    <a:pt x="605" y="91"/>
                  </a:lnTo>
                  <a:close/>
                  <a:moveTo>
                    <a:pt x="611" y="96"/>
                  </a:moveTo>
                  <a:lnTo>
                    <a:pt x="608" y="98"/>
                  </a:lnTo>
                  <a:lnTo>
                    <a:pt x="610" y="100"/>
                  </a:lnTo>
                  <a:lnTo>
                    <a:pt x="615" y="98"/>
                  </a:lnTo>
                  <a:lnTo>
                    <a:pt x="621" y="98"/>
                  </a:lnTo>
                  <a:lnTo>
                    <a:pt x="621" y="95"/>
                  </a:lnTo>
                  <a:lnTo>
                    <a:pt x="620" y="95"/>
                  </a:lnTo>
                  <a:lnTo>
                    <a:pt x="618" y="95"/>
                  </a:lnTo>
                  <a:lnTo>
                    <a:pt x="618" y="93"/>
                  </a:lnTo>
                  <a:lnTo>
                    <a:pt x="621" y="90"/>
                  </a:lnTo>
                  <a:lnTo>
                    <a:pt x="621" y="90"/>
                  </a:lnTo>
                  <a:lnTo>
                    <a:pt x="616" y="90"/>
                  </a:lnTo>
                  <a:lnTo>
                    <a:pt x="616" y="86"/>
                  </a:lnTo>
                  <a:lnTo>
                    <a:pt x="613" y="88"/>
                  </a:lnTo>
                  <a:lnTo>
                    <a:pt x="613" y="90"/>
                  </a:lnTo>
                  <a:lnTo>
                    <a:pt x="610" y="90"/>
                  </a:lnTo>
                  <a:lnTo>
                    <a:pt x="610" y="91"/>
                  </a:lnTo>
                  <a:lnTo>
                    <a:pt x="610" y="91"/>
                  </a:lnTo>
                  <a:lnTo>
                    <a:pt x="611" y="96"/>
                  </a:lnTo>
                  <a:lnTo>
                    <a:pt x="611" y="96"/>
                  </a:lnTo>
                  <a:close/>
                  <a:moveTo>
                    <a:pt x="615" y="30"/>
                  </a:moveTo>
                  <a:lnTo>
                    <a:pt x="618" y="32"/>
                  </a:lnTo>
                  <a:lnTo>
                    <a:pt x="618" y="28"/>
                  </a:lnTo>
                  <a:lnTo>
                    <a:pt x="623" y="25"/>
                  </a:lnTo>
                  <a:lnTo>
                    <a:pt x="621" y="22"/>
                  </a:lnTo>
                  <a:lnTo>
                    <a:pt x="616" y="27"/>
                  </a:lnTo>
                  <a:lnTo>
                    <a:pt x="615" y="30"/>
                  </a:lnTo>
                  <a:lnTo>
                    <a:pt x="615" y="30"/>
                  </a:lnTo>
                  <a:close/>
                  <a:moveTo>
                    <a:pt x="610" y="33"/>
                  </a:moveTo>
                  <a:lnTo>
                    <a:pt x="611" y="35"/>
                  </a:lnTo>
                  <a:lnTo>
                    <a:pt x="611" y="32"/>
                  </a:lnTo>
                  <a:lnTo>
                    <a:pt x="610" y="33"/>
                  </a:lnTo>
                  <a:lnTo>
                    <a:pt x="610" y="33"/>
                  </a:lnTo>
                  <a:close/>
                  <a:moveTo>
                    <a:pt x="605" y="35"/>
                  </a:moveTo>
                  <a:lnTo>
                    <a:pt x="606" y="37"/>
                  </a:lnTo>
                  <a:lnTo>
                    <a:pt x="608" y="35"/>
                  </a:lnTo>
                  <a:lnTo>
                    <a:pt x="605" y="35"/>
                  </a:lnTo>
                  <a:lnTo>
                    <a:pt x="605" y="35"/>
                  </a:lnTo>
                  <a:close/>
                  <a:moveTo>
                    <a:pt x="596" y="38"/>
                  </a:moveTo>
                  <a:lnTo>
                    <a:pt x="600" y="40"/>
                  </a:lnTo>
                  <a:lnTo>
                    <a:pt x="600" y="37"/>
                  </a:lnTo>
                  <a:lnTo>
                    <a:pt x="596" y="38"/>
                  </a:lnTo>
                  <a:lnTo>
                    <a:pt x="596" y="38"/>
                  </a:lnTo>
                  <a:close/>
                  <a:moveTo>
                    <a:pt x="591" y="45"/>
                  </a:moveTo>
                  <a:lnTo>
                    <a:pt x="590" y="43"/>
                  </a:lnTo>
                  <a:lnTo>
                    <a:pt x="595" y="40"/>
                  </a:lnTo>
                  <a:lnTo>
                    <a:pt x="598" y="40"/>
                  </a:lnTo>
                  <a:lnTo>
                    <a:pt x="598" y="43"/>
                  </a:lnTo>
                  <a:lnTo>
                    <a:pt x="593" y="43"/>
                  </a:lnTo>
                  <a:lnTo>
                    <a:pt x="591" y="45"/>
                  </a:lnTo>
                  <a:lnTo>
                    <a:pt x="591" y="45"/>
                  </a:lnTo>
                  <a:close/>
                  <a:moveTo>
                    <a:pt x="583" y="47"/>
                  </a:moveTo>
                  <a:lnTo>
                    <a:pt x="585" y="48"/>
                  </a:lnTo>
                  <a:lnTo>
                    <a:pt x="590" y="47"/>
                  </a:lnTo>
                  <a:lnTo>
                    <a:pt x="588" y="45"/>
                  </a:lnTo>
                  <a:lnTo>
                    <a:pt x="583" y="47"/>
                  </a:lnTo>
                  <a:lnTo>
                    <a:pt x="583" y="47"/>
                  </a:lnTo>
                  <a:close/>
                  <a:moveTo>
                    <a:pt x="522" y="30"/>
                  </a:moveTo>
                  <a:lnTo>
                    <a:pt x="518" y="25"/>
                  </a:lnTo>
                  <a:lnTo>
                    <a:pt x="520" y="22"/>
                  </a:lnTo>
                  <a:lnTo>
                    <a:pt x="523" y="22"/>
                  </a:lnTo>
                  <a:lnTo>
                    <a:pt x="522" y="25"/>
                  </a:lnTo>
                  <a:lnTo>
                    <a:pt x="522" y="30"/>
                  </a:lnTo>
                  <a:lnTo>
                    <a:pt x="522" y="30"/>
                  </a:lnTo>
                  <a:close/>
                  <a:moveTo>
                    <a:pt x="469" y="27"/>
                  </a:moveTo>
                  <a:lnTo>
                    <a:pt x="469" y="32"/>
                  </a:lnTo>
                  <a:lnTo>
                    <a:pt x="472" y="37"/>
                  </a:lnTo>
                  <a:lnTo>
                    <a:pt x="475" y="40"/>
                  </a:lnTo>
                  <a:lnTo>
                    <a:pt x="482" y="43"/>
                  </a:lnTo>
                  <a:lnTo>
                    <a:pt x="490" y="35"/>
                  </a:lnTo>
                  <a:lnTo>
                    <a:pt x="493" y="35"/>
                  </a:lnTo>
                  <a:lnTo>
                    <a:pt x="493" y="33"/>
                  </a:lnTo>
                  <a:lnTo>
                    <a:pt x="495" y="32"/>
                  </a:lnTo>
                  <a:lnTo>
                    <a:pt x="493" y="30"/>
                  </a:lnTo>
                  <a:lnTo>
                    <a:pt x="492" y="27"/>
                  </a:lnTo>
                  <a:lnTo>
                    <a:pt x="490" y="27"/>
                  </a:lnTo>
                  <a:lnTo>
                    <a:pt x="487" y="28"/>
                  </a:lnTo>
                  <a:lnTo>
                    <a:pt x="480" y="28"/>
                  </a:lnTo>
                  <a:lnTo>
                    <a:pt x="479" y="32"/>
                  </a:lnTo>
                  <a:lnTo>
                    <a:pt x="475" y="30"/>
                  </a:lnTo>
                  <a:lnTo>
                    <a:pt x="474" y="28"/>
                  </a:lnTo>
                  <a:lnTo>
                    <a:pt x="472" y="28"/>
                  </a:lnTo>
                  <a:lnTo>
                    <a:pt x="469" y="25"/>
                  </a:lnTo>
                  <a:lnTo>
                    <a:pt x="467" y="25"/>
                  </a:lnTo>
                  <a:lnTo>
                    <a:pt x="469" y="27"/>
                  </a:lnTo>
                  <a:lnTo>
                    <a:pt x="469" y="27"/>
                  </a:lnTo>
                  <a:close/>
                  <a:moveTo>
                    <a:pt x="465" y="28"/>
                  </a:moveTo>
                  <a:lnTo>
                    <a:pt x="469" y="37"/>
                  </a:lnTo>
                  <a:lnTo>
                    <a:pt x="472" y="37"/>
                  </a:lnTo>
                  <a:lnTo>
                    <a:pt x="474" y="38"/>
                  </a:lnTo>
                  <a:lnTo>
                    <a:pt x="467" y="38"/>
                  </a:lnTo>
                  <a:lnTo>
                    <a:pt x="465" y="38"/>
                  </a:lnTo>
                  <a:lnTo>
                    <a:pt x="460" y="37"/>
                  </a:lnTo>
                  <a:lnTo>
                    <a:pt x="460" y="33"/>
                  </a:lnTo>
                  <a:lnTo>
                    <a:pt x="462" y="33"/>
                  </a:lnTo>
                  <a:lnTo>
                    <a:pt x="464" y="35"/>
                  </a:lnTo>
                  <a:lnTo>
                    <a:pt x="464" y="33"/>
                  </a:lnTo>
                  <a:lnTo>
                    <a:pt x="464" y="33"/>
                  </a:lnTo>
                  <a:lnTo>
                    <a:pt x="464" y="30"/>
                  </a:lnTo>
                  <a:lnTo>
                    <a:pt x="462" y="30"/>
                  </a:lnTo>
                  <a:lnTo>
                    <a:pt x="465" y="28"/>
                  </a:lnTo>
                  <a:lnTo>
                    <a:pt x="465" y="28"/>
                  </a:lnTo>
                  <a:close/>
                  <a:moveTo>
                    <a:pt x="311" y="123"/>
                  </a:moveTo>
                  <a:lnTo>
                    <a:pt x="312" y="125"/>
                  </a:lnTo>
                  <a:lnTo>
                    <a:pt x="317" y="125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1" y="123"/>
                  </a:lnTo>
                  <a:lnTo>
                    <a:pt x="311" y="123"/>
                  </a:lnTo>
                  <a:close/>
                  <a:moveTo>
                    <a:pt x="312" y="138"/>
                  </a:moveTo>
                  <a:lnTo>
                    <a:pt x="312" y="133"/>
                  </a:lnTo>
                  <a:lnTo>
                    <a:pt x="309" y="130"/>
                  </a:lnTo>
                  <a:lnTo>
                    <a:pt x="311" y="136"/>
                  </a:lnTo>
                  <a:lnTo>
                    <a:pt x="312" y="138"/>
                  </a:lnTo>
                  <a:lnTo>
                    <a:pt x="312" y="138"/>
                  </a:lnTo>
                  <a:close/>
                  <a:moveTo>
                    <a:pt x="332" y="105"/>
                  </a:moveTo>
                  <a:lnTo>
                    <a:pt x="331" y="105"/>
                  </a:lnTo>
                  <a:lnTo>
                    <a:pt x="331" y="103"/>
                  </a:lnTo>
                  <a:lnTo>
                    <a:pt x="334" y="103"/>
                  </a:lnTo>
                  <a:lnTo>
                    <a:pt x="332" y="105"/>
                  </a:lnTo>
                  <a:lnTo>
                    <a:pt x="332" y="105"/>
                  </a:lnTo>
                  <a:close/>
                  <a:moveTo>
                    <a:pt x="77" y="256"/>
                  </a:moveTo>
                  <a:lnTo>
                    <a:pt x="75" y="254"/>
                  </a:lnTo>
                  <a:lnTo>
                    <a:pt x="80" y="248"/>
                  </a:lnTo>
                  <a:lnTo>
                    <a:pt x="78" y="253"/>
                  </a:lnTo>
                  <a:lnTo>
                    <a:pt x="77" y="256"/>
                  </a:lnTo>
                  <a:lnTo>
                    <a:pt x="77" y="256"/>
                  </a:lnTo>
                  <a:close/>
                  <a:moveTo>
                    <a:pt x="3" y="369"/>
                  </a:moveTo>
                  <a:lnTo>
                    <a:pt x="5" y="361"/>
                  </a:lnTo>
                  <a:lnTo>
                    <a:pt x="7" y="366"/>
                  </a:lnTo>
                  <a:lnTo>
                    <a:pt x="7" y="366"/>
                  </a:lnTo>
                  <a:lnTo>
                    <a:pt x="3" y="369"/>
                  </a:lnTo>
                  <a:lnTo>
                    <a:pt x="3" y="369"/>
                  </a:lnTo>
                  <a:close/>
                  <a:moveTo>
                    <a:pt x="3" y="387"/>
                  </a:moveTo>
                  <a:lnTo>
                    <a:pt x="0" y="377"/>
                  </a:lnTo>
                  <a:lnTo>
                    <a:pt x="3" y="372"/>
                  </a:lnTo>
                  <a:lnTo>
                    <a:pt x="5" y="380"/>
                  </a:lnTo>
                  <a:lnTo>
                    <a:pt x="3" y="387"/>
                  </a:lnTo>
                  <a:lnTo>
                    <a:pt x="3" y="387"/>
                  </a:lnTo>
                  <a:close/>
                  <a:moveTo>
                    <a:pt x="540" y="671"/>
                  </a:moveTo>
                  <a:lnTo>
                    <a:pt x="540" y="674"/>
                  </a:lnTo>
                  <a:lnTo>
                    <a:pt x="540" y="676"/>
                  </a:lnTo>
                  <a:lnTo>
                    <a:pt x="543" y="676"/>
                  </a:lnTo>
                  <a:lnTo>
                    <a:pt x="542" y="678"/>
                  </a:lnTo>
                  <a:lnTo>
                    <a:pt x="547" y="678"/>
                  </a:lnTo>
                  <a:lnTo>
                    <a:pt x="548" y="676"/>
                  </a:lnTo>
                  <a:lnTo>
                    <a:pt x="552" y="678"/>
                  </a:lnTo>
                  <a:lnTo>
                    <a:pt x="548" y="681"/>
                  </a:lnTo>
                  <a:lnTo>
                    <a:pt x="540" y="679"/>
                  </a:lnTo>
                  <a:lnTo>
                    <a:pt x="538" y="681"/>
                  </a:lnTo>
                  <a:lnTo>
                    <a:pt x="537" y="683"/>
                  </a:lnTo>
                  <a:lnTo>
                    <a:pt x="535" y="683"/>
                  </a:lnTo>
                  <a:lnTo>
                    <a:pt x="533" y="683"/>
                  </a:lnTo>
                  <a:lnTo>
                    <a:pt x="532" y="681"/>
                  </a:lnTo>
                  <a:lnTo>
                    <a:pt x="528" y="683"/>
                  </a:lnTo>
                  <a:lnTo>
                    <a:pt x="523" y="681"/>
                  </a:lnTo>
                  <a:lnTo>
                    <a:pt x="522" y="681"/>
                  </a:lnTo>
                  <a:lnTo>
                    <a:pt x="517" y="681"/>
                  </a:lnTo>
                  <a:lnTo>
                    <a:pt x="513" y="679"/>
                  </a:lnTo>
                  <a:lnTo>
                    <a:pt x="513" y="678"/>
                  </a:lnTo>
                  <a:lnTo>
                    <a:pt x="520" y="674"/>
                  </a:lnTo>
                  <a:lnTo>
                    <a:pt x="532" y="671"/>
                  </a:lnTo>
                  <a:lnTo>
                    <a:pt x="537" y="671"/>
                  </a:lnTo>
                  <a:lnTo>
                    <a:pt x="540" y="671"/>
                  </a:lnTo>
                  <a:lnTo>
                    <a:pt x="540" y="671"/>
                  </a:lnTo>
                  <a:close/>
                  <a:moveTo>
                    <a:pt x="698" y="774"/>
                  </a:moveTo>
                  <a:lnTo>
                    <a:pt x="701" y="774"/>
                  </a:lnTo>
                  <a:lnTo>
                    <a:pt x="703" y="776"/>
                  </a:lnTo>
                  <a:lnTo>
                    <a:pt x="701" y="777"/>
                  </a:lnTo>
                  <a:lnTo>
                    <a:pt x="698" y="774"/>
                  </a:lnTo>
                  <a:lnTo>
                    <a:pt x="698" y="774"/>
                  </a:lnTo>
                  <a:close/>
                  <a:moveTo>
                    <a:pt x="723" y="789"/>
                  </a:moveTo>
                  <a:lnTo>
                    <a:pt x="726" y="791"/>
                  </a:lnTo>
                  <a:lnTo>
                    <a:pt x="728" y="789"/>
                  </a:lnTo>
                  <a:lnTo>
                    <a:pt x="723" y="789"/>
                  </a:lnTo>
                  <a:lnTo>
                    <a:pt x="723" y="789"/>
                  </a:lnTo>
                  <a:close/>
                  <a:moveTo>
                    <a:pt x="665" y="847"/>
                  </a:moveTo>
                  <a:lnTo>
                    <a:pt x="666" y="851"/>
                  </a:lnTo>
                  <a:lnTo>
                    <a:pt x="670" y="852"/>
                  </a:lnTo>
                  <a:lnTo>
                    <a:pt x="671" y="849"/>
                  </a:lnTo>
                  <a:lnTo>
                    <a:pt x="668" y="847"/>
                  </a:lnTo>
                  <a:lnTo>
                    <a:pt x="665" y="847"/>
                  </a:lnTo>
                  <a:lnTo>
                    <a:pt x="665" y="847"/>
                  </a:lnTo>
                  <a:close/>
                  <a:moveTo>
                    <a:pt x="666" y="839"/>
                  </a:moveTo>
                  <a:lnTo>
                    <a:pt x="668" y="842"/>
                  </a:lnTo>
                  <a:lnTo>
                    <a:pt x="670" y="842"/>
                  </a:lnTo>
                  <a:lnTo>
                    <a:pt x="670" y="839"/>
                  </a:lnTo>
                  <a:lnTo>
                    <a:pt x="666" y="839"/>
                  </a:lnTo>
                  <a:lnTo>
                    <a:pt x="666" y="839"/>
                  </a:lnTo>
                  <a:close/>
                  <a:moveTo>
                    <a:pt x="663" y="844"/>
                  </a:moveTo>
                  <a:lnTo>
                    <a:pt x="660" y="842"/>
                  </a:lnTo>
                  <a:lnTo>
                    <a:pt x="661" y="839"/>
                  </a:lnTo>
                  <a:lnTo>
                    <a:pt x="665" y="837"/>
                  </a:lnTo>
                  <a:lnTo>
                    <a:pt x="665" y="842"/>
                  </a:lnTo>
                  <a:lnTo>
                    <a:pt x="663" y="844"/>
                  </a:lnTo>
                  <a:lnTo>
                    <a:pt x="663" y="844"/>
                  </a:lnTo>
                  <a:close/>
                  <a:moveTo>
                    <a:pt x="648" y="829"/>
                  </a:moveTo>
                  <a:lnTo>
                    <a:pt x="648" y="826"/>
                  </a:lnTo>
                  <a:lnTo>
                    <a:pt x="646" y="822"/>
                  </a:lnTo>
                  <a:lnTo>
                    <a:pt x="650" y="817"/>
                  </a:lnTo>
                  <a:lnTo>
                    <a:pt x="650" y="814"/>
                  </a:lnTo>
                  <a:lnTo>
                    <a:pt x="653" y="811"/>
                  </a:lnTo>
                  <a:lnTo>
                    <a:pt x="656" y="809"/>
                  </a:lnTo>
                  <a:lnTo>
                    <a:pt x="658" y="811"/>
                  </a:lnTo>
                  <a:lnTo>
                    <a:pt x="658" y="817"/>
                  </a:lnTo>
                  <a:lnTo>
                    <a:pt x="660" y="821"/>
                  </a:lnTo>
                  <a:lnTo>
                    <a:pt x="656" y="826"/>
                  </a:lnTo>
                  <a:lnTo>
                    <a:pt x="655" y="827"/>
                  </a:lnTo>
                  <a:lnTo>
                    <a:pt x="651" y="831"/>
                  </a:lnTo>
                  <a:lnTo>
                    <a:pt x="648" y="829"/>
                  </a:lnTo>
                  <a:lnTo>
                    <a:pt x="648" y="829"/>
                  </a:lnTo>
                  <a:close/>
                  <a:moveTo>
                    <a:pt x="744" y="839"/>
                  </a:moveTo>
                  <a:lnTo>
                    <a:pt x="753" y="836"/>
                  </a:lnTo>
                  <a:lnTo>
                    <a:pt x="753" y="832"/>
                  </a:lnTo>
                  <a:lnTo>
                    <a:pt x="744" y="826"/>
                  </a:lnTo>
                  <a:lnTo>
                    <a:pt x="741" y="826"/>
                  </a:lnTo>
                  <a:lnTo>
                    <a:pt x="743" y="831"/>
                  </a:lnTo>
                  <a:lnTo>
                    <a:pt x="741" y="834"/>
                  </a:lnTo>
                  <a:lnTo>
                    <a:pt x="743" y="836"/>
                  </a:lnTo>
                  <a:lnTo>
                    <a:pt x="744" y="839"/>
                  </a:lnTo>
                  <a:lnTo>
                    <a:pt x="744" y="839"/>
                  </a:lnTo>
                  <a:close/>
                  <a:moveTo>
                    <a:pt x="739" y="844"/>
                  </a:moveTo>
                  <a:lnTo>
                    <a:pt x="741" y="847"/>
                  </a:lnTo>
                  <a:lnTo>
                    <a:pt x="748" y="847"/>
                  </a:lnTo>
                  <a:lnTo>
                    <a:pt x="753" y="849"/>
                  </a:lnTo>
                  <a:lnTo>
                    <a:pt x="753" y="846"/>
                  </a:lnTo>
                  <a:lnTo>
                    <a:pt x="748" y="842"/>
                  </a:lnTo>
                  <a:lnTo>
                    <a:pt x="743" y="842"/>
                  </a:lnTo>
                  <a:lnTo>
                    <a:pt x="739" y="844"/>
                  </a:lnTo>
                  <a:lnTo>
                    <a:pt x="739" y="844"/>
                  </a:lnTo>
                  <a:close/>
                  <a:moveTo>
                    <a:pt x="744" y="856"/>
                  </a:moveTo>
                  <a:lnTo>
                    <a:pt x="741" y="852"/>
                  </a:lnTo>
                  <a:lnTo>
                    <a:pt x="744" y="851"/>
                  </a:lnTo>
                  <a:lnTo>
                    <a:pt x="744" y="856"/>
                  </a:lnTo>
                  <a:lnTo>
                    <a:pt x="744" y="856"/>
                  </a:lnTo>
                  <a:close/>
                  <a:moveTo>
                    <a:pt x="718" y="925"/>
                  </a:moveTo>
                  <a:lnTo>
                    <a:pt x="718" y="922"/>
                  </a:lnTo>
                  <a:lnTo>
                    <a:pt x="721" y="924"/>
                  </a:lnTo>
                  <a:lnTo>
                    <a:pt x="718" y="925"/>
                  </a:lnTo>
                  <a:lnTo>
                    <a:pt x="718" y="925"/>
                  </a:lnTo>
                  <a:close/>
                  <a:moveTo>
                    <a:pt x="689" y="952"/>
                  </a:moveTo>
                  <a:lnTo>
                    <a:pt x="686" y="950"/>
                  </a:lnTo>
                  <a:lnTo>
                    <a:pt x="691" y="945"/>
                  </a:lnTo>
                  <a:lnTo>
                    <a:pt x="691" y="940"/>
                  </a:lnTo>
                  <a:lnTo>
                    <a:pt x="693" y="940"/>
                  </a:lnTo>
                  <a:lnTo>
                    <a:pt x="694" y="942"/>
                  </a:lnTo>
                  <a:lnTo>
                    <a:pt x="691" y="945"/>
                  </a:lnTo>
                  <a:lnTo>
                    <a:pt x="689" y="952"/>
                  </a:lnTo>
                  <a:lnTo>
                    <a:pt x="689" y="952"/>
                  </a:lnTo>
                  <a:close/>
                  <a:moveTo>
                    <a:pt x="658" y="949"/>
                  </a:moveTo>
                  <a:lnTo>
                    <a:pt x="658" y="944"/>
                  </a:lnTo>
                  <a:lnTo>
                    <a:pt x="661" y="942"/>
                  </a:lnTo>
                  <a:lnTo>
                    <a:pt x="656" y="940"/>
                  </a:lnTo>
                  <a:lnTo>
                    <a:pt x="655" y="935"/>
                  </a:lnTo>
                  <a:lnTo>
                    <a:pt x="656" y="932"/>
                  </a:lnTo>
                  <a:lnTo>
                    <a:pt x="655" y="930"/>
                  </a:lnTo>
                  <a:lnTo>
                    <a:pt x="653" y="919"/>
                  </a:lnTo>
                  <a:lnTo>
                    <a:pt x="655" y="917"/>
                  </a:lnTo>
                  <a:lnTo>
                    <a:pt x="651" y="914"/>
                  </a:lnTo>
                  <a:lnTo>
                    <a:pt x="651" y="905"/>
                  </a:lnTo>
                  <a:lnTo>
                    <a:pt x="653" y="902"/>
                  </a:lnTo>
                  <a:lnTo>
                    <a:pt x="658" y="905"/>
                  </a:lnTo>
                  <a:lnTo>
                    <a:pt x="663" y="907"/>
                  </a:lnTo>
                  <a:lnTo>
                    <a:pt x="658" y="902"/>
                  </a:lnTo>
                  <a:lnTo>
                    <a:pt x="658" y="899"/>
                  </a:lnTo>
                  <a:lnTo>
                    <a:pt x="656" y="899"/>
                  </a:lnTo>
                  <a:lnTo>
                    <a:pt x="656" y="892"/>
                  </a:lnTo>
                  <a:lnTo>
                    <a:pt x="656" y="884"/>
                  </a:lnTo>
                  <a:lnTo>
                    <a:pt x="655" y="875"/>
                  </a:lnTo>
                  <a:lnTo>
                    <a:pt x="656" y="869"/>
                  </a:lnTo>
                  <a:lnTo>
                    <a:pt x="655" y="860"/>
                  </a:lnTo>
                  <a:lnTo>
                    <a:pt x="655" y="856"/>
                  </a:lnTo>
                  <a:lnTo>
                    <a:pt x="656" y="856"/>
                  </a:lnTo>
                  <a:lnTo>
                    <a:pt x="656" y="851"/>
                  </a:lnTo>
                  <a:lnTo>
                    <a:pt x="658" y="847"/>
                  </a:lnTo>
                  <a:lnTo>
                    <a:pt x="663" y="851"/>
                  </a:lnTo>
                  <a:lnTo>
                    <a:pt x="668" y="852"/>
                  </a:lnTo>
                  <a:lnTo>
                    <a:pt x="671" y="856"/>
                  </a:lnTo>
                  <a:lnTo>
                    <a:pt x="673" y="854"/>
                  </a:lnTo>
                  <a:lnTo>
                    <a:pt x="675" y="851"/>
                  </a:lnTo>
                  <a:lnTo>
                    <a:pt x="675" y="857"/>
                  </a:lnTo>
                  <a:lnTo>
                    <a:pt x="683" y="862"/>
                  </a:lnTo>
                  <a:lnTo>
                    <a:pt x="689" y="867"/>
                  </a:lnTo>
                  <a:lnTo>
                    <a:pt x="693" y="870"/>
                  </a:lnTo>
                  <a:lnTo>
                    <a:pt x="696" y="869"/>
                  </a:lnTo>
                  <a:lnTo>
                    <a:pt x="701" y="867"/>
                  </a:lnTo>
                  <a:lnTo>
                    <a:pt x="704" y="870"/>
                  </a:lnTo>
                  <a:lnTo>
                    <a:pt x="704" y="867"/>
                  </a:lnTo>
                  <a:lnTo>
                    <a:pt x="708" y="865"/>
                  </a:lnTo>
                  <a:lnTo>
                    <a:pt x="723" y="865"/>
                  </a:lnTo>
                  <a:lnTo>
                    <a:pt x="724" y="864"/>
                  </a:lnTo>
                  <a:lnTo>
                    <a:pt x="728" y="862"/>
                  </a:lnTo>
                  <a:lnTo>
                    <a:pt x="731" y="862"/>
                  </a:lnTo>
                  <a:lnTo>
                    <a:pt x="733" y="864"/>
                  </a:lnTo>
                  <a:lnTo>
                    <a:pt x="736" y="859"/>
                  </a:lnTo>
                  <a:lnTo>
                    <a:pt x="738" y="859"/>
                  </a:lnTo>
                  <a:lnTo>
                    <a:pt x="743" y="862"/>
                  </a:lnTo>
                  <a:lnTo>
                    <a:pt x="741" y="867"/>
                  </a:lnTo>
                  <a:lnTo>
                    <a:pt x="739" y="879"/>
                  </a:lnTo>
                  <a:lnTo>
                    <a:pt x="734" y="882"/>
                  </a:lnTo>
                  <a:lnTo>
                    <a:pt x="734" y="890"/>
                  </a:lnTo>
                  <a:lnTo>
                    <a:pt x="731" y="895"/>
                  </a:lnTo>
                  <a:lnTo>
                    <a:pt x="733" y="900"/>
                  </a:lnTo>
                  <a:lnTo>
                    <a:pt x="731" y="902"/>
                  </a:lnTo>
                  <a:lnTo>
                    <a:pt x="731" y="907"/>
                  </a:lnTo>
                  <a:lnTo>
                    <a:pt x="729" y="912"/>
                  </a:lnTo>
                  <a:lnTo>
                    <a:pt x="728" y="909"/>
                  </a:lnTo>
                  <a:lnTo>
                    <a:pt x="726" y="902"/>
                  </a:lnTo>
                  <a:lnTo>
                    <a:pt x="724" y="907"/>
                  </a:lnTo>
                  <a:lnTo>
                    <a:pt x="721" y="909"/>
                  </a:lnTo>
                  <a:lnTo>
                    <a:pt x="721" y="917"/>
                  </a:lnTo>
                  <a:lnTo>
                    <a:pt x="718" y="920"/>
                  </a:lnTo>
                  <a:lnTo>
                    <a:pt x="714" y="920"/>
                  </a:lnTo>
                  <a:lnTo>
                    <a:pt x="714" y="925"/>
                  </a:lnTo>
                  <a:lnTo>
                    <a:pt x="711" y="929"/>
                  </a:lnTo>
                  <a:lnTo>
                    <a:pt x="714" y="930"/>
                  </a:lnTo>
                  <a:lnTo>
                    <a:pt x="714" y="934"/>
                  </a:lnTo>
                  <a:lnTo>
                    <a:pt x="709" y="940"/>
                  </a:lnTo>
                  <a:lnTo>
                    <a:pt x="708" y="940"/>
                  </a:lnTo>
                  <a:lnTo>
                    <a:pt x="703" y="942"/>
                  </a:lnTo>
                  <a:lnTo>
                    <a:pt x="703" y="935"/>
                  </a:lnTo>
                  <a:lnTo>
                    <a:pt x="708" y="937"/>
                  </a:lnTo>
                  <a:lnTo>
                    <a:pt x="709" y="934"/>
                  </a:lnTo>
                  <a:lnTo>
                    <a:pt x="706" y="932"/>
                  </a:lnTo>
                  <a:lnTo>
                    <a:pt x="701" y="932"/>
                  </a:lnTo>
                  <a:lnTo>
                    <a:pt x="699" y="935"/>
                  </a:lnTo>
                  <a:lnTo>
                    <a:pt x="696" y="935"/>
                  </a:lnTo>
                  <a:lnTo>
                    <a:pt x="696" y="930"/>
                  </a:lnTo>
                  <a:lnTo>
                    <a:pt x="694" y="935"/>
                  </a:lnTo>
                  <a:lnTo>
                    <a:pt x="689" y="939"/>
                  </a:lnTo>
                  <a:lnTo>
                    <a:pt x="689" y="940"/>
                  </a:lnTo>
                  <a:lnTo>
                    <a:pt x="686" y="937"/>
                  </a:lnTo>
                  <a:lnTo>
                    <a:pt x="683" y="945"/>
                  </a:lnTo>
                  <a:lnTo>
                    <a:pt x="683" y="949"/>
                  </a:lnTo>
                  <a:lnTo>
                    <a:pt x="678" y="955"/>
                  </a:lnTo>
                  <a:lnTo>
                    <a:pt x="675" y="955"/>
                  </a:lnTo>
                  <a:lnTo>
                    <a:pt x="671" y="950"/>
                  </a:lnTo>
                  <a:lnTo>
                    <a:pt x="671" y="947"/>
                  </a:lnTo>
                  <a:lnTo>
                    <a:pt x="668" y="952"/>
                  </a:lnTo>
                  <a:lnTo>
                    <a:pt x="665" y="949"/>
                  </a:lnTo>
                  <a:lnTo>
                    <a:pt x="660" y="950"/>
                  </a:lnTo>
                  <a:lnTo>
                    <a:pt x="660" y="950"/>
                  </a:lnTo>
                  <a:lnTo>
                    <a:pt x="658" y="949"/>
                  </a:lnTo>
                  <a:lnTo>
                    <a:pt x="658" y="949"/>
                  </a:lnTo>
                  <a:close/>
                  <a:moveTo>
                    <a:pt x="12" y="606"/>
                  </a:moveTo>
                  <a:lnTo>
                    <a:pt x="15" y="608"/>
                  </a:lnTo>
                  <a:lnTo>
                    <a:pt x="18" y="608"/>
                  </a:lnTo>
                  <a:lnTo>
                    <a:pt x="28" y="618"/>
                  </a:lnTo>
                  <a:lnTo>
                    <a:pt x="28" y="621"/>
                  </a:lnTo>
                  <a:lnTo>
                    <a:pt x="30" y="623"/>
                  </a:lnTo>
                  <a:lnTo>
                    <a:pt x="35" y="625"/>
                  </a:lnTo>
                  <a:lnTo>
                    <a:pt x="38" y="626"/>
                  </a:lnTo>
                  <a:lnTo>
                    <a:pt x="45" y="628"/>
                  </a:lnTo>
                  <a:lnTo>
                    <a:pt x="48" y="628"/>
                  </a:lnTo>
                  <a:lnTo>
                    <a:pt x="50" y="630"/>
                  </a:lnTo>
                  <a:lnTo>
                    <a:pt x="55" y="630"/>
                  </a:lnTo>
                  <a:lnTo>
                    <a:pt x="62" y="628"/>
                  </a:lnTo>
                  <a:lnTo>
                    <a:pt x="63" y="631"/>
                  </a:lnTo>
                  <a:lnTo>
                    <a:pt x="65" y="630"/>
                  </a:lnTo>
                  <a:lnTo>
                    <a:pt x="67" y="631"/>
                  </a:lnTo>
                  <a:lnTo>
                    <a:pt x="73" y="630"/>
                  </a:lnTo>
                  <a:lnTo>
                    <a:pt x="80" y="630"/>
                  </a:lnTo>
                  <a:lnTo>
                    <a:pt x="80" y="626"/>
                  </a:lnTo>
                  <a:lnTo>
                    <a:pt x="85" y="626"/>
                  </a:lnTo>
                  <a:lnTo>
                    <a:pt x="88" y="620"/>
                  </a:lnTo>
                  <a:lnTo>
                    <a:pt x="95" y="621"/>
                  </a:lnTo>
                  <a:lnTo>
                    <a:pt x="95" y="618"/>
                  </a:lnTo>
                  <a:lnTo>
                    <a:pt x="100" y="615"/>
                  </a:lnTo>
                  <a:lnTo>
                    <a:pt x="103" y="615"/>
                  </a:lnTo>
                  <a:lnTo>
                    <a:pt x="108" y="618"/>
                  </a:lnTo>
                  <a:lnTo>
                    <a:pt x="111" y="613"/>
                  </a:lnTo>
                  <a:lnTo>
                    <a:pt x="113" y="615"/>
                  </a:lnTo>
                  <a:lnTo>
                    <a:pt x="115" y="613"/>
                  </a:lnTo>
                  <a:lnTo>
                    <a:pt x="116" y="608"/>
                  </a:lnTo>
                  <a:lnTo>
                    <a:pt x="130" y="601"/>
                  </a:lnTo>
                  <a:lnTo>
                    <a:pt x="135" y="601"/>
                  </a:lnTo>
                  <a:lnTo>
                    <a:pt x="138" y="603"/>
                  </a:lnTo>
                  <a:lnTo>
                    <a:pt x="143" y="601"/>
                  </a:lnTo>
                  <a:lnTo>
                    <a:pt x="156" y="598"/>
                  </a:lnTo>
                  <a:lnTo>
                    <a:pt x="158" y="600"/>
                  </a:lnTo>
                  <a:lnTo>
                    <a:pt x="166" y="598"/>
                  </a:lnTo>
                  <a:lnTo>
                    <a:pt x="168" y="600"/>
                  </a:lnTo>
                  <a:lnTo>
                    <a:pt x="171" y="601"/>
                  </a:lnTo>
                  <a:lnTo>
                    <a:pt x="176" y="600"/>
                  </a:lnTo>
                  <a:lnTo>
                    <a:pt x="178" y="603"/>
                  </a:lnTo>
                  <a:lnTo>
                    <a:pt x="181" y="603"/>
                  </a:lnTo>
                  <a:lnTo>
                    <a:pt x="186" y="601"/>
                  </a:lnTo>
                  <a:lnTo>
                    <a:pt x="188" y="605"/>
                  </a:lnTo>
                  <a:lnTo>
                    <a:pt x="191" y="601"/>
                  </a:lnTo>
                  <a:lnTo>
                    <a:pt x="201" y="601"/>
                  </a:lnTo>
                  <a:lnTo>
                    <a:pt x="201" y="605"/>
                  </a:lnTo>
                  <a:lnTo>
                    <a:pt x="203" y="606"/>
                  </a:lnTo>
                  <a:lnTo>
                    <a:pt x="208" y="601"/>
                  </a:lnTo>
                  <a:lnTo>
                    <a:pt x="213" y="603"/>
                  </a:lnTo>
                  <a:lnTo>
                    <a:pt x="219" y="598"/>
                  </a:lnTo>
                  <a:lnTo>
                    <a:pt x="221" y="593"/>
                  </a:lnTo>
                  <a:lnTo>
                    <a:pt x="224" y="593"/>
                  </a:lnTo>
                  <a:lnTo>
                    <a:pt x="229" y="588"/>
                  </a:lnTo>
                  <a:lnTo>
                    <a:pt x="233" y="580"/>
                  </a:lnTo>
                  <a:lnTo>
                    <a:pt x="238" y="576"/>
                  </a:lnTo>
                  <a:lnTo>
                    <a:pt x="244" y="575"/>
                  </a:lnTo>
                  <a:lnTo>
                    <a:pt x="248" y="576"/>
                  </a:lnTo>
                  <a:lnTo>
                    <a:pt x="258" y="573"/>
                  </a:lnTo>
                  <a:lnTo>
                    <a:pt x="271" y="565"/>
                  </a:lnTo>
                  <a:lnTo>
                    <a:pt x="278" y="560"/>
                  </a:lnTo>
                  <a:lnTo>
                    <a:pt x="282" y="558"/>
                  </a:lnTo>
                  <a:lnTo>
                    <a:pt x="286" y="558"/>
                  </a:lnTo>
                  <a:lnTo>
                    <a:pt x="289" y="558"/>
                  </a:lnTo>
                  <a:lnTo>
                    <a:pt x="297" y="560"/>
                  </a:lnTo>
                  <a:lnTo>
                    <a:pt x="304" y="562"/>
                  </a:lnTo>
                  <a:lnTo>
                    <a:pt x="307" y="560"/>
                  </a:lnTo>
                  <a:lnTo>
                    <a:pt x="317" y="560"/>
                  </a:lnTo>
                  <a:lnTo>
                    <a:pt x="331" y="555"/>
                  </a:lnTo>
                  <a:lnTo>
                    <a:pt x="339" y="553"/>
                  </a:lnTo>
                  <a:lnTo>
                    <a:pt x="344" y="550"/>
                  </a:lnTo>
                  <a:lnTo>
                    <a:pt x="349" y="550"/>
                  </a:lnTo>
                  <a:lnTo>
                    <a:pt x="356" y="545"/>
                  </a:lnTo>
                  <a:lnTo>
                    <a:pt x="366" y="545"/>
                  </a:lnTo>
                  <a:lnTo>
                    <a:pt x="392" y="543"/>
                  </a:lnTo>
                  <a:lnTo>
                    <a:pt x="400" y="545"/>
                  </a:lnTo>
                  <a:lnTo>
                    <a:pt x="405" y="545"/>
                  </a:lnTo>
                  <a:lnTo>
                    <a:pt x="414" y="543"/>
                  </a:lnTo>
                  <a:lnTo>
                    <a:pt x="419" y="543"/>
                  </a:lnTo>
                  <a:lnTo>
                    <a:pt x="427" y="550"/>
                  </a:lnTo>
                  <a:lnTo>
                    <a:pt x="432" y="558"/>
                  </a:lnTo>
                  <a:lnTo>
                    <a:pt x="437" y="560"/>
                  </a:lnTo>
                  <a:lnTo>
                    <a:pt x="440" y="558"/>
                  </a:lnTo>
                  <a:lnTo>
                    <a:pt x="444" y="557"/>
                  </a:lnTo>
                  <a:lnTo>
                    <a:pt x="445" y="560"/>
                  </a:lnTo>
                  <a:lnTo>
                    <a:pt x="449" y="558"/>
                  </a:lnTo>
                  <a:lnTo>
                    <a:pt x="454" y="560"/>
                  </a:lnTo>
                  <a:lnTo>
                    <a:pt x="457" y="565"/>
                  </a:lnTo>
                  <a:lnTo>
                    <a:pt x="464" y="565"/>
                  </a:lnTo>
                  <a:lnTo>
                    <a:pt x="467" y="565"/>
                  </a:lnTo>
                  <a:lnTo>
                    <a:pt x="477" y="571"/>
                  </a:lnTo>
                  <a:lnTo>
                    <a:pt x="475" y="575"/>
                  </a:lnTo>
                  <a:lnTo>
                    <a:pt x="479" y="575"/>
                  </a:lnTo>
                  <a:lnTo>
                    <a:pt x="483" y="578"/>
                  </a:lnTo>
                  <a:lnTo>
                    <a:pt x="482" y="581"/>
                  </a:lnTo>
                  <a:lnTo>
                    <a:pt x="477" y="581"/>
                  </a:lnTo>
                  <a:lnTo>
                    <a:pt x="477" y="585"/>
                  </a:lnTo>
                  <a:lnTo>
                    <a:pt x="480" y="593"/>
                  </a:lnTo>
                  <a:lnTo>
                    <a:pt x="485" y="593"/>
                  </a:lnTo>
                  <a:lnTo>
                    <a:pt x="490" y="598"/>
                  </a:lnTo>
                  <a:lnTo>
                    <a:pt x="492" y="605"/>
                  </a:lnTo>
                  <a:lnTo>
                    <a:pt x="490" y="610"/>
                  </a:lnTo>
                  <a:lnTo>
                    <a:pt x="497" y="620"/>
                  </a:lnTo>
                  <a:lnTo>
                    <a:pt x="495" y="625"/>
                  </a:lnTo>
                  <a:lnTo>
                    <a:pt x="497" y="626"/>
                  </a:lnTo>
                  <a:lnTo>
                    <a:pt x="495" y="633"/>
                  </a:lnTo>
                  <a:lnTo>
                    <a:pt x="493" y="636"/>
                  </a:lnTo>
                  <a:lnTo>
                    <a:pt x="490" y="635"/>
                  </a:lnTo>
                  <a:lnTo>
                    <a:pt x="488" y="636"/>
                  </a:lnTo>
                  <a:lnTo>
                    <a:pt x="493" y="640"/>
                  </a:lnTo>
                  <a:lnTo>
                    <a:pt x="497" y="641"/>
                  </a:lnTo>
                  <a:lnTo>
                    <a:pt x="498" y="646"/>
                  </a:lnTo>
                  <a:lnTo>
                    <a:pt x="502" y="645"/>
                  </a:lnTo>
                  <a:lnTo>
                    <a:pt x="507" y="648"/>
                  </a:lnTo>
                  <a:lnTo>
                    <a:pt x="507" y="645"/>
                  </a:lnTo>
                  <a:lnTo>
                    <a:pt x="505" y="641"/>
                  </a:lnTo>
                  <a:lnTo>
                    <a:pt x="507" y="638"/>
                  </a:lnTo>
                  <a:lnTo>
                    <a:pt x="510" y="635"/>
                  </a:lnTo>
                  <a:lnTo>
                    <a:pt x="513" y="633"/>
                  </a:lnTo>
                  <a:lnTo>
                    <a:pt x="515" y="630"/>
                  </a:lnTo>
                  <a:lnTo>
                    <a:pt x="520" y="628"/>
                  </a:lnTo>
                  <a:lnTo>
                    <a:pt x="522" y="625"/>
                  </a:lnTo>
                  <a:lnTo>
                    <a:pt x="525" y="620"/>
                  </a:lnTo>
                  <a:lnTo>
                    <a:pt x="537" y="615"/>
                  </a:lnTo>
                  <a:lnTo>
                    <a:pt x="537" y="611"/>
                  </a:lnTo>
                  <a:lnTo>
                    <a:pt x="538" y="611"/>
                  </a:lnTo>
                  <a:lnTo>
                    <a:pt x="547" y="608"/>
                  </a:lnTo>
                  <a:lnTo>
                    <a:pt x="548" y="601"/>
                  </a:lnTo>
                  <a:lnTo>
                    <a:pt x="555" y="593"/>
                  </a:lnTo>
                  <a:lnTo>
                    <a:pt x="563" y="591"/>
                  </a:lnTo>
                  <a:lnTo>
                    <a:pt x="565" y="588"/>
                  </a:lnTo>
                  <a:lnTo>
                    <a:pt x="563" y="583"/>
                  </a:lnTo>
                  <a:lnTo>
                    <a:pt x="565" y="578"/>
                  </a:lnTo>
                  <a:lnTo>
                    <a:pt x="568" y="585"/>
                  </a:lnTo>
                  <a:lnTo>
                    <a:pt x="568" y="590"/>
                  </a:lnTo>
                  <a:lnTo>
                    <a:pt x="568" y="595"/>
                  </a:lnTo>
                  <a:lnTo>
                    <a:pt x="565" y="598"/>
                  </a:lnTo>
                  <a:lnTo>
                    <a:pt x="563" y="610"/>
                  </a:lnTo>
                  <a:lnTo>
                    <a:pt x="553" y="616"/>
                  </a:lnTo>
                  <a:lnTo>
                    <a:pt x="552" y="621"/>
                  </a:lnTo>
                  <a:lnTo>
                    <a:pt x="548" y="625"/>
                  </a:lnTo>
                  <a:lnTo>
                    <a:pt x="548" y="630"/>
                  </a:lnTo>
                  <a:lnTo>
                    <a:pt x="543" y="636"/>
                  </a:lnTo>
                  <a:lnTo>
                    <a:pt x="545" y="638"/>
                  </a:lnTo>
                  <a:lnTo>
                    <a:pt x="542" y="650"/>
                  </a:lnTo>
                  <a:lnTo>
                    <a:pt x="530" y="648"/>
                  </a:lnTo>
                  <a:lnTo>
                    <a:pt x="527" y="655"/>
                  </a:lnTo>
                  <a:lnTo>
                    <a:pt x="523" y="658"/>
                  </a:lnTo>
                  <a:lnTo>
                    <a:pt x="523" y="660"/>
                  </a:lnTo>
                  <a:lnTo>
                    <a:pt x="532" y="658"/>
                  </a:lnTo>
                  <a:lnTo>
                    <a:pt x="538" y="656"/>
                  </a:lnTo>
                  <a:lnTo>
                    <a:pt x="547" y="658"/>
                  </a:lnTo>
                  <a:lnTo>
                    <a:pt x="555" y="646"/>
                  </a:lnTo>
                  <a:lnTo>
                    <a:pt x="557" y="635"/>
                  </a:lnTo>
                  <a:lnTo>
                    <a:pt x="563" y="628"/>
                  </a:lnTo>
                  <a:lnTo>
                    <a:pt x="565" y="631"/>
                  </a:lnTo>
                  <a:lnTo>
                    <a:pt x="565" y="641"/>
                  </a:lnTo>
                  <a:lnTo>
                    <a:pt x="568" y="648"/>
                  </a:lnTo>
                  <a:lnTo>
                    <a:pt x="567" y="648"/>
                  </a:lnTo>
                  <a:lnTo>
                    <a:pt x="567" y="658"/>
                  </a:lnTo>
                  <a:lnTo>
                    <a:pt x="562" y="668"/>
                  </a:lnTo>
                  <a:lnTo>
                    <a:pt x="552" y="671"/>
                  </a:lnTo>
                  <a:lnTo>
                    <a:pt x="553" y="673"/>
                  </a:lnTo>
                  <a:lnTo>
                    <a:pt x="560" y="673"/>
                  </a:lnTo>
                  <a:lnTo>
                    <a:pt x="565" y="673"/>
                  </a:lnTo>
                  <a:lnTo>
                    <a:pt x="568" y="671"/>
                  </a:lnTo>
                  <a:lnTo>
                    <a:pt x="573" y="669"/>
                  </a:lnTo>
                  <a:lnTo>
                    <a:pt x="578" y="666"/>
                  </a:lnTo>
                  <a:lnTo>
                    <a:pt x="581" y="666"/>
                  </a:lnTo>
                  <a:lnTo>
                    <a:pt x="585" y="666"/>
                  </a:lnTo>
                  <a:lnTo>
                    <a:pt x="583" y="669"/>
                  </a:lnTo>
                  <a:lnTo>
                    <a:pt x="580" y="674"/>
                  </a:lnTo>
                  <a:lnTo>
                    <a:pt x="575" y="673"/>
                  </a:lnTo>
                  <a:lnTo>
                    <a:pt x="575" y="676"/>
                  </a:lnTo>
                  <a:lnTo>
                    <a:pt x="578" y="681"/>
                  </a:lnTo>
                  <a:lnTo>
                    <a:pt x="580" y="686"/>
                  </a:lnTo>
                  <a:lnTo>
                    <a:pt x="583" y="693"/>
                  </a:lnTo>
                  <a:lnTo>
                    <a:pt x="585" y="701"/>
                  </a:lnTo>
                  <a:lnTo>
                    <a:pt x="583" y="711"/>
                  </a:lnTo>
                  <a:lnTo>
                    <a:pt x="577" y="718"/>
                  </a:lnTo>
                  <a:lnTo>
                    <a:pt x="578" y="719"/>
                  </a:lnTo>
                  <a:lnTo>
                    <a:pt x="577" y="728"/>
                  </a:lnTo>
                  <a:lnTo>
                    <a:pt x="581" y="731"/>
                  </a:lnTo>
                  <a:lnTo>
                    <a:pt x="585" y="736"/>
                  </a:lnTo>
                  <a:lnTo>
                    <a:pt x="586" y="744"/>
                  </a:lnTo>
                  <a:lnTo>
                    <a:pt x="595" y="754"/>
                  </a:lnTo>
                  <a:lnTo>
                    <a:pt x="601" y="756"/>
                  </a:lnTo>
                  <a:lnTo>
                    <a:pt x="606" y="759"/>
                  </a:lnTo>
                  <a:lnTo>
                    <a:pt x="608" y="764"/>
                  </a:lnTo>
                  <a:lnTo>
                    <a:pt x="613" y="764"/>
                  </a:lnTo>
                  <a:lnTo>
                    <a:pt x="615" y="762"/>
                  </a:lnTo>
                  <a:lnTo>
                    <a:pt x="618" y="761"/>
                  </a:lnTo>
                  <a:lnTo>
                    <a:pt x="623" y="762"/>
                  </a:lnTo>
                  <a:lnTo>
                    <a:pt x="628" y="769"/>
                  </a:lnTo>
                  <a:lnTo>
                    <a:pt x="635" y="769"/>
                  </a:lnTo>
                  <a:lnTo>
                    <a:pt x="640" y="774"/>
                  </a:lnTo>
                  <a:lnTo>
                    <a:pt x="641" y="779"/>
                  </a:lnTo>
                  <a:lnTo>
                    <a:pt x="646" y="781"/>
                  </a:lnTo>
                  <a:lnTo>
                    <a:pt x="651" y="786"/>
                  </a:lnTo>
                  <a:lnTo>
                    <a:pt x="655" y="786"/>
                  </a:lnTo>
                  <a:lnTo>
                    <a:pt x="656" y="782"/>
                  </a:lnTo>
                  <a:lnTo>
                    <a:pt x="666" y="779"/>
                  </a:lnTo>
                  <a:lnTo>
                    <a:pt x="668" y="776"/>
                  </a:lnTo>
                  <a:lnTo>
                    <a:pt x="675" y="774"/>
                  </a:lnTo>
                  <a:lnTo>
                    <a:pt x="681" y="769"/>
                  </a:lnTo>
                  <a:lnTo>
                    <a:pt x="684" y="771"/>
                  </a:lnTo>
                  <a:lnTo>
                    <a:pt x="686" y="767"/>
                  </a:lnTo>
                  <a:lnTo>
                    <a:pt x="686" y="766"/>
                  </a:lnTo>
                  <a:lnTo>
                    <a:pt x="681" y="764"/>
                  </a:lnTo>
                  <a:lnTo>
                    <a:pt x="683" y="761"/>
                  </a:lnTo>
                  <a:lnTo>
                    <a:pt x="691" y="756"/>
                  </a:lnTo>
                  <a:lnTo>
                    <a:pt x="699" y="761"/>
                  </a:lnTo>
                  <a:lnTo>
                    <a:pt x="699" y="766"/>
                  </a:lnTo>
                  <a:lnTo>
                    <a:pt x="689" y="771"/>
                  </a:lnTo>
                  <a:lnTo>
                    <a:pt x="691" y="774"/>
                  </a:lnTo>
                  <a:lnTo>
                    <a:pt x="694" y="776"/>
                  </a:lnTo>
                  <a:lnTo>
                    <a:pt x="698" y="772"/>
                  </a:lnTo>
                  <a:lnTo>
                    <a:pt x="703" y="769"/>
                  </a:lnTo>
                  <a:lnTo>
                    <a:pt x="708" y="771"/>
                  </a:lnTo>
                  <a:lnTo>
                    <a:pt x="706" y="776"/>
                  </a:lnTo>
                  <a:lnTo>
                    <a:pt x="704" y="776"/>
                  </a:lnTo>
                  <a:lnTo>
                    <a:pt x="699" y="779"/>
                  </a:lnTo>
                  <a:lnTo>
                    <a:pt x="706" y="786"/>
                  </a:lnTo>
                  <a:lnTo>
                    <a:pt x="708" y="794"/>
                  </a:lnTo>
                  <a:lnTo>
                    <a:pt x="709" y="792"/>
                  </a:lnTo>
                  <a:lnTo>
                    <a:pt x="713" y="792"/>
                  </a:lnTo>
                  <a:lnTo>
                    <a:pt x="714" y="797"/>
                  </a:lnTo>
                  <a:lnTo>
                    <a:pt x="718" y="801"/>
                  </a:lnTo>
                  <a:lnTo>
                    <a:pt x="721" y="796"/>
                  </a:lnTo>
                  <a:lnTo>
                    <a:pt x="721" y="791"/>
                  </a:lnTo>
                  <a:lnTo>
                    <a:pt x="716" y="792"/>
                  </a:lnTo>
                  <a:lnTo>
                    <a:pt x="716" y="791"/>
                  </a:lnTo>
                  <a:lnTo>
                    <a:pt x="718" y="787"/>
                  </a:lnTo>
                  <a:lnTo>
                    <a:pt x="731" y="787"/>
                  </a:lnTo>
                  <a:lnTo>
                    <a:pt x="733" y="789"/>
                  </a:lnTo>
                  <a:lnTo>
                    <a:pt x="734" y="787"/>
                  </a:lnTo>
                  <a:lnTo>
                    <a:pt x="739" y="779"/>
                  </a:lnTo>
                  <a:lnTo>
                    <a:pt x="753" y="772"/>
                  </a:lnTo>
                  <a:lnTo>
                    <a:pt x="759" y="767"/>
                  </a:lnTo>
                  <a:lnTo>
                    <a:pt x="756" y="767"/>
                  </a:lnTo>
                  <a:lnTo>
                    <a:pt x="753" y="769"/>
                  </a:lnTo>
                  <a:lnTo>
                    <a:pt x="754" y="767"/>
                  </a:lnTo>
                  <a:lnTo>
                    <a:pt x="749" y="766"/>
                  </a:lnTo>
                  <a:lnTo>
                    <a:pt x="754" y="766"/>
                  </a:lnTo>
                  <a:lnTo>
                    <a:pt x="761" y="766"/>
                  </a:lnTo>
                  <a:lnTo>
                    <a:pt x="769" y="764"/>
                  </a:lnTo>
                  <a:lnTo>
                    <a:pt x="787" y="761"/>
                  </a:lnTo>
                  <a:lnTo>
                    <a:pt x="802" y="762"/>
                  </a:lnTo>
                  <a:lnTo>
                    <a:pt x="809" y="759"/>
                  </a:lnTo>
                  <a:lnTo>
                    <a:pt x="809" y="756"/>
                  </a:lnTo>
                  <a:lnTo>
                    <a:pt x="814" y="756"/>
                  </a:lnTo>
                  <a:lnTo>
                    <a:pt x="819" y="753"/>
                  </a:lnTo>
                  <a:lnTo>
                    <a:pt x="822" y="746"/>
                  </a:lnTo>
                  <a:lnTo>
                    <a:pt x="821" y="736"/>
                  </a:lnTo>
                  <a:lnTo>
                    <a:pt x="821" y="733"/>
                  </a:lnTo>
                  <a:lnTo>
                    <a:pt x="829" y="724"/>
                  </a:lnTo>
                  <a:lnTo>
                    <a:pt x="829" y="711"/>
                  </a:lnTo>
                  <a:lnTo>
                    <a:pt x="832" y="706"/>
                  </a:lnTo>
                  <a:lnTo>
                    <a:pt x="834" y="698"/>
                  </a:lnTo>
                  <a:lnTo>
                    <a:pt x="839" y="696"/>
                  </a:lnTo>
                  <a:lnTo>
                    <a:pt x="839" y="691"/>
                  </a:lnTo>
                  <a:lnTo>
                    <a:pt x="854" y="674"/>
                  </a:lnTo>
                  <a:lnTo>
                    <a:pt x="857" y="674"/>
                  </a:lnTo>
                  <a:lnTo>
                    <a:pt x="861" y="666"/>
                  </a:lnTo>
                  <a:lnTo>
                    <a:pt x="866" y="658"/>
                  </a:lnTo>
                  <a:lnTo>
                    <a:pt x="869" y="650"/>
                  </a:lnTo>
                  <a:lnTo>
                    <a:pt x="876" y="645"/>
                  </a:lnTo>
                  <a:lnTo>
                    <a:pt x="876" y="640"/>
                  </a:lnTo>
                  <a:lnTo>
                    <a:pt x="879" y="636"/>
                  </a:lnTo>
                  <a:lnTo>
                    <a:pt x="882" y="628"/>
                  </a:lnTo>
                  <a:lnTo>
                    <a:pt x="880" y="626"/>
                  </a:lnTo>
                  <a:lnTo>
                    <a:pt x="887" y="623"/>
                  </a:lnTo>
                  <a:lnTo>
                    <a:pt x="892" y="616"/>
                  </a:lnTo>
                  <a:lnTo>
                    <a:pt x="895" y="613"/>
                  </a:lnTo>
                  <a:lnTo>
                    <a:pt x="899" y="606"/>
                  </a:lnTo>
                  <a:lnTo>
                    <a:pt x="907" y="605"/>
                  </a:lnTo>
                  <a:lnTo>
                    <a:pt x="910" y="601"/>
                  </a:lnTo>
                  <a:lnTo>
                    <a:pt x="904" y="601"/>
                  </a:lnTo>
                  <a:lnTo>
                    <a:pt x="905" y="600"/>
                  </a:lnTo>
                  <a:lnTo>
                    <a:pt x="914" y="600"/>
                  </a:lnTo>
                  <a:lnTo>
                    <a:pt x="922" y="595"/>
                  </a:lnTo>
                  <a:lnTo>
                    <a:pt x="924" y="590"/>
                  </a:lnTo>
                  <a:lnTo>
                    <a:pt x="922" y="586"/>
                  </a:lnTo>
                  <a:lnTo>
                    <a:pt x="924" y="581"/>
                  </a:lnTo>
                  <a:lnTo>
                    <a:pt x="930" y="576"/>
                  </a:lnTo>
                  <a:lnTo>
                    <a:pt x="932" y="571"/>
                  </a:lnTo>
                  <a:lnTo>
                    <a:pt x="937" y="570"/>
                  </a:lnTo>
                  <a:lnTo>
                    <a:pt x="942" y="562"/>
                  </a:lnTo>
                  <a:lnTo>
                    <a:pt x="942" y="558"/>
                  </a:lnTo>
                  <a:lnTo>
                    <a:pt x="944" y="552"/>
                  </a:lnTo>
                  <a:lnTo>
                    <a:pt x="942" y="548"/>
                  </a:lnTo>
                  <a:lnTo>
                    <a:pt x="942" y="545"/>
                  </a:lnTo>
                  <a:lnTo>
                    <a:pt x="950" y="532"/>
                  </a:lnTo>
                  <a:lnTo>
                    <a:pt x="952" y="523"/>
                  </a:lnTo>
                  <a:lnTo>
                    <a:pt x="960" y="510"/>
                  </a:lnTo>
                  <a:lnTo>
                    <a:pt x="960" y="503"/>
                  </a:lnTo>
                  <a:lnTo>
                    <a:pt x="964" y="493"/>
                  </a:lnTo>
                  <a:lnTo>
                    <a:pt x="970" y="488"/>
                  </a:lnTo>
                  <a:lnTo>
                    <a:pt x="974" y="483"/>
                  </a:lnTo>
                  <a:lnTo>
                    <a:pt x="972" y="477"/>
                  </a:lnTo>
                  <a:lnTo>
                    <a:pt x="975" y="472"/>
                  </a:lnTo>
                  <a:lnTo>
                    <a:pt x="972" y="462"/>
                  </a:lnTo>
                  <a:lnTo>
                    <a:pt x="972" y="457"/>
                  </a:lnTo>
                  <a:lnTo>
                    <a:pt x="969" y="449"/>
                  </a:lnTo>
                  <a:lnTo>
                    <a:pt x="967" y="445"/>
                  </a:lnTo>
                  <a:lnTo>
                    <a:pt x="967" y="442"/>
                  </a:lnTo>
                  <a:lnTo>
                    <a:pt x="969" y="439"/>
                  </a:lnTo>
                  <a:lnTo>
                    <a:pt x="969" y="434"/>
                  </a:lnTo>
                  <a:lnTo>
                    <a:pt x="974" y="427"/>
                  </a:lnTo>
                  <a:lnTo>
                    <a:pt x="974" y="425"/>
                  </a:lnTo>
                  <a:lnTo>
                    <a:pt x="972" y="412"/>
                  </a:lnTo>
                  <a:lnTo>
                    <a:pt x="975" y="409"/>
                  </a:lnTo>
                  <a:lnTo>
                    <a:pt x="974" y="405"/>
                  </a:lnTo>
                  <a:lnTo>
                    <a:pt x="972" y="402"/>
                  </a:lnTo>
                  <a:lnTo>
                    <a:pt x="972" y="394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69" y="385"/>
                  </a:lnTo>
                  <a:lnTo>
                    <a:pt x="965" y="382"/>
                  </a:lnTo>
                  <a:lnTo>
                    <a:pt x="965" y="377"/>
                  </a:lnTo>
                  <a:lnTo>
                    <a:pt x="960" y="372"/>
                  </a:lnTo>
                  <a:lnTo>
                    <a:pt x="957" y="366"/>
                  </a:lnTo>
                  <a:lnTo>
                    <a:pt x="955" y="359"/>
                  </a:lnTo>
                  <a:lnTo>
                    <a:pt x="952" y="354"/>
                  </a:lnTo>
                  <a:lnTo>
                    <a:pt x="949" y="354"/>
                  </a:lnTo>
                  <a:lnTo>
                    <a:pt x="945" y="356"/>
                  </a:lnTo>
                  <a:lnTo>
                    <a:pt x="942" y="352"/>
                  </a:lnTo>
                  <a:lnTo>
                    <a:pt x="942" y="347"/>
                  </a:lnTo>
                  <a:lnTo>
                    <a:pt x="939" y="346"/>
                  </a:lnTo>
                  <a:lnTo>
                    <a:pt x="939" y="342"/>
                  </a:lnTo>
                  <a:lnTo>
                    <a:pt x="932" y="339"/>
                  </a:lnTo>
                  <a:lnTo>
                    <a:pt x="930" y="336"/>
                  </a:lnTo>
                  <a:lnTo>
                    <a:pt x="930" y="332"/>
                  </a:lnTo>
                  <a:lnTo>
                    <a:pt x="927" y="327"/>
                  </a:lnTo>
                  <a:lnTo>
                    <a:pt x="932" y="322"/>
                  </a:lnTo>
                  <a:lnTo>
                    <a:pt x="934" y="316"/>
                  </a:lnTo>
                  <a:lnTo>
                    <a:pt x="932" y="312"/>
                  </a:lnTo>
                  <a:lnTo>
                    <a:pt x="932" y="307"/>
                  </a:lnTo>
                  <a:lnTo>
                    <a:pt x="929" y="306"/>
                  </a:lnTo>
                  <a:lnTo>
                    <a:pt x="929" y="309"/>
                  </a:lnTo>
                  <a:lnTo>
                    <a:pt x="930" y="311"/>
                  </a:lnTo>
                  <a:lnTo>
                    <a:pt x="929" y="312"/>
                  </a:lnTo>
                  <a:lnTo>
                    <a:pt x="917" y="304"/>
                  </a:lnTo>
                  <a:lnTo>
                    <a:pt x="915" y="299"/>
                  </a:lnTo>
                  <a:lnTo>
                    <a:pt x="914" y="301"/>
                  </a:lnTo>
                  <a:lnTo>
                    <a:pt x="914" y="302"/>
                  </a:lnTo>
                  <a:lnTo>
                    <a:pt x="912" y="306"/>
                  </a:lnTo>
                  <a:lnTo>
                    <a:pt x="914" y="312"/>
                  </a:lnTo>
                  <a:lnTo>
                    <a:pt x="909" y="307"/>
                  </a:lnTo>
                  <a:lnTo>
                    <a:pt x="907" y="311"/>
                  </a:lnTo>
                  <a:lnTo>
                    <a:pt x="907" y="306"/>
                  </a:lnTo>
                  <a:lnTo>
                    <a:pt x="904" y="302"/>
                  </a:lnTo>
                  <a:lnTo>
                    <a:pt x="904" y="291"/>
                  </a:lnTo>
                  <a:lnTo>
                    <a:pt x="905" y="289"/>
                  </a:lnTo>
                  <a:lnTo>
                    <a:pt x="905" y="286"/>
                  </a:lnTo>
                  <a:lnTo>
                    <a:pt x="900" y="282"/>
                  </a:lnTo>
                  <a:lnTo>
                    <a:pt x="902" y="279"/>
                  </a:lnTo>
                  <a:lnTo>
                    <a:pt x="899" y="277"/>
                  </a:lnTo>
                  <a:lnTo>
                    <a:pt x="900" y="272"/>
                  </a:lnTo>
                  <a:lnTo>
                    <a:pt x="892" y="268"/>
                  </a:lnTo>
                  <a:lnTo>
                    <a:pt x="890" y="263"/>
                  </a:lnTo>
                  <a:lnTo>
                    <a:pt x="889" y="258"/>
                  </a:lnTo>
                  <a:lnTo>
                    <a:pt x="894" y="259"/>
                  </a:lnTo>
                  <a:lnTo>
                    <a:pt x="894" y="254"/>
                  </a:lnTo>
                  <a:lnTo>
                    <a:pt x="890" y="248"/>
                  </a:lnTo>
                  <a:lnTo>
                    <a:pt x="887" y="249"/>
                  </a:lnTo>
                  <a:lnTo>
                    <a:pt x="884" y="249"/>
                  </a:lnTo>
                  <a:lnTo>
                    <a:pt x="879" y="243"/>
                  </a:lnTo>
                  <a:lnTo>
                    <a:pt x="876" y="243"/>
                  </a:lnTo>
                  <a:lnTo>
                    <a:pt x="871" y="239"/>
                  </a:lnTo>
                  <a:lnTo>
                    <a:pt x="869" y="241"/>
                  </a:lnTo>
                  <a:lnTo>
                    <a:pt x="866" y="239"/>
                  </a:lnTo>
                  <a:lnTo>
                    <a:pt x="861" y="238"/>
                  </a:lnTo>
                  <a:lnTo>
                    <a:pt x="857" y="239"/>
                  </a:lnTo>
                  <a:lnTo>
                    <a:pt x="861" y="236"/>
                  </a:lnTo>
                  <a:lnTo>
                    <a:pt x="866" y="234"/>
                  </a:lnTo>
                  <a:lnTo>
                    <a:pt x="866" y="231"/>
                  </a:lnTo>
                  <a:lnTo>
                    <a:pt x="864" y="229"/>
                  </a:lnTo>
                  <a:lnTo>
                    <a:pt x="859" y="229"/>
                  </a:lnTo>
                  <a:lnTo>
                    <a:pt x="854" y="229"/>
                  </a:lnTo>
                  <a:lnTo>
                    <a:pt x="852" y="226"/>
                  </a:lnTo>
                  <a:lnTo>
                    <a:pt x="851" y="226"/>
                  </a:lnTo>
                  <a:lnTo>
                    <a:pt x="841" y="221"/>
                  </a:lnTo>
                  <a:lnTo>
                    <a:pt x="836" y="214"/>
                  </a:lnTo>
                  <a:lnTo>
                    <a:pt x="836" y="206"/>
                  </a:lnTo>
                  <a:lnTo>
                    <a:pt x="832" y="201"/>
                  </a:lnTo>
                  <a:lnTo>
                    <a:pt x="832" y="196"/>
                  </a:lnTo>
                  <a:lnTo>
                    <a:pt x="836" y="196"/>
                  </a:lnTo>
                  <a:lnTo>
                    <a:pt x="837" y="186"/>
                  </a:lnTo>
                  <a:lnTo>
                    <a:pt x="834" y="174"/>
                  </a:lnTo>
                  <a:lnTo>
                    <a:pt x="831" y="170"/>
                  </a:lnTo>
                  <a:lnTo>
                    <a:pt x="834" y="170"/>
                  </a:lnTo>
                  <a:lnTo>
                    <a:pt x="831" y="166"/>
                  </a:lnTo>
                  <a:lnTo>
                    <a:pt x="827" y="166"/>
                  </a:lnTo>
                  <a:lnTo>
                    <a:pt x="822" y="158"/>
                  </a:lnTo>
                  <a:lnTo>
                    <a:pt x="822" y="146"/>
                  </a:lnTo>
                  <a:lnTo>
                    <a:pt x="824" y="145"/>
                  </a:lnTo>
                  <a:lnTo>
                    <a:pt x="824" y="143"/>
                  </a:lnTo>
                  <a:lnTo>
                    <a:pt x="822" y="141"/>
                  </a:lnTo>
                  <a:lnTo>
                    <a:pt x="821" y="126"/>
                  </a:lnTo>
                  <a:lnTo>
                    <a:pt x="822" y="123"/>
                  </a:lnTo>
                  <a:lnTo>
                    <a:pt x="821" y="120"/>
                  </a:lnTo>
                  <a:lnTo>
                    <a:pt x="822" y="118"/>
                  </a:lnTo>
                  <a:lnTo>
                    <a:pt x="822" y="115"/>
                  </a:lnTo>
                  <a:lnTo>
                    <a:pt x="814" y="108"/>
                  </a:lnTo>
                  <a:lnTo>
                    <a:pt x="809" y="105"/>
                  </a:lnTo>
                  <a:lnTo>
                    <a:pt x="811" y="103"/>
                  </a:lnTo>
                  <a:lnTo>
                    <a:pt x="806" y="98"/>
                  </a:lnTo>
                  <a:lnTo>
                    <a:pt x="801" y="100"/>
                  </a:lnTo>
                  <a:lnTo>
                    <a:pt x="797" y="100"/>
                  </a:lnTo>
                  <a:lnTo>
                    <a:pt x="796" y="103"/>
                  </a:lnTo>
                  <a:lnTo>
                    <a:pt x="791" y="105"/>
                  </a:lnTo>
                  <a:lnTo>
                    <a:pt x="786" y="96"/>
                  </a:lnTo>
                  <a:lnTo>
                    <a:pt x="787" y="93"/>
                  </a:lnTo>
                  <a:lnTo>
                    <a:pt x="784" y="88"/>
                  </a:lnTo>
                  <a:lnTo>
                    <a:pt x="786" y="80"/>
                  </a:lnTo>
                  <a:lnTo>
                    <a:pt x="784" y="70"/>
                  </a:lnTo>
                  <a:lnTo>
                    <a:pt x="782" y="70"/>
                  </a:lnTo>
                  <a:lnTo>
                    <a:pt x="781" y="67"/>
                  </a:lnTo>
                  <a:lnTo>
                    <a:pt x="782" y="63"/>
                  </a:lnTo>
                  <a:lnTo>
                    <a:pt x="779" y="58"/>
                  </a:lnTo>
                  <a:lnTo>
                    <a:pt x="779" y="55"/>
                  </a:lnTo>
                  <a:lnTo>
                    <a:pt x="776" y="53"/>
                  </a:lnTo>
                  <a:lnTo>
                    <a:pt x="777" y="47"/>
                  </a:lnTo>
                  <a:lnTo>
                    <a:pt x="779" y="45"/>
                  </a:lnTo>
                  <a:lnTo>
                    <a:pt x="776" y="43"/>
                  </a:lnTo>
                  <a:lnTo>
                    <a:pt x="773" y="43"/>
                  </a:lnTo>
                  <a:lnTo>
                    <a:pt x="769" y="42"/>
                  </a:lnTo>
                  <a:lnTo>
                    <a:pt x="771" y="30"/>
                  </a:lnTo>
                  <a:lnTo>
                    <a:pt x="769" y="28"/>
                  </a:lnTo>
                  <a:lnTo>
                    <a:pt x="768" y="22"/>
                  </a:lnTo>
                  <a:lnTo>
                    <a:pt x="763" y="22"/>
                  </a:lnTo>
                  <a:lnTo>
                    <a:pt x="763" y="18"/>
                  </a:lnTo>
                  <a:lnTo>
                    <a:pt x="758" y="20"/>
                  </a:lnTo>
                  <a:lnTo>
                    <a:pt x="754" y="23"/>
                  </a:lnTo>
                  <a:lnTo>
                    <a:pt x="754" y="32"/>
                  </a:lnTo>
                  <a:lnTo>
                    <a:pt x="753" y="38"/>
                  </a:lnTo>
                  <a:lnTo>
                    <a:pt x="753" y="40"/>
                  </a:lnTo>
                  <a:lnTo>
                    <a:pt x="751" y="45"/>
                  </a:lnTo>
                  <a:lnTo>
                    <a:pt x="748" y="45"/>
                  </a:lnTo>
                  <a:lnTo>
                    <a:pt x="746" y="52"/>
                  </a:lnTo>
                  <a:lnTo>
                    <a:pt x="741" y="57"/>
                  </a:lnTo>
                  <a:lnTo>
                    <a:pt x="744" y="60"/>
                  </a:lnTo>
                  <a:lnTo>
                    <a:pt x="749" y="63"/>
                  </a:lnTo>
                  <a:lnTo>
                    <a:pt x="746" y="65"/>
                  </a:lnTo>
                  <a:lnTo>
                    <a:pt x="743" y="65"/>
                  </a:lnTo>
                  <a:lnTo>
                    <a:pt x="741" y="68"/>
                  </a:lnTo>
                  <a:lnTo>
                    <a:pt x="739" y="73"/>
                  </a:lnTo>
                  <a:lnTo>
                    <a:pt x="743" y="78"/>
                  </a:lnTo>
                  <a:lnTo>
                    <a:pt x="743" y="81"/>
                  </a:lnTo>
                  <a:lnTo>
                    <a:pt x="739" y="80"/>
                  </a:lnTo>
                  <a:lnTo>
                    <a:pt x="736" y="83"/>
                  </a:lnTo>
                  <a:lnTo>
                    <a:pt x="734" y="93"/>
                  </a:lnTo>
                  <a:lnTo>
                    <a:pt x="736" y="100"/>
                  </a:lnTo>
                  <a:lnTo>
                    <a:pt x="734" y="108"/>
                  </a:lnTo>
                  <a:lnTo>
                    <a:pt x="738" y="115"/>
                  </a:lnTo>
                  <a:lnTo>
                    <a:pt x="736" y="121"/>
                  </a:lnTo>
                  <a:lnTo>
                    <a:pt x="733" y="125"/>
                  </a:lnTo>
                  <a:lnTo>
                    <a:pt x="733" y="128"/>
                  </a:lnTo>
                  <a:lnTo>
                    <a:pt x="728" y="136"/>
                  </a:lnTo>
                  <a:lnTo>
                    <a:pt x="726" y="150"/>
                  </a:lnTo>
                  <a:lnTo>
                    <a:pt x="721" y="153"/>
                  </a:lnTo>
                  <a:lnTo>
                    <a:pt x="723" y="158"/>
                  </a:lnTo>
                  <a:lnTo>
                    <a:pt x="721" y="165"/>
                  </a:lnTo>
                  <a:lnTo>
                    <a:pt x="716" y="168"/>
                  </a:lnTo>
                  <a:lnTo>
                    <a:pt x="716" y="176"/>
                  </a:lnTo>
                  <a:lnTo>
                    <a:pt x="708" y="181"/>
                  </a:lnTo>
                  <a:lnTo>
                    <a:pt x="693" y="188"/>
                  </a:lnTo>
                  <a:lnTo>
                    <a:pt x="686" y="183"/>
                  </a:lnTo>
                  <a:lnTo>
                    <a:pt x="679" y="183"/>
                  </a:lnTo>
                  <a:lnTo>
                    <a:pt x="676" y="179"/>
                  </a:lnTo>
                  <a:lnTo>
                    <a:pt x="671" y="174"/>
                  </a:lnTo>
                  <a:lnTo>
                    <a:pt x="671" y="171"/>
                  </a:lnTo>
                  <a:lnTo>
                    <a:pt x="670" y="170"/>
                  </a:lnTo>
                  <a:lnTo>
                    <a:pt x="668" y="165"/>
                  </a:lnTo>
                  <a:lnTo>
                    <a:pt x="661" y="165"/>
                  </a:lnTo>
                  <a:lnTo>
                    <a:pt x="658" y="163"/>
                  </a:lnTo>
                  <a:lnTo>
                    <a:pt x="650" y="163"/>
                  </a:lnTo>
                  <a:lnTo>
                    <a:pt x="643" y="158"/>
                  </a:lnTo>
                  <a:lnTo>
                    <a:pt x="641" y="155"/>
                  </a:lnTo>
                  <a:lnTo>
                    <a:pt x="636" y="148"/>
                  </a:lnTo>
                  <a:lnTo>
                    <a:pt x="630" y="148"/>
                  </a:lnTo>
                  <a:lnTo>
                    <a:pt x="625" y="145"/>
                  </a:lnTo>
                  <a:lnTo>
                    <a:pt x="623" y="141"/>
                  </a:lnTo>
                  <a:lnTo>
                    <a:pt x="620" y="141"/>
                  </a:lnTo>
                  <a:lnTo>
                    <a:pt x="618" y="140"/>
                  </a:lnTo>
                  <a:lnTo>
                    <a:pt x="613" y="140"/>
                  </a:lnTo>
                  <a:lnTo>
                    <a:pt x="608" y="138"/>
                  </a:lnTo>
                  <a:lnTo>
                    <a:pt x="610" y="136"/>
                  </a:lnTo>
                  <a:lnTo>
                    <a:pt x="603" y="133"/>
                  </a:lnTo>
                  <a:lnTo>
                    <a:pt x="601" y="128"/>
                  </a:lnTo>
                  <a:lnTo>
                    <a:pt x="596" y="121"/>
                  </a:lnTo>
                  <a:lnTo>
                    <a:pt x="591" y="121"/>
                  </a:lnTo>
                  <a:lnTo>
                    <a:pt x="586" y="116"/>
                  </a:lnTo>
                  <a:lnTo>
                    <a:pt x="586" y="111"/>
                  </a:lnTo>
                  <a:lnTo>
                    <a:pt x="591" y="105"/>
                  </a:lnTo>
                  <a:lnTo>
                    <a:pt x="591" y="98"/>
                  </a:lnTo>
                  <a:lnTo>
                    <a:pt x="596" y="96"/>
                  </a:lnTo>
                  <a:lnTo>
                    <a:pt x="598" y="90"/>
                  </a:lnTo>
                  <a:lnTo>
                    <a:pt x="600" y="85"/>
                  </a:lnTo>
                  <a:lnTo>
                    <a:pt x="596" y="88"/>
                  </a:lnTo>
                  <a:lnTo>
                    <a:pt x="593" y="83"/>
                  </a:lnTo>
                  <a:lnTo>
                    <a:pt x="598" y="80"/>
                  </a:lnTo>
                  <a:lnTo>
                    <a:pt x="596" y="75"/>
                  </a:lnTo>
                  <a:lnTo>
                    <a:pt x="600" y="75"/>
                  </a:lnTo>
                  <a:lnTo>
                    <a:pt x="601" y="73"/>
                  </a:lnTo>
                  <a:lnTo>
                    <a:pt x="603" y="75"/>
                  </a:lnTo>
                  <a:lnTo>
                    <a:pt x="608" y="76"/>
                  </a:lnTo>
                  <a:lnTo>
                    <a:pt x="615" y="73"/>
                  </a:lnTo>
                  <a:lnTo>
                    <a:pt x="616" y="68"/>
                  </a:lnTo>
                  <a:lnTo>
                    <a:pt x="611" y="67"/>
                  </a:lnTo>
                  <a:lnTo>
                    <a:pt x="615" y="63"/>
                  </a:lnTo>
                  <a:lnTo>
                    <a:pt x="618" y="65"/>
                  </a:lnTo>
                  <a:lnTo>
                    <a:pt x="621" y="57"/>
                  </a:lnTo>
                  <a:lnTo>
                    <a:pt x="625" y="55"/>
                  </a:lnTo>
                  <a:lnTo>
                    <a:pt x="628" y="52"/>
                  </a:lnTo>
                  <a:lnTo>
                    <a:pt x="628" y="50"/>
                  </a:lnTo>
                  <a:lnTo>
                    <a:pt x="623" y="47"/>
                  </a:lnTo>
                  <a:lnTo>
                    <a:pt x="620" y="50"/>
                  </a:lnTo>
                  <a:lnTo>
                    <a:pt x="616" y="50"/>
                  </a:lnTo>
                  <a:lnTo>
                    <a:pt x="616" y="42"/>
                  </a:lnTo>
                  <a:lnTo>
                    <a:pt x="611" y="43"/>
                  </a:lnTo>
                  <a:lnTo>
                    <a:pt x="606" y="50"/>
                  </a:lnTo>
                  <a:lnTo>
                    <a:pt x="608" y="50"/>
                  </a:lnTo>
                  <a:lnTo>
                    <a:pt x="608" y="53"/>
                  </a:lnTo>
                  <a:lnTo>
                    <a:pt x="605" y="55"/>
                  </a:lnTo>
                  <a:lnTo>
                    <a:pt x="601" y="53"/>
                  </a:lnTo>
                  <a:lnTo>
                    <a:pt x="600" y="50"/>
                  </a:lnTo>
                  <a:lnTo>
                    <a:pt x="598" y="48"/>
                  </a:lnTo>
                  <a:lnTo>
                    <a:pt x="596" y="52"/>
                  </a:lnTo>
                  <a:lnTo>
                    <a:pt x="593" y="52"/>
                  </a:lnTo>
                  <a:lnTo>
                    <a:pt x="593" y="48"/>
                  </a:lnTo>
                  <a:lnTo>
                    <a:pt x="596" y="47"/>
                  </a:lnTo>
                  <a:lnTo>
                    <a:pt x="596" y="45"/>
                  </a:lnTo>
                  <a:lnTo>
                    <a:pt x="593" y="45"/>
                  </a:lnTo>
                  <a:lnTo>
                    <a:pt x="591" y="48"/>
                  </a:lnTo>
                  <a:lnTo>
                    <a:pt x="585" y="50"/>
                  </a:lnTo>
                  <a:lnTo>
                    <a:pt x="585" y="52"/>
                  </a:lnTo>
                  <a:lnTo>
                    <a:pt x="581" y="52"/>
                  </a:lnTo>
                  <a:lnTo>
                    <a:pt x="580" y="50"/>
                  </a:lnTo>
                  <a:lnTo>
                    <a:pt x="577" y="50"/>
                  </a:lnTo>
                  <a:lnTo>
                    <a:pt x="575" y="48"/>
                  </a:lnTo>
                  <a:lnTo>
                    <a:pt x="572" y="43"/>
                  </a:lnTo>
                  <a:lnTo>
                    <a:pt x="570" y="43"/>
                  </a:lnTo>
                  <a:lnTo>
                    <a:pt x="565" y="45"/>
                  </a:lnTo>
                  <a:lnTo>
                    <a:pt x="560" y="45"/>
                  </a:lnTo>
                  <a:lnTo>
                    <a:pt x="558" y="45"/>
                  </a:lnTo>
                  <a:lnTo>
                    <a:pt x="557" y="42"/>
                  </a:lnTo>
                  <a:lnTo>
                    <a:pt x="553" y="42"/>
                  </a:lnTo>
                  <a:lnTo>
                    <a:pt x="552" y="37"/>
                  </a:lnTo>
                  <a:lnTo>
                    <a:pt x="545" y="40"/>
                  </a:lnTo>
                  <a:lnTo>
                    <a:pt x="540" y="38"/>
                  </a:lnTo>
                  <a:lnTo>
                    <a:pt x="535" y="37"/>
                  </a:lnTo>
                  <a:lnTo>
                    <a:pt x="535" y="33"/>
                  </a:lnTo>
                  <a:lnTo>
                    <a:pt x="532" y="30"/>
                  </a:lnTo>
                  <a:lnTo>
                    <a:pt x="528" y="30"/>
                  </a:lnTo>
                  <a:lnTo>
                    <a:pt x="530" y="32"/>
                  </a:lnTo>
                  <a:lnTo>
                    <a:pt x="522" y="33"/>
                  </a:lnTo>
                  <a:lnTo>
                    <a:pt x="520" y="30"/>
                  </a:lnTo>
                  <a:lnTo>
                    <a:pt x="517" y="28"/>
                  </a:lnTo>
                  <a:lnTo>
                    <a:pt x="510" y="25"/>
                  </a:lnTo>
                  <a:lnTo>
                    <a:pt x="508" y="27"/>
                  </a:lnTo>
                  <a:lnTo>
                    <a:pt x="505" y="25"/>
                  </a:lnTo>
                  <a:lnTo>
                    <a:pt x="502" y="27"/>
                  </a:lnTo>
                  <a:lnTo>
                    <a:pt x="507" y="30"/>
                  </a:lnTo>
                  <a:lnTo>
                    <a:pt x="505" y="32"/>
                  </a:lnTo>
                  <a:lnTo>
                    <a:pt x="510" y="33"/>
                  </a:lnTo>
                  <a:lnTo>
                    <a:pt x="513" y="32"/>
                  </a:lnTo>
                  <a:lnTo>
                    <a:pt x="520" y="37"/>
                  </a:lnTo>
                  <a:lnTo>
                    <a:pt x="520" y="40"/>
                  </a:lnTo>
                  <a:lnTo>
                    <a:pt x="522" y="47"/>
                  </a:lnTo>
                  <a:lnTo>
                    <a:pt x="517" y="47"/>
                  </a:lnTo>
                  <a:lnTo>
                    <a:pt x="515" y="52"/>
                  </a:lnTo>
                  <a:lnTo>
                    <a:pt x="513" y="48"/>
                  </a:lnTo>
                  <a:lnTo>
                    <a:pt x="510" y="48"/>
                  </a:lnTo>
                  <a:lnTo>
                    <a:pt x="505" y="50"/>
                  </a:lnTo>
                  <a:lnTo>
                    <a:pt x="492" y="50"/>
                  </a:lnTo>
                  <a:lnTo>
                    <a:pt x="487" y="47"/>
                  </a:lnTo>
                  <a:lnTo>
                    <a:pt x="485" y="48"/>
                  </a:lnTo>
                  <a:lnTo>
                    <a:pt x="480" y="50"/>
                  </a:lnTo>
                  <a:lnTo>
                    <a:pt x="480" y="55"/>
                  </a:lnTo>
                  <a:lnTo>
                    <a:pt x="475" y="53"/>
                  </a:lnTo>
                  <a:lnTo>
                    <a:pt x="477" y="60"/>
                  </a:lnTo>
                  <a:lnTo>
                    <a:pt x="475" y="57"/>
                  </a:lnTo>
                  <a:lnTo>
                    <a:pt x="470" y="55"/>
                  </a:lnTo>
                  <a:lnTo>
                    <a:pt x="469" y="58"/>
                  </a:lnTo>
                  <a:lnTo>
                    <a:pt x="470" y="62"/>
                  </a:lnTo>
                  <a:lnTo>
                    <a:pt x="470" y="63"/>
                  </a:lnTo>
                  <a:lnTo>
                    <a:pt x="464" y="62"/>
                  </a:lnTo>
                  <a:lnTo>
                    <a:pt x="460" y="65"/>
                  </a:lnTo>
                  <a:lnTo>
                    <a:pt x="464" y="67"/>
                  </a:lnTo>
                  <a:lnTo>
                    <a:pt x="460" y="68"/>
                  </a:lnTo>
                  <a:lnTo>
                    <a:pt x="457" y="70"/>
                  </a:lnTo>
                  <a:lnTo>
                    <a:pt x="457" y="73"/>
                  </a:lnTo>
                  <a:lnTo>
                    <a:pt x="460" y="76"/>
                  </a:lnTo>
                  <a:lnTo>
                    <a:pt x="462" y="78"/>
                  </a:lnTo>
                  <a:lnTo>
                    <a:pt x="457" y="76"/>
                  </a:lnTo>
                  <a:lnTo>
                    <a:pt x="454" y="78"/>
                  </a:lnTo>
                  <a:lnTo>
                    <a:pt x="449" y="78"/>
                  </a:lnTo>
                  <a:lnTo>
                    <a:pt x="445" y="85"/>
                  </a:lnTo>
                  <a:lnTo>
                    <a:pt x="442" y="91"/>
                  </a:lnTo>
                  <a:lnTo>
                    <a:pt x="439" y="93"/>
                  </a:lnTo>
                  <a:lnTo>
                    <a:pt x="437" y="98"/>
                  </a:lnTo>
                  <a:lnTo>
                    <a:pt x="434" y="101"/>
                  </a:lnTo>
                  <a:lnTo>
                    <a:pt x="437" y="103"/>
                  </a:lnTo>
                  <a:lnTo>
                    <a:pt x="445" y="105"/>
                  </a:lnTo>
                  <a:lnTo>
                    <a:pt x="442" y="106"/>
                  </a:lnTo>
                  <a:lnTo>
                    <a:pt x="440" y="110"/>
                  </a:lnTo>
                  <a:lnTo>
                    <a:pt x="449" y="111"/>
                  </a:lnTo>
                  <a:lnTo>
                    <a:pt x="445" y="113"/>
                  </a:lnTo>
                  <a:lnTo>
                    <a:pt x="439" y="113"/>
                  </a:lnTo>
                  <a:lnTo>
                    <a:pt x="437" y="110"/>
                  </a:lnTo>
                  <a:lnTo>
                    <a:pt x="437" y="113"/>
                  </a:lnTo>
                  <a:lnTo>
                    <a:pt x="442" y="116"/>
                  </a:lnTo>
                  <a:lnTo>
                    <a:pt x="442" y="121"/>
                  </a:lnTo>
                  <a:lnTo>
                    <a:pt x="445" y="126"/>
                  </a:lnTo>
                  <a:lnTo>
                    <a:pt x="439" y="121"/>
                  </a:lnTo>
                  <a:lnTo>
                    <a:pt x="435" y="115"/>
                  </a:lnTo>
                  <a:lnTo>
                    <a:pt x="430" y="115"/>
                  </a:lnTo>
                  <a:lnTo>
                    <a:pt x="430" y="116"/>
                  </a:lnTo>
                  <a:lnTo>
                    <a:pt x="429" y="120"/>
                  </a:lnTo>
                  <a:lnTo>
                    <a:pt x="429" y="116"/>
                  </a:lnTo>
                  <a:lnTo>
                    <a:pt x="419" y="110"/>
                  </a:lnTo>
                  <a:lnTo>
                    <a:pt x="410" y="111"/>
                  </a:lnTo>
                  <a:lnTo>
                    <a:pt x="414" y="115"/>
                  </a:lnTo>
                  <a:lnTo>
                    <a:pt x="410" y="116"/>
                  </a:lnTo>
                  <a:lnTo>
                    <a:pt x="407" y="115"/>
                  </a:lnTo>
                  <a:lnTo>
                    <a:pt x="405" y="115"/>
                  </a:lnTo>
                  <a:lnTo>
                    <a:pt x="404" y="116"/>
                  </a:lnTo>
                  <a:lnTo>
                    <a:pt x="407" y="121"/>
                  </a:lnTo>
                  <a:lnTo>
                    <a:pt x="405" y="123"/>
                  </a:lnTo>
                  <a:lnTo>
                    <a:pt x="405" y="121"/>
                  </a:lnTo>
                  <a:lnTo>
                    <a:pt x="404" y="123"/>
                  </a:lnTo>
                  <a:lnTo>
                    <a:pt x="404" y="125"/>
                  </a:lnTo>
                  <a:lnTo>
                    <a:pt x="399" y="126"/>
                  </a:lnTo>
                  <a:lnTo>
                    <a:pt x="392" y="128"/>
                  </a:lnTo>
                  <a:lnTo>
                    <a:pt x="397" y="126"/>
                  </a:lnTo>
                  <a:lnTo>
                    <a:pt x="400" y="121"/>
                  </a:lnTo>
                  <a:lnTo>
                    <a:pt x="400" y="115"/>
                  </a:lnTo>
                  <a:lnTo>
                    <a:pt x="404" y="110"/>
                  </a:lnTo>
                  <a:lnTo>
                    <a:pt x="402" y="108"/>
                  </a:lnTo>
                  <a:lnTo>
                    <a:pt x="397" y="106"/>
                  </a:lnTo>
                  <a:lnTo>
                    <a:pt x="390" y="96"/>
                  </a:lnTo>
                  <a:lnTo>
                    <a:pt x="387" y="91"/>
                  </a:lnTo>
                  <a:lnTo>
                    <a:pt x="380" y="90"/>
                  </a:lnTo>
                  <a:lnTo>
                    <a:pt x="376" y="86"/>
                  </a:lnTo>
                  <a:lnTo>
                    <a:pt x="372" y="88"/>
                  </a:lnTo>
                  <a:lnTo>
                    <a:pt x="376" y="90"/>
                  </a:lnTo>
                  <a:lnTo>
                    <a:pt x="372" y="91"/>
                  </a:lnTo>
                  <a:lnTo>
                    <a:pt x="369" y="96"/>
                  </a:lnTo>
                  <a:lnTo>
                    <a:pt x="366" y="95"/>
                  </a:lnTo>
                  <a:lnTo>
                    <a:pt x="367" y="93"/>
                  </a:lnTo>
                  <a:lnTo>
                    <a:pt x="362" y="93"/>
                  </a:lnTo>
                  <a:lnTo>
                    <a:pt x="361" y="96"/>
                  </a:lnTo>
                  <a:lnTo>
                    <a:pt x="357" y="90"/>
                  </a:lnTo>
                  <a:lnTo>
                    <a:pt x="356" y="90"/>
                  </a:lnTo>
                  <a:lnTo>
                    <a:pt x="354" y="93"/>
                  </a:lnTo>
                  <a:lnTo>
                    <a:pt x="357" y="95"/>
                  </a:lnTo>
                  <a:lnTo>
                    <a:pt x="354" y="98"/>
                  </a:lnTo>
                  <a:lnTo>
                    <a:pt x="352" y="103"/>
                  </a:lnTo>
                  <a:lnTo>
                    <a:pt x="354" y="105"/>
                  </a:lnTo>
                  <a:lnTo>
                    <a:pt x="349" y="108"/>
                  </a:lnTo>
                  <a:lnTo>
                    <a:pt x="346" y="105"/>
                  </a:lnTo>
                  <a:lnTo>
                    <a:pt x="344" y="105"/>
                  </a:lnTo>
                  <a:lnTo>
                    <a:pt x="342" y="103"/>
                  </a:lnTo>
                  <a:lnTo>
                    <a:pt x="346" y="98"/>
                  </a:lnTo>
                  <a:lnTo>
                    <a:pt x="342" y="98"/>
                  </a:lnTo>
                  <a:lnTo>
                    <a:pt x="341" y="103"/>
                  </a:lnTo>
                  <a:lnTo>
                    <a:pt x="336" y="105"/>
                  </a:lnTo>
                  <a:lnTo>
                    <a:pt x="334" y="108"/>
                  </a:lnTo>
                  <a:lnTo>
                    <a:pt x="332" y="111"/>
                  </a:lnTo>
                  <a:lnTo>
                    <a:pt x="339" y="115"/>
                  </a:lnTo>
                  <a:lnTo>
                    <a:pt x="334" y="118"/>
                  </a:lnTo>
                  <a:lnTo>
                    <a:pt x="329" y="116"/>
                  </a:lnTo>
                  <a:lnTo>
                    <a:pt x="322" y="120"/>
                  </a:lnTo>
                  <a:lnTo>
                    <a:pt x="324" y="123"/>
                  </a:lnTo>
                  <a:lnTo>
                    <a:pt x="331" y="123"/>
                  </a:lnTo>
                  <a:lnTo>
                    <a:pt x="329" y="128"/>
                  </a:lnTo>
                  <a:lnTo>
                    <a:pt x="326" y="128"/>
                  </a:lnTo>
                  <a:lnTo>
                    <a:pt x="321" y="123"/>
                  </a:lnTo>
                  <a:lnTo>
                    <a:pt x="316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4" y="135"/>
                  </a:lnTo>
                  <a:lnTo>
                    <a:pt x="314" y="136"/>
                  </a:lnTo>
                  <a:lnTo>
                    <a:pt x="317" y="136"/>
                  </a:lnTo>
                  <a:lnTo>
                    <a:pt x="314" y="140"/>
                  </a:lnTo>
                  <a:lnTo>
                    <a:pt x="316" y="143"/>
                  </a:lnTo>
                  <a:lnTo>
                    <a:pt x="312" y="145"/>
                  </a:lnTo>
                  <a:lnTo>
                    <a:pt x="309" y="148"/>
                  </a:lnTo>
                  <a:lnTo>
                    <a:pt x="317" y="150"/>
                  </a:lnTo>
                  <a:lnTo>
                    <a:pt x="312" y="151"/>
                  </a:lnTo>
                  <a:lnTo>
                    <a:pt x="311" y="155"/>
                  </a:lnTo>
                  <a:lnTo>
                    <a:pt x="306" y="153"/>
                  </a:lnTo>
                  <a:lnTo>
                    <a:pt x="304" y="150"/>
                  </a:lnTo>
                  <a:lnTo>
                    <a:pt x="301" y="148"/>
                  </a:lnTo>
                  <a:lnTo>
                    <a:pt x="296" y="150"/>
                  </a:lnTo>
                  <a:lnTo>
                    <a:pt x="294" y="146"/>
                  </a:lnTo>
                  <a:lnTo>
                    <a:pt x="291" y="145"/>
                  </a:lnTo>
                  <a:lnTo>
                    <a:pt x="287" y="146"/>
                  </a:lnTo>
                  <a:lnTo>
                    <a:pt x="292" y="151"/>
                  </a:lnTo>
                  <a:lnTo>
                    <a:pt x="291" y="151"/>
                  </a:lnTo>
                  <a:lnTo>
                    <a:pt x="287" y="156"/>
                  </a:lnTo>
                  <a:lnTo>
                    <a:pt x="292" y="160"/>
                  </a:lnTo>
                  <a:lnTo>
                    <a:pt x="297" y="160"/>
                  </a:lnTo>
                  <a:lnTo>
                    <a:pt x="296" y="163"/>
                  </a:lnTo>
                  <a:lnTo>
                    <a:pt x="296" y="168"/>
                  </a:lnTo>
                  <a:lnTo>
                    <a:pt x="294" y="166"/>
                  </a:lnTo>
                  <a:lnTo>
                    <a:pt x="291" y="166"/>
                  </a:lnTo>
                  <a:lnTo>
                    <a:pt x="292" y="171"/>
                  </a:lnTo>
                  <a:lnTo>
                    <a:pt x="291" y="174"/>
                  </a:lnTo>
                  <a:lnTo>
                    <a:pt x="289" y="181"/>
                  </a:lnTo>
                  <a:lnTo>
                    <a:pt x="281" y="166"/>
                  </a:lnTo>
                  <a:lnTo>
                    <a:pt x="276" y="156"/>
                  </a:lnTo>
                  <a:lnTo>
                    <a:pt x="274" y="153"/>
                  </a:lnTo>
                  <a:lnTo>
                    <a:pt x="276" y="148"/>
                  </a:lnTo>
                  <a:lnTo>
                    <a:pt x="273" y="151"/>
                  </a:lnTo>
                  <a:lnTo>
                    <a:pt x="268" y="155"/>
                  </a:lnTo>
                  <a:lnTo>
                    <a:pt x="268" y="160"/>
                  </a:lnTo>
                  <a:lnTo>
                    <a:pt x="263" y="161"/>
                  </a:lnTo>
                  <a:lnTo>
                    <a:pt x="263" y="163"/>
                  </a:lnTo>
                  <a:lnTo>
                    <a:pt x="258" y="163"/>
                  </a:lnTo>
                  <a:lnTo>
                    <a:pt x="254" y="166"/>
                  </a:lnTo>
                  <a:lnTo>
                    <a:pt x="251" y="170"/>
                  </a:lnTo>
                  <a:lnTo>
                    <a:pt x="253" y="174"/>
                  </a:lnTo>
                  <a:lnTo>
                    <a:pt x="253" y="186"/>
                  </a:lnTo>
                  <a:lnTo>
                    <a:pt x="254" y="188"/>
                  </a:lnTo>
                  <a:lnTo>
                    <a:pt x="254" y="191"/>
                  </a:lnTo>
                  <a:lnTo>
                    <a:pt x="249" y="193"/>
                  </a:lnTo>
                  <a:lnTo>
                    <a:pt x="248" y="198"/>
                  </a:lnTo>
                  <a:lnTo>
                    <a:pt x="241" y="199"/>
                  </a:lnTo>
                  <a:lnTo>
                    <a:pt x="241" y="203"/>
                  </a:lnTo>
                  <a:lnTo>
                    <a:pt x="236" y="206"/>
                  </a:lnTo>
                  <a:lnTo>
                    <a:pt x="236" y="211"/>
                  </a:lnTo>
                  <a:lnTo>
                    <a:pt x="233" y="214"/>
                  </a:lnTo>
                  <a:lnTo>
                    <a:pt x="224" y="223"/>
                  </a:lnTo>
                  <a:lnTo>
                    <a:pt x="211" y="231"/>
                  </a:lnTo>
                  <a:lnTo>
                    <a:pt x="198" y="231"/>
                  </a:lnTo>
                  <a:lnTo>
                    <a:pt x="193" y="233"/>
                  </a:lnTo>
                  <a:lnTo>
                    <a:pt x="186" y="234"/>
                  </a:lnTo>
                  <a:lnTo>
                    <a:pt x="180" y="236"/>
                  </a:lnTo>
                  <a:lnTo>
                    <a:pt x="175" y="234"/>
                  </a:lnTo>
                  <a:lnTo>
                    <a:pt x="166" y="236"/>
                  </a:lnTo>
                  <a:lnTo>
                    <a:pt x="166" y="241"/>
                  </a:lnTo>
                  <a:lnTo>
                    <a:pt x="161" y="243"/>
                  </a:lnTo>
                  <a:lnTo>
                    <a:pt x="145" y="243"/>
                  </a:lnTo>
                  <a:lnTo>
                    <a:pt x="141" y="244"/>
                  </a:lnTo>
                  <a:lnTo>
                    <a:pt x="140" y="248"/>
                  </a:lnTo>
                  <a:lnTo>
                    <a:pt x="130" y="253"/>
                  </a:lnTo>
                  <a:lnTo>
                    <a:pt x="121" y="253"/>
                  </a:lnTo>
                  <a:lnTo>
                    <a:pt x="118" y="251"/>
                  </a:lnTo>
                  <a:lnTo>
                    <a:pt x="115" y="251"/>
                  </a:lnTo>
                  <a:lnTo>
                    <a:pt x="113" y="248"/>
                  </a:lnTo>
                  <a:lnTo>
                    <a:pt x="108" y="249"/>
                  </a:lnTo>
                  <a:lnTo>
                    <a:pt x="105" y="256"/>
                  </a:lnTo>
                  <a:lnTo>
                    <a:pt x="95" y="258"/>
                  </a:lnTo>
                  <a:lnTo>
                    <a:pt x="93" y="259"/>
                  </a:lnTo>
                  <a:lnTo>
                    <a:pt x="91" y="259"/>
                  </a:lnTo>
                  <a:lnTo>
                    <a:pt x="83" y="266"/>
                  </a:lnTo>
                  <a:lnTo>
                    <a:pt x="73" y="269"/>
                  </a:lnTo>
                  <a:lnTo>
                    <a:pt x="58" y="274"/>
                  </a:lnTo>
                  <a:lnTo>
                    <a:pt x="53" y="281"/>
                  </a:lnTo>
                  <a:lnTo>
                    <a:pt x="53" y="287"/>
                  </a:lnTo>
                  <a:lnTo>
                    <a:pt x="47" y="292"/>
                  </a:lnTo>
                  <a:lnTo>
                    <a:pt x="43" y="291"/>
                  </a:lnTo>
                  <a:lnTo>
                    <a:pt x="45" y="287"/>
                  </a:lnTo>
                  <a:lnTo>
                    <a:pt x="45" y="284"/>
                  </a:lnTo>
                  <a:lnTo>
                    <a:pt x="47" y="279"/>
                  </a:lnTo>
                  <a:lnTo>
                    <a:pt x="47" y="274"/>
                  </a:lnTo>
                  <a:lnTo>
                    <a:pt x="38" y="281"/>
                  </a:lnTo>
                  <a:lnTo>
                    <a:pt x="37" y="286"/>
                  </a:lnTo>
                  <a:lnTo>
                    <a:pt x="32" y="296"/>
                  </a:lnTo>
                  <a:lnTo>
                    <a:pt x="35" y="302"/>
                  </a:lnTo>
                  <a:lnTo>
                    <a:pt x="33" y="307"/>
                  </a:lnTo>
                  <a:lnTo>
                    <a:pt x="33" y="319"/>
                  </a:lnTo>
                  <a:lnTo>
                    <a:pt x="23" y="329"/>
                  </a:lnTo>
                  <a:lnTo>
                    <a:pt x="20" y="344"/>
                  </a:lnTo>
                  <a:lnTo>
                    <a:pt x="23" y="351"/>
                  </a:lnTo>
                  <a:lnTo>
                    <a:pt x="22" y="361"/>
                  </a:lnTo>
                  <a:lnTo>
                    <a:pt x="30" y="374"/>
                  </a:lnTo>
                  <a:lnTo>
                    <a:pt x="30" y="379"/>
                  </a:lnTo>
                  <a:lnTo>
                    <a:pt x="33" y="382"/>
                  </a:lnTo>
                  <a:lnTo>
                    <a:pt x="30" y="389"/>
                  </a:lnTo>
                  <a:lnTo>
                    <a:pt x="32" y="395"/>
                  </a:lnTo>
                  <a:lnTo>
                    <a:pt x="27" y="397"/>
                  </a:lnTo>
                  <a:lnTo>
                    <a:pt x="25" y="394"/>
                  </a:lnTo>
                  <a:lnTo>
                    <a:pt x="25" y="385"/>
                  </a:lnTo>
                  <a:lnTo>
                    <a:pt x="22" y="390"/>
                  </a:lnTo>
                  <a:lnTo>
                    <a:pt x="20" y="389"/>
                  </a:lnTo>
                  <a:lnTo>
                    <a:pt x="20" y="382"/>
                  </a:lnTo>
                  <a:lnTo>
                    <a:pt x="15" y="372"/>
                  </a:lnTo>
                  <a:lnTo>
                    <a:pt x="12" y="377"/>
                  </a:lnTo>
                  <a:lnTo>
                    <a:pt x="13" y="385"/>
                  </a:lnTo>
                  <a:lnTo>
                    <a:pt x="20" y="392"/>
                  </a:lnTo>
                  <a:lnTo>
                    <a:pt x="25" y="400"/>
                  </a:lnTo>
                  <a:lnTo>
                    <a:pt x="18" y="402"/>
                  </a:lnTo>
                  <a:lnTo>
                    <a:pt x="12" y="395"/>
                  </a:lnTo>
                  <a:lnTo>
                    <a:pt x="12" y="387"/>
                  </a:lnTo>
                  <a:lnTo>
                    <a:pt x="8" y="390"/>
                  </a:lnTo>
                  <a:lnTo>
                    <a:pt x="7" y="392"/>
                  </a:lnTo>
                  <a:lnTo>
                    <a:pt x="10" y="399"/>
                  </a:lnTo>
                  <a:lnTo>
                    <a:pt x="18" y="409"/>
                  </a:lnTo>
                  <a:lnTo>
                    <a:pt x="23" y="420"/>
                  </a:lnTo>
                  <a:lnTo>
                    <a:pt x="23" y="444"/>
                  </a:lnTo>
                  <a:lnTo>
                    <a:pt x="27" y="447"/>
                  </a:lnTo>
                  <a:lnTo>
                    <a:pt x="28" y="460"/>
                  </a:lnTo>
                  <a:lnTo>
                    <a:pt x="37" y="475"/>
                  </a:lnTo>
                  <a:lnTo>
                    <a:pt x="33" y="482"/>
                  </a:lnTo>
                  <a:lnTo>
                    <a:pt x="35" y="507"/>
                  </a:lnTo>
                  <a:lnTo>
                    <a:pt x="33" y="510"/>
                  </a:lnTo>
                  <a:lnTo>
                    <a:pt x="35" y="517"/>
                  </a:lnTo>
                  <a:lnTo>
                    <a:pt x="35" y="523"/>
                  </a:lnTo>
                  <a:lnTo>
                    <a:pt x="40" y="535"/>
                  </a:lnTo>
                  <a:lnTo>
                    <a:pt x="42" y="540"/>
                  </a:lnTo>
                  <a:lnTo>
                    <a:pt x="37" y="543"/>
                  </a:lnTo>
                  <a:lnTo>
                    <a:pt x="38" y="545"/>
                  </a:lnTo>
                  <a:lnTo>
                    <a:pt x="37" y="552"/>
                  </a:lnTo>
                  <a:lnTo>
                    <a:pt x="37" y="560"/>
                  </a:lnTo>
                  <a:lnTo>
                    <a:pt x="32" y="565"/>
                  </a:lnTo>
                  <a:lnTo>
                    <a:pt x="33" y="566"/>
                  </a:lnTo>
                  <a:lnTo>
                    <a:pt x="32" y="573"/>
                  </a:lnTo>
                  <a:lnTo>
                    <a:pt x="28" y="575"/>
                  </a:lnTo>
                  <a:lnTo>
                    <a:pt x="28" y="581"/>
                  </a:lnTo>
                  <a:lnTo>
                    <a:pt x="20" y="586"/>
                  </a:lnTo>
                  <a:lnTo>
                    <a:pt x="17" y="583"/>
                  </a:lnTo>
                  <a:lnTo>
                    <a:pt x="12" y="591"/>
                  </a:lnTo>
                  <a:lnTo>
                    <a:pt x="12" y="6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A840832-E468-D34D-846C-39FFD9DE3DC8}"/>
                </a:ext>
              </a:extLst>
            </p:cNvPr>
            <p:cNvGrpSpPr/>
            <p:nvPr/>
          </p:nvGrpSpPr>
          <p:grpSpPr>
            <a:xfrm>
              <a:off x="6156014" y="1963391"/>
              <a:ext cx="2252873" cy="885062"/>
              <a:chOff x="6156014" y="1963391"/>
              <a:chExt cx="2252873" cy="885062"/>
            </a:xfrm>
            <a:grpFill/>
          </p:grpSpPr>
          <p:sp>
            <p:nvSpPr>
              <p:cNvPr id="107" name="Freeform 6">
                <a:extLst>
                  <a:ext uri="{FF2B5EF4-FFF2-40B4-BE49-F238E27FC236}">
                    <a16:creationId xmlns:a16="http://schemas.microsoft.com/office/drawing/2014/main" id="{0862138A-2CA2-674D-B25C-AE5EFFB5C5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0770" y="1963391"/>
                <a:ext cx="1708117" cy="804131"/>
              </a:xfrm>
              <a:custGeom>
                <a:avLst/>
                <a:gdLst/>
                <a:ahLst/>
                <a:cxnLst>
                  <a:cxn ang="0">
                    <a:pos x="2490" y="1201"/>
                  </a:cxn>
                  <a:cxn ang="0">
                    <a:pos x="2291" y="1125"/>
                  </a:cxn>
                  <a:cxn ang="0">
                    <a:pos x="2137" y="1103"/>
                  </a:cxn>
                  <a:cxn ang="0">
                    <a:pos x="1789" y="1206"/>
                  </a:cxn>
                  <a:cxn ang="0">
                    <a:pos x="1494" y="1221"/>
                  </a:cxn>
                  <a:cxn ang="0">
                    <a:pos x="1110" y="1140"/>
                  </a:cxn>
                  <a:cxn ang="0">
                    <a:pos x="828" y="1160"/>
                  </a:cxn>
                  <a:cxn ang="0">
                    <a:pos x="668" y="1274"/>
                  </a:cxn>
                  <a:cxn ang="0">
                    <a:pos x="550" y="1411"/>
                  </a:cxn>
                  <a:cxn ang="0">
                    <a:pos x="376" y="1489"/>
                  </a:cxn>
                  <a:cxn ang="0">
                    <a:pos x="228" y="1264"/>
                  </a:cxn>
                  <a:cxn ang="0">
                    <a:pos x="60" y="987"/>
                  </a:cxn>
                  <a:cxn ang="0">
                    <a:pos x="67" y="618"/>
                  </a:cxn>
                  <a:cxn ang="0">
                    <a:pos x="246" y="756"/>
                  </a:cxn>
                  <a:cxn ang="0">
                    <a:pos x="203" y="851"/>
                  </a:cxn>
                  <a:cxn ang="0">
                    <a:pos x="311" y="658"/>
                  </a:cxn>
                  <a:cxn ang="0">
                    <a:pos x="485" y="652"/>
                  </a:cxn>
                  <a:cxn ang="0">
                    <a:pos x="723" y="595"/>
                  </a:cxn>
                  <a:cxn ang="0">
                    <a:pos x="788" y="439"/>
                  </a:cxn>
                  <a:cxn ang="0">
                    <a:pos x="901" y="670"/>
                  </a:cxn>
                  <a:cxn ang="0">
                    <a:pos x="823" y="434"/>
                  </a:cxn>
                  <a:cxn ang="0">
                    <a:pos x="999" y="467"/>
                  </a:cxn>
                  <a:cxn ang="0">
                    <a:pos x="951" y="319"/>
                  </a:cxn>
                  <a:cxn ang="0">
                    <a:pos x="1027" y="178"/>
                  </a:cxn>
                  <a:cxn ang="0">
                    <a:pos x="1142" y="78"/>
                  </a:cxn>
                  <a:cxn ang="0">
                    <a:pos x="1351" y="47"/>
                  </a:cxn>
                  <a:cxn ang="0">
                    <a:pos x="1366" y="255"/>
                  </a:cxn>
                  <a:cxn ang="0">
                    <a:pos x="1578" y="183"/>
                  </a:cxn>
                  <a:cxn ang="0">
                    <a:pos x="1798" y="173"/>
                  </a:cxn>
                  <a:cxn ang="0">
                    <a:pos x="2019" y="205"/>
                  </a:cxn>
                  <a:cxn ang="0">
                    <a:pos x="2120" y="137"/>
                  </a:cxn>
                  <a:cxn ang="0">
                    <a:pos x="2500" y="155"/>
                  </a:cxn>
                  <a:cxn ang="0">
                    <a:pos x="2710" y="59"/>
                  </a:cxn>
                  <a:cxn ang="0">
                    <a:pos x="3053" y="105"/>
                  </a:cxn>
                  <a:cxn ang="0">
                    <a:pos x="3142" y="138"/>
                  </a:cxn>
                  <a:cxn ang="0">
                    <a:pos x="3035" y="198"/>
                  </a:cxn>
                  <a:cxn ang="0">
                    <a:pos x="3087" y="349"/>
                  </a:cxn>
                  <a:cxn ang="0">
                    <a:pos x="3053" y="595"/>
                  </a:cxn>
                  <a:cxn ang="0">
                    <a:pos x="2969" y="735"/>
                  </a:cxn>
                  <a:cxn ang="0">
                    <a:pos x="2974" y="1022"/>
                  </a:cxn>
                  <a:cxn ang="0">
                    <a:pos x="2879" y="567"/>
                  </a:cxn>
                  <a:cxn ang="0">
                    <a:pos x="2796" y="562"/>
                  </a:cxn>
                  <a:cxn ang="0">
                    <a:pos x="2681" y="735"/>
                  </a:cxn>
                  <a:cxn ang="0">
                    <a:pos x="2452" y="858"/>
                  </a:cxn>
                  <a:cxn ang="0">
                    <a:pos x="2588" y="1027"/>
                  </a:cxn>
                  <a:cxn ang="0">
                    <a:pos x="2529" y="1392"/>
                  </a:cxn>
                  <a:cxn ang="0">
                    <a:pos x="469" y="416"/>
                  </a:cxn>
                  <a:cxn ang="0">
                    <a:pos x="607" y="196"/>
                  </a:cxn>
                  <a:cxn ang="0">
                    <a:pos x="421" y="318"/>
                  </a:cxn>
                  <a:cxn ang="0">
                    <a:pos x="449" y="525"/>
                  </a:cxn>
                  <a:cxn ang="0">
                    <a:pos x="404" y="497"/>
                  </a:cxn>
                  <a:cxn ang="0">
                    <a:pos x="163" y="804"/>
                  </a:cxn>
                  <a:cxn ang="0">
                    <a:pos x="514" y="622"/>
                  </a:cxn>
                  <a:cxn ang="0">
                    <a:pos x="731" y="394"/>
                  </a:cxn>
                  <a:cxn ang="0">
                    <a:pos x="884" y="397"/>
                  </a:cxn>
                  <a:cxn ang="0">
                    <a:pos x="962" y="271"/>
                  </a:cxn>
                  <a:cxn ang="0">
                    <a:pos x="1446" y="175"/>
                  </a:cxn>
                  <a:cxn ang="0">
                    <a:pos x="2625" y="88"/>
                  </a:cxn>
                  <a:cxn ang="0">
                    <a:pos x="2653" y="1063"/>
                  </a:cxn>
                  <a:cxn ang="0">
                    <a:pos x="2666" y="1176"/>
                  </a:cxn>
                  <a:cxn ang="0">
                    <a:pos x="2663" y="723"/>
                  </a:cxn>
                  <a:cxn ang="0">
                    <a:pos x="2941" y="1117"/>
                  </a:cxn>
                  <a:cxn ang="0">
                    <a:pos x="2847" y="1274"/>
                  </a:cxn>
                </a:cxnLst>
                <a:rect l="0" t="0" r="r" b="b"/>
                <a:pathLst>
                  <a:path w="3193" h="1550">
                    <a:moveTo>
                      <a:pt x="2477" y="1409"/>
                    </a:moveTo>
                    <a:lnTo>
                      <a:pt x="2477" y="1407"/>
                    </a:lnTo>
                    <a:lnTo>
                      <a:pt x="2472" y="1404"/>
                    </a:lnTo>
                    <a:lnTo>
                      <a:pt x="2472" y="1404"/>
                    </a:lnTo>
                    <a:lnTo>
                      <a:pt x="2474" y="1402"/>
                    </a:lnTo>
                    <a:lnTo>
                      <a:pt x="2474" y="1399"/>
                    </a:lnTo>
                    <a:lnTo>
                      <a:pt x="2472" y="1399"/>
                    </a:lnTo>
                    <a:lnTo>
                      <a:pt x="2470" y="1394"/>
                    </a:lnTo>
                    <a:lnTo>
                      <a:pt x="2470" y="1392"/>
                    </a:lnTo>
                    <a:lnTo>
                      <a:pt x="2474" y="1391"/>
                    </a:lnTo>
                    <a:lnTo>
                      <a:pt x="2480" y="1392"/>
                    </a:lnTo>
                    <a:lnTo>
                      <a:pt x="2480" y="1391"/>
                    </a:lnTo>
                    <a:lnTo>
                      <a:pt x="2482" y="1387"/>
                    </a:lnTo>
                    <a:lnTo>
                      <a:pt x="2480" y="1386"/>
                    </a:lnTo>
                    <a:lnTo>
                      <a:pt x="2480" y="1382"/>
                    </a:lnTo>
                    <a:lnTo>
                      <a:pt x="2482" y="1381"/>
                    </a:lnTo>
                    <a:lnTo>
                      <a:pt x="2482" y="1376"/>
                    </a:lnTo>
                    <a:lnTo>
                      <a:pt x="2482" y="1372"/>
                    </a:lnTo>
                    <a:lnTo>
                      <a:pt x="2479" y="1371"/>
                    </a:lnTo>
                    <a:lnTo>
                      <a:pt x="2479" y="1362"/>
                    </a:lnTo>
                    <a:lnTo>
                      <a:pt x="2479" y="1359"/>
                    </a:lnTo>
                    <a:lnTo>
                      <a:pt x="2477" y="1354"/>
                    </a:lnTo>
                    <a:lnTo>
                      <a:pt x="2477" y="1351"/>
                    </a:lnTo>
                    <a:lnTo>
                      <a:pt x="2475" y="1346"/>
                    </a:lnTo>
                    <a:lnTo>
                      <a:pt x="2474" y="1344"/>
                    </a:lnTo>
                    <a:lnTo>
                      <a:pt x="2472" y="1341"/>
                    </a:lnTo>
                    <a:lnTo>
                      <a:pt x="2465" y="1333"/>
                    </a:lnTo>
                    <a:lnTo>
                      <a:pt x="2464" y="1329"/>
                    </a:lnTo>
                    <a:lnTo>
                      <a:pt x="2465" y="1328"/>
                    </a:lnTo>
                    <a:lnTo>
                      <a:pt x="2469" y="1326"/>
                    </a:lnTo>
                    <a:lnTo>
                      <a:pt x="2472" y="1324"/>
                    </a:lnTo>
                    <a:lnTo>
                      <a:pt x="2474" y="1323"/>
                    </a:lnTo>
                    <a:lnTo>
                      <a:pt x="2475" y="1319"/>
                    </a:lnTo>
                    <a:lnTo>
                      <a:pt x="2479" y="1313"/>
                    </a:lnTo>
                    <a:lnTo>
                      <a:pt x="2480" y="1313"/>
                    </a:lnTo>
                    <a:lnTo>
                      <a:pt x="2485" y="1314"/>
                    </a:lnTo>
                    <a:lnTo>
                      <a:pt x="2489" y="1314"/>
                    </a:lnTo>
                    <a:lnTo>
                      <a:pt x="2504" y="1318"/>
                    </a:lnTo>
                    <a:lnTo>
                      <a:pt x="2505" y="1318"/>
                    </a:lnTo>
                    <a:lnTo>
                      <a:pt x="2509" y="1318"/>
                    </a:lnTo>
                    <a:lnTo>
                      <a:pt x="2510" y="1316"/>
                    </a:lnTo>
                    <a:lnTo>
                      <a:pt x="2510" y="1313"/>
                    </a:lnTo>
                    <a:lnTo>
                      <a:pt x="2509" y="1309"/>
                    </a:lnTo>
                    <a:lnTo>
                      <a:pt x="2509" y="1308"/>
                    </a:lnTo>
                    <a:lnTo>
                      <a:pt x="2509" y="1306"/>
                    </a:lnTo>
                    <a:lnTo>
                      <a:pt x="2509" y="1304"/>
                    </a:lnTo>
                    <a:lnTo>
                      <a:pt x="2507" y="1301"/>
                    </a:lnTo>
                    <a:lnTo>
                      <a:pt x="2509" y="1298"/>
                    </a:lnTo>
                    <a:lnTo>
                      <a:pt x="2510" y="1296"/>
                    </a:lnTo>
                    <a:lnTo>
                      <a:pt x="2510" y="1293"/>
                    </a:lnTo>
                    <a:lnTo>
                      <a:pt x="2509" y="1289"/>
                    </a:lnTo>
                    <a:lnTo>
                      <a:pt x="2510" y="1288"/>
                    </a:lnTo>
                    <a:lnTo>
                      <a:pt x="2512" y="1288"/>
                    </a:lnTo>
                    <a:lnTo>
                      <a:pt x="2512" y="1284"/>
                    </a:lnTo>
                    <a:lnTo>
                      <a:pt x="2512" y="1283"/>
                    </a:lnTo>
                    <a:lnTo>
                      <a:pt x="2510" y="1279"/>
                    </a:lnTo>
                    <a:lnTo>
                      <a:pt x="2510" y="1278"/>
                    </a:lnTo>
                    <a:lnTo>
                      <a:pt x="2514" y="1276"/>
                    </a:lnTo>
                    <a:lnTo>
                      <a:pt x="2514" y="1274"/>
                    </a:lnTo>
                    <a:lnTo>
                      <a:pt x="2512" y="1271"/>
                    </a:lnTo>
                    <a:lnTo>
                      <a:pt x="2510" y="1268"/>
                    </a:lnTo>
                    <a:lnTo>
                      <a:pt x="2510" y="1263"/>
                    </a:lnTo>
                    <a:lnTo>
                      <a:pt x="2512" y="1261"/>
                    </a:lnTo>
                    <a:lnTo>
                      <a:pt x="2512" y="1261"/>
                    </a:lnTo>
                    <a:lnTo>
                      <a:pt x="2512" y="1259"/>
                    </a:lnTo>
                    <a:lnTo>
                      <a:pt x="2512" y="1258"/>
                    </a:lnTo>
                    <a:lnTo>
                      <a:pt x="2512" y="1255"/>
                    </a:lnTo>
                    <a:lnTo>
                      <a:pt x="2509" y="1253"/>
                    </a:lnTo>
                    <a:lnTo>
                      <a:pt x="2509" y="1251"/>
                    </a:lnTo>
                    <a:lnTo>
                      <a:pt x="2509" y="1248"/>
                    </a:lnTo>
                    <a:lnTo>
                      <a:pt x="2510" y="1245"/>
                    </a:lnTo>
                    <a:lnTo>
                      <a:pt x="2509" y="1243"/>
                    </a:lnTo>
                    <a:lnTo>
                      <a:pt x="2507" y="1241"/>
                    </a:lnTo>
                    <a:lnTo>
                      <a:pt x="2507" y="1240"/>
                    </a:lnTo>
                    <a:lnTo>
                      <a:pt x="2510" y="1235"/>
                    </a:lnTo>
                    <a:lnTo>
                      <a:pt x="2514" y="1235"/>
                    </a:lnTo>
                    <a:lnTo>
                      <a:pt x="2514" y="1233"/>
                    </a:lnTo>
                    <a:lnTo>
                      <a:pt x="2515" y="1230"/>
                    </a:lnTo>
                    <a:lnTo>
                      <a:pt x="2515" y="1225"/>
                    </a:lnTo>
                    <a:lnTo>
                      <a:pt x="2512" y="1223"/>
                    </a:lnTo>
                    <a:lnTo>
                      <a:pt x="2510" y="1221"/>
                    </a:lnTo>
                    <a:lnTo>
                      <a:pt x="2510" y="1218"/>
                    </a:lnTo>
                    <a:lnTo>
                      <a:pt x="2505" y="1213"/>
                    </a:lnTo>
                    <a:lnTo>
                      <a:pt x="2505" y="1211"/>
                    </a:lnTo>
                    <a:lnTo>
                      <a:pt x="2507" y="1210"/>
                    </a:lnTo>
                    <a:lnTo>
                      <a:pt x="2505" y="1206"/>
                    </a:lnTo>
                    <a:lnTo>
                      <a:pt x="2504" y="1203"/>
                    </a:lnTo>
                    <a:lnTo>
                      <a:pt x="2499" y="1203"/>
                    </a:lnTo>
                    <a:lnTo>
                      <a:pt x="2497" y="1201"/>
                    </a:lnTo>
                    <a:lnTo>
                      <a:pt x="2492" y="1200"/>
                    </a:lnTo>
                    <a:lnTo>
                      <a:pt x="2490" y="1201"/>
                    </a:lnTo>
                    <a:lnTo>
                      <a:pt x="2485" y="1203"/>
                    </a:lnTo>
                    <a:lnTo>
                      <a:pt x="2484" y="1205"/>
                    </a:lnTo>
                    <a:lnTo>
                      <a:pt x="2482" y="1208"/>
                    </a:lnTo>
                    <a:lnTo>
                      <a:pt x="2480" y="1208"/>
                    </a:lnTo>
                    <a:lnTo>
                      <a:pt x="2477" y="1210"/>
                    </a:lnTo>
                    <a:lnTo>
                      <a:pt x="2477" y="1213"/>
                    </a:lnTo>
                    <a:lnTo>
                      <a:pt x="2472" y="1213"/>
                    </a:lnTo>
                    <a:lnTo>
                      <a:pt x="2469" y="1213"/>
                    </a:lnTo>
                    <a:lnTo>
                      <a:pt x="2467" y="1216"/>
                    </a:lnTo>
                    <a:lnTo>
                      <a:pt x="2467" y="1220"/>
                    </a:lnTo>
                    <a:lnTo>
                      <a:pt x="2464" y="1221"/>
                    </a:lnTo>
                    <a:lnTo>
                      <a:pt x="2462" y="1226"/>
                    </a:lnTo>
                    <a:lnTo>
                      <a:pt x="2462" y="1228"/>
                    </a:lnTo>
                    <a:lnTo>
                      <a:pt x="2460" y="1230"/>
                    </a:lnTo>
                    <a:lnTo>
                      <a:pt x="2457" y="1231"/>
                    </a:lnTo>
                    <a:lnTo>
                      <a:pt x="2450" y="1233"/>
                    </a:lnTo>
                    <a:lnTo>
                      <a:pt x="2449" y="1233"/>
                    </a:lnTo>
                    <a:lnTo>
                      <a:pt x="2444" y="1233"/>
                    </a:lnTo>
                    <a:lnTo>
                      <a:pt x="2442" y="1235"/>
                    </a:lnTo>
                    <a:lnTo>
                      <a:pt x="2441" y="1236"/>
                    </a:lnTo>
                    <a:lnTo>
                      <a:pt x="2439" y="1233"/>
                    </a:lnTo>
                    <a:lnTo>
                      <a:pt x="2436" y="1230"/>
                    </a:lnTo>
                    <a:lnTo>
                      <a:pt x="2432" y="1230"/>
                    </a:lnTo>
                    <a:lnTo>
                      <a:pt x="2429" y="1231"/>
                    </a:lnTo>
                    <a:lnTo>
                      <a:pt x="2426" y="1233"/>
                    </a:lnTo>
                    <a:lnTo>
                      <a:pt x="2424" y="1231"/>
                    </a:lnTo>
                    <a:lnTo>
                      <a:pt x="2421" y="1226"/>
                    </a:lnTo>
                    <a:lnTo>
                      <a:pt x="2419" y="1225"/>
                    </a:lnTo>
                    <a:lnTo>
                      <a:pt x="2414" y="1220"/>
                    </a:lnTo>
                    <a:lnTo>
                      <a:pt x="2414" y="1216"/>
                    </a:lnTo>
                    <a:lnTo>
                      <a:pt x="2416" y="1216"/>
                    </a:lnTo>
                    <a:lnTo>
                      <a:pt x="2416" y="1211"/>
                    </a:lnTo>
                    <a:lnTo>
                      <a:pt x="2414" y="1208"/>
                    </a:lnTo>
                    <a:lnTo>
                      <a:pt x="2414" y="1205"/>
                    </a:lnTo>
                    <a:lnTo>
                      <a:pt x="2409" y="1205"/>
                    </a:lnTo>
                    <a:lnTo>
                      <a:pt x="2409" y="1201"/>
                    </a:lnTo>
                    <a:lnTo>
                      <a:pt x="2409" y="1198"/>
                    </a:lnTo>
                    <a:lnTo>
                      <a:pt x="2411" y="1196"/>
                    </a:lnTo>
                    <a:lnTo>
                      <a:pt x="2412" y="1193"/>
                    </a:lnTo>
                    <a:lnTo>
                      <a:pt x="2409" y="1193"/>
                    </a:lnTo>
                    <a:lnTo>
                      <a:pt x="2407" y="1193"/>
                    </a:lnTo>
                    <a:lnTo>
                      <a:pt x="2406" y="1195"/>
                    </a:lnTo>
                    <a:lnTo>
                      <a:pt x="2402" y="1195"/>
                    </a:lnTo>
                    <a:lnTo>
                      <a:pt x="2399" y="1195"/>
                    </a:lnTo>
                    <a:lnTo>
                      <a:pt x="2396" y="1195"/>
                    </a:lnTo>
                    <a:lnTo>
                      <a:pt x="2394" y="1193"/>
                    </a:lnTo>
                    <a:lnTo>
                      <a:pt x="2392" y="1193"/>
                    </a:lnTo>
                    <a:lnTo>
                      <a:pt x="2391" y="1191"/>
                    </a:lnTo>
                    <a:lnTo>
                      <a:pt x="2386" y="1190"/>
                    </a:lnTo>
                    <a:lnTo>
                      <a:pt x="2384" y="1188"/>
                    </a:lnTo>
                    <a:lnTo>
                      <a:pt x="2382" y="1185"/>
                    </a:lnTo>
                    <a:lnTo>
                      <a:pt x="2381" y="1186"/>
                    </a:lnTo>
                    <a:lnTo>
                      <a:pt x="2379" y="1183"/>
                    </a:lnTo>
                    <a:lnTo>
                      <a:pt x="2377" y="1181"/>
                    </a:lnTo>
                    <a:lnTo>
                      <a:pt x="2376" y="1181"/>
                    </a:lnTo>
                    <a:lnTo>
                      <a:pt x="2372" y="1178"/>
                    </a:lnTo>
                    <a:lnTo>
                      <a:pt x="2372" y="1176"/>
                    </a:lnTo>
                    <a:lnTo>
                      <a:pt x="2371" y="1175"/>
                    </a:lnTo>
                    <a:lnTo>
                      <a:pt x="2367" y="1175"/>
                    </a:lnTo>
                    <a:lnTo>
                      <a:pt x="2366" y="1178"/>
                    </a:lnTo>
                    <a:lnTo>
                      <a:pt x="2364" y="1176"/>
                    </a:lnTo>
                    <a:lnTo>
                      <a:pt x="2361" y="1178"/>
                    </a:lnTo>
                    <a:lnTo>
                      <a:pt x="2361" y="1180"/>
                    </a:lnTo>
                    <a:lnTo>
                      <a:pt x="2357" y="1178"/>
                    </a:lnTo>
                    <a:lnTo>
                      <a:pt x="2356" y="1176"/>
                    </a:lnTo>
                    <a:lnTo>
                      <a:pt x="2354" y="1175"/>
                    </a:lnTo>
                    <a:lnTo>
                      <a:pt x="2349" y="1175"/>
                    </a:lnTo>
                    <a:lnTo>
                      <a:pt x="2348" y="1173"/>
                    </a:lnTo>
                    <a:lnTo>
                      <a:pt x="2349" y="1171"/>
                    </a:lnTo>
                    <a:lnTo>
                      <a:pt x="2349" y="1170"/>
                    </a:lnTo>
                    <a:lnTo>
                      <a:pt x="2346" y="1170"/>
                    </a:lnTo>
                    <a:lnTo>
                      <a:pt x="2343" y="1171"/>
                    </a:lnTo>
                    <a:lnTo>
                      <a:pt x="2338" y="1171"/>
                    </a:lnTo>
                    <a:lnTo>
                      <a:pt x="2336" y="1173"/>
                    </a:lnTo>
                    <a:lnTo>
                      <a:pt x="2334" y="1171"/>
                    </a:lnTo>
                    <a:lnTo>
                      <a:pt x="2331" y="1171"/>
                    </a:lnTo>
                    <a:lnTo>
                      <a:pt x="2328" y="1171"/>
                    </a:lnTo>
                    <a:lnTo>
                      <a:pt x="2326" y="1168"/>
                    </a:lnTo>
                    <a:lnTo>
                      <a:pt x="2323" y="1168"/>
                    </a:lnTo>
                    <a:lnTo>
                      <a:pt x="2316" y="1161"/>
                    </a:lnTo>
                    <a:lnTo>
                      <a:pt x="2314" y="1158"/>
                    </a:lnTo>
                    <a:lnTo>
                      <a:pt x="2314" y="1155"/>
                    </a:lnTo>
                    <a:lnTo>
                      <a:pt x="2314" y="1152"/>
                    </a:lnTo>
                    <a:lnTo>
                      <a:pt x="2311" y="1152"/>
                    </a:lnTo>
                    <a:lnTo>
                      <a:pt x="2308" y="1150"/>
                    </a:lnTo>
                    <a:lnTo>
                      <a:pt x="2308" y="1145"/>
                    </a:lnTo>
                    <a:lnTo>
                      <a:pt x="2306" y="1143"/>
                    </a:lnTo>
                    <a:lnTo>
                      <a:pt x="2306" y="1140"/>
                    </a:lnTo>
                    <a:lnTo>
                      <a:pt x="2304" y="1135"/>
                    </a:lnTo>
                    <a:lnTo>
                      <a:pt x="2294" y="1130"/>
                    </a:lnTo>
                    <a:lnTo>
                      <a:pt x="2291" y="1125"/>
                    </a:lnTo>
                    <a:lnTo>
                      <a:pt x="2289" y="1122"/>
                    </a:lnTo>
                    <a:lnTo>
                      <a:pt x="2288" y="1118"/>
                    </a:lnTo>
                    <a:lnTo>
                      <a:pt x="2284" y="1120"/>
                    </a:lnTo>
                    <a:lnTo>
                      <a:pt x="2284" y="1118"/>
                    </a:lnTo>
                    <a:lnTo>
                      <a:pt x="2284" y="1117"/>
                    </a:lnTo>
                    <a:lnTo>
                      <a:pt x="2284" y="1115"/>
                    </a:lnTo>
                    <a:lnTo>
                      <a:pt x="2281" y="1112"/>
                    </a:lnTo>
                    <a:lnTo>
                      <a:pt x="2279" y="1108"/>
                    </a:lnTo>
                    <a:lnTo>
                      <a:pt x="2278" y="1107"/>
                    </a:lnTo>
                    <a:lnTo>
                      <a:pt x="2276" y="1105"/>
                    </a:lnTo>
                    <a:lnTo>
                      <a:pt x="2273" y="1100"/>
                    </a:lnTo>
                    <a:lnTo>
                      <a:pt x="2271" y="1097"/>
                    </a:lnTo>
                    <a:lnTo>
                      <a:pt x="2266" y="1093"/>
                    </a:lnTo>
                    <a:lnTo>
                      <a:pt x="2266" y="1092"/>
                    </a:lnTo>
                    <a:lnTo>
                      <a:pt x="2268" y="1088"/>
                    </a:lnTo>
                    <a:lnTo>
                      <a:pt x="2266" y="1087"/>
                    </a:lnTo>
                    <a:lnTo>
                      <a:pt x="2259" y="1087"/>
                    </a:lnTo>
                    <a:lnTo>
                      <a:pt x="2259" y="1085"/>
                    </a:lnTo>
                    <a:lnTo>
                      <a:pt x="2259" y="1082"/>
                    </a:lnTo>
                    <a:lnTo>
                      <a:pt x="2258" y="1080"/>
                    </a:lnTo>
                    <a:lnTo>
                      <a:pt x="2258" y="1077"/>
                    </a:lnTo>
                    <a:lnTo>
                      <a:pt x="2256" y="1075"/>
                    </a:lnTo>
                    <a:lnTo>
                      <a:pt x="2253" y="1073"/>
                    </a:lnTo>
                    <a:lnTo>
                      <a:pt x="2253" y="1072"/>
                    </a:lnTo>
                    <a:lnTo>
                      <a:pt x="2251" y="1070"/>
                    </a:lnTo>
                    <a:lnTo>
                      <a:pt x="2250" y="1070"/>
                    </a:lnTo>
                    <a:lnTo>
                      <a:pt x="2246" y="1068"/>
                    </a:lnTo>
                    <a:lnTo>
                      <a:pt x="2245" y="1067"/>
                    </a:lnTo>
                    <a:lnTo>
                      <a:pt x="2246" y="1065"/>
                    </a:lnTo>
                    <a:lnTo>
                      <a:pt x="2245" y="1063"/>
                    </a:lnTo>
                    <a:lnTo>
                      <a:pt x="2241" y="1062"/>
                    </a:lnTo>
                    <a:lnTo>
                      <a:pt x="2240" y="1063"/>
                    </a:lnTo>
                    <a:lnTo>
                      <a:pt x="2238" y="1062"/>
                    </a:lnTo>
                    <a:lnTo>
                      <a:pt x="2235" y="1062"/>
                    </a:lnTo>
                    <a:lnTo>
                      <a:pt x="2235" y="1060"/>
                    </a:lnTo>
                    <a:lnTo>
                      <a:pt x="2235" y="1059"/>
                    </a:lnTo>
                    <a:lnTo>
                      <a:pt x="2233" y="1055"/>
                    </a:lnTo>
                    <a:lnTo>
                      <a:pt x="2230" y="1055"/>
                    </a:lnTo>
                    <a:lnTo>
                      <a:pt x="2228" y="1055"/>
                    </a:lnTo>
                    <a:lnTo>
                      <a:pt x="2226" y="1052"/>
                    </a:lnTo>
                    <a:lnTo>
                      <a:pt x="2223" y="1054"/>
                    </a:lnTo>
                    <a:lnTo>
                      <a:pt x="2220" y="1054"/>
                    </a:lnTo>
                    <a:lnTo>
                      <a:pt x="2218" y="1052"/>
                    </a:lnTo>
                    <a:lnTo>
                      <a:pt x="2216" y="1054"/>
                    </a:lnTo>
                    <a:lnTo>
                      <a:pt x="2216" y="1057"/>
                    </a:lnTo>
                    <a:lnTo>
                      <a:pt x="2215" y="1057"/>
                    </a:lnTo>
                    <a:lnTo>
                      <a:pt x="2210" y="1055"/>
                    </a:lnTo>
                    <a:lnTo>
                      <a:pt x="2208" y="1054"/>
                    </a:lnTo>
                    <a:lnTo>
                      <a:pt x="2205" y="1055"/>
                    </a:lnTo>
                    <a:lnTo>
                      <a:pt x="2200" y="1055"/>
                    </a:lnTo>
                    <a:lnTo>
                      <a:pt x="2198" y="1054"/>
                    </a:lnTo>
                    <a:lnTo>
                      <a:pt x="2196" y="1050"/>
                    </a:lnTo>
                    <a:lnTo>
                      <a:pt x="2188" y="1050"/>
                    </a:lnTo>
                    <a:lnTo>
                      <a:pt x="2185" y="1049"/>
                    </a:lnTo>
                    <a:lnTo>
                      <a:pt x="2181" y="1047"/>
                    </a:lnTo>
                    <a:lnTo>
                      <a:pt x="2178" y="1047"/>
                    </a:lnTo>
                    <a:lnTo>
                      <a:pt x="2176" y="1047"/>
                    </a:lnTo>
                    <a:lnTo>
                      <a:pt x="2170" y="1049"/>
                    </a:lnTo>
                    <a:lnTo>
                      <a:pt x="2168" y="1052"/>
                    </a:lnTo>
                    <a:lnTo>
                      <a:pt x="2166" y="1052"/>
                    </a:lnTo>
                    <a:lnTo>
                      <a:pt x="2165" y="1054"/>
                    </a:lnTo>
                    <a:lnTo>
                      <a:pt x="2160" y="1054"/>
                    </a:lnTo>
                    <a:lnTo>
                      <a:pt x="2156" y="1054"/>
                    </a:lnTo>
                    <a:lnTo>
                      <a:pt x="2151" y="1054"/>
                    </a:lnTo>
                    <a:lnTo>
                      <a:pt x="2148" y="1055"/>
                    </a:lnTo>
                    <a:lnTo>
                      <a:pt x="2145" y="1055"/>
                    </a:lnTo>
                    <a:lnTo>
                      <a:pt x="2142" y="1059"/>
                    </a:lnTo>
                    <a:lnTo>
                      <a:pt x="2138" y="1060"/>
                    </a:lnTo>
                    <a:lnTo>
                      <a:pt x="2135" y="1060"/>
                    </a:lnTo>
                    <a:lnTo>
                      <a:pt x="2135" y="1060"/>
                    </a:lnTo>
                    <a:lnTo>
                      <a:pt x="2132" y="1062"/>
                    </a:lnTo>
                    <a:lnTo>
                      <a:pt x="2128" y="1062"/>
                    </a:lnTo>
                    <a:lnTo>
                      <a:pt x="2122" y="1062"/>
                    </a:lnTo>
                    <a:lnTo>
                      <a:pt x="2120" y="1065"/>
                    </a:lnTo>
                    <a:lnTo>
                      <a:pt x="2120" y="1067"/>
                    </a:lnTo>
                    <a:lnTo>
                      <a:pt x="2115" y="1072"/>
                    </a:lnTo>
                    <a:lnTo>
                      <a:pt x="2115" y="1075"/>
                    </a:lnTo>
                    <a:lnTo>
                      <a:pt x="2112" y="1077"/>
                    </a:lnTo>
                    <a:lnTo>
                      <a:pt x="2112" y="1080"/>
                    </a:lnTo>
                    <a:lnTo>
                      <a:pt x="2110" y="1082"/>
                    </a:lnTo>
                    <a:lnTo>
                      <a:pt x="2110" y="1087"/>
                    </a:lnTo>
                    <a:lnTo>
                      <a:pt x="2112" y="1088"/>
                    </a:lnTo>
                    <a:lnTo>
                      <a:pt x="2115" y="1088"/>
                    </a:lnTo>
                    <a:lnTo>
                      <a:pt x="2120" y="1087"/>
                    </a:lnTo>
                    <a:lnTo>
                      <a:pt x="2123" y="1085"/>
                    </a:lnTo>
                    <a:lnTo>
                      <a:pt x="2127" y="1085"/>
                    </a:lnTo>
                    <a:lnTo>
                      <a:pt x="2130" y="1090"/>
                    </a:lnTo>
                    <a:lnTo>
                      <a:pt x="2132" y="1095"/>
                    </a:lnTo>
                    <a:lnTo>
                      <a:pt x="2135" y="1097"/>
                    </a:lnTo>
                    <a:lnTo>
                      <a:pt x="2135" y="1100"/>
                    </a:lnTo>
                    <a:lnTo>
                      <a:pt x="2137" y="1103"/>
                    </a:lnTo>
                    <a:lnTo>
                      <a:pt x="2137" y="1108"/>
                    </a:lnTo>
                    <a:lnTo>
                      <a:pt x="2133" y="1110"/>
                    </a:lnTo>
                    <a:lnTo>
                      <a:pt x="2130" y="1115"/>
                    </a:lnTo>
                    <a:lnTo>
                      <a:pt x="2128" y="1120"/>
                    </a:lnTo>
                    <a:lnTo>
                      <a:pt x="2127" y="1122"/>
                    </a:lnTo>
                    <a:lnTo>
                      <a:pt x="2123" y="1127"/>
                    </a:lnTo>
                    <a:lnTo>
                      <a:pt x="2123" y="1130"/>
                    </a:lnTo>
                    <a:lnTo>
                      <a:pt x="2125" y="1133"/>
                    </a:lnTo>
                    <a:lnTo>
                      <a:pt x="2125" y="1137"/>
                    </a:lnTo>
                    <a:lnTo>
                      <a:pt x="2125" y="1140"/>
                    </a:lnTo>
                    <a:lnTo>
                      <a:pt x="2128" y="1143"/>
                    </a:lnTo>
                    <a:lnTo>
                      <a:pt x="2128" y="1147"/>
                    </a:lnTo>
                    <a:lnTo>
                      <a:pt x="2125" y="1148"/>
                    </a:lnTo>
                    <a:lnTo>
                      <a:pt x="2123" y="1152"/>
                    </a:lnTo>
                    <a:lnTo>
                      <a:pt x="2125" y="1155"/>
                    </a:lnTo>
                    <a:lnTo>
                      <a:pt x="2125" y="1161"/>
                    </a:lnTo>
                    <a:lnTo>
                      <a:pt x="2125" y="1163"/>
                    </a:lnTo>
                    <a:lnTo>
                      <a:pt x="2125" y="1170"/>
                    </a:lnTo>
                    <a:lnTo>
                      <a:pt x="2127" y="1170"/>
                    </a:lnTo>
                    <a:lnTo>
                      <a:pt x="2128" y="1171"/>
                    </a:lnTo>
                    <a:lnTo>
                      <a:pt x="2132" y="1170"/>
                    </a:lnTo>
                    <a:lnTo>
                      <a:pt x="2133" y="1171"/>
                    </a:lnTo>
                    <a:lnTo>
                      <a:pt x="2133" y="1175"/>
                    </a:lnTo>
                    <a:lnTo>
                      <a:pt x="2132" y="1180"/>
                    </a:lnTo>
                    <a:lnTo>
                      <a:pt x="2128" y="1183"/>
                    </a:lnTo>
                    <a:lnTo>
                      <a:pt x="2120" y="1185"/>
                    </a:lnTo>
                    <a:lnTo>
                      <a:pt x="2115" y="1188"/>
                    </a:lnTo>
                    <a:lnTo>
                      <a:pt x="2103" y="1198"/>
                    </a:lnTo>
                    <a:lnTo>
                      <a:pt x="2100" y="1198"/>
                    </a:lnTo>
                    <a:lnTo>
                      <a:pt x="2097" y="1195"/>
                    </a:lnTo>
                    <a:lnTo>
                      <a:pt x="2090" y="1195"/>
                    </a:lnTo>
                    <a:lnTo>
                      <a:pt x="2085" y="1195"/>
                    </a:lnTo>
                    <a:lnTo>
                      <a:pt x="2085" y="1193"/>
                    </a:lnTo>
                    <a:lnTo>
                      <a:pt x="2080" y="1193"/>
                    </a:lnTo>
                    <a:lnTo>
                      <a:pt x="2078" y="1195"/>
                    </a:lnTo>
                    <a:lnTo>
                      <a:pt x="2075" y="1191"/>
                    </a:lnTo>
                    <a:lnTo>
                      <a:pt x="2067" y="1190"/>
                    </a:lnTo>
                    <a:lnTo>
                      <a:pt x="2058" y="1190"/>
                    </a:lnTo>
                    <a:lnTo>
                      <a:pt x="2058" y="1193"/>
                    </a:lnTo>
                    <a:lnTo>
                      <a:pt x="2053" y="1196"/>
                    </a:lnTo>
                    <a:lnTo>
                      <a:pt x="2049" y="1196"/>
                    </a:lnTo>
                    <a:lnTo>
                      <a:pt x="2047" y="1195"/>
                    </a:lnTo>
                    <a:lnTo>
                      <a:pt x="2042" y="1196"/>
                    </a:lnTo>
                    <a:lnTo>
                      <a:pt x="2039" y="1195"/>
                    </a:lnTo>
                    <a:lnTo>
                      <a:pt x="2035" y="1191"/>
                    </a:lnTo>
                    <a:lnTo>
                      <a:pt x="2030" y="1188"/>
                    </a:lnTo>
                    <a:lnTo>
                      <a:pt x="2025" y="1188"/>
                    </a:lnTo>
                    <a:lnTo>
                      <a:pt x="2019" y="1190"/>
                    </a:lnTo>
                    <a:lnTo>
                      <a:pt x="2017" y="1188"/>
                    </a:lnTo>
                    <a:lnTo>
                      <a:pt x="2012" y="1188"/>
                    </a:lnTo>
                    <a:lnTo>
                      <a:pt x="2009" y="1191"/>
                    </a:lnTo>
                    <a:lnTo>
                      <a:pt x="2007" y="1196"/>
                    </a:lnTo>
                    <a:lnTo>
                      <a:pt x="2004" y="1200"/>
                    </a:lnTo>
                    <a:lnTo>
                      <a:pt x="1999" y="1201"/>
                    </a:lnTo>
                    <a:lnTo>
                      <a:pt x="1995" y="1205"/>
                    </a:lnTo>
                    <a:lnTo>
                      <a:pt x="1995" y="1208"/>
                    </a:lnTo>
                    <a:lnTo>
                      <a:pt x="1994" y="1211"/>
                    </a:lnTo>
                    <a:lnTo>
                      <a:pt x="1989" y="1215"/>
                    </a:lnTo>
                    <a:lnTo>
                      <a:pt x="1977" y="1215"/>
                    </a:lnTo>
                    <a:lnTo>
                      <a:pt x="1974" y="1216"/>
                    </a:lnTo>
                    <a:lnTo>
                      <a:pt x="1970" y="1220"/>
                    </a:lnTo>
                    <a:lnTo>
                      <a:pt x="1964" y="1220"/>
                    </a:lnTo>
                    <a:lnTo>
                      <a:pt x="1955" y="1225"/>
                    </a:lnTo>
                    <a:lnTo>
                      <a:pt x="1951" y="1230"/>
                    </a:lnTo>
                    <a:lnTo>
                      <a:pt x="1949" y="1230"/>
                    </a:lnTo>
                    <a:lnTo>
                      <a:pt x="1944" y="1228"/>
                    </a:lnTo>
                    <a:lnTo>
                      <a:pt x="1939" y="1228"/>
                    </a:lnTo>
                    <a:lnTo>
                      <a:pt x="1936" y="1230"/>
                    </a:lnTo>
                    <a:lnTo>
                      <a:pt x="1931" y="1231"/>
                    </a:lnTo>
                    <a:lnTo>
                      <a:pt x="1916" y="1231"/>
                    </a:lnTo>
                    <a:lnTo>
                      <a:pt x="1906" y="1228"/>
                    </a:lnTo>
                    <a:lnTo>
                      <a:pt x="1896" y="1230"/>
                    </a:lnTo>
                    <a:lnTo>
                      <a:pt x="1891" y="1230"/>
                    </a:lnTo>
                    <a:lnTo>
                      <a:pt x="1887" y="1225"/>
                    </a:lnTo>
                    <a:lnTo>
                      <a:pt x="1884" y="1225"/>
                    </a:lnTo>
                    <a:lnTo>
                      <a:pt x="1881" y="1223"/>
                    </a:lnTo>
                    <a:lnTo>
                      <a:pt x="1876" y="1220"/>
                    </a:lnTo>
                    <a:lnTo>
                      <a:pt x="1874" y="1213"/>
                    </a:lnTo>
                    <a:lnTo>
                      <a:pt x="1871" y="1211"/>
                    </a:lnTo>
                    <a:lnTo>
                      <a:pt x="1866" y="1211"/>
                    </a:lnTo>
                    <a:lnTo>
                      <a:pt x="1859" y="1211"/>
                    </a:lnTo>
                    <a:lnTo>
                      <a:pt x="1851" y="1210"/>
                    </a:lnTo>
                    <a:lnTo>
                      <a:pt x="1846" y="1203"/>
                    </a:lnTo>
                    <a:lnTo>
                      <a:pt x="1836" y="1203"/>
                    </a:lnTo>
                    <a:lnTo>
                      <a:pt x="1829" y="1201"/>
                    </a:lnTo>
                    <a:lnTo>
                      <a:pt x="1824" y="1200"/>
                    </a:lnTo>
                    <a:lnTo>
                      <a:pt x="1818" y="1201"/>
                    </a:lnTo>
                    <a:lnTo>
                      <a:pt x="1811" y="1201"/>
                    </a:lnTo>
                    <a:lnTo>
                      <a:pt x="1806" y="1203"/>
                    </a:lnTo>
                    <a:lnTo>
                      <a:pt x="1796" y="1205"/>
                    </a:lnTo>
                    <a:lnTo>
                      <a:pt x="1789" y="1206"/>
                    </a:lnTo>
                    <a:lnTo>
                      <a:pt x="1786" y="1211"/>
                    </a:lnTo>
                    <a:lnTo>
                      <a:pt x="1783" y="1211"/>
                    </a:lnTo>
                    <a:lnTo>
                      <a:pt x="1779" y="1210"/>
                    </a:lnTo>
                    <a:lnTo>
                      <a:pt x="1776" y="1210"/>
                    </a:lnTo>
                    <a:lnTo>
                      <a:pt x="1773" y="1213"/>
                    </a:lnTo>
                    <a:lnTo>
                      <a:pt x="1764" y="1211"/>
                    </a:lnTo>
                    <a:lnTo>
                      <a:pt x="1763" y="1213"/>
                    </a:lnTo>
                    <a:lnTo>
                      <a:pt x="1759" y="1213"/>
                    </a:lnTo>
                    <a:lnTo>
                      <a:pt x="1753" y="1210"/>
                    </a:lnTo>
                    <a:lnTo>
                      <a:pt x="1745" y="1208"/>
                    </a:lnTo>
                    <a:lnTo>
                      <a:pt x="1745" y="1206"/>
                    </a:lnTo>
                    <a:lnTo>
                      <a:pt x="1740" y="1201"/>
                    </a:lnTo>
                    <a:lnTo>
                      <a:pt x="1736" y="1201"/>
                    </a:lnTo>
                    <a:lnTo>
                      <a:pt x="1733" y="1200"/>
                    </a:lnTo>
                    <a:lnTo>
                      <a:pt x="1733" y="1195"/>
                    </a:lnTo>
                    <a:lnTo>
                      <a:pt x="1731" y="1190"/>
                    </a:lnTo>
                    <a:lnTo>
                      <a:pt x="1728" y="1188"/>
                    </a:lnTo>
                    <a:lnTo>
                      <a:pt x="1728" y="1185"/>
                    </a:lnTo>
                    <a:lnTo>
                      <a:pt x="1726" y="1181"/>
                    </a:lnTo>
                    <a:lnTo>
                      <a:pt x="1726" y="1180"/>
                    </a:lnTo>
                    <a:lnTo>
                      <a:pt x="1725" y="1176"/>
                    </a:lnTo>
                    <a:lnTo>
                      <a:pt x="1721" y="1175"/>
                    </a:lnTo>
                    <a:lnTo>
                      <a:pt x="1710" y="1175"/>
                    </a:lnTo>
                    <a:lnTo>
                      <a:pt x="1706" y="1175"/>
                    </a:lnTo>
                    <a:lnTo>
                      <a:pt x="1703" y="1173"/>
                    </a:lnTo>
                    <a:lnTo>
                      <a:pt x="1696" y="1171"/>
                    </a:lnTo>
                    <a:lnTo>
                      <a:pt x="1695" y="1170"/>
                    </a:lnTo>
                    <a:lnTo>
                      <a:pt x="1691" y="1168"/>
                    </a:lnTo>
                    <a:lnTo>
                      <a:pt x="1681" y="1168"/>
                    </a:lnTo>
                    <a:lnTo>
                      <a:pt x="1676" y="1168"/>
                    </a:lnTo>
                    <a:lnTo>
                      <a:pt x="1670" y="1166"/>
                    </a:lnTo>
                    <a:lnTo>
                      <a:pt x="1670" y="1165"/>
                    </a:lnTo>
                    <a:lnTo>
                      <a:pt x="1663" y="1161"/>
                    </a:lnTo>
                    <a:lnTo>
                      <a:pt x="1656" y="1160"/>
                    </a:lnTo>
                    <a:lnTo>
                      <a:pt x="1653" y="1158"/>
                    </a:lnTo>
                    <a:lnTo>
                      <a:pt x="1648" y="1158"/>
                    </a:lnTo>
                    <a:lnTo>
                      <a:pt x="1647" y="1160"/>
                    </a:lnTo>
                    <a:lnTo>
                      <a:pt x="1645" y="1163"/>
                    </a:lnTo>
                    <a:lnTo>
                      <a:pt x="1647" y="1168"/>
                    </a:lnTo>
                    <a:lnTo>
                      <a:pt x="1645" y="1171"/>
                    </a:lnTo>
                    <a:lnTo>
                      <a:pt x="1643" y="1170"/>
                    </a:lnTo>
                    <a:lnTo>
                      <a:pt x="1638" y="1171"/>
                    </a:lnTo>
                    <a:lnTo>
                      <a:pt x="1637" y="1175"/>
                    </a:lnTo>
                    <a:lnTo>
                      <a:pt x="1637" y="1178"/>
                    </a:lnTo>
                    <a:lnTo>
                      <a:pt x="1632" y="1183"/>
                    </a:lnTo>
                    <a:lnTo>
                      <a:pt x="1632" y="1195"/>
                    </a:lnTo>
                    <a:lnTo>
                      <a:pt x="1633" y="1200"/>
                    </a:lnTo>
                    <a:lnTo>
                      <a:pt x="1640" y="1201"/>
                    </a:lnTo>
                    <a:lnTo>
                      <a:pt x="1642" y="1205"/>
                    </a:lnTo>
                    <a:lnTo>
                      <a:pt x="1647" y="1206"/>
                    </a:lnTo>
                    <a:lnTo>
                      <a:pt x="1648" y="1208"/>
                    </a:lnTo>
                    <a:lnTo>
                      <a:pt x="1647" y="1216"/>
                    </a:lnTo>
                    <a:lnTo>
                      <a:pt x="1647" y="1223"/>
                    </a:lnTo>
                    <a:lnTo>
                      <a:pt x="1652" y="1225"/>
                    </a:lnTo>
                    <a:lnTo>
                      <a:pt x="1653" y="1228"/>
                    </a:lnTo>
                    <a:lnTo>
                      <a:pt x="1648" y="1235"/>
                    </a:lnTo>
                    <a:lnTo>
                      <a:pt x="1642" y="1236"/>
                    </a:lnTo>
                    <a:lnTo>
                      <a:pt x="1637" y="1235"/>
                    </a:lnTo>
                    <a:lnTo>
                      <a:pt x="1635" y="1236"/>
                    </a:lnTo>
                    <a:lnTo>
                      <a:pt x="1630" y="1236"/>
                    </a:lnTo>
                    <a:lnTo>
                      <a:pt x="1627" y="1235"/>
                    </a:lnTo>
                    <a:lnTo>
                      <a:pt x="1617" y="1235"/>
                    </a:lnTo>
                    <a:lnTo>
                      <a:pt x="1612" y="1236"/>
                    </a:lnTo>
                    <a:lnTo>
                      <a:pt x="1608" y="1233"/>
                    </a:lnTo>
                    <a:lnTo>
                      <a:pt x="1605" y="1231"/>
                    </a:lnTo>
                    <a:lnTo>
                      <a:pt x="1600" y="1233"/>
                    </a:lnTo>
                    <a:lnTo>
                      <a:pt x="1595" y="1236"/>
                    </a:lnTo>
                    <a:lnTo>
                      <a:pt x="1590" y="1238"/>
                    </a:lnTo>
                    <a:lnTo>
                      <a:pt x="1587" y="1240"/>
                    </a:lnTo>
                    <a:lnTo>
                      <a:pt x="1578" y="1236"/>
                    </a:lnTo>
                    <a:lnTo>
                      <a:pt x="1573" y="1233"/>
                    </a:lnTo>
                    <a:lnTo>
                      <a:pt x="1562" y="1226"/>
                    </a:lnTo>
                    <a:lnTo>
                      <a:pt x="1560" y="1223"/>
                    </a:lnTo>
                    <a:lnTo>
                      <a:pt x="1558" y="1220"/>
                    </a:lnTo>
                    <a:lnTo>
                      <a:pt x="1558" y="1216"/>
                    </a:lnTo>
                    <a:lnTo>
                      <a:pt x="1550" y="1216"/>
                    </a:lnTo>
                    <a:lnTo>
                      <a:pt x="1547" y="1218"/>
                    </a:lnTo>
                    <a:lnTo>
                      <a:pt x="1542" y="1218"/>
                    </a:lnTo>
                    <a:lnTo>
                      <a:pt x="1540" y="1220"/>
                    </a:lnTo>
                    <a:lnTo>
                      <a:pt x="1534" y="1220"/>
                    </a:lnTo>
                    <a:lnTo>
                      <a:pt x="1532" y="1216"/>
                    </a:lnTo>
                    <a:lnTo>
                      <a:pt x="1530" y="1215"/>
                    </a:lnTo>
                    <a:lnTo>
                      <a:pt x="1529" y="1211"/>
                    </a:lnTo>
                    <a:lnTo>
                      <a:pt x="1527" y="1211"/>
                    </a:lnTo>
                    <a:lnTo>
                      <a:pt x="1524" y="1213"/>
                    </a:lnTo>
                    <a:lnTo>
                      <a:pt x="1517" y="1213"/>
                    </a:lnTo>
                    <a:lnTo>
                      <a:pt x="1514" y="1213"/>
                    </a:lnTo>
                    <a:lnTo>
                      <a:pt x="1509" y="1213"/>
                    </a:lnTo>
                    <a:lnTo>
                      <a:pt x="1500" y="1215"/>
                    </a:lnTo>
                    <a:lnTo>
                      <a:pt x="1497" y="1216"/>
                    </a:lnTo>
                    <a:lnTo>
                      <a:pt x="1494" y="1221"/>
                    </a:lnTo>
                    <a:lnTo>
                      <a:pt x="1490" y="1223"/>
                    </a:lnTo>
                    <a:lnTo>
                      <a:pt x="1482" y="1221"/>
                    </a:lnTo>
                    <a:lnTo>
                      <a:pt x="1480" y="1223"/>
                    </a:lnTo>
                    <a:lnTo>
                      <a:pt x="1482" y="1226"/>
                    </a:lnTo>
                    <a:lnTo>
                      <a:pt x="1484" y="1228"/>
                    </a:lnTo>
                    <a:lnTo>
                      <a:pt x="1482" y="1230"/>
                    </a:lnTo>
                    <a:lnTo>
                      <a:pt x="1479" y="1235"/>
                    </a:lnTo>
                    <a:lnTo>
                      <a:pt x="1474" y="1235"/>
                    </a:lnTo>
                    <a:lnTo>
                      <a:pt x="1470" y="1238"/>
                    </a:lnTo>
                    <a:lnTo>
                      <a:pt x="1470" y="1241"/>
                    </a:lnTo>
                    <a:lnTo>
                      <a:pt x="1464" y="1245"/>
                    </a:lnTo>
                    <a:lnTo>
                      <a:pt x="1462" y="1248"/>
                    </a:lnTo>
                    <a:lnTo>
                      <a:pt x="1462" y="1253"/>
                    </a:lnTo>
                    <a:lnTo>
                      <a:pt x="1454" y="1256"/>
                    </a:lnTo>
                    <a:lnTo>
                      <a:pt x="1451" y="1259"/>
                    </a:lnTo>
                    <a:lnTo>
                      <a:pt x="1449" y="1261"/>
                    </a:lnTo>
                    <a:lnTo>
                      <a:pt x="1437" y="1261"/>
                    </a:lnTo>
                    <a:lnTo>
                      <a:pt x="1432" y="1263"/>
                    </a:lnTo>
                    <a:lnTo>
                      <a:pt x="1429" y="1271"/>
                    </a:lnTo>
                    <a:lnTo>
                      <a:pt x="1429" y="1271"/>
                    </a:lnTo>
                    <a:lnTo>
                      <a:pt x="1427" y="1271"/>
                    </a:lnTo>
                    <a:lnTo>
                      <a:pt x="1422" y="1269"/>
                    </a:lnTo>
                    <a:lnTo>
                      <a:pt x="1419" y="1269"/>
                    </a:lnTo>
                    <a:lnTo>
                      <a:pt x="1417" y="1269"/>
                    </a:lnTo>
                    <a:lnTo>
                      <a:pt x="1411" y="1266"/>
                    </a:lnTo>
                    <a:lnTo>
                      <a:pt x="1406" y="1263"/>
                    </a:lnTo>
                    <a:lnTo>
                      <a:pt x="1402" y="1261"/>
                    </a:lnTo>
                    <a:lnTo>
                      <a:pt x="1401" y="1258"/>
                    </a:lnTo>
                    <a:lnTo>
                      <a:pt x="1402" y="1253"/>
                    </a:lnTo>
                    <a:lnTo>
                      <a:pt x="1401" y="1251"/>
                    </a:lnTo>
                    <a:lnTo>
                      <a:pt x="1396" y="1255"/>
                    </a:lnTo>
                    <a:lnTo>
                      <a:pt x="1392" y="1258"/>
                    </a:lnTo>
                    <a:lnTo>
                      <a:pt x="1387" y="1259"/>
                    </a:lnTo>
                    <a:lnTo>
                      <a:pt x="1376" y="1259"/>
                    </a:lnTo>
                    <a:lnTo>
                      <a:pt x="1372" y="1261"/>
                    </a:lnTo>
                    <a:lnTo>
                      <a:pt x="1371" y="1264"/>
                    </a:lnTo>
                    <a:lnTo>
                      <a:pt x="1367" y="1263"/>
                    </a:lnTo>
                    <a:lnTo>
                      <a:pt x="1362" y="1261"/>
                    </a:lnTo>
                    <a:lnTo>
                      <a:pt x="1361" y="1261"/>
                    </a:lnTo>
                    <a:lnTo>
                      <a:pt x="1359" y="1259"/>
                    </a:lnTo>
                    <a:lnTo>
                      <a:pt x="1358" y="1258"/>
                    </a:lnTo>
                    <a:lnTo>
                      <a:pt x="1356" y="1255"/>
                    </a:lnTo>
                    <a:lnTo>
                      <a:pt x="1356" y="1251"/>
                    </a:lnTo>
                    <a:lnTo>
                      <a:pt x="1356" y="1250"/>
                    </a:lnTo>
                    <a:lnTo>
                      <a:pt x="1356" y="1246"/>
                    </a:lnTo>
                    <a:lnTo>
                      <a:pt x="1353" y="1245"/>
                    </a:lnTo>
                    <a:lnTo>
                      <a:pt x="1351" y="1245"/>
                    </a:lnTo>
                    <a:lnTo>
                      <a:pt x="1346" y="1241"/>
                    </a:lnTo>
                    <a:lnTo>
                      <a:pt x="1341" y="1240"/>
                    </a:lnTo>
                    <a:lnTo>
                      <a:pt x="1338" y="1240"/>
                    </a:lnTo>
                    <a:lnTo>
                      <a:pt x="1336" y="1235"/>
                    </a:lnTo>
                    <a:lnTo>
                      <a:pt x="1331" y="1228"/>
                    </a:lnTo>
                    <a:lnTo>
                      <a:pt x="1324" y="1225"/>
                    </a:lnTo>
                    <a:lnTo>
                      <a:pt x="1318" y="1221"/>
                    </a:lnTo>
                    <a:lnTo>
                      <a:pt x="1308" y="1221"/>
                    </a:lnTo>
                    <a:lnTo>
                      <a:pt x="1301" y="1223"/>
                    </a:lnTo>
                    <a:lnTo>
                      <a:pt x="1299" y="1225"/>
                    </a:lnTo>
                    <a:lnTo>
                      <a:pt x="1301" y="1228"/>
                    </a:lnTo>
                    <a:lnTo>
                      <a:pt x="1299" y="1230"/>
                    </a:lnTo>
                    <a:lnTo>
                      <a:pt x="1294" y="1231"/>
                    </a:lnTo>
                    <a:lnTo>
                      <a:pt x="1291" y="1231"/>
                    </a:lnTo>
                    <a:lnTo>
                      <a:pt x="1286" y="1233"/>
                    </a:lnTo>
                    <a:lnTo>
                      <a:pt x="1279" y="1230"/>
                    </a:lnTo>
                    <a:lnTo>
                      <a:pt x="1276" y="1230"/>
                    </a:lnTo>
                    <a:lnTo>
                      <a:pt x="1273" y="1233"/>
                    </a:lnTo>
                    <a:lnTo>
                      <a:pt x="1268" y="1233"/>
                    </a:lnTo>
                    <a:lnTo>
                      <a:pt x="1264" y="1230"/>
                    </a:lnTo>
                    <a:lnTo>
                      <a:pt x="1259" y="1228"/>
                    </a:lnTo>
                    <a:lnTo>
                      <a:pt x="1258" y="1225"/>
                    </a:lnTo>
                    <a:lnTo>
                      <a:pt x="1259" y="1221"/>
                    </a:lnTo>
                    <a:lnTo>
                      <a:pt x="1253" y="1218"/>
                    </a:lnTo>
                    <a:lnTo>
                      <a:pt x="1248" y="1220"/>
                    </a:lnTo>
                    <a:lnTo>
                      <a:pt x="1248" y="1225"/>
                    </a:lnTo>
                    <a:lnTo>
                      <a:pt x="1250" y="1226"/>
                    </a:lnTo>
                    <a:lnTo>
                      <a:pt x="1250" y="1228"/>
                    </a:lnTo>
                    <a:lnTo>
                      <a:pt x="1245" y="1231"/>
                    </a:lnTo>
                    <a:lnTo>
                      <a:pt x="1240" y="1231"/>
                    </a:lnTo>
                    <a:lnTo>
                      <a:pt x="1180" y="1165"/>
                    </a:lnTo>
                    <a:lnTo>
                      <a:pt x="1137" y="1135"/>
                    </a:lnTo>
                    <a:lnTo>
                      <a:pt x="1133" y="1132"/>
                    </a:lnTo>
                    <a:lnTo>
                      <a:pt x="1138" y="1132"/>
                    </a:lnTo>
                    <a:lnTo>
                      <a:pt x="1142" y="1127"/>
                    </a:lnTo>
                    <a:lnTo>
                      <a:pt x="1142" y="1123"/>
                    </a:lnTo>
                    <a:lnTo>
                      <a:pt x="1140" y="1122"/>
                    </a:lnTo>
                    <a:lnTo>
                      <a:pt x="1133" y="1123"/>
                    </a:lnTo>
                    <a:lnTo>
                      <a:pt x="1128" y="1125"/>
                    </a:lnTo>
                    <a:lnTo>
                      <a:pt x="1123" y="1128"/>
                    </a:lnTo>
                    <a:lnTo>
                      <a:pt x="1120" y="1130"/>
                    </a:lnTo>
                    <a:lnTo>
                      <a:pt x="1115" y="1133"/>
                    </a:lnTo>
                    <a:lnTo>
                      <a:pt x="1115" y="1137"/>
                    </a:lnTo>
                    <a:lnTo>
                      <a:pt x="1110" y="1140"/>
                    </a:lnTo>
                    <a:lnTo>
                      <a:pt x="1108" y="1143"/>
                    </a:lnTo>
                    <a:lnTo>
                      <a:pt x="1105" y="1147"/>
                    </a:lnTo>
                    <a:lnTo>
                      <a:pt x="1097" y="1147"/>
                    </a:lnTo>
                    <a:lnTo>
                      <a:pt x="1093" y="1148"/>
                    </a:lnTo>
                    <a:lnTo>
                      <a:pt x="1093" y="1153"/>
                    </a:lnTo>
                    <a:lnTo>
                      <a:pt x="1090" y="1157"/>
                    </a:lnTo>
                    <a:lnTo>
                      <a:pt x="1088" y="1155"/>
                    </a:lnTo>
                    <a:lnTo>
                      <a:pt x="1078" y="1152"/>
                    </a:lnTo>
                    <a:lnTo>
                      <a:pt x="1073" y="1153"/>
                    </a:lnTo>
                    <a:lnTo>
                      <a:pt x="1070" y="1157"/>
                    </a:lnTo>
                    <a:lnTo>
                      <a:pt x="1067" y="1157"/>
                    </a:lnTo>
                    <a:lnTo>
                      <a:pt x="1063" y="1153"/>
                    </a:lnTo>
                    <a:lnTo>
                      <a:pt x="1063" y="1147"/>
                    </a:lnTo>
                    <a:lnTo>
                      <a:pt x="1067" y="1145"/>
                    </a:lnTo>
                    <a:lnTo>
                      <a:pt x="1068" y="1140"/>
                    </a:lnTo>
                    <a:lnTo>
                      <a:pt x="1065" y="1140"/>
                    </a:lnTo>
                    <a:lnTo>
                      <a:pt x="1062" y="1142"/>
                    </a:lnTo>
                    <a:lnTo>
                      <a:pt x="1059" y="1142"/>
                    </a:lnTo>
                    <a:lnTo>
                      <a:pt x="1050" y="1138"/>
                    </a:lnTo>
                    <a:lnTo>
                      <a:pt x="1045" y="1138"/>
                    </a:lnTo>
                    <a:lnTo>
                      <a:pt x="1047" y="1142"/>
                    </a:lnTo>
                    <a:lnTo>
                      <a:pt x="1049" y="1143"/>
                    </a:lnTo>
                    <a:lnTo>
                      <a:pt x="1045" y="1147"/>
                    </a:lnTo>
                    <a:lnTo>
                      <a:pt x="1042" y="1147"/>
                    </a:lnTo>
                    <a:lnTo>
                      <a:pt x="1039" y="1142"/>
                    </a:lnTo>
                    <a:lnTo>
                      <a:pt x="1039" y="1133"/>
                    </a:lnTo>
                    <a:lnTo>
                      <a:pt x="1030" y="1128"/>
                    </a:lnTo>
                    <a:lnTo>
                      <a:pt x="1029" y="1130"/>
                    </a:lnTo>
                    <a:lnTo>
                      <a:pt x="1030" y="1133"/>
                    </a:lnTo>
                    <a:lnTo>
                      <a:pt x="1030" y="1137"/>
                    </a:lnTo>
                    <a:lnTo>
                      <a:pt x="1027" y="1137"/>
                    </a:lnTo>
                    <a:lnTo>
                      <a:pt x="1025" y="1133"/>
                    </a:lnTo>
                    <a:lnTo>
                      <a:pt x="1022" y="1133"/>
                    </a:lnTo>
                    <a:lnTo>
                      <a:pt x="1022" y="1138"/>
                    </a:lnTo>
                    <a:lnTo>
                      <a:pt x="1019" y="1138"/>
                    </a:lnTo>
                    <a:lnTo>
                      <a:pt x="1015" y="1137"/>
                    </a:lnTo>
                    <a:lnTo>
                      <a:pt x="1009" y="1138"/>
                    </a:lnTo>
                    <a:lnTo>
                      <a:pt x="1007" y="1137"/>
                    </a:lnTo>
                    <a:lnTo>
                      <a:pt x="1004" y="1133"/>
                    </a:lnTo>
                    <a:lnTo>
                      <a:pt x="1009" y="1132"/>
                    </a:lnTo>
                    <a:lnTo>
                      <a:pt x="1009" y="1130"/>
                    </a:lnTo>
                    <a:lnTo>
                      <a:pt x="1007" y="1127"/>
                    </a:lnTo>
                    <a:lnTo>
                      <a:pt x="1009" y="1122"/>
                    </a:lnTo>
                    <a:lnTo>
                      <a:pt x="1009" y="1120"/>
                    </a:lnTo>
                    <a:lnTo>
                      <a:pt x="1005" y="1118"/>
                    </a:lnTo>
                    <a:lnTo>
                      <a:pt x="1002" y="1115"/>
                    </a:lnTo>
                    <a:lnTo>
                      <a:pt x="1000" y="1110"/>
                    </a:lnTo>
                    <a:lnTo>
                      <a:pt x="999" y="1108"/>
                    </a:lnTo>
                    <a:lnTo>
                      <a:pt x="995" y="1103"/>
                    </a:lnTo>
                    <a:lnTo>
                      <a:pt x="990" y="1103"/>
                    </a:lnTo>
                    <a:lnTo>
                      <a:pt x="985" y="1105"/>
                    </a:lnTo>
                    <a:lnTo>
                      <a:pt x="980" y="1105"/>
                    </a:lnTo>
                    <a:lnTo>
                      <a:pt x="974" y="1102"/>
                    </a:lnTo>
                    <a:lnTo>
                      <a:pt x="967" y="1102"/>
                    </a:lnTo>
                    <a:lnTo>
                      <a:pt x="962" y="1100"/>
                    </a:lnTo>
                    <a:lnTo>
                      <a:pt x="957" y="1102"/>
                    </a:lnTo>
                    <a:lnTo>
                      <a:pt x="956" y="1100"/>
                    </a:lnTo>
                    <a:lnTo>
                      <a:pt x="951" y="1103"/>
                    </a:lnTo>
                    <a:lnTo>
                      <a:pt x="949" y="1107"/>
                    </a:lnTo>
                    <a:lnTo>
                      <a:pt x="942" y="1107"/>
                    </a:lnTo>
                    <a:lnTo>
                      <a:pt x="941" y="1108"/>
                    </a:lnTo>
                    <a:lnTo>
                      <a:pt x="942" y="1112"/>
                    </a:lnTo>
                    <a:lnTo>
                      <a:pt x="942" y="1115"/>
                    </a:lnTo>
                    <a:lnTo>
                      <a:pt x="936" y="1117"/>
                    </a:lnTo>
                    <a:lnTo>
                      <a:pt x="932" y="1115"/>
                    </a:lnTo>
                    <a:lnTo>
                      <a:pt x="929" y="1120"/>
                    </a:lnTo>
                    <a:lnTo>
                      <a:pt x="924" y="1120"/>
                    </a:lnTo>
                    <a:lnTo>
                      <a:pt x="922" y="1122"/>
                    </a:lnTo>
                    <a:lnTo>
                      <a:pt x="919" y="1122"/>
                    </a:lnTo>
                    <a:lnTo>
                      <a:pt x="909" y="1128"/>
                    </a:lnTo>
                    <a:lnTo>
                      <a:pt x="904" y="1130"/>
                    </a:lnTo>
                    <a:lnTo>
                      <a:pt x="899" y="1132"/>
                    </a:lnTo>
                    <a:lnTo>
                      <a:pt x="896" y="1132"/>
                    </a:lnTo>
                    <a:lnTo>
                      <a:pt x="892" y="1130"/>
                    </a:lnTo>
                    <a:lnTo>
                      <a:pt x="889" y="1132"/>
                    </a:lnTo>
                    <a:lnTo>
                      <a:pt x="889" y="1135"/>
                    </a:lnTo>
                    <a:lnTo>
                      <a:pt x="884" y="1135"/>
                    </a:lnTo>
                    <a:lnTo>
                      <a:pt x="881" y="1137"/>
                    </a:lnTo>
                    <a:lnTo>
                      <a:pt x="881" y="1142"/>
                    </a:lnTo>
                    <a:lnTo>
                      <a:pt x="879" y="1143"/>
                    </a:lnTo>
                    <a:lnTo>
                      <a:pt x="876" y="1142"/>
                    </a:lnTo>
                    <a:lnTo>
                      <a:pt x="872" y="1142"/>
                    </a:lnTo>
                    <a:lnTo>
                      <a:pt x="869" y="1145"/>
                    </a:lnTo>
                    <a:lnTo>
                      <a:pt x="862" y="1145"/>
                    </a:lnTo>
                    <a:lnTo>
                      <a:pt x="856" y="1148"/>
                    </a:lnTo>
                    <a:lnTo>
                      <a:pt x="854" y="1150"/>
                    </a:lnTo>
                    <a:lnTo>
                      <a:pt x="849" y="1150"/>
                    </a:lnTo>
                    <a:lnTo>
                      <a:pt x="843" y="1153"/>
                    </a:lnTo>
                    <a:lnTo>
                      <a:pt x="838" y="1153"/>
                    </a:lnTo>
                    <a:lnTo>
                      <a:pt x="829" y="1157"/>
                    </a:lnTo>
                    <a:lnTo>
                      <a:pt x="828" y="1160"/>
                    </a:lnTo>
                    <a:lnTo>
                      <a:pt x="826" y="1161"/>
                    </a:lnTo>
                    <a:lnTo>
                      <a:pt x="823" y="1158"/>
                    </a:lnTo>
                    <a:lnTo>
                      <a:pt x="819" y="1158"/>
                    </a:lnTo>
                    <a:lnTo>
                      <a:pt x="814" y="1160"/>
                    </a:lnTo>
                    <a:lnTo>
                      <a:pt x="814" y="1163"/>
                    </a:lnTo>
                    <a:lnTo>
                      <a:pt x="813" y="1165"/>
                    </a:lnTo>
                    <a:lnTo>
                      <a:pt x="808" y="1161"/>
                    </a:lnTo>
                    <a:lnTo>
                      <a:pt x="803" y="1163"/>
                    </a:lnTo>
                    <a:lnTo>
                      <a:pt x="801" y="1160"/>
                    </a:lnTo>
                    <a:lnTo>
                      <a:pt x="798" y="1160"/>
                    </a:lnTo>
                    <a:lnTo>
                      <a:pt x="794" y="1163"/>
                    </a:lnTo>
                    <a:lnTo>
                      <a:pt x="789" y="1163"/>
                    </a:lnTo>
                    <a:lnTo>
                      <a:pt x="788" y="1165"/>
                    </a:lnTo>
                    <a:lnTo>
                      <a:pt x="791" y="1170"/>
                    </a:lnTo>
                    <a:lnTo>
                      <a:pt x="788" y="1171"/>
                    </a:lnTo>
                    <a:lnTo>
                      <a:pt x="793" y="1173"/>
                    </a:lnTo>
                    <a:lnTo>
                      <a:pt x="799" y="1173"/>
                    </a:lnTo>
                    <a:lnTo>
                      <a:pt x="801" y="1178"/>
                    </a:lnTo>
                    <a:lnTo>
                      <a:pt x="794" y="1178"/>
                    </a:lnTo>
                    <a:lnTo>
                      <a:pt x="793" y="1180"/>
                    </a:lnTo>
                    <a:lnTo>
                      <a:pt x="793" y="1181"/>
                    </a:lnTo>
                    <a:lnTo>
                      <a:pt x="799" y="1181"/>
                    </a:lnTo>
                    <a:lnTo>
                      <a:pt x="804" y="1185"/>
                    </a:lnTo>
                    <a:lnTo>
                      <a:pt x="806" y="1181"/>
                    </a:lnTo>
                    <a:lnTo>
                      <a:pt x="811" y="1181"/>
                    </a:lnTo>
                    <a:lnTo>
                      <a:pt x="814" y="1185"/>
                    </a:lnTo>
                    <a:lnTo>
                      <a:pt x="819" y="1186"/>
                    </a:lnTo>
                    <a:lnTo>
                      <a:pt x="819" y="1191"/>
                    </a:lnTo>
                    <a:lnTo>
                      <a:pt x="816" y="1193"/>
                    </a:lnTo>
                    <a:lnTo>
                      <a:pt x="813" y="1191"/>
                    </a:lnTo>
                    <a:lnTo>
                      <a:pt x="803" y="1193"/>
                    </a:lnTo>
                    <a:lnTo>
                      <a:pt x="796" y="1196"/>
                    </a:lnTo>
                    <a:lnTo>
                      <a:pt x="791" y="1205"/>
                    </a:lnTo>
                    <a:lnTo>
                      <a:pt x="791" y="1210"/>
                    </a:lnTo>
                    <a:lnTo>
                      <a:pt x="794" y="1210"/>
                    </a:lnTo>
                    <a:lnTo>
                      <a:pt x="796" y="1215"/>
                    </a:lnTo>
                    <a:lnTo>
                      <a:pt x="793" y="1218"/>
                    </a:lnTo>
                    <a:lnTo>
                      <a:pt x="791" y="1223"/>
                    </a:lnTo>
                    <a:lnTo>
                      <a:pt x="788" y="1223"/>
                    </a:lnTo>
                    <a:lnTo>
                      <a:pt x="786" y="1226"/>
                    </a:lnTo>
                    <a:lnTo>
                      <a:pt x="788" y="1228"/>
                    </a:lnTo>
                    <a:lnTo>
                      <a:pt x="788" y="1231"/>
                    </a:lnTo>
                    <a:lnTo>
                      <a:pt x="794" y="1231"/>
                    </a:lnTo>
                    <a:lnTo>
                      <a:pt x="798" y="1235"/>
                    </a:lnTo>
                    <a:lnTo>
                      <a:pt x="803" y="1235"/>
                    </a:lnTo>
                    <a:lnTo>
                      <a:pt x="804" y="1238"/>
                    </a:lnTo>
                    <a:lnTo>
                      <a:pt x="808" y="1241"/>
                    </a:lnTo>
                    <a:lnTo>
                      <a:pt x="816" y="1241"/>
                    </a:lnTo>
                    <a:lnTo>
                      <a:pt x="818" y="1243"/>
                    </a:lnTo>
                    <a:lnTo>
                      <a:pt x="819" y="1259"/>
                    </a:lnTo>
                    <a:lnTo>
                      <a:pt x="816" y="1263"/>
                    </a:lnTo>
                    <a:lnTo>
                      <a:pt x="809" y="1266"/>
                    </a:lnTo>
                    <a:lnTo>
                      <a:pt x="801" y="1264"/>
                    </a:lnTo>
                    <a:lnTo>
                      <a:pt x="794" y="1261"/>
                    </a:lnTo>
                    <a:lnTo>
                      <a:pt x="791" y="1263"/>
                    </a:lnTo>
                    <a:lnTo>
                      <a:pt x="791" y="1268"/>
                    </a:lnTo>
                    <a:lnTo>
                      <a:pt x="789" y="1273"/>
                    </a:lnTo>
                    <a:lnTo>
                      <a:pt x="783" y="1273"/>
                    </a:lnTo>
                    <a:lnTo>
                      <a:pt x="774" y="1268"/>
                    </a:lnTo>
                    <a:lnTo>
                      <a:pt x="768" y="1269"/>
                    </a:lnTo>
                    <a:lnTo>
                      <a:pt x="764" y="1268"/>
                    </a:lnTo>
                    <a:lnTo>
                      <a:pt x="763" y="1268"/>
                    </a:lnTo>
                    <a:lnTo>
                      <a:pt x="758" y="1268"/>
                    </a:lnTo>
                    <a:lnTo>
                      <a:pt x="753" y="1263"/>
                    </a:lnTo>
                    <a:lnTo>
                      <a:pt x="756" y="1261"/>
                    </a:lnTo>
                    <a:lnTo>
                      <a:pt x="758" y="1258"/>
                    </a:lnTo>
                    <a:lnTo>
                      <a:pt x="755" y="1256"/>
                    </a:lnTo>
                    <a:lnTo>
                      <a:pt x="750" y="1253"/>
                    </a:lnTo>
                    <a:lnTo>
                      <a:pt x="746" y="1256"/>
                    </a:lnTo>
                    <a:lnTo>
                      <a:pt x="741" y="1256"/>
                    </a:lnTo>
                    <a:lnTo>
                      <a:pt x="738" y="1256"/>
                    </a:lnTo>
                    <a:lnTo>
                      <a:pt x="738" y="1263"/>
                    </a:lnTo>
                    <a:lnTo>
                      <a:pt x="731" y="1263"/>
                    </a:lnTo>
                    <a:lnTo>
                      <a:pt x="730" y="1259"/>
                    </a:lnTo>
                    <a:lnTo>
                      <a:pt x="723" y="1255"/>
                    </a:lnTo>
                    <a:lnTo>
                      <a:pt x="718" y="1255"/>
                    </a:lnTo>
                    <a:lnTo>
                      <a:pt x="715" y="1259"/>
                    </a:lnTo>
                    <a:lnTo>
                      <a:pt x="713" y="1256"/>
                    </a:lnTo>
                    <a:lnTo>
                      <a:pt x="708" y="1256"/>
                    </a:lnTo>
                    <a:lnTo>
                      <a:pt x="708" y="1261"/>
                    </a:lnTo>
                    <a:lnTo>
                      <a:pt x="703" y="1261"/>
                    </a:lnTo>
                    <a:lnTo>
                      <a:pt x="703" y="1269"/>
                    </a:lnTo>
                    <a:lnTo>
                      <a:pt x="696" y="1273"/>
                    </a:lnTo>
                    <a:lnTo>
                      <a:pt x="693" y="1273"/>
                    </a:lnTo>
                    <a:lnTo>
                      <a:pt x="690" y="1268"/>
                    </a:lnTo>
                    <a:lnTo>
                      <a:pt x="681" y="1266"/>
                    </a:lnTo>
                    <a:lnTo>
                      <a:pt x="678" y="1263"/>
                    </a:lnTo>
                    <a:lnTo>
                      <a:pt x="673" y="1264"/>
                    </a:lnTo>
                    <a:lnTo>
                      <a:pt x="673" y="1271"/>
                    </a:lnTo>
                    <a:lnTo>
                      <a:pt x="670" y="1274"/>
                    </a:lnTo>
                    <a:lnTo>
                      <a:pt x="668" y="1274"/>
                    </a:lnTo>
                    <a:lnTo>
                      <a:pt x="666" y="1269"/>
                    </a:lnTo>
                    <a:lnTo>
                      <a:pt x="665" y="1266"/>
                    </a:lnTo>
                    <a:lnTo>
                      <a:pt x="662" y="1266"/>
                    </a:lnTo>
                    <a:lnTo>
                      <a:pt x="655" y="1261"/>
                    </a:lnTo>
                    <a:lnTo>
                      <a:pt x="652" y="1256"/>
                    </a:lnTo>
                    <a:lnTo>
                      <a:pt x="645" y="1256"/>
                    </a:lnTo>
                    <a:lnTo>
                      <a:pt x="640" y="1251"/>
                    </a:lnTo>
                    <a:lnTo>
                      <a:pt x="638" y="1251"/>
                    </a:lnTo>
                    <a:lnTo>
                      <a:pt x="635" y="1248"/>
                    </a:lnTo>
                    <a:lnTo>
                      <a:pt x="632" y="1248"/>
                    </a:lnTo>
                    <a:lnTo>
                      <a:pt x="623" y="1250"/>
                    </a:lnTo>
                    <a:lnTo>
                      <a:pt x="617" y="1246"/>
                    </a:lnTo>
                    <a:lnTo>
                      <a:pt x="615" y="1241"/>
                    </a:lnTo>
                    <a:lnTo>
                      <a:pt x="610" y="1241"/>
                    </a:lnTo>
                    <a:lnTo>
                      <a:pt x="605" y="1245"/>
                    </a:lnTo>
                    <a:lnTo>
                      <a:pt x="600" y="1245"/>
                    </a:lnTo>
                    <a:lnTo>
                      <a:pt x="600" y="1246"/>
                    </a:lnTo>
                    <a:lnTo>
                      <a:pt x="597" y="1250"/>
                    </a:lnTo>
                    <a:lnTo>
                      <a:pt x="597" y="1246"/>
                    </a:lnTo>
                    <a:lnTo>
                      <a:pt x="593" y="1248"/>
                    </a:lnTo>
                    <a:lnTo>
                      <a:pt x="592" y="1251"/>
                    </a:lnTo>
                    <a:lnTo>
                      <a:pt x="587" y="1255"/>
                    </a:lnTo>
                    <a:lnTo>
                      <a:pt x="585" y="1251"/>
                    </a:lnTo>
                    <a:lnTo>
                      <a:pt x="588" y="1248"/>
                    </a:lnTo>
                    <a:lnTo>
                      <a:pt x="588" y="1245"/>
                    </a:lnTo>
                    <a:lnTo>
                      <a:pt x="583" y="1243"/>
                    </a:lnTo>
                    <a:lnTo>
                      <a:pt x="577" y="1240"/>
                    </a:lnTo>
                    <a:lnTo>
                      <a:pt x="575" y="1241"/>
                    </a:lnTo>
                    <a:lnTo>
                      <a:pt x="577" y="1246"/>
                    </a:lnTo>
                    <a:lnTo>
                      <a:pt x="575" y="1250"/>
                    </a:lnTo>
                    <a:lnTo>
                      <a:pt x="570" y="1248"/>
                    </a:lnTo>
                    <a:lnTo>
                      <a:pt x="567" y="1251"/>
                    </a:lnTo>
                    <a:lnTo>
                      <a:pt x="565" y="1256"/>
                    </a:lnTo>
                    <a:lnTo>
                      <a:pt x="562" y="1258"/>
                    </a:lnTo>
                    <a:lnTo>
                      <a:pt x="554" y="1261"/>
                    </a:lnTo>
                    <a:lnTo>
                      <a:pt x="552" y="1266"/>
                    </a:lnTo>
                    <a:lnTo>
                      <a:pt x="555" y="1269"/>
                    </a:lnTo>
                    <a:lnTo>
                      <a:pt x="555" y="1276"/>
                    </a:lnTo>
                    <a:lnTo>
                      <a:pt x="549" y="1276"/>
                    </a:lnTo>
                    <a:lnTo>
                      <a:pt x="540" y="1276"/>
                    </a:lnTo>
                    <a:lnTo>
                      <a:pt x="547" y="1294"/>
                    </a:lnTo>
                    <a:lnTo>
                      <a:pt x="544" y="1296"/>
                    </a:lnTo>
                    <a:lnTo>
                      <a:pt x="544" y="1303"/>
                    </a:lnTo>
                    <a:lnTo>
                      <a:pt x="537" y="1303"/>
                    </a:lnTo>
                    <a:lnTo>
                      <a:pt x="529" y="1299"/>
                    </a:lnTo>
                    <a:lnTo>
                      <a:pt x="527" y="1294"/>
                    </a:lnTo>
                    <a:lnTo>
                      <a:pt x="515" y="1284"/>
                    </a:lnTo>
                    <a:lnTo>
                      <a:pt x="510" y="1289"/>
                    </a:lnTo>
                    <a:lnTo>
                      <a:pt x="510" y="1294"/>
                    </a:lnTo>
                    <a:lnTo>
                      <a:pt x="505" y="1301"/>
                    </a:lnTo>
                    <a:lnTo>
                      <a:pt x="500" y="1303"/>
                    </a:lnTo>
                    <a:lnTo>
                      <a:pt x="502" y="1314"/>
                    </a:lnTo>
                    <a:lnTo>
                      <a:pt x="505" y="1318"/>
                    </a:lnTo>
                    <a:lnTo>
                      <a:pt x="502" y="1331"/>
                    </a:lnTo>
                    <a:lnTo>
                      <a:pt x="499" y="1339"/>
                    </a:lnTo>
                    <a:lnTo>
                      <a:pt x="509" y="1343"/>
                    </a:lnTo>
                    <a:lnTo>
                      <a:pt x="514" y="1348"/>
                    </a:lnTo>
                    <a:lnTo>
                      <a:pt x="512" y="1351"/>
                    </a:lnTo>
                    <a:lnTo>
                      <a:pt x="520" y="1357"/>
                    </a:lnTo>
                    <a:lnTo>
                      <a:pt x="522" y="1354"/>
                    </a:lnTo>
                    <a:lnTo>
                      <a:pt x="537" y="1357"/>
                    </a:lnTo>
                    <a:lnTo>
                      <a:pt x="549" y="1367"/>
                    </a:lnTo>
                    <a:lnTo>
                      <a:pt x="559" y="1382"/>
                    </a:lnTo>
                    <a:lnTo>
                      <a:pt x="549" y="1382"/>
                    </a:lnTo>
                    <a:lnTo>
                      <a:pt x="549" y="1386"/>
                    </a:lnTo>
                    <a:lnTo>
                      <a:pt x="557" y="1391"/>
                    </a:lnTo>
                    <a:lnTo>
                      <a:pt x="564" y="1389"/>
                    </a:lnTo>
                    <a:lnTo>
                      <a:pt x="570" y="1392"/>
                    </a:lnTo>
                    <a:lnTo>
                      <a:pt x="570" y="1392"/>
                    </a:lnTo>
                    <a:lnTo>
                      <a:pt x="568" y="1392"/>
                    </a:lnTo>
                    <a:lnTo>
                      <a:pt x="568" y="1396"/>
                    </a:lnTo>
                    <a:lnTo>
                      <a:pt x="568" y="1397"/>
                    </a:lnTo>
                    <a:lnTo>
                      <a:pt x="565" y="1397"/>
                    </a:lnTo>
                    <a:lnTo>
                      <a:pt x="567" y="1399"/>
                    </a:lnTo>
                    <a:lnTo>
                      <a:pt x="567" y="1402"/>
                    </a:lnTo>
                    <a:lnTo>
                      <a:pt x="565" y="1402"/>
                    </a:lnTo>
                    <a:lnTo>
                      <a:pt x="567" y="1404"/>
                    </a:lnTo>
                    <a:lnTo>
                      <a:pt x="567" y="1406"/>
                    </a:lnTo>
                    <a:lnTo>
                      <a:pt x="564" y="1406"/>
                    </a:lnTo>
                    <a:lnTo>
                      <a:pt x="562" y="1406"/>
                    </a:lnTo>
                    <a:lnTo>
                      <a:pt x="557" y="1404"/>
                    </a:lnTo>
                    <a:lnTo>
                      <a:pt x="554" y="1406"/>
                    </a:lnTo>
                    <a:lnTo>
                      <a:pt x="560" y="1409"/>
                    </a:lnTo>
                    <a:lnTo>
                      <a:pt x="562" y="1411"/>
                    </a:lnTo>
                    <a:lnTo>
                      <a:pt x="560" y="1412"/>
                    </a:lnTo>
                    <a:lnTo>
                      <a:pt x="557" y="1411"/>
                    </a:lnTo>
                    <a:lnTo>
                      <a:pt x="557" y="1411"/>
                    </a:lnTo>
                    <a:lnTo>
                      <a:pt x="554" y="1412"/>
                    </a:lnTo>
                    <a:lnTo>
                      <a:pt x="554" y="1412"/>
                    </a:lnTo>
                    <a:lnTo>
                      <a:pt x="552" y="1411"/>
                    </a:lnTo>
                    <a:lnTo>
                      <a:pt x="550" y="1411"/>
                    </a:lnTo>
                    <a:lnTo>
                      <a:pt x="554" y="1412"/>
                    </a:lnTo>
                    <a:lnTo>
                      <a:pt x="554" y="1414"/>
                    </a:lnTo>
                    <a:lnTo>
                      <a:pt x="550" y="1416"/>
                    </a:lnTo>
                    <a:lnTo>
                      <a:pt x="547" y="1416"/>
                    </a:lnTo>
                    <a:lnTo>
                      <a:pt x="545" y="1417"/>
                    </a:lnTo>
                    <a:lnTo>
                      <a:pt x="544" y="1416"/>
                    </a:lnTo>
                    <a:lnTo>
                      <a:pt x="542" y="1419"/>
                    </a:lnTo>
                    <a:lnTo>
                      <a:pt x="540" y="1419"/>
                    </a:lnTo>
                    <a:lnTo>
                      <a:pt x="537" y="1417"/>
                    </a:lnTo>
                    <a:lnTo>
                      <a:pt x="535" y="1417"/>
                    </a:lnTo>
                    <a:lnTo>
                      <a:pt x="535" y="1419"/>
                    </a:lnTo>
                    <a:lnTo>
                      <a:pt x="532" y="1424"/>
                    </a:lnTo>
                    <a:lnTo>
                      <a:pt x="532" y="1427"/>
                    </a:lnTo>
                    <a:lnTo>
                      <a:pt x="529" y="1429"/>
                    </a:lnTo>
                    <a:lnTo>
                      <a:pt x="527" y="1434"/>
                    </a:lnTo>
                    <a:lnTo>
                      <a:pt x="525" y="1437"/>
                    </a:lnTo>
                    <a:lnTo>
                      <a:pt x="525" y="1446"/>
                    </a:lnTo>
                    <a:lnTo>
                      <a:pt x="524" y="1447"/>
                    </a:lnTo>
                    <a:lnTo>
                      <a:pt x="522" y="1452"/>
                    </a:lnTo>
                    <a:lnTo>
                      <a:pt x="524" y="1459"/>
                    </a:lnTo>
                    <a:lnTo>
                      <a:pt x="527" y="1459"/>
                    </a:lnTo>
                    <a:lnTo>
                      <a:pt x="530" y="1459"/>
                    </a:lnTo>
                    <a:lnTo>
                      <a:pt x="534" y="1462"/>
                    </a:lnTo>
                    <a:lnTo>
                      <a:pt x="539" y="1464"/>
                    </a:lnTo>
                    <a:lnTo>
                      <a:pt x="539" y="1470"/>
                    </a:lnTo>
                    <a:lnTo>
                      <a:pt x="544" y="1474"/>
                    </a:lnTo>
                    <a:lnTo>
                      <a:pt x="547" y="1472"/>
                    </a:lnTo>
                    <a:lnTo>
                      <a:pt x="549" y="1472"/>
                    </a:lnTo>
                    <a:lnTo>
                      <a:pt x="547" y="1475"/>
                    </a:lnTo>
                    <a:lnTo>
                      <a:pt x="545" y="1479"/>
                    </a:lnTo>
                    <a:lnTo>
                      <a:pt x="544" y="1479"/>
                    </a:lnTo>
                    <a:lnTo>
                      <a:pt x="544" y="1482"/>
                    </a:lnTo>
                    <a:lnTo>
                      <a:pt x="547" y="1482"/>
                    </a:lnTo>
                    <a:lnTo>
                      <a:pt x="547" y="1484"/>
                    </a:lnTo>
                    <a:lnTo>
                      <a:pt x="549" y="1487"/>
                    </a:lnTo>
                    <a:lnTo>
                      <a:pt x="549" y="1494"/>
                    </a:lnTo>
                    <a:lnTo>
                      <a:pt x="552" y="1497"/>
                    </a:lnTo>
                    <a:lnTo>
                      <a:pt x="554" y="1504"/>
                    </a:lnTo>
                    <a:lnTo>
                      <a:pt x="564" y="1514"/>
                    </a:lnTo>
                    <a:lnTo>
                      <a:pt x="577" y="1524"/>
                    </a:lnTo>
                    <a:lnTo>
                      <a:pt x="578" y="1525"/>
                    </a:lnTo>
                    <a:lnTo>
                      <a:pt x="578" y="1525"/>
                    </a:lnTo>
                    <a:lnTo>
                      <a:pt x="570" y="1534"/>
                    </a:lnTo>
                    <a:lnTo>
                      <a:pt x="564" y="1537"/>
                    </a:lnTo>
                    <a:lnTo>
                      <a:pt x="560" y="1542"/>
                    </a:lnTo>
                    <a:lnTo>
                      <a:pt x="550" y="1540"/>
                    </a:lnTo>
                    <a:lnTo>
                      <a:pt x="547" y="1535"/>
                    </a:lnTo>
                    <a:lnTo>
                      <a:pt x="535" y="1527"/>
                    </a:lnTo>
                    <a:lnTo>
                      <a:pt x="529" y="1527"/>
                    </a:lnTo>
                    <a:lnTo>
                      <a:pt x="525" y="1534"/>
                    </a:lnTo>
                    <a:lnTo>
                      <a:pt x="532" y="1537"/>
                    </a:lnTo>
                    <a:lnTo>
                      <a:pt x="535" y="1542"/>
                    </a:lnTo>
                    <a:lnTo>
                      <a:pt x="534" y="1550"/>
                    </a:lnTo>
                    <a:lnTo>
                      <a:pt x="525" y="1545"/>
                    </a:lnTo>
                    <a:lnTo>
                      <a:pt x="517" y="1545"/>
                    </a:lnTo>
                    <a:lnTo>
                      <a:pt x="502" y="1539"/>
                    </a:lnTo>
                    <a:lnTo>
                      <a:pt x="494" y="1542"/>
                    </a:lnTo>
                    <a:lnTo>
                      <a:pt x="494" y="1545"/>
                    </a:lnTo>
                    <a:lnTo>
                      <a:pt x="497" y="1550"/>
                    </a:lnTo>
                    <a:lnTo>
                      <a:pt x="492" y="1545"/>
                    </a:lnTo>
                    <a:lnTo>
                      <a:pt x="479" y="1545"/>
                    </a:lnTo>
                    <a:lnTo>
                      <a:pt x="475" y="1544"/>
                    </a:lnTo>
                    <a:lnTo>
                      <a:pt x="464" y="1547"/>
                    </a:lnTo>
                    <a:lnTo>
                      <a:pt x="457" y="1549"/>
                    </a:lnTo>
                    <a:lnTo>
                      <a:pt x="457" y="1549"/>
                    </a:lnTo>
                    <a:lnTo>
                      <a:pt x="452" y="1547"/>
                    </a:lnTo>
                    <a:lnTo>
                      <a:pt x="442" y="1540"/>
                    </a:lnTo>
                    <a:lnTo>
                      <a:pt x="437" y="1539"/>
                    </a:lnTo>
                    <a:lnTo>
                      <a:pt x="434" y="1542"/>
                    </a:lnTo>
                    <a:lnTo>
                      <a:pt x="432" y="1542"/>
                    </a:lnTo>
                    <a:lnTo>
                      <a:pt x="426" y="1540"/>
                    </a:lnTo>
                    <a:lnTo>
                      <a:pt x="422" y="1542"/>
                    </a:lnTo>
                    <a:lnTo>
                      <a:pt x="421" y="1542"/>
                    </a:lnTo>
                    <a:lnTo>
                      <a:pt x="419" y="1537"/>
                    </a:lnTo>
                    <a:lnTo>
                      <a:pt x="416" y="1537"/>
                    </a:lnTo>
                    <a:lnTo>
                      <a:pt x="416" y="1537"/>
                    </a:lnTo>
                    <a:lnTo>
                      <a:pt x="417" y="1537"/>
                    </a:lnTo>
                    <a:lnTo>
                      <a:pt x="416" y="1532"/>
                    </a:lnTo>
                    <a:lnTo>
                      <a:pt x="417" y="1530"/>
                    </a:lnTo>
                    <a:lnTo>
                      <a:pt x="412" y="1524"/>
                    </a:lnTo>
                    <a:lnTo>
                      <a:pt x="412" y="1514"/>
                    </a:lnTo>
                    <a:lnTo>
                      <a:pt x="409" y="1510"/>
                    </a:lnTo>
                    <a:lnTo>
                      <a:pt x="404" y="1504"/>
                    </a:lnTo>
                    <a:lnTo>
                      <a:pt x="397" y="1502"/>
                    </a:lnTo>
                    <a:lnTo>
                      <a:pt x="397" y="1500"/>
                    </a:lnTo>
                    <a:lnTo>
                      <a:pt x="391" y="1495"/>
                    </a:lnTo>
                    <a:lnTo>
                      <a:pt x="389" y="1497"/>
                    </a:lnTo>
                    <a:lnTo>
                      <a:pt x="386" y="1495"/>
                    </a:lnTo>
                    <a:lnTo>
                      <a:pt x="381" y="1495"/>
                    </a:lnTo>
                    <a:lnTo>
                      <a:pt x="377" y="1489"/>
                    </a:lnTo>
                    <a:lnTo>
                      <a:pt x="376" y="1489"/>
                    </a:lnTo>
                    <a:lnTo>
                      <a:pt x="371" y="1487"/>
                    </a:lnTo>
                    <a:lnTo>
                      <a:pt x="369" y="1485"/>
                    </a:lnTo>
                    <a:lnTo>
                      <a:pt x="366" y="1485"/>
                    </a:lnTo>
                    <a:lnTo>
                      <a:pt x="361" y="1482"/>
                    </a:lnTo>
                    <a:lnTo>
                      <a:pt x="359" y="1479"/>
                    </a:lnTo>
                    <a:lnTo>
                      <a:pt x="356" y="1477"/>
                    </a:lnTo>
                    <a:lnTo>
                      <a:pt x="353" y="1472"/>
                    </a:lnTo>
                    <a:lnTo>
                      <a:pt x="338" y="1462"/>
                    </a:lnTo>
                    <a:lnTo>
                      <a:pt x="331" y="1460"/>
                    </a:lnTo>
                    <a:lnTo>
                      <a:pt x="321" y="1455"/>
                    </a:lnTo>
                    <a:lnTo>
                      <a:pt x="313" y="1455"/>
                    </a:lnTo>
                    <a:lnTo>
                      <a:pt x="306" y="1451"/>
                    </a:lnTo>
                    <a:lnTo>
                      <a:pt x="306" y="1447"/>
                    </a:lnTo>
                    <a:lnTo>
                      <a:pt x="299" y="1442"/>
                    </a:lnTo>
                    <a:lnTo>
                      <a:pt x="298" y="1444"/>
                    </a:lnTo>
                    <a:lnTo>
                      <a:pt x="291" y="1442"/>
                    </a:lnTo>
                    <a:lnTo>
                      <a:pt x="294" y="1441"/>
                    </a:lnTo>
                    <a:lnTo>
                      <a:pt x="298" y="1439"/>
                    </a:lnTo>
                    <a:lnTo>
                      <a:pt x="296" y="1436"/>
                    </a:lnTo>
                    <a:lnTo>
                      <a:pt x="296" y="1434"/>
                    </a:lnTo>
                    <a:lnTo>
                      <a:pt x="303" y="1434"/>
                    </a:lnTo>
                    <a:lnTo>
                      <a:pt x="306" y="1437"/>
                    </a:lnTo>
                    <a:lnTo>
                      <a:pt x="308" y="1437"/>
                    </a:lnTo>
                    <a:lnTo>
                      <a:pt x="311" y="1437"/>
                    </a:lnTo>
                    <a:lnTo>
                      <a:pt x="313" y="1431"/>
                    </a:lnTo>
                    <a:lnTo>
                      <a:pt x="311" y="1429"/>
                    </a:lnTo>
                    <a:lnTo>
                      <a:pt x="311" y="1426"/>
                    </a:lnTo>
                    <a:lnTo>
                      <a:pt x="316" y="1421"/>
                    </a:lnTo>
                    <a:lnTo>
                      <a:pt x="316" y="1419"/>
                    </a:lnTo>
                    <a:lnTo>
                      <a:pt x="318" y="1417"/>
                    </a:lnTo>
                    <a:lnTo>
                      <a:pt x="321" y="1417"/>
                    </a:lnTo>
                    <a:lnTo>
                      <a:pt x="323" y="1414"/>
                    </a:lnTo>
                    <a:lnTo>
                      <a:pt x="326" y="1414"/>
                    </a:lnTo>
                    <a:lnTo>
                      <a:pt x="326" y="1412"/>
                    </a:lnTo>
                    <a:lnTo>
                      <a:pt x="321" y="1411"/>
                    </a:lnTo>
                    <a:lnTo>
                      <a:pt x="319" y="1409"/>
                    </a:lnTo>
                    <a:lnTo>
                      <a:pt x="318" y="1411"/>
                    </a:lnTo>
                    <a:lnTo>
                      <a:pt x="314" y="1407"/>
                    </a:lnTo>
                    <a:lnTo>
                      <a:pt x="311" y="1401"/>
                    </a:lnTo>
                    <a:lnTo>
                      <a:pt x="319" y="1401"/>
                    </a:lnTo>
                    <a:lnTo>
                      <a:pt x="324" y="1401"/>
                    </a:lnTo>
                    <a:lnTo>
                      <a:pt x="328" y="1397"/>
                    </a:lnTo>
                    <a:lnTo>
                      <a:pt x="324" y="1397"/>
                    </a:lnTo>
                    <a:lnTo>
                      <a:pt x="323" y="1396"/>
                    </a:lnTo>
                    <a:lnTo>
                      <a:pt x="328" y="1392"/>
                    </a:lnTo>
                    <a:lnTo>
                      <a:pt x="341" y="1386"/>
                    </a:lnTo>
                    <a:lnTo>
                      <a:pt x="341" y="1382"/>
                    </a:lnTo>
                    <a:lnTo>
                      <a:pt x="339" y="1381"/>
                    </a:lnTo>
                    <a:lnTo>
                      <a:pt x="334" y="1381"/>
                    </a:lnTo>
                    <a:lnTo>
                      <a:pt x="328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3" y="1384"/>
                    </a:lnTo>
                    <a:lnTo>
                      <a:pt x="324" y="1374"/>
                    </a:lnTo>
                    <a:lnTo>
                      <a:pt x="326" y="1372"/>
                    </a:lnTo>
                    <a:lnTo>
                      <a:pt x="333" y="1366"/>
                    </a:lnTo>
                    <a:lnTo>
                      <a:pt x="344" y="1364"/>
                    </a:lnTo>
                    <a:lnTo>
                      <a:pt x="348" y="1362"/>
                    </a:lnTo>
                    <a:lnTo>
                      <a:pt x="348" y="1356"/>
                    </a:lnTo>
                    <a:lnTo>
                      <a:pt x="351" y="1348"/>
                    </a:lnTo>
                    <a:lnTo>
                      <a:pt x="349" y="1343"/>
                    </a:lnTo>
                    <a:lnTo>
                      <a:pt x="343" y="1338"/>
                    </a:lnTo>
                    <a:lnTo>
                      <a:pt x="344" y="1328"/>
                    </a:lnTo>
                    <a:lnTo>
                      <a:pt x="349" y="1328"/>
                    </a:lnTo>
                    <a:lnTo>
                      <a:pt x="353" y="1323"/>
                    </a:lnTo>
                    <a:lnTo>
                      <a:pt x="353" y="1316"/>
                    </a:lnTo>
                    <a:lnTo>
                      <a:pt x="349" y="1314"/>
                    </a:lnTo>
                    <a:lnTo>
                      <a:pt x="348" y="1309"/>
                    </a:lnTo>
                    <a:lnTo>
                      <a:pt x="344" y="1313"/>
                    </a:lnTo>
                    <a:lnTo>
                      <a:pt x="336" y="1311"/>
                    </a:lnTo>
                    <a:lnTo>
                      <a:pt x="329" y="1308"/>
                    </a:lnTo>
                    <a:lnTo>
                      <a:pt x="324" y="1309"/>
                    </a:lnTo>
                    <a:lnTo>
                      <a:pt x="319" y="1306"/>
                    </a:lnTo>
                    <a:lnTo>
                      <a:pt x="314" y="1306"/>
                    </a:lnTo>
                    <a:lnTo>
                      <a:pt x="304" y="1304"/>
                    </a:lnTo>
                    <a:lnTo>
                      <a:pt x="301" y="1308"/>
                    </a:lnTo>
                    <a:lnTo>
                      <a:pt x="299" y="1303"/>
                    </a:lnTo>
                    <a:lnTo>
                      <a:pt x="291" y="1299"/>
                    </a:lnTo>
                    <a:lnTo>
                      <a:pt x="286" y="1288"/>
                    </a:lnTo>
                    <a:lnTo>
                      <a:pt x="283" y="1289"/>
                    </a:lnTo>
                    <a:lnTo>
                      <a:pt x="274" y="1294"/>
                    </a:lnTo>
                    <a:lnTo>
                      <a:pt x="269" y="1293"/>
                    </a:lnTo>
                    <a:lnTo>
                      <a:pt x="263" y="1294"/>
                    </a:lnTo>
                    <a:lnTo>
                      <a:pt x="256" y="1291"/>
                    </a:lnTo>
                    <a:lnTo>
                      <a:pt x="253" y="1296"/>
                    </a:lnTo>
                    <a:lnTo>
                      <a:pt x="241" y="1286"/>
                    </a:lnTo>
                    <a:lnTo>
                      <a:pt x="240" y="1279"/>
                    </a:lnTo>
                    <a:lnTo>
                      <a:pt x="240" y="1273"/>
                    </a:lnTo>
                    <a:lnTo>
                      <a:pt x="235" y="1273"/>
                    </a:lnTo>
                    <a:lnTo>
                      <a:pt x="233" y="1268"/>
                    </a:lnTo>
                    <a:lnTo>
                      <a:pt x="228" y="1264"/>
                    </a:lnTo>
                    <a:lnTo>
                      <a:pt x="215" y="1266"/>
                    </a:lnTo>
                    <a:lnTo>
                      <a:pt x="208" y="1258"/>
                    </a:lnTo>
                    <a:lnTo>
                      <a:pt x="211" y="1253"/>
                    </a:lnTo>
                    <a:lnTo>
                      <a:pt x="206" y="1250"/>
                    </a:lnTo>
                    <a:lnTo>
                      <a:pt x="203" y="1240"/>
                    </a:lnTo>
                    <a:lnTo>
                      <a:pt x="196" y="1240"/>
                    </a:lnTo>
                    <a:lnTo>
                      <a:pt x="191" y="1241"/>
                    </a:lnTo>
                    <a:lnTo>
                      <a:pt x="178" y="1241"/>
                    </a:lnTo>
                    <a:lnTo>
                      <a:pt x="167" y="1238"/>
                    </a:lnTo>
                    <a:lnTo>
                      <a:pt x="163" y="1241"/>
                    </a:lnTo>
                    <a:lnTo>
                      <a:pt x="163" y="1246"/>
                    </a:lnTo>
                    <a:lnTo>
                      <a:pt x="158" y="1246"/>
                    </a:lnTo>
                    <a:lnTo>
                      <a:pt x="153" y="1246"/>
                    </a:lnTo>
                    <a:lnTo>
                      <a:pt x="153" y="1241"/>
                    </a:lnTo>
                    <a:lnTo>
                      <a:pt x="148" y="1235"/>
                    </a:lnTo>
                    <a:lnTo>
                      <a:pt x="148" y="1230"/>
                    </a:lnTo>
                    <a:lnTo>
                      <a:pt x="145" y="1221"/>
                    </a:lnTo>
                    <a:lnTo>
                      <a:pt x="143" y="1216"/>
                    </a:lnTo>
                    <a:lnTo>
                      <a:pt x="147" y="1213"/>
                    </a:lnTo>
                    <a:lnTo>
                      <a:pt x="152" y="1218"/>
                    </a:lnTo>
                    <a:lnTo>
                      <a:pt x="163" y="1216"/>
                    </a:lnTo>
                    <a:lnTo>
                      <a:pt x="168" y="1208"/>
                    </a:lnTo>
                    <a:lnTo>
                      <a:pt x="171" y="1206"/>
                    </a:lnTo>
                    <a:lnTo>
                      <a:pt x="165" y="1203"/>
                    </a:lnTo>
                    <a:lnTo>
                      <a:pt x="165" y="1198"/>
                    </a:lnTo>
                    <a:lnTo>
                      <a:pt x="155" y="1191"/>
                    </a:lnTo>
                    <a:lnTo>
                      <a:pt x="147" y="1190"/>
                    </a:lnTo>
                    <a:lnTo>
                      <a:pt x="145" y="1181"/>
                    </a:lnTo>
                    <a:lnTo>
                      <a:pt x="140" y="1180"/>
                    </a:lnTo>
                    <a:lnTo>
                      <a:pt x="133" y="1171"/>
                    </a:lnTo>
                    <a:lnTo>
                      <a:pt x="132" y="1165"/>
                    </a:lnTo>
                    <a:lnTo>
                      <a:pt x="125" y="1160"/>
                    </a:lnTo>
                    <a:lnTo>
                      <a:pt x="125" y="1153"/>
                    </a:lnTo>
                    <a:lnTo>
                      <a:pt x="122" y="1148"/>
                    </a:lnTo>
                    <a:lnTo>
                      <a:pt x="123" y="1143"/>
                    </a:lnTo>
                    <a:lnTo>
                      <a:pt x="122" y="1138"/>
                    </a:lnTo>
                    <a:lnTo>
                      <a:pt x="112" y="1135"/>
                    </a:lnTo>
                    <a:lnTo>
                      <a:pt x="108" y="1135"/>
                    </a:lnTo>
                    <a:lnTo>
                      <a:pt x="105" y="1132"/>
                    </a:lnTo>
                    <a:lnTo>
                      <a:pt x="98" y="1133"/>
                    </a:lnTo>
                    <a:lnTo>
                      <a:pt x="92" y="1138"/>
                    </a:lnTo>
                    <a:lnTo>
                      <a:pt x="87" y="1130"/>
                    </a:lnTo>
                    <a:lnTo>
                      <a:pt x="82" y="1130"/>
                    </a:lnTo>
                    <a:lnTo>
                      <a:pt x="77" y="1132"/>
                    </a:lnTo>
                    <a:lnTo>
                      <a:pt x="72" y="1125"/>
                    </a:lnTo>
                    <a:lnTo>
                      <a:pt x="65" y="1128"/>
                    </a:lnTo>
                    <a:lnTo>
                      <a:pt x="62" y="1125"/>
                    </a:lnTo>
                    <a:lnTo>
                      <a:pt x="60" y="1127"/>
                    </a:lnTo>
                    <a:lnTo>
                      <a:pt x="59" y="1120"/>
                    </a:lnTo>
                    <a:lnTo>
                      <a:pt x="55" y="1115"/>
                    </a:lnTo>
                    <a:lnTo>
                      <a:pt x="54" y="1110"/>
                    </a:lnTo>
                    <a:lnTo>
                      <a:pt x="52" y="1107"/>
                    </a:lnTo>
                    <a:lnTo>
                      <a:pt x="49" y="1102"/>
                    </a:lnTo>
                    <a:lnTo>
                      <a:pt x="49" y="1098"/>
                    </a:lnTo>
                    <a:lnTo>
                      <a:pt x="47" y="1095"/>
                    </a:lnTo>
                    <a:lnTo>
                      <a:pt x="45" y="1093"/>
                    </a:lnTo>
                    <a:lnTo>
                      <a:pt x="47" y="1092"/>
                    </a:lnTo>
                    <a:lnTo>
                      <a:pt x="45" y="1088"/>
                    </a:lnTo>
                    <a:lnTo>
                      <a:pt x="40" y="1087"/>
                    </a:lnTo>
                    <a:lnTo>
                      <a:pt x="45" y="1082"/>
                    </a:lnTo>
                    <a:lnTo>
                      <a:pt x="44" y="1078"/>
                    </a:lnTo>
                    <a:lnTo>
                      <a:pt x="47" y="1075"/>
                    </a:lnTo>
                    <a:lnTo>
                      <a:pt x="47" y="1070"/>
                    </a:lnTo>
                    <a:lnTo>
                      <a:pt x="37" y="1052"/>
                    </a:lnTo>
                    <a:lnTo>
                      <a:pt x="39" y="1037"/>
                    </a:lnTo>
                    <a:lnTo>
                      <a:pt x="40" y="1035"/>
                    </a:lnTo>
                    <a:lnTo>
                      <a:pt x="42" y="1029"/>
                    </a:lnTo>
                    <a:lnTo>
                      <a:pt x="47" y="1024"/>
                    </a:lnTo>
                    <a:lnTo>
                      <a:pt x="47" y="1022"/>
                    </a:lnTo>
                    <a:lnTo>
                      <a:pt x="47" y="1022"/>
                    </a:lnTo>
                    <a:lnTo>
                      <a:pt x="45" y="1019"/>
                    </a:lnTo>
                    <a:lnTo>
                      <a:pt x="45" y="1019"/>
                    </a:lnTo>
                    <a:lnTo>
                      <a:pt x="47" y="1014"/>
                    </a:lnTo>
                    <a:lnTo>
                      <a:pt x="44" y="1010"/>
                    </a:lnTo>
                    <a:lnTo>
                      <a:pt x="44" y="1007"/>
                    </a:lnTo>
                    <a:lnTo>
                      <a:pt x="47" y="1007"/>
                    </a:lnTo>
                    <a:lnTo>
                      <a:pt x="49" y="1010"/>
                    </a:lnTo>
                    <a:lnTo>
                      <a:pt x="52" y="1009"/>
                    </a:lnTo>
                    <a:lnTo>
                      <a:pt x="52" y="1005"/>
                    </a:lnTo>
                    <a:lnTo>
                      <a:pt x="55" y="1002"/>
                    </a:lnTo>
                    <a:lnTo>
                      <a:pt x="60" y="1005"/>
                    </a:lnTo>
                    <a:lnTo>
                      <a:pt x="65" y="1002"/>
                    </a:lnTo>
                    <a:lnTo>
                      <a:pt x="67" y="997"/>
                    </a:lnTo>
                    <a:lnTo>
                      <a:pt x="70" y="997"/>
                    </a:lnTo>
                    <a:lnTo>
                      <a:pt x="77" y="999"/>
                    </a:lnTo>
                    <a:lnTo>
                      <a:pt x="80" y="995"/>
                    </a:lnTo>
                    <a:lnTo>
                      <a:pt x="75" y="990"/>
                    </a:lnTo>
                    <a:lnTo>
                      <a:pt x="72" y="990"/>
                    </a:lnTo>
                    <a:lnTo>
                      <a:pt x="70" y="990"/>
                    </a:lnTo>
                    <a:lnTo>
                      <a:pt x="64" y="990"/>
                    </a:lnTo>
                    <a:lnTo>
                      <a:pt x="60" y="987"/>
                    </a:lnTo>
                    <a:lnTo>
                      <a:pt x="55" y="987"/>
                    </a:lnTo>
                    <a:lnTo>
                      <a:pt x="50" y="980"/>
                    </a:lnTo>
                    <a:lnTo>
                      <a:pt x="50" y="977"/>
                    </a:lnTo>
                    <a:lnTo>
                      <a:pt x="55" y="982"/>
                    </a:lnTo>
                    <a:lnTo>
                      <a:pt x="55" y="979"/>
                    </a:lnTo>
                    <a:lnTo>
                      <a:pt x="54" y="975"/>
                    </a:lnTo>
                    <a:lnTo>
                      <a:pt x="57" y="972"/>
                    </a:lnTo>
                    <a:lnTo>
                      <a:pt x="52" y="974"/>
                    </a:lnTo>
                    <a:lnTo>
                      <a:pt x="52" y="974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5" y="977"/>
                    </a:lnTo>
                    <a:lnTo>
                      <a:pt x="44" y="977"/>
                    </a:lnTo>
                    <a:lnTo>
                      <a:pt x="44" y="972"/>
                    </a:lnTo>
                    <a:lnTo>
                      <a:pt x="55" y="962"/>
                    </a:lnTo>
                    <a:lnTo>
                      <a:pt x="60" y="961"/>
                    </a:lnTo>
                    <a:lnTo>
                      <a:pt x="67" y="949"/>
                    </a:lnTo>
                    <a:lnTo>
                      <a:pt x="73" y="941"/>
                    </a:lnTo>
                    <a:lnTo>
                      <a:pt x="78" y="929"/>
                    </a:lnTo>
                    <a:lnTo>
                      <a:pt x="88" y="914"/>
                    </a:lnTo>
                    <a:lnTo>
                      <a:pt x="95" y="899"/>
                    </a:lnTo>
                    <a:lnTo>
                      <a:pt x="93" y="892"/>
                    </a:lnTo>
                    <a:lnTo>
                      <a:pt x="83" y="881"/>
                    </a:lnTo>
                    <a:lnTo>
                      <a:pt x="77" y="879"/>
                    </a:lnTo>
                    <a:lnTo>
                      <a:pt x="65" y="866"/>
                    </a:lnTo>
                    <a:lnTo>
                      <a:pt x="68" y="859"/>
                    </a:lnTo>
                    <a:lnTo>
                      <a:pt x="72" y="853"/>
                    </a:lnTo>
                    <a:lnTo>
                      <a:pt x="72" y="846"/>
                    </a:lnTo>
                    <a:lnTo>
                      <a:pt x="65" y="843"/>
                    </a:lnTo>
                    <a:lnTo>
                      <a:pt x="62" y="838"/>
                    </a:lnTo>
                    <a:lnTo>
                      <a:pt x="62" y="829"/>
                    </a:lnTo>
                    <a:lnTo>
                      <a:pt x="64" y="826"/>
                    </a:lnTo>
                    <a:lnTo>
                      <a:pt x="62" y="823"/>
                    </a:lnTo>
                    <a:lnTo>
                      <a:pt x="55" y="821"/>
                    </a:lnTo>
                    <a:lnTo>
                      <a:pt x="52" y="818"/>
                    </a:lnTo>
                    <a:lnTo>
                      <a:pt x="52" y="811"/>
                    </a:lnTo>
                    <a:lnTo>
                      <a:pt x="55" y="806"/>
                    </a:lnTo>
                    <a:lnTo>
                      <a:pt x="50" y="806"/>
                    </a:lnTo>
                    <a:lnTo>
                      <a:pt x="50" y="803"/>
                    </a:lnTo>
                    <a:lnTo>
                      <a:pt x="52" y="788"/>
                    </a:lnTo>
                    <a:lnTo>
                      <a:pt x="57" y="786"/>
                    </a:lnTo>
                    <a:lnTo>
                      <a:pt x="45" y="764"/>
                    </a:lnTo>
                    <a:lnTo>
                      <a:pt x="35" y="748"/>
                    </a:lnTo>
                    <a:lnTo>
                      <a:pt x="34" y="741"/>
                    </a:lnTo>
                    <a:lnTo>
                      <a:pt x="27" y="736"/>
                    </a:lnTo>
                    <a:lnTo>
                      <a:pt x="32" y="725"/>
                    </a:lnTo>
                    <a:lnTo>
                      <a:pt x="37" y="718"/>
                    </a:lnTo>
                    <a:lnTo>
                      <a:pt x="39" y="711"/>
                    </a:lnTo>
                    <a:lnTo>
                      <a:pt x="35" y="710"/>
                    </a:lnTo>
                    <a:lnTo>
                      <a:pt x="25" y="703"/>
                    </a:lnTo>
                    <a:lnTo>
                      <a:pt x="24" y="698"/>
                    </a:lnTo>
                    <a:lnTo>
                      <a:pt x="19" y="693"/>
                    </a:lnTo>
                    <a:lnTo>
                      <a:pt x="12" y="690"/>
                    </a:lnTo>
                    <a:lnTo>
                      <a:pt x="9" y="690"/>
                    </a:lnTo>
                    <a:lnTo>
                      <a:pt x="5" y="680"/>
                    </a:lnTo>
                    <a:lnTo>
                      <a:pt x="2" y="676"/>
                    </a:lnTo>
                    <a:lnTo>
                      <a:pt x="4" y="668"/>
                    </a:lnTo>
                    <a:lnTo>
                      <a:pt x="5" y="663"/>
                    </a:lnTo>
                    <a:lnTo>
                      <a:pt x="0" y="662"/>
                    </a:lnTo>
                    <a:lnTo>
                      <a:pt x="5" y="660"/>
                    </a:lnTo>
                    <a:lnTo>
                      <a:pt x="10" y="657"/>
                    </a:lnTo>
                    <a:lnTo>
                      <a:pt x="10" y="657"/>
                    </a:lnTo>
                    <a:lnTo>
                      <a:pt x="14" y="657"/>
                    </a:lnTo>
                    <a:lnTo>
                      <a:pt x="14" y="648"/>
                    </a:lnTo>
                    <a:lnTo>
                      <a:pt x="20" y="643"/>
                    </a:lnTo>
                    <a:lnTo>
                      <a:pt x="27" y="643"/>
                    </a:lnTo>
                    <a:lnTo>
                      <a:pt x="30" y="638"/>
                    </a:lnTo>
                    <a:lnTo>
                      <a:pt x="30" y="632"/>
                    </a:lnTo>
                    <a:lnTo>
                      <a:pt x="34" y="632"/>
                    </a:lnTo>
                    <a:lnTo>
                      <a:pt x="39" y="633"/>
                    </a:lnTo>
                    <a:lnTo>
                      <a:pt x="42" y="630"/>
                    </a:lnTo>
                    <a:lnTo>
                      <a:pt x="42" y="625"/>
                    </a:lnTo>
                    <a:lnTo>
                      <a:pt x="42" y="625"/>
                    </a:lnTo>
                    <a:lnTo>
                      <a:pt x="47" y="625"/>
                    </a:lnTo>
                    <a:lnTo>
                      <a:pt x="49" y="627"/>
                    </a:lnTo>
                    <a:lnTo>
                      <a:pt x="49" y="632"/>
                    </a:lnTo>
                    <a:lnTo>
                      <a:pt x="50" y="635"/>
                    </a:lnTo>
                    <a:lnTo>
                      <a:pt x="52" y="628"/>
                    </a:lnTo>
                    <a:lnTo>
                      <a:pt x="54" y="627"/>
                    </a:lnTo>
                    <a:lnTo>
                      <a:pt x="57" y="627"/>
                    </a:lnTo>
                    <a:lnTo>
                      <a:pt x="59" y="625"/>
                    </a:lnTo>
                    <a:lnTo>
                      <a:pt x="55" y="623"/>
                    </a:lnTo>
                    <a:lnTo>
                      <a:pt x="55" y="622"/>
                    </a:lnTo>
                    <a:lnTo>
                      <a:pt x="57" y="622"/>
                    </a:lnTo>
                    <a:lnTo>
                      <a:pt x="60" y="622"/>
                    </a:lnTo>
                    <a:lnTo>
                      <a:pt x="60" y="620"/>
                    </a:lnTo>
                    <a:lnTo>
                      <a:pt x="59" y="618"/>
                    </a:lnTo>
                    <a:lnTo>
                      <a:pt x="57" y="617"/>
                    </a:lnTo>
                    <a:lnTo>
                      <a:pt x="59" y="615"/>
                    </a:lnTo>
                    <a:lnTo>
                      <a:pt x="62" y="615"/>
                    </a:lnTo>
                    <a:lnTo>
                      <a:pt x="67" y="618"/>
                    </a:lnTo>
                    <a:lnTo>
                      <a:pt x="70" y="622"/>
                    </a:lnTo>
                    <a:lnTo>
                      <a:pt x="72" y="623"/>
                    </a:lnTo>
                    <a:lnTo>
                      <a:pt x="75" y="622"/>
                    </a:lnTo>
                    <a:lnTo>
                      <a:pt x="78" y="623"/>
                    </a:lnTo>
                    <a:lnTo>
                      <a:pt x="80" y="623"/>
                    </a:lnTo>
                    <a:lnTo>
                      <a:pt x="82" y="625"/>
                    </a:lnTo>
                    <a:lnTo>
                      <a:pt x="83" y="628"/>
                    </a:lnTo>
                    <a:lnTo>
                      <a:pt x="78" y="632"/>
                    </a:lnTo>
                    <a:lnTo>
                      <a:pt x="75" y="630"/>
                    </a:lnTo>
                    <a:lnTo>
                      <a:pt x="68" y="630"/>
                    </a:lnTo>
                    <a:lnTo>
                      <a:pt x="65" y="627"/>
                    </a:lnTo>
                    <a:lnTo>
                      <a:pt x="65" y="623"/>
                    </a:lnTo>
                    <a:lnTo>
                      <a:pt x="62" y="627"/>
                    </a:lnTo>
                    <a:lnTo>
                      <a:pt x="62" y="632"/>
                    </a:lnTo>
                    <a:lnTo>
                      <a:pt x="64" y="637"/>
                    </a:lnTo>
                    <a:lnTo>
                      <a:pt x="67" y="633"/>
                    </a:lnTo>
                    <a:lnTo>
                      <a:pt x="68" y="635"/>
                    </a:lnTo>
                    <a:lnTo>
                      <a:pt x="70" y="638"/>
                    </a:lnTo>
                    <a:lnTo>
                      <a:pt x="73" y="635"/>
                    </a:lnTo>
                    <a:lnTo>
                      <a:pt x="78" y="637"/>
                    </a:lnTo>
                    <a:lnTo>
                      <a:pt x="78" y="640"/>
                    </a:lnTo>
                    <a:lnTo>
                      <a:pt x="80" y="640"/>
                    </a:lnTo>
                    <a:lnTo>
                      <a:pt x="82" y="637"/>
                    </a:lnTo>
                    <a:lnTo>
                      <a:pt x="83" y="638"/>
                    </a:lnTo>
                    <a:lnTo>
                      <a:pt x="83" y="640"/>
                    </a:lnTo>
                    <a:lnTo>
                      <a:pt x="83" y="642"/>
                    </a:lnTo>
                    <a:lnTo>
                      <a:pt x="87" y="638"/>
                    </a:lnTo>
                    <a:lnTo>
                      <a:pt x="88" y="635"/>
                    </a:lnTo>
                    <a:lnTo>
                      <a:pt x="92" y="637"/>
                    </a:lnTo>
                    <a:lnTo>
                      <a:pt x="90" y="638"/>
                    </a:lnTo>
                    <a:lnTo>
                      <a:pt x="88" y="642"/>
                    </a:lnTo>
                    <a:lnTo>
                      <a:pt x="92" y="642"/>
                    </a:lnTo>
                    <a:lnTo>
                      <a:pt x="93" y="643"/>
                    </a:lnTo>
                    <a:lnTo>
                      <a:pt x="92" y="645"/>
                    </a:lnTo>
                    <a:lnTo>
                      <a:pt x="88" y="648"/>
                    </a:lnTo>
                    <a:lnTo>
                      <a:pt x="93" y="648"/>
                    </a:lnTo>
                    <a:lnTo>
                      <a:pt x="97" y="643"/>
                    </a:lnTo>
                    <a:lnTo>
                      <a:pt x="95" y="640"/>
                    </a:lnTo>
                    <a:lnTo>
                      <a:pt x="97" y="638"/>
                    </a:lnTo>
                    <a:lnTo>
                      <a:pt x="102" y="638"/>
                    </a:lnTo>
                    <a:lnTo>
                      <a:pt x="105" y="640"/>
                    </a:lnTo>
                    <a:lnTo>
                      <a:pt x="107" y="638"/>
                    </a:lnTo>
                    <a:lnTo>
                      <a:pt x="103" y="635"/>
                    </a:lnTo>
                    <a:lnTo>
                      <a:pt x="103" y="633"/>
                    </a:lnTo>
                    <a:lnTo>
                      <a:pt x="108" y="635"/>
                    </a:lnTo>
                    <a:lnTo>
                      <a:pt x="112" y="640"/>
                    </a:lnTo>
                    <a:lnTo>
                      <a:pt x="118" y="640"/>
                    </a:lnTo>
                    <a:lnTo>
                      <a:pt x="123" y="642"/>
                    </a:lnTo>
                    <a:lnTo>
                      <a:pt x="127" y="640"/>
                    </a:lnTo>
                    <a:lnTo>
                      <a:pt x="127" y="637"/>
                    </a:lnTo>
                    <a:lnTo>
                      <a:pt x="132" y="638"/>
                    </a:lnTo>
                    <a:lnTo>
                      <a:pt x="138" y="642"/>
                    </a:lnTo>
                    <a:lnTo>
                      <a:pt x="138" y="640"/>
                    </a:lnTo>
                    <a:lnTo>
                      <a:pt x="143" y="642"/>
                    </a:lnTo>
                    <a:lnTo>
                      <a:pt x="168" y="653"/>
                    </a:lnTo>
                    <a:lnTo>
                      <a:pt x="185" y="663"/>
                    </a:lnTo>
                    <a:lnTo>
                      <a:pt x="188" y="666"/>
                    </a:lnTo>
                    <a:lnTo>
                      <a:pt x="193" y="668"/>
                    </a:lnTo>
                    <a:lnTo>
                      <a:pt x="200" y="676"/>
                    </a:lnTo>
                    <a:lnTo>
                      <a:pt x="203" y="676"/>
                    </a:lnTo>
                    <a:lnTo>
                      <a:pt x="201" y="675"/>
                    </a:lnTo>
                    <a:lnTo>
                      <a:pt x="201" y="673"/>
                    </a:lnTo>
                    <a:lnTo>
                      <a:pt x="205" y="673"/>
                    </a:lnTo>
                    <a:lnTo>
                      <a:pt x="211" y="678"/>
                    </a:lnTo>
                    <a:lnTo>
                      <a:pt x="215" y="678"/>
                    </a:lnTo>
                    <a:lnTo>
                      <a:pt x="221" y="683"/>
                    </a:lnTo>
                    <a:lnTo>
                      <a:pt x="225" y="681"/>
                    </a:lnTo>
                    <a:lnTo>
                      <a:pt x="221" y="676"/>
                    </a:lnTo>
                    <a:lnTo>
                      <a:pt x="220" y="675"/>
                    </a:lnTo>
                    <a:lnTo>
                      <a:pt x="223" y="675"/>
                    </a:lnTo>
                    <a:lnTo>
                      <a:pt x="228" y="680"/>
                    </a:lnTo>
                    <a:lnTo>
                      <a:pt x="226" y="683"/>
                    </a:lnTo>
                    <a:lnTo>
                      <a:pt x="236" y="690"/>
                    </a:lnTo>
                    <a:lnTo>
                      <a:pt x="236" y="693"/>
                    </a:lnTo>
                    <a:lnTo>
                      <a:pt x="241" y="695"/>
                    </a:lnTo>
                    <a:lnTo>
                      <a:pt x="243" y="693"/>
                    </a:lnTo>
                    <a:lnTo>
                      <a:pt x="246" y="693"/>
                    </a:lnTo>
                    <a:lnTo>
                      <a:pt x="251" y="698"/>
                    </a:lnTo>
                    <a:lnTo>
                      <a:pt x="253" y="705"/>
                    </a:lnTo>
                    <a:lnTo>
                      <a:pt x="256" y="706"/>
                    </a:lnTo>
                    <a:lnTo>
                      <a:pt x="261" y="711"/>
                    </a:lnTo>
                    <a:lnTo>
                      <a:pt x="263" y="711"/>
                    </a:lnTo>
                    <a:lnTo>
                      <a:pt x="265" y="713"/>
                    </a:lnTo>
                    <a:lnTo>
                      <a:pt x="265" y="718"/>
                    </a:lnTo>
                    <a:lnTo>
                      <a:pt x="265" y="723"/>
                    </a:lnTo>
                    <a:lnTo>
                      <a:pt x="263" y="730"/>
                    </a:lnTo>
                    <a:lnTo>
                      <a:pt x="261" y="733"/>
                    </a:lnTo>
                    <a:lnTo>
                      <a:pt x="261" y="736"/>
                    </a:lnTo>
                    <a:lnTo>
                      <a:pt x="256" y="741"/>
                    </a:lnTo>
                    <a:lnTo>
                      <a:pt x="256" y="745"/>
                    </a:lnTo>
                    <a:lnTo>
                      <a:pt x="246" y="756"/>
                    </a:lnTo>
                    <a:lnTo>
                      <a:pt x="240" y="760"/>
                    </a:lnTo>
                    <a:lnTo>
                      <a:pt x="231" y="761"/>
                    </a:lnTo>
                    <a:lnTo>
                      <a:pt x="228" y="763"/>
                    </a:lnTo>
                    <a:lnTo>
                      <a:pt x="221" y="763"/>
                    </a:lnTo>
                    <a:lnTo>
                      <a:pt x="220" y="764"/>
                    </a:lnTo>
                    <a:lnTo>
                      <a:pt x="208" y="766"/>
                    </a:lnTo>
                    <a:lnTo>
                      <a:pt x="195" y="766"/>
                    </a:lnTo>
                    <a:lnTo>
                      <a:pt x="186" y="763"/>
                    </a:lnTo>
                    <a:lnTo>
                      <a:pt x="181" y="760"/>
                    </a:lnTo>
                    <a:lnTo>
                      <a:pt x="178" y="761"/>
                    </a:lnTo>
                    <a:lnTo>
                      <a:pt x="173" y="761"/>
                    </a:lnTo>
                    <a:lnTo>
                      <a:pt x="167" y="761"/>
                    </a:lnTo>
                    <a:lnTo>
                      <a:pt x="167" y="758"/>
                    </a:lnTo>
                    <a:lnTo>
                      <a:pt x="162" y="758"/>
                    </a:lnTo>
                    <a:lnTo>
                      <a:pt x="158" y="760"/>
                    </a:lnTo>
                    <a:lnTo>
                      <a:pt x="152" y="755"/>
                    </a:lnTo>
                    <a:lnTo>
                      <a:pt x="152" y="751"/>
                    </a:lnTo>
                    <a:lnTo>
                      <a:pt x="148" y="753"/>
                    </a:lnTo>
                    <a:lnTo>
                      <a:pt x="143" y="751"/>
                    </a:lnTo>
                    <a:lnTo>
                      <a:pt x="145" y="751"/>
                    </a:lnTo>
                    <a:lnTo>
                      <a:pt x="138" y="751"/>
                    </a:lnTo>
                    <a:lnTo>
                      <a:pt x="135" y="753"/>
                    </a:lnTo>
                    <a:lnTo>
                      <a:pt x="130" y="753"/>
                    </a:lnTo>
                    <a:lnTo>
                      <a:pt x="130" y="750"/>
                    </a:lnTo>
                    <a:lnTo>
                      <a:pt x="128" y="750"/>
                    </a:lnTo>
                    <a:lnTo>
                      <a:pt x="132" y="748"/>
                    </a:lnTo>
                    <a:lnTo>
                      <a:pt x="128" y="745"/>
                    </a:lnTo>
                    <a:lnTo>
                      <a:pt x="128" y="746"/>
                    </a:lnTo>
                    <a:lnTo>
                      <a:pt x="120" y="746"/>
                    </a:lnTo>
                    <a:lnTo>
                      <a:pt x="115" y="743"/>
                    </a:lnTo>
                    <a:lnTo>
                      <a:pt x="113" y="745"/>
                    </a:lnTo>
                    <a:lnTo>
                      <a:pt x="110" y="745"/>
                    </a:lnTo>
                    <a:lnTo>
                      <a:pt x="100" y="736"/>
                    </a:lnTo>
                    <a:lnTo>
                      <a:pt x="100" y="731"/>
                    </a:lnTo>
                    <a:lnTo>
                      <a:pt x="93" y="731"/>
                    </a:lnTo>
                    <a:lnTo>
                      <a:pt x="92" y="730"/>
                    </a:lnTo>
                    <a:lnTo>
                      <a:pt x="87" y="730"/>
                    </a:lnTo>
                    <a:lnTo>
                      <a:pt x="87" y="731"/>
                    </a:lnTo>
                    <a:lnTo>
                      <a:pt x="92" y="735"/>
                    </a:lnTo>
                    <a:lnTo>
                      <a:pt x="93" y="741"/>
                    </a:lnTo>
                    <a:lnTo>
                      <a:pt x="98" y="745"/>
                    </a:lnTo>
                    <a:lnTo>
                      <a:pt x="100" y="748"/>
                    </a:lnTo>
                    <a:lnTo>
                      <a:pt x="107" y="750"/>
                    </a:lnTo>
                    <a:lnTo>
                      <a:pt x="108" y="751"/>
                    </a:lnTo>
                    <a:lnTo>
                      <a:pt x="103" y="753"/>
                    </a:lnTo>
                    <a:lnTo>
                      <a:pt x="102" y="756"/>
                    </a:lnTo>
                    <a:lnTo>
                      <a:pt x="102" y="756"/>
                    </a:lnTo>
                    <a:lnTo>
                      <a:pt x="110" y="755"/>
                    </a:lnTo>
                    <a:lnTo>
                      <a:pt x="113" y="753"/>
                    </a:lnTo>
                    <a:lnTo>
                      <a:pt x="117" y="755"/>
                    </a:lnTo>
                    <a:lnTo>
                      <a:pt x="113" y="756"/>
                    </a:lnTo>
                    <a:lnTo>
                      <a:pt x="113" y="758"/>
                    </a:lnTo>
                    <a:lnTo>
                      <a:pt x="118" y="758"/>
                    </a:lnTo>
                    <a:lnTo>
                      <a:pt x="117" y="761"/>
                    </a:lnTo>
                    <a:lnTo>
                      <a:pt x="113" y="763"/>
                    </a:lnTo>
                    <a:lnTo>
                      <a:pt x="110" y="764"/>
                    </a:lnTo>
                    <a:lnTo>
                      <a:pt x="117" y="766"/>
                    </a:lnTo>
                    <a:lnTo>
                      <a:pt x="118" y="764"/>
                    </a:lnTo>
                    <a:lnTo>
                      <a:pt x="122" y="764"/>
                    </a:lnTo>
                    <a:lnTo>
                      <a:pt x="125" y="766"/>
                    </a:lnTo>
                    <a:lnTo>
                      <a:pt x="127" y="764"/>
                    </a:lnTo>
                    <a:lnTo>
                      <a:pt x="138" y="768"/>
                    </a:lnTo>
                    <a:lnTo>
                      <a:pt x="143" y="774"/>
                    </a:lnTo>
                    <a:lnTo>
                      <a:pt x="147" y="776"/>
                    </a:lnTo>
                    <a:lnTo>
                      <a:pt x="145" y="778"/>
                    </a:lnTo>
                    <a:lnTo>
                      <a:pt x="145" y="781"/>
                    </a:lnTo>
                    <a:lnTo>
                      <a:pt x="147" y="781"/>
                    </a:lnTo>
                    <a:lnTo>
                      <a:pt x="147" y="786"/>
                    </a:lnTo>
                    <a:lnTo>
                      <a:pt x="145" y="793"/>
                    </a:lnTo>
                    <a:lnTo>
                      <a:pt x="142" y="794"/>
                    </a:lnTo>
                    <a:lnTo>
                      <a:pt x="142" y="798"/>
                    </a:lnTo>
                    <a:lnTo>
                      <a:pt x="145" y="799"/>
                    </a:lnTo>
                    <a:lnTo>
                      <a:pt x="145" y="804"/>
                    </a:lnTo>
                    <a:lnTo>
                      <a:pt x="152" y="809"/>
                    </a:lnTo>
                    <a:lnTo>
                      <a:pt x="152" y="813"/>
                    </a:lnTo>
                    <a:lnTo>
                      <a:pt x="157" y="816"/>
                    </a:lnTo>
                    <a:lnTo>
                      <a:pt x="157" y="821"/>
                    </a:lnTo>
                    <a:lnTo>
                      <a:pt x="157" y="826"/>
                    </a:lnTo>
                    <a:lnTo>
                      <a:pt x="155" y="829"/>
                    </a:lnTo>
                    <a:lnTo>
                      <a:pt x="158" y="831"/>
                    </a:lnTo>
                    <a:lnTo>
                      <a:pt x="160" y="834"/>
                    </a:lnTo>
                    <a:lnTo>
                      <a:pt x="170" y="838"/>
                    </a:lnTo>
                    <a:lnTo>
                      <a:pt x="173" y="834"/>
                    </a:lnTo>
                    <a:lnTo>
                      <a:pt x="176" y="836"/>
                    </a:lnTo>
                    <a:lnTo>
                      <a:pt x="180" y="839"/>
                    </a:lnTo>
                    <a:lnTo>
                      <a:pt x="183" y="841"/>
                    </a:lnTo>
                    <a:lnTo>
                      <a:pt x="183" y="848"/>
                    </a:lnTo>
                    <a:lnTo>
                      <a:pt x="186" y="849"/>
                    </a:lnTo>
                    <a:lnTo>
                      <a:pt x="193" y="849"/>
                    </a:lnTo>
                    <a:lnTo>
                      <a:pt x="196" y="851"/>
                    </a:lnTo>
                    <a:lnTo>
                      <a:pt x="203" y="851"/>
                    </a:lnTo>
                    <a:lnTo>
                      <a:pt x="208" y="854"/>
                    </a:lnTo>
                    <a:lnTo>
                      <a:pt x="211" y="854"/>
                    </a:lnTo>
                    <a:lnTo>
                      <a:pt x="216" y="849"/>
                    </a:lnTo>
                    <a:lnTo>
                      <a:pt x="220" y="849"/>
                    </a:lnTo>
                    <a:lnTo>
                      <a:pt x="223" y="848"/>
                    </a:lnTo>
                    <a:lnTo>
                      <a:pt x="223" y="841"/>
                    </a:lnTo>
                    <a:lnTo>
                      <a:pt x="220" y="839"/>
                    </a:lnTo>
                    <a:lnTo>
                      <a:pt x="221" y="836"/>
                    </a:lnTo>
                    <a:lnTo>
                      <a:pt x="221" y="834"/>
                    </a:lnTo>
                    <a:lnTo>
                      <a:pt x="216" y="833"/>
                    </a:lnTo>
                    <a:lnTo>
                      <a:pt x="215" y="829"/>
                    </a:lnTo>
                    <a:lnTo>
                      <a:pt x="211" y="833"/>
                    </a:lnTo>
                    <a:lnTo>
                      <a:pt x="208" y="833"/>
                    </a:lnTo>
                    <a:lnTo>
                      <a:pt x="203" y="834"/>
                    </a:lnTo>
                    <a:lnTo>
                      <a:pt x="198" y="831"/>
                    </a:lnTo>
                    <a:lnTo>
                      <a:pt x="193" y="826"/>
                    </a:lnTo>
                    <a:lnTo>
                      <a:pt x="186" y="823"/>
                    </a:lnTo>
                    <a:lnTo>
                      <a:pt x="186" y="818"/>
                    </a:lnTo>
                    <a:lnTo>
                      <a:pt x="183" y="813"/>
                    </a:lnTo>
                    <a:lnTo>
                      <a:pt x="186" y="813"/>
                    </a:lnTo>
                    <a:lnTo>
                      <a:pt x="190" y="809"/>
                    </a:lnTo>
                    <a:lnTo>
                      <a:pt x="188" y="808"/>
                    </a:lnTo>
                    <a:lnTo>
                      <a:pt x="190" y="804"/>
                    </a:lnTo>
                    <a:lnTo>
                      <a:pt x="188" y="803"/>
                    </a:lnTo>
                    <a:lnTo>
                      <a:pt x="190" y="799"/>
                    </a:lnTo>
                    <a:lnTo>
                      <a:pt x="195" y="799"/>
                    </a:lnTo>
                    <a:lnTo>
                      <a:pt x="200" y="803"/>
                    </a:lnTo>
                    <a:lnTo>
                      <a:pt x="206" y="804"/>
                    </a:lnTo>
                    <a:lnTo>
                      <a:pt x="210" y="808"/>
                    </a:lnTo>
                    <a:lnTo>
                      <a:pt x="215" y="811"/>
                    </a:lnTo>
                    <a:lnTo>
                      <a:pt x="223" y="813"/>
                    </a:lnTo>
                    <a:lnTo>
                      <a:pt x="225" y="814"/>
                    </a:lnTo>
                    <a:lnTo>
                      <a:pt x="230" y="816"/>
                    </a:lnTo>
                    <a:lnTo>
                      <a:pt x="246" y="823"/>
                    </a:lnTo>
                    <a:lnTo>
                      <a:pt x="251" y="828"/>
                    </a:lnTo>
                    <a:lnTo>
                      <a:pt x="255" y="824"/>
                    </a:lnTo>
                    <a:lnTo>
                      <a:pt x="260" y="821"/>
                    </a:lnTo>
                    <a:lnTo>
                      <a:pt x="258" y="816"/>
                    </a:lnTo>
                    <a:lnTo>
                      <a:pt x="263" y="816"/>
                    </a:lnTo>
                    <a:lnTo>
                      <a:pt x="266" y="813"/>
                    </a:lnTo>
                    <a:lnTo>
                      <a:pt x="260" y="803"/>
                    </a:lnTo>
                    <a:lnTo>
                      <a:pt x="250" y="793"/>
                    </a:lnTo>
                    <a:lnTo>
                      <a:pt x="246" y="788"/>
                    </a:lnTo>
                    <a:lnTo>
                      <a:pt x="246" y="783"/>
                    </a:lnTo>
                    <a:lnTo>
                      <a:pt x="253" y="778"/>
                    </a:lnTo>
                    <a:lnTo>
                      <a:pt x="260" y="773"/>
                    </a:lnTo>
                    <a:lnTo>
                      <a:pt x="260" y="766"/>
                    </a:lnTo>
                    <a:lnTo>
                      <a:pt x="265" y="763"/>
                    </a:lnTo>
                    <a:lnTo>
                      <a:pt x="269" y="761"/>
                    </a:lnTo>
                    <a:lnTo>
                      <a:pt x="278" y="756"/>
                    </a:lnTo>
                    <a:lnTo>
                      <a:pt x="283" y="746"/>
                    </a:lnTo>
                    <a:lnTo>
                      <a:pt x="286" y="743"/>
                    </a:lnTo>
                    <a:lnTo>
                      <a:pt x="293" y="745"/>
                    </a:lnTo>
                    <a:lnTo>
                      <a:pt x="298" y="748"/>
                    </a:lnTo>
                    <a:lnTo>
                      <a:pt x="304" y="746"/>
                    </a:lnTo>
                    <a:lnTo>
                      <a:pt x="313" y="748"/>
                    </a:lnTo>
                    <a:lnTo>
                      <a:pt x="314" y="751"/>
                    </a:lnTo>
                    <a:lnTo>
                      <a:pt x="314" y="755"/>
                    </a:lnTo>
                    <a:lnTo>
                      <a:pt x="319" y="750"/>
                    </a:lnTo>
                    <a:lnTo>
                      <a:pt x="326" y="755"/>
                    </a:lnTo>
                    <a:lnTo>
                      <a:pt x="328" y="760"/>
                    </a:lnTo>
                    <a:lnTo>
                      <a:pt x="331" y="763"/>
                    </a:lnTo>
                    <a:lnTo>
                      <a:pt x="329" y="755"/>
                    </a:lnTo>
                    <a:lnTo>
                      <a:pt x="326" y="748"/>
                    </a:lnTo>
                    <a:lnTo>
                      <a:pt x="329" y="746"/>
                    </a:lnTo>
                    <a:lnTo>
                      <a:pt x="329" y="736"/>
                    </a:lnTo>
                    <a:lnTo>
                      <a:pt x="329" y="733"/>
                    </a:lnTo>
                    <a:lnTo>
                      <a:pt x="328" y="731"/>
                    </a:lnTo>
                    <a:lnTo>
                      <a:pt x="328" y="730"/>
                    </a:lnTo>
                    <a:lnTo>
                      <a:pt x="329" y="726"/>
                    </a:lnTo>
                    <a:lnTo>
                      <a:pt x="328" y="723"/>
                    </a:lnTo>
                    <a:lnTo>
                      <a:pt x="329" y="721"/>
                    </a:lnTo>
                    <a:lnTo>
                      <a:pt x="326" y="718"/>
                    </a:lnTo>
                    <a:lnTo>
                      <a:pt x="319" y="715"/>
                    </a:lnTo>
                    <a:lnTo>
                      <a:pt x="313" y="716"/>
                    </a:lnTo>
                    <a:lnTo>
                      <a:pt x="311" y="710"/>
                    </a:lnTo>
                    <a:lnTo>
                      <a:pt x="313" y="705"/>
                    </a:lnTo>
                    <a:lnTo>
                      <a:pt x="313" y="695"/>
                    </a:lnTo>
                    <a:lnTo>
                      <a:pt x="314" y="693"/>
                    </a:lnTo>
                    <a:lnTo>
                      <a:pt x="313" y="690"/>
                    </a:lnTo>
                    <a:lnTo>
                      <a:pt x="313" y="686"/>
                    </a:lnTo>
                    <a:lnTo>
                      <a:pt x="316" y="685"/>
                    </a:lnTo>
                    <a:lnTo>
                      <a:pt x="313" y="681"/>
                    </a:lnTo>
                    <a:lnTo>
                      <a:pt x="313" y="676"/>
                    </a:lnTo>
                    <a:lnTo>
                      <a:pt x="309" y="666"/>
                    </a:lnTo>
                    <a:lnTo>
                      <a:pt x="303" y="663"/>
                    </a:lnTo>
                    <a:lnTo>
                      <a:pt x="291" y="653"/>
                    </a:lnTo>
                    <a:lnTo>
                      <a:pt x="289" y="652"/>
                    </a:lnTo>
                    <a:lnTo>
                      <a:pt x="296" y="652"/>
                    </a:lnTo>
                    <a:lnTo>
                      <a:pt x="306" y="658"/>
                    </a:lnTo>
                    <a:lnTo>
                      <a:pt x="311" y="658"/>
                    </a:lnTo>
                    <a:lnTo>
                      <a:pt x="316" y="655"/>
                    </a:lnTo>
                    <a:lnTo>
                      <a:pt x="324" y="655"/>
                    </a:lnTo>
                    <a:lnTo>
                      <a:pt x="338" y="657"/>
                    </a:lnTo>
                    <a:lnTo>
                      <a:pt x="343" y="660"/>
                    </a:lnTo>
                    <a:lnTo>
                      <a:pt x="343" y="663"/>
                    </a:lnTo>
                    <a:lnTo>
                      <a:pt x="348" y="670"/>
                    </a:lnTo>
                    <a:lnTo>
                      <a:pt x="354" y="670"/>
                    </a:lnTo>
                    <a:lnTo>
                      <a:pt x="354" y="673"/>
                    </a:lnTo>
                    <a:lnTo>
                      <a:pt x="361" y="681"/>
                    </a:lnTo>
                    <a:lnTo>
                      <a:pt x="361" y="685"/>
                    </a:lnTo>
                    <a:lnTo>
                      <a:pt x="353" y="685"/>
                    </a:lnTo>
                    <a:lnTo>
                      <a:pt x="349" y="686"/>
                    </a:lnTo>
                    <a:lnTo>
                      <a:pt x="343" y="686"/>
                    </a:lnTo>
                    <a:lnTo>
                      <a:pt x="339" y="690"/>
                    </a:lnTo>
                    <a:lnTo>
                      <a:pt x="341" y="691"/>
                    </a:lnTo>
                    <a:lnTo>
                      <a:pt x="339" y="695"/>
                    </a:lnTo>
                    <a:lnTo>
                      <a:pt x="336" y="693"/>
                    </a:lnTo>
                    <a:lnTo>
                      <a:pt x="334" y="696"/>
                    </a:lnTo>
                    <a:lnTo>
                      <a:pt x="334" y="703"/>
                    </a:lnTo>
                    <a:lnTo>
                      <a:pt x="338" y="705"/>
                    </a:lnTo>
                    <a:lnTo>
                      <a:pt x="348" y="711"/>
                    </a:lnTo>
                    <a:lnTo>
                      <a:pt x="358" y="723"/>
                    </a:lnTo>
                    <a:lnTo>
                      <a:pt x="363" y="723"/>
                    </a:lnTo>
                    <a:lnTo>
                      <a:pt x="367" y="720"/>
                    </a:lnTo>
                    <a:lnTo>
                      <a:pt x="371" y="725"/>
                    </a:lnTo>
                    <a:lnTo>
                      <a:pt x="374" y="721"/>
                    </a:lnTo>
                    <a:lnTo>
                      <a:pt x="379" y="721"/>
                    </a:lnTo>
                    <a:lnTo>
                      <a:pt x="379" y="720"/>
                    </a:lnTo>
                    <a:lnTo>
                      <a:pt x="389" y="716"/>
                    </a:lnTo>
                    <a:lnTo>
                      <a:pt x="391" y="711"/>
                    </a:lnTo>
                    <a:lnTo>
                      <a:pt x="387" y="705"/>
                    </a:lnTo>
                    <a:lnTo>
                      <a:pt x="391" y="700"/>
                    </a:lnTo>
                    <a:lnTo>
                      <a:pt x="391" y="695"/>
                    </a:lnTo>
                    <a:lnTo>
                      <a:pt x="387" y="691"/>
                    </a:lnTo>
                    <a:lnTo>
                      <a:pt x="389" y="690"/>
                    </a:lnTo>
                    <a:lnTo>
                      <a:pt x="402" y="688"/>
                    </a:lnTo>
                    <a:lnTo>
                      <a:pt x="404" y="686"/>
                    </a:lnTo>
                    <a:lnTo>
                      <a:pt x="412" y="688"/>
                    </a:lnTo>
                    <a:lnTo>
                      <a:pt x="412" y="685"/>
                    </a:lnTo>
                    <a:lnTo>
                      <a:pt x="406" y="681"/>
                    </a:lnTo>
                    <a:lnTo>
                      <a:pt x="402" y="676"/>
                    </a:lnTo>
                    <a:lnTo>
                      <a:pt x="406" y="676"/>
                    </a:lnTo>
                    <a:lnTo>
                      <a:pt x="409" y="680"/>
                    </a:lnTo>
                    <a:lnTo>
                      <a:pt x="414" y="678"/>
                    </a:lnTo>
                    <a:lnTo>
                      <a:pt x="422" y="668"/>
                    </a:lnTo>
                    <a:lnTo>
                      <a:pt x="426" y="666"/>
                    </a:lnTo>
                    <a:lnTo>
                      <a:pt x="436" y="657"/>
                    </a:lnTo>
                    <a:lnTo>
                      <a:pt x="436" y="653"/>
                    </a:lnTo>
                    <a:lnTo>
                      <a:pt x="437" y="652"/>
                    </a:lnTo>
                    <a:lnTo>
                      <a:pt x="442" y="653"/>
                    </a:lnTo>
                    <a:lnTo>
                      <a:pt x="449" y="650"/>
                    </a:lnTo>
                    <a:lnTo>
                      <a:pt x="451" y="648"/>
                    </a:lnTo>
                    <a:lnTo>
                      <a:pt x="461" y="645"/>
                    </a:lnTo>
                    <a:lnTo>
                      <a:pt x="461" y="648"/>
                    </a:lnTo>
                    <a:lnTo>
                      <a:pt x="462" y="648"/>
                    </a:lnTo>
                    <a:lnTo>
                      <a:pt x="464" y="652"/>
                    </a:lnTo>
                    <a:lnTo>
                      <a:pt x="462" y="655"/>
                    </a:lnTo>
                    <a:lnTo>
                      <a:pt x="464" y="657"/>
                    </a:lnTo>
                    <a:lnTo>
                      <a:pt x="470" y="652"/>
                    </a:lnTo>
                    <a:lnTo>
                      <a:pt x="470" y="648"/>
                    </a:lnTo>
                    <a:lnTo>
                      <a:pt x="467" y="647"/>
                    </a:lnTo>
                    <a:lnTo>
                      <a:pt x="464" y="643"/>
                    </a:lnTo>
                    <a:lnTo>
                      <a:pt x="464" y="642"/>
                    </a:lnTo>
                    <a:lnTo>
                      <a:pt x="472" y="633"/>
                    </a:lnTo>
                    <a:lnTo>
                      <a:pt x="474" y="633"/>
                    </a:lnTo>
                    <a:lnTo>
                      <a:pt x="475" y="637"/>
                    </a:lnTo>
                    <a:lnTo>
                      <a:pt x="474" y="637"/>
                    </a:lnTo>
                    <a:lnTo>
                      <a:pt x="472" y="638"/>
                    </a:lnTo>
                    <a:lnTo>
                      <a:pt x="475" y="643"/>
                    </a:lnTo>
                    <a:lnTo>
                      <a:pt x="479" y="643"/>
                    </a:lnTo>
                    <a:lnTo>
                      <a:pt x="482" y="640"/>
                    </a:lnTo>
                    <a:lnTo>
                      <a:pt x="480" y="637"/>
                    </a:lnTo>
                    <a:lnTo>
                      <a:pt x="479" y="633"/>
                    </a:lnTo>
                    <a:lnTo>
                      <a:pt x="477" y="632"/>
                    </a:lnTo>
                    <a:lnTo>
                      <a:pt x="480" y="628"/>
                    </a:lnTo>
                    <a:lnTo>
                      <a:pt x="494" y="623"/>
                    </a:lnTo>
                    <a:lnTo>
                      <a:pt x="502" y="622"/>
                    </a:lnTo>
                    <a:lnTo>
                      <a:pt x="504" y="623"/>
                    </a:lnTo>
                    <a:lnTo>
                      <a:pt x="499" y="627"/>
                    </a:lnTo>
                    <a:lnTo>
                      <a:pt x="494" y="627"/>
                    </a:lnTo>
                    <a:lnTo>
                      <a:pt x="485" y="630"/>
                    </a:lnTo>
                    <a:lnTo>
                      <a:pt x="487" y="632"/>
                    </a:lnTo>
                    <a:lnTo>
                      <a:pt x="490" y="633"/>
                    </a:lnTo>
                    <a:lnTo>
                      <a:pt x="494" y="632"/>
                    </a:lnTo>
                    <a:lnTo>
                      <a:pt x="499" y="637"/>
                    </a:lnTo>
                    <a:lnTo>
                      <a:pt x="495" y="638"/>
                    </a:lnTo>
                    <a:lnTo>
                      <a:pt x="495" y="640"/>
                    </a:lnTo>
                    <a:lnTo>
                      <a:pt x="497" y="643"/>
                    </a:lnTo>
                    <a:lnTo>
                      <a:pt x="495" y="647"/>
                    </a:lnTo>
                    <a:lnTo>
                      <a:pt x="490" y="647"/>
                    </a:lnTo>
                    <a:lnTo>
                      <a:pt x="485" y="652"/>
                    </a:lnTo>
                    <a:lnTo>
                      <a:pt x="487" y="655"/>
                    </a:lnTo>
                    <a:lnTo>
                      <a:pt x="490" y="657"/>
                    </a:lnTo>
                    <a:lnTo>
                      <a:pt x="494" y="655"/>
                    </a:lnTo>
                    <a:lnTo>
                      <a:pt x="497" y="655"/>
                    </a:lnTo>
                    <a:lnTo>
                      <a:pt x="500" y="653"/>
                    </a:lnTo>
                    <a:lnTo>
                      <a:pt x="505" y="655"/>
                    </a:lnTo>
                    <a:lnTo>
                      <a:pt x="505" y="660"/>
                    </a:lnTo>
                    <a:lnTo>
                      <a:pt x="509" y="655"/>
                    </a:lnTo>
                    <a:lnTo>
                      <a:pt x="514" y="650"/>
                    </a:lnTo>
                    <a:lnTo>
                      <a:pt x="515" y="650"/>
                    </a:lnTo>
                    <a:lnTo>
                      <a:pt x="517" y="652"/>
                    </a:lnTo>
                    <a:lnTo>
                      <a:pt x="522" y="655"/>
                    </a:lnTo>
                    <a:lnTo>
                      <a:pt x="524" y="653"/>
                    </a:lnTo>
                    <a:lnTo>
                      <a:pt x="522" y="650"/>
                    </a:lnTo>
                    <a:lnTo>
                      <a:pt x="524" y="648"/>
                    </a:lnTo>
                    <a:lnTo>
                      <a:pt x="520" y="645"/>
                    </a:lnTo>
                    <a:lnTo>
                      <a:pt x="520" y="643"/>
                    </a:lnTo>
                    <a:lnTo>
                      <a:pt x="524" y="640"/>
                    </a:lnTo>
                    <a:lnTo>
                      <a:pt x="529" y="638"/>
                    </a:lnTo>
                    <a:lnTo>
                      <a:pt x="530" y="637"/>
                    </a:lnTo>
                    <a:lnTo>
                      <a:pt x="537" y="633"/>
                    </a:lnTo>
                    <a:lnTo>
                      <a:pt x="539" y="635"/>
                    </a:lnTo>
                    <a:lnTo>
                      <a:pt x="542" y="635"/>
                    </a:lnTo>
                    <a:lnTo>
                      <a:pt x="545" y="633"/>
                    </a:lnTo>
                    <a:lnTo>
                      <a:pt x="549" y="635"/>
                    </a:lnTo>
                    <a:lnTo>
                      <a:pt x="559" y="635"/>
                    </a:lnTo>
                    <a:lnTo>
                      <a:pt x="562" y="632"/>
                    </a:lnTo>
                    <a:lnTo>
                      <a:pt x="562" y="630"/>
                    </a:lnTo>
                    <a:lnTo>
                      <a:pt x="565" y="627"/>
                    </a:lnTo>
                    <a:lnTo>
                      <a:pt x="572" y="627"/>
                    </a:lnTo>
                    <a:lnTo>
                      <a:pt x="572" y="625"/>
                    </a:lnTo>
                    <a:lnTo>
                      <a:pt x="577" y="620"/>
                    </a:lnTo>
                    <a:lnTo>
                      <a:pt x="580" y="620"/>
                    </a:lnTo>
                    <a:lnTo>
                      <a:pt x="587" y="613"/>
                    </a:lnTo>
                    <a:lnTo>
                      <a:pt x="588" y="613"/>
                    </a:lnTo>
                    <a:lnTo>
                      <a:pt x="592" y="612"/>
                    </a:lnTo>
                    <a:lnTo>
                      <a:pt x="593" y="613"/>
                    </a:lnTo>
                    <a:lnTo>
                      <a:pt x="590" y="618"/>
                    </a:lnTo>
                    <a:lnTo>
                      <a:pt x="593" y="618"/>
                    </a:lnTo>
                    <a:lnTo>
                      <a:pt x="598" y="623"/>
                    </a:lnTo>
                    <a:lnTo>
                      <a:pt x="598" y="625"/>
                    </a:lnTo>
                    <a:lnTo>
                      <a:pt x="595" y="628"/>
                    </a:lnTo>
                    <a:lnTo>
                      <a:pt x="597" y="633"/>
                    </a:lnTo>
                    <a:lnTo>
                      <a:pt x="595" y="637"/>
                    </a:lnTo>
                    <a:lnTo>
                      <a:pt x="598" y="640"/>
                    </a:lnTo>
                    <a:lnTo>
                      <a:pt x="612" y="640"/>
                    </a:lnTo>
                    <a:lnTo>
                      <a:pt x="613" y="638"/>
                    </a:lnTo>
                    <a:lnTo>
                      <a:pt x="613" y="635"/>
                    </a:lnTo>
                    <a:lnTo>
                      <a:pt x="612" y="633"/>
                    </a:lnTo>
                    <a:lnTo>
                      <a:pt x="607" y="628"/>
                    </a:lnTo>
                    <a:lnTo>
                      <a:pt x="607" y="625"/>
                    </a:lnTo>
                    <a:lnTo>
                      <a:pt x="610" y="623"/>
                    </a:lnTo>
                    <a:lnTo>
                      <a:pt x="617" y="625"/>
                    </a:lnTo>
                    <a:lnTo>
                      <a:pt x="622" y="623"/>
                    </a:lnTo>
                    <a:lnTo>
                      <a:pt x="623" y="615"/>
                    </a:lnTo>
                    <a:lnTo>
                      <a:pt x="627" y="615"/>
                    </a:lnTo>
                    <a:lnTo>
                      <a:pt x="630" y="617"/>
                    </a:lnTo>
                    <a:lnTo>
                      <a:pt x="637" y="618"/>
                    </a:lnTo>
                    <a:lnTo>
                      <a:pt x="630" y="612"/>
                    </a:lnTo>
                    <a:lnTo>
                      <a:pt x="623" y="610"/>
                    </a:lnTo>
                    <a:lnTo>
                      <a:pt x="623" y="607"/>
                    </a:lnTo>
                    <a:lnTo>
                      <a:pt x="618" y="600"/>
                    </a:lnTo>
                    <a:lnTo>
                      <a:pt x="617" y="598"/>
                    </a:lnTo>
                    <a:lnTo>
                      <a:pt x="615" y="603"/>
                    </a:lnTo>
                    <a:lnTo>
                      <a:pt x="613" y="598"/>
                    </a:lnTo>
                    <a:lnTo>
                      <a:pt x="610" y="592"/>
                    </a:lnTo>
                    <a:lnTo>
                      <a:pt x="607" y="590"/>
                    </a:lnTo>
                    <a:lnTo>
                      <a:pt x="603" y="585"/>
                    </a:lnTo>
                    <a:lnTo>
                      <a:pt x="603" y="583"/>
                    </a:lnTo>
                    <a:lnTo>
                      <a:pt x="608" y="582"/>
                    </a:lnTo>
                    <a:lnTo>
                      <a:pt x="608" y="577"/>
                    </a:lnTo>
                    <a:lnTo>
                      <a:pt x="607" y="573"/>
                    </a:lnTo>
                    <a:lnTo>
                      <a:pt x="610" y="570"/>
                    </a:lnTo>
                    <a:lnTo>
                      <a:pt x="613" y="572"/>
                    </a:lnTo>
                    <a:lnTo>
                      <a:pt x="615" y="570"/>
                    </a:lnTo>
                    <a:lnTo>
                      <a:pt x="620" y="572"/>
                    </a:lnTo>
                    <a:lnTo>
                      <a:pt x="623" y="572"/>
                    </a:lnTo>
                    <a:lnTo>
                      <a:pt x="628" y="573"/>
                    </a:lnTo>
                    <a:lnTo>
                      <a:pt x="647" y="570"/>
                    </a:lnTo>
                    <a:lnTo>
                      <a:pt x="670" y="572"/>
                    </a:lnTo>
                    <a:lnTo>
                      <a:pt x="676" y="577"/>
                    </a:lnTo>
                    <a:lnTo>
                      <a:pt x="693" y="582"/>
                    </a:lnTo>
                    <a:lnTo>
                      <a:pt x="693" y="585"/>
                    </a:lnTo>
                    <a:lnTo>
                      <a:pt x="693" y="587"/>
                    </a:lnTo>
                    <a:lnTo>
                      <a:pt x="695" y="592"/>
                    </a:lnTo>
                    <a:lnTo>
                      <a:pt x="700" y="588"/>
                    </a:lnTo>
                    <a:lnTo>
                      <a:pt x="706" y="585"/>
                    </a:lnTo>
                    <a:lnTo>
                      <a:pt x="710" y="588"/>
                    </a:lnTo>
                    <a:lnTo>
                      <a:pt x="713" y="590"/>
                    </a:lnTo>
                    <a:lnTo>
                      <a:pt x="715" y="593"/>
                    </a:lnTo>
                    <a:lnTo>
                      <a:pt x="723" y="595"/>
                    </a:lnTo>
                    <a:lnTo>
                      <a:pt x="736" y="602"/>
                    </a:lnTo>
                    <a:lnTo>
                      <a:pt x="750" y="602"/>
                    </a:lnTo>
                    <a:lnTo>
                      <a:pt x="755" y="607"/>
                    </a:lnTo>
                    <a:lnTo>
                      <a:pt x="758" y="612"/>
                    </a:lnTo>
                    <a:lnTo>
                      <a:pt x="764" y="613"/>
                    </a:lnTo>
                    <a:lnTo>
                      <a:pt x="771" y="618"/>
                    </a:lnTo>
                    <a:lnTo>
                      <a:pt x="778" y="628"/>
                    </a:lnTo>
                    <a:lnTo>
                      <a:pt x="783" y="628"/>
                    </a:lnTo>
                    <a:lnTo>
                      <a:pt x="783" y="627"/>
                    </a:lnTo>
                    <a:lnTo>
                      <a:pt x="781" y="620"/>
                    </a:lnTo>
                    <a:lnTo>
                      <a:pt x="784" y="620"/>
                    </a:lnTo>
                    <a:lnTo>
                      <a:pt x="786" y="618"/>
                    </a:lnTo>
                    <a:lnTo>
                      <a:pt x="783" y="613"/>
                    </a:lnTo>
                    <a:lnTo>
                      <a:pt x="783" y="610"/>
                    </a:lnTo>
                    <a:lnTo>
                      <a:pt x="783" y="598"/>
                    </a:lnTo>
                    <a:lnTo>
                      <a:pt x="788" y="595"/>
                    </a:lnTo>
                    <a:lnTo>
                      <a:pt x="783" y="595"/>
                    </a:lnTo>
                    <a:lnTo>
                      <a:pt x="783" y="593"/>
                    </a:lnTo>
                    <a:lnTo>
                      <a:pt x="778" y="593"/>
                    </a:lnTo>
                    <a:lnTo>
                      <a:pt x="774" y="595"/>
                    </a:lnTo>
                    <a:lnTo>
                      <a:pt x="769" y="595"/>
                    </a:lnTo>
                    <a:lnTo>
                      <a:pt x="760" y="583"/>
                    </a:lnTo>
                    <a:lnTo>
                      <a:pt x="756" y="583"/>
                    </a:lnTo>
                    <a:lnTo>
                      <a:pt x="753" y="578"/>
                    </a:lnTo>
                    <a:lnTo>
                      <a:pt x="753" y="572"/>
                    </a:lnTo>
                    <a:lnTo>
                      <a:pt x="751" y="568"/>
                    </a:lnTo>
                    <a:lnTo>
                      <a:pt x="746" y="575"/>
                    </a:lnTo>
                    <a:lnTo>
                      <a:pt x="741" y="572"/>
                    </a:lnTo>
                    <a:lnTo>
                      <a:pt x="735" y="572"/>
                    </a:lnTo>
                    <a:lnTo>
                      <a:pt x="731" y="568"/>
                    </a:lnTo>
                    <a:lnTo>
                      <a:pt x="728" y="572"/>
                    </a:lnTo>
                    <a:lnTo>
                      <a:pt x="726" y="565"/>
                    </a:lnTo>
                    <a:lnTo>
                      <a:pt x="723" y="562"/>
                    </a:lnTo>
                    <a:lnTo>
                      <a:pt x="720" y="552"/>
                    </a:lnTo>
                    <a:lnTo>
                      <a:pt x="720" y="549"/>
                    </a:lnTo>
                    <a:lnTo>
                      <a:pt x="723" y="552"/>
                    </a:lnTo>
                    <a:lnTo>
                      <a:pt x="726" y="549"/>
                    </a:lnTo>
                    <a:lnTo>
                      <a:pt x="726" y="544"/>
                    </a:lnTo>
                    <a:lnTo>
                      <a:pt x="718" y="539"/>
                    </a:lnTo>
                    <a:lnTo>
                      <a:pt x="718" y="534"/>
                    </a:lnTo>
                    <a:lnTo>
                      <a:pt x="721" y="529"/>
                    </a:lnTo>
                    <a:lnTo>
                      <a:pt x="725" y="530"/>
                    </a:lnTo>
                    <a:lnTo>
                      <a:pt x="721" y="527"/>
                    </a:lnTo>
                    <a:lnTo>
                      <a:pt x="715" y="525"/>
                    </a:lnTo>
                    <a:lnTo>
                      <a:pt x="711" y="519"/>
                    </a:lnTo>
                    <a:lnTo>
                      <a:pt x="708" y="515"/>
                    </a:lnTo>
                    <a:lnTo>
                      <a:pt x="705" y="517"/>
                    </a:lnTo>
                    <a:lnTo>
                      <a:pt x="700" y="512"/>
                    </a:lnTo>
                    <a:lnTo>
                      <a:pt x="700" y="505"/>
                    </a:lnTo>
                    <a:lnTo>
                      <a:pt x="703" y="500"/>
                    </a:lnTo>
                    <a:lnTo>
                      <a:pt x="700" y="497"/>
                    </a:lnTo>
                    <a:lnTo>
                      <a:pt x="700" y="494"/>
                    </a:lnTo>
                    <a:lnTo>
                      <a:pt x="703" y="490"/>
                    </a:lnTo>
                    <a:lnTo>
                      <a:pt x="711" y="479"/>
                    </a:lnTo>
                    <a:lnTo>
                      <a:pt x="716" y="475"/>
                    </a:lnTo>
                    <a:lnTo>
                      <a:pt x="718" y="474"/>
                    </a:lnTo>
                    <a:lnTo>
                      <a:pt x="715" y="467"/>
                    </a:lnTo>
                    <a:lnTo>
                      <a:pt x="715" y="464"/>
                    </a:lnTo>
                    <a:lnTo>
                      <a:pt x="718" y="457"/>
                    </a:lnTo>
                    <a:lnTo>
                      <a:pt x="715" y="452"/>
                    </a:lnTo>
                    <a:lnTo>
                      <a:pt x="713" y="446"/>
                    </a:lnTo>
                    <a:lnTo>
                      <a:pt x="716" y="442"/>
                    </a:lnTo>
                    <a:lnTo>
                      <a:pt x="715" y="439"/>
                    </a:lnTo>
                    <a:lnTo>
                      <a:pt x="715" y="434"/>
                    </a:lnTo>
                    <a:lnTo>
                      <a:pt x="711" y="432"/>
                    </a:lnTo>
                    <a:lnTo>
                      <a:pt x="713" y="424"/>
                    </a:lnTo>
                    <a:lnTo>
                      <a:pt x="715" y="422"/>
                    </a:lnTo>
                    <a:lnTo>
                      <a:pt x="711" y="417"/>
                    </a:lnTo>
                    <a:lnTo>
                      <a:pt x="713" y="409"/>
                    </a:lnTo>
                    <a:lnTo>
                      <a:pt x="711" y="401"/>
                    </a:lnTo>
                    <a:lnTo>
                      <a:pt x="716" y="399"/>
                    </a:lnTo>
                    <a:lnTo>
                      <a:pt x="720" y="401"/>
                    </a:lnTo>
                    <a:lnTo>
                      <a:pt x="718" y="402"/>
                    </a:lnTo>
                    <a:lnTo>
                      <a:pt x="720" y="406"/>
                    </a:lnTo>
                    <a:lnTo>
                      <a:pt x="725" y="402"/>
                    </a:lnTo>
                    <a:lnTo>
                      <a:pt x="731" y="402"/>
                    </a:lnTo>
                    <a:lnTo>
                      <a:pt x="738" y="399"/>
                    </a:lnTo>
                    <a:lnTo>
                      <a:pt x="743" y="401"/>
                    </a:lnTo>
                    <a:lnTo>
                      <a:pt x="746" y="402"/>
                    </a:lnTo>
                    <a:lnTo>
                      <a:pt x="750" y="399"/>
                    </a:lnTo>
                    <a:lnTo>
                      <a:pt x="755" y="399"/>
                    </a:lnTo>
                    <a:lnTo>
                      <a:pt x="769" y="406"/>
                    </a:lnTo>
                    <a:lnTo>
                      <a:pt x="776" y="406"/>
                    </a:lnTo>
                    <a:lnTo>
                      <a:pt x="781" y="406"/>
                    </a:lnTo>
                    <a:lnTo>
                      <a:pt x="783" y="411"/>
                    </a:lnTo>
                    <a:lnTo>
                      <a:pt x="779" y="412"/>
                    </a:lnTo>
                    <a:lnTo>
                      <a:pt x="783" y="417"/>
                    </a:lnTo>
                    <a:lnTo>
                      <a:pt x="783" y="422"/>
                    </a:lnTo>
                    <a:lnTo>
                      <a:pt x="784" y="424"/>
                    </a:lnTo>
                    <a:lnTo>
                      <a:pt x="784" y="432"/>
                    </a:lnTo>
                    <a:lnTo>
                      <a:pt x="788" y="439"/>
                    </a:lnTo>
                    <a:lnTo>
                      <a:pt x="786" y="451"/>
                    </a:lnTo>
                    <a:lnTo>
                      <a:pt x="788" y="454"/>
                    </a:lnTo>
                    <a:lnTo>
                      <a:pt x="788" y="457"/>
                    </a:lnTo>
                    <a:lnTo>
                      <a:pt x="789" y="461"/>
                    </a:lnTo>
                    <a:lnTo>
                      <a:pt x="788" y="466"/>
                    </a:lnTo>
                    <a:lnTo>
                      <a:pt x="786" y="467"/>
                    </a:lnTo>
                    <a:lnTo>
                      <a:pt x="788" y="472"/>
                    </a:lnTo>
                    <a:lnTo>
                      <a:pt x="793" y="475"/>
                    </a:lnTo>
                    <a:lnTo>
                      <a:pt x="796" y="482"/>
                    </a:lnTo>
                    <a:lnTo>
                      <a:pt x="801" y="484"/>
                    </a:lnTo>
                    <a:lnTo>
                      <a:pt x="801" y="484"/>
                    </a:lnTo>
                    <a:lnTo>
                      <a:pt x="804" y="484"/>
                    </a:lnTo>
                    <a:lnTo>
                      <a:pt x="808" y="485"/>
                    </a:lnTo>
                    <a:lnTo>
                      <a:pt x="809" y="494"/>
                    </a:lnTo>
                    <a:lnTo>
                      <a:pt x="816" y="497"/>
                    </a:lnTo>
                    <a:lnTo>
                      <a:pt x="818" y="502"/>
                    </a:lnTo>
                    <a:lnTo>
                      <a:pt x="821" y="515"/>
                    </a:lnTo>
                    <a:lnTo>
                      <a:pt x="824" y="519"/>
                    </a:lnTo>
                    <a:lnTo>
                      <a:pt x="824" y="522"/>
                    </a:lnTo>
                    <a:lnTo>
                      <a:pt x="823" y="525"/>
                    </a:lnTo>
                    <a:lnTo>
                      <a:pt x="828" y="530"/>
                    </a:lnTo>
                    <a:lnTo>
                      <a:pt x="828" y="537"/>
                    </a:lnTo>
                    <a:lnTo>
                      <a:pt x="836" y="547"/>
                    </a:lnTo>
                    <a:lnTo>
                      <a:pt x="834" y="552"/>
                    </a:lnTo>
                    <a:lnTo>
                      <a:pt x="836" y="557"/>
                    </a:lnTo>
                    <a:lnTo>
                      <a:pt x="841" y="560"/>
                    </a:lnTo>
                    <a:lnTo>
                      <a:pt x="839" y="564"/>
                    </a:lnTo>
                    <a:lnTo>
                      <a:pt x="841" y="565"/>
                    </a:lnTo>
                    <a:lnTo>
                      <a:pt x="844" y="575"/>
                    </a:lnTo>
                    <a:lnTo>
                      <a:pt x="854" y="587"/>
                    </a:lnTo>
                    <a:lnTo>
                      <a:pt x="861" y="588"/>
                    </a:lnTo>
                    <a:lnTo>
                      <a:pt x="864" y="592"/>
                    </a:lnTo>
                    <a:lnTo>
                      <a:pt x="867" y="593"/>
                    </a:lnTo>
                    <a:lnTo>
                      <a:pt x="876" y="600"/>
                    </a:lnTo>
                    <a:lnTo>
                      <a:pt x="876" y="603"/>
                    </a:lnTo>
                    <a:lnTo>
                      <a:pt x="872" y="602"/>
                    </a:lnTo>
                    <a:lnTo>
                      <a:pt x="872" y="607"/>
                    </a:lnTo>
                    <a:lnTo>
                      <a:pt x="871" y="613"/>
                    </a:lnTo>
                    <a:lnTo>
                      <a:pt x="874" y="622"/>
                    </a:lnTo>
                    <a:lnTo>
                      <a:pt x="881" y="627"/>
                    </a:lnTo>
                    <a:lnTo>
                      <a:pt x="881" y="633"/>
                    </a:lnTo>
                    <a:lnTo>
                      <a:pt x="876" y="637"/>
                    </a:lnTo>
                    <a:lnTo>
                      <a:pt x="877" y="638"/>
                    </a:lnTo>
                    <a:lnTo>
                      <a:pt x="874" y="642"/>
                    </a:lnTo>
                    <a:lnTo>
                      <a:pt x="876" y="645"/>
                    </a:lnTo>
                    <a:lnTo>
                      <a:pt x="876" y="655"/>
                    </a:lnTo>
                    <a:lnTo>
                      <a:pt x="869" y="657"/>
                    </a:lnTo>
                    <a:lnTo>
                      <a:pt x="871" y="658"/>
                    </a:lnTo>
                    <a:lnTo>
                      <a:pt x="874" y="658"/>
                    </a:lnTo>
                    <a:lnTo>
                      <a:pt x="876" y="660"/>
                    </a:lnTo>
                    <a:lnTo>
                      <a:pt x="869" y="663"/>
                    </a:lnTo>
                    <a:lnTo>
                      <a:pt x="869" y="673"/>
                    </a:lnTo>
                    <a:lnTo>
                      <a:pt x="867" y="675"/>
                    </a:lnTo>
                    <a:lnTo>
                      <a:pt x="861" y="673"/>
                    </a:lnTo>
                    <a:lnTo>
                      <a:pt x="861" y="675"/>
                    </a:lnTo>
                    <a:lnTo>
                      <a:pt x="866" y="680"/>
                    </a:lnTo>
                    <a:lnTo>
                      <a:pt x="867" y="683"/>
                    </a:lnTo>
                    <a:lnTo>
                      <a:pt x="861" y="686"/>
                    </a:lnTo>
                    <a:lnTo>
                      <a:pt x="858" y="690"/>
                    </a:lnTo>
                    <a:lnTo>
                      <a:pt x="849" y="691"/>
                    </a:lnTo>
                    <a:lnTo>
                      <a:pt x="844" y="686"/>
                    </a:lnTo>
                    <a:lnTo>
                      <a:pt x="851" y="683"/>
                    </a:lnTo>
                    <a:lnTo>
                      <a:pt x="853" y="680"/>
                    </a:lnTo>
                    <a:lnTo>
                      <a:pt x="846" y="680"/>
                    </a:lnTo>
                    <a:lnTo>
                      <a:pt x="846" y="683"/>
                    </a:lnTo>
                    <a:lnTo>
                      <a:pt x="843" y="683"/>
                    </a:lnTo>
                    <a:lnTo>
                      <a:pt x="831" y="678"/>
                    </a:lnTo>
                    <a:lnTo>
                      <a:pt x="829" y="680"/>
                    </a:lnTo>
                    <a:lnTo>
                      <a:pt x="814" y="681"/>
                    </a:lnTo>
                    <a:lnTo>
                      <a:pt x="808" y="683"/>
                    </a:lnTo>
                    <a:lnTo>
                      <a:pt x="804" y="688"/>
                    </a:lnTo>
                    <a:lnTo>
                      <a:pt x="808" y="690"/>
                    </a:lnTo>
                    <a:lnTo>
                      <a:pt x="809" y="691"/>
                    </a:lnTo>
                    <a:lnTo>
                      <a:pt x="813" y="686"/>
                    </a:lnTo>
                    <a:lnTo>
                      <a:pt x="819" y="685"/>
                    </a:lnTo>
                    <a:lnTo>
                      <a:pt x="821" y="690"/>
                    </a:lnTo>
                    <a:lnTo>
                      <a:pt x="828" y="695"/>
                    </a:lnTo>
                    <a:lnTo>
                      <a:pt x="846" y="698"/>
                    </a:lnTo>
                    <a:lnTo>
                      <a:pt x="854" y="700"/>
                    </a:lnTo>
                    <a:lnTo>
                      <a:pt x="862" y="698"/>
                    </a:lnTo>
                    <a:lnTo>
                      <a:pt x="871" y="698"/>
                    </a:lnTo>
                    <a:lnTo>
                      <a:pt x="872" y="700"/>
                    </a:lnTo>
                    <a:lnTo>
                      <a:pt x="882" y="703"/>
                    </a:lnTo>
                    <a:lnTo>
                      <a:pt x="889" y="698"/>
                    </a:lnTo>
                    <a:lnTo>
                      <a:pt x="889" y="695"/>
                    </a:lnTo>
                    <a:lnTo>
                      <a:pt x="886" y="691"/>
                    </a:lnTo>
                    <a:lnTo>
                      <a:pt x="886" y="685"/>
                    </a:lnTo>
                    <a:lnTo>
                      <a:pt x="889" y="681"/>
                    </a:lnTo>
                    <a:lnTo>
                      <a:pt x="894" y="680"/>
                    </a:lnTo>
                    <a:lnTo>
                      <a:pt x="894" y="676"/>
                    </a:lnTo>
                    <a:lnTo>
                      <a:pt x="901" y="670"/>
                    </a:lnTo>
                    <a:lnTo>
                      <a:pt x="902" y="666"/>
                    </a:lnTo>
                    <a:lnTo>
                      <a:pt x="906" y="657"/>
                    </a:lnTo>
                    <a:lnTo>
                      <a:pt x="902" y="650"/>
                    </a:lnTo>
                    <a:lnTo>
                      <a:pt x="902" y="643"/>
                    </a:lnTo>
                    <a:lnTo>
                      <a:pt x="911" y="630"/>
                    </a:lnTo>
                    <a:lnTo>
                      <a:pt x="911" y="627"/>
                    </a:lnTo>
                    <a:lnTo>
                      <a:pt x="904" y="610"/>
                    </a:lnTo>
                    <a:lnTo>
                      <a:pt x="894" y="605"/>
                    </a:lnTo>
                    <a:lnTo>
                      <a:pt x="891" y="602"/>
                    </a:lnTo>
                    <a:lnTo>
                      <a:pt x="891" y="588"/>
                    </a:lnTo>
                    <a:lnTo>
                      <a:pt x="897" y="583"/>
                    </a:lnTo>
                    <a:lnTo>
                      <a:pt x="901" y="578"/>
                    </a:lnTo>
                    <a:lnTo>
                      <a:pt x="907" y="577"/>
                    </a:lnTo>
                    <a:lnTo>
                      <a:pt x="917" y="568"/>
                    </a:lnTo>
                    <a:lnTo>
                      <a:pt x="924" y="568"/>
                    </a:lnTo>
                    <a:lnTo>
                      <a:pt x="932" y="575"/>
                    </a:lnTo>
                    <a:lnTo>
                      <a:pt x="932" y="582"/>
                    </a:lnTo>
                    <a:lnTo>
                      <a:pt x="941" y="585"/>
                    </a:lnTo>
                    <a:lnTo>
                      <a:pt x="942" y="588"/>
                    </a:lnTo>
                    <a:lnTo>
                      <a:pt x="944" y="588"/>
                    </a:lnTo>
                    <a:lnTo>
                      <a:pt x="951" y="595"/>
                    </a:lnTo>
                    <a:lnTo>
                      <a:pt x="949" y="600"/>
                    </a:lnTo>
                    <a:lnTo>
                      <a:pt x="954" y="603"/>
                    </a:lnTo>
                    <a:lnTo>
                      <a:pt x="956" y="608"/>
                    </a:lnTo>
                    <a:lnTo>
                      <a:pt x="959" y="613"/>
                    </a:lnTo>
                    <a:lnTo>
                      <a:pt x="961" y="618"/>
                    </a:lnTo>
                    <a:lnTo>
                      <a:pt x="957" y="620"/>
                    </a:lnTo>
                    <a:lnTo>
                      <a:pt x="962" y="625"/>
                    </a:lnTo>
                    <a:lnTo>
                      <a:pt x="967" y="625"/>
                    </a:lnTo>
                    <a:lnTo>
                      <a:pt x="974" y="630"/>
                    </a:lnTo>
                    <a:lnTo>
                      <a:pt x="980" y="628"/>
                    </a:lnTo>
                    <a:lnTo>
                      <a:pt x="984" y="627"/>
                    </a:lnTo>
                    <a:lnTo>
                      <a:pt x="992" y="627"/>
                    </a:lnTo>
                    <a:lnTo>
                      <a:pt x="994" y="623"/>
                    </a:lnTo>
                    <a:lnTo>
                      <a:pt x="995" y="623"/>
                    </a:lnTo>
                    <a:lnTo>
                      <a:pt x="992" y="622"/>
                    </a:lnTo>
                    <a:lnTo>
                      <a:pt x="989" y="623"/>
                    </a:lnTo>
                    <a:lnTo>
                      <a:pt x="987" y="620"/>
                    </a:lnTo>
                    <a:lnTo>
                      <a:pt x="982" y="625"/>
                    </a:lnTo>
                    <a:lnTo>
                      <a:pt x="975" y="625"/>
                    </a:lnTo>
                    <a:lnTo>
                      <a:pt x="972" y="622"/>
                    </a:lnTo>
                    <a:lnTo>
                      <a:pt x="967" y="622"/>
                    </a:lnTo>
                    <a:lnTo>
                      <a:pt x="964" y="617"/>
                    </a:lnTo>
                    <a:lnTo>
                      <a:pt x="965" y="613"/>
                    </a:lnTo>
                    <a:lnTo>
                      <a:pt x="962" y="612"/>
                    </a:lnTo>
                    <a:lnTo>
                      <a:pt x="959" y="605"/>
                    </a:lnTo>
                    <a:lnTo>
                      <a:pt x="961" y="598"/>
                    </a:lnTo>
                    <a:lnTo>
                      <a:pt x="965" y="597"/>
                    </a:lnTo>
                    <a:lnTo>
                      <a:pt x="969" y="593"/>
                    </a:lnTo>
                    <a:lnTo>
                      <a:pt x="965" y="592"/>
                    </a:lnTo>
                    <a:lnTo>
                      <a:pt x="964" y="588"/>
                    </a:lnTo>
                    <a:lnTo>
                      <a:pt x="962" y="587"/>
                    </a:lnTo>
                    <a:lnTo>
                      <a:pt x="961" y="583"/>
                    </a:lnTo>
                    <a:lnTo>
                      <a:pt x="954" y="580"/>
                    </a:lnTo>
                    <a:lnTo>
                      <a:pt x="954" y="577"/>
                    </a:lnTo>
                    <a:lnTo>
                      <a:pt x="947" y="570"/>
                    </a:lnTo>
                    <a:lnTo>
                      <a:pt x="939" y="570"/>
                    </a:lnTo>
                    <a:lnTo>
                      <a:pt x="927" y="565"/>
                    </a:lnTo>
                    <a:lnTo>
                      <a:pt x="926" y="560"/>
                    </a:lnTo>
                    <a:lnTo>
                      <a:pt x="921" y="562"/>
                    </a:lnTo>
                    <a:lnTo>
                      <a:pt x="911" y="559"/>
                    </a:lnTo>
                    <a:lnTo>
                      <a:pt x="907" y="559"/>
                    </a:lnTo>
                    <a:lnTo>
                      <a:pt x="901" y="557"/>
                    </a:lnTo>
                    <a:lnTo>
                      <a:pt x="896" y="564"/>
                    </a:lnTo>
                    <a:lnTo>
                      <a:pt x="894" y="568"/>
                    </a:lnTo>
                    <a:lnTo>
                      <a:pt x="891" y="572"/>
                    </a:lnTo>
                    <a:lnTo>
                      <a:pt x="881" y="568"/>
                    </a:lnTo>
                    <a:lnTo>
                      <a:pt x="874" y="573"/>
                    </a:lnTo>
                    <a:lnTo>
                      <a:pt x="867" y="572"/>
                    </a:lnTo>
                    <a:lnTo>
                      <a:pt x="864" y="568"/>
                    </a:lnTo>
                    <a:lnTo>
                      <a:pt x="866" y="562"/>
                    </a:lnTo>
                    <a:lnTo>
                      <a:pt x="864" y="559"/>
                    </a:lnTo>
                    <a:lnTo>
                      <a:pt x="856" y="549"/>
                    </a:lnTo>
                    <a:lnTo>
                      <a:pt x="853" y="544"/>
                    </a:lnTo>
                    <a:lnTo>
                      <a:pt x="854" y="534"/>
                    </a:lnTo>
                    <a:lnTo>
                      <a:pt x="848" y="527"/>
                    </a:lnTo>
                    <a:lnTo>
                      <a:pt x="849" y="520"/>
                    </a:lnTo>
                    <a:lnTo>
                      <a:pt x="851" y="507"/>
                    </a:lnTo>
                    <a:lnTo>
                      <a:pt x="846" y="499"/>
                    </a:lnTo>
                    <a:lnTo>
                      <a:pt x="841" y="492"/>
                    </a:lnTo>
                    <a:lnTo>
                      <a:pt x="834" y="492"/>
                    </a:lnTo>
                    <a:lnTo>
                      <a:pt x="833" y="487"/>
                    </a:lnTo>
                    <a:lnTo>
                      <a:pt x="821" y="479"/>
                    </a:lnTo>
                    <a:lnTo>
                      <a:pt x="813" y="474"/>
                    </a:lnTo>
                    <a:lnTo>
                      <a:pt x="813" y="467"/>
                    </a:lnTo>
                    <a:lnTo>
                      <a:pt x="816" y="459"/>
                    </a:lnTo>
                    <a:lnTo>
                      <a:pt x="814" y="452"/>
                    </a:lnTo>
                    <a:lnTo>
                      <a:pt x="811" y="449"/>
                    </a:lnTo>
                    <a:lnTo>
                      <a:pt x="811" y="447"/>
                    </a:lnTo>
                    <a:lnTo>
                      <a:pt x="816" y="442"/>
                    </a:lnTo>
                    <a:lnTo>
                      <a:pt x="823" y="434"/>
                    </a:lnTo>
                    <a:lnTo>
                      <a:pt x="826" y="424"/>
                    </a:lnTo>
                    <a:lnTo>
                      <a:pt x="823" y="412"/>
                    </a:lnTo>
                    <a:lnTo>
                      <a:pt x="813" y="394"/>
                    </a:lnTo>
                    <a:lnTo>
                      <a:pt x="816" y="394"/>
                    </a:lnTo>
                    <a:lnTo>
                      <a:pt x="823" y="397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9" y="407"/>
                    </a:lnTo>
                    <a:lnTo>
                      <a:pt x="829" y="414"/>
                    </a:lnTo>
                    <a:lnTo>
                      <a:pt x="834" y="419"/>
                    </a:lnTo>
                    <a:lnTo>
                      <a:pt x="834" y="427"/>
                    </a:lnTo>
                    <a:lnTo>
                      <a:pt x="838" y="434"/>
                    </a:lnTo>
                    <a:lnTo>
                      <a:pt x="836" y="439"/>
                    </a:lnTo>
                    <a:lnTo>
                      <a:pt x="839" y="444"/>
                    </a:lnTo>
                    <a:lnTo>
                      <a:pt x="846" y="451"/>
                    </a:lnTo>
                    <a:lnTo>
                      <a:pt x="846" y="454"/>
                    </a:lnTo>
                    <a:lnTo>
                      <a:pt x="851" y="457"/>
                    </a:lnTo>
                    <a:lnTo>
                      <a:pt x="851" y="461"/>
                    </a:lnTo>
                    <a:lnTo>
                      <a:pt x="846" y="462"/>
                    </a:lnTo>
                    <a:lnTo>
                      <a:pt x="849" y="466"/>
                    </a:lnTo>
                    <a:lnTo>
                      <a:pt x="854" y="466"/>
                    </a:lnTo>
                    <a:lnTo>
                      <a:pt x="861" y="469"/>
                    </a:lnTo>
                    <a:lnTo>
                      <a:pt x="869" y="469"/>
                    </a:lnTo>
                    <a:lnTo>
                      <a:pt x="874" y="467"/>
                    </a:lnTo>
                    <a:lnTo>
                      <a:pt x="879" y="470"/>
                    </a:lnTo>
                    <a:lnTo>
                      <a:pt x="881" y="474"/>
                    </a:lnTo>
                    <a:lnTo>
                      <a:pt x="886" y="469"/>
                    </a:lnTo>
                    <a:lnTo>
                      <a:pt x="891" y="467"/>
                    </a:lnTo>
                    <a:lnTo>
                      <a:pt x="896" y="466"/>
                    </a:lnTo>
                    <a:lnTo>
                      <a:pt x="899" y="467"/>
                    </a:lnTo>
                    <a:lnTo>
                      <a:pt x="906" y="474"/>
                    </a:lnTo>
                    <a:lnTo>
                      <a:pt x="911" y="474"/>
                    </a:lnTo>
                    <a:lnTo>
                      <a:pt x="917" y="477"/>
                    </a:lnTo>
                    <a:lnTo>
                      <a:pt x="927" y="475"/>
                    </a:lnTo>
                    <a:lnTo>
                      <a:pt x="931" y="472"/>
                    </a:lnTo>
                    <a:lnTo>
                      <a:pt x="926" y="474"/>
                    </a:lnTo>
                    <a:lnTo>
                      <a:pt x="916" y="474"/>
                    </a:lnTo>
                    <a:lnTo>
                      <a:pt x="916" y="469"/>
                    </a:lnTo>
                    <a:lnTo>
                      <a:pt x="912" y="469"/>
                    </a:lnTo>
                    <a:lnTo>
                      <a:pt x="909" y="462"/>
                    </a:lnTo>
                    <a:lnTo>
                      <a:pt x="901" y="462"/>
                    </a:lnTo>
                    <a:lnTo>
                      <a:pt x="901" y="459"/>
                    </a:lnTo>
                    <a:lnTo>
                      <a:pt x="897" y="457"/>
                    </a:lnTo>
                    <a:lnTo>
                      <a:pt x="894" y="461"/>
                    </a:lnTo>
                    <a:lnTo>
                      <a:pt x="882" y="461"/>
                    </a:lnTo>
                    <a:lnTo>
                      <a:pt x="879" y="457"/>
                    </a:lnTo>
                    <a:lnTo>
                      <a:pt x="871" y="456"/>
                    </a:lnTo>
                    <a:lnTo>
                      <a:pt x="862" y="449"/>
                    </a:lnTo>
                    <a:lnTo>
                      <a:pt x="861" y="444"/>
                    </a:lnTo>
                    <a:lnTo>
                      <a:pt x="858" y="444"/>
                    </a:lnTo>
                    <a:lnTo>
                      <a:pt x="849" y="434"/>
                    </a:lnTo>
                    <a:lnTo>
                      <a:pt x="853" y="432"/>
                    </a:lnTo>
                    <a:lnTo>
                      <a:pt x="856" y="431"/>
                    </a:lnTo>
                    <a:lnTo>
                      <a:pt x="862" y="426"/>
                    </a:lnTo>
                    <a:lnTo>
                      <a:pt x="866" y="426"/>
                    </a:lnTo>
                    <a:lnTo>
                      <a:pt x="872" y="432"/>
                    </a:lnTo>
                    <a:lnTo>
                      <a:pt x="884" y="437"/>
                    </a:lnTo>
                    <a:lnTo>
                      <a:pt x="891" y="436"/>
                    </a:lnTo>
                    <a:lnTo>
                      <a:pt x="896" y="427"/>
                    </a:lnTo>
                    <a:lnTo>
                      <a:pt x="891" y="419"/>
                    </a:lnTo>
                    <a:lnTo>
                      <a:pt x="882" y="417"/>
                    </a:lnTo>
                    <a:lnTo>
                      <a:pt x="874" y="421"/>
                    </a:lnTo>
                    <a:lnTo>
                      <a:pt x="871" y="419"/>
                    </a:lnTo>
                    <a:lnTo>
                      <a:pt x="872" y="416"/>
                    </a:lnTo>
                    <a:lnTo>
                      <a:pt x="874" y="417"/>
                    </a:lnTo>
                    <a:lnTo>
                      <a:pt x="877" y="416"/>
                    </a:lnTo>
                    <a:lnTo>
                      <a:pt x="877" y="411"/>
                    </a:lnTo>
                    <a:lnTo>
                      <a:pt x="884" y="402"/>
                    </a:lnTo>
                    <a:lnTo>
                      <a:pt x="889" y="399"/>
                    </a:lnTo>
                    <a:lnTo>
                      <a:pt x="894" y="401"/>
                    </a:lnTo>
                    <a:lnTo>
                      <a:pt x="911" y="401"/>
                    </a:lnTo>
                    <a:lnTo>
                      <a:pt x="917" y="406"/>
                    </a:lnTo>
                    <a:lnTo>
                      <a:pt x="922" y="411"/>
                    </a:lnTo>
                    <a:lnTo>
                      <a:pt x="937" y="412"/>
                    </a:lnTo>
                    <a:lnTo>
                      <a:pt x="937" y="416"/>
                    </a:lnTo>
                    <a:lnTo>
                      <a:pt x="944" y="419"/>
                    </a:lnTo>
                    <a:lnTo>
                      <a:pt x="954" y="427"/>
                    </a:lnTo>
                    <a:lnTo>
                      <a:pt x="961" y="429"/>
                    </a:lnTo>
                    <a:lnTo>
                      <a:pt x="974" y="427"/>
                    </a:lnTo>
                    <a:lnTo>
                      <a:pt x="984" y="421"/>
                    </a:lnTo>
                    <a:lnTo>
                      <a:pt x="987" y="424"/>
                    </a:lnTo>
                    <a:lnTo>
                      <a:pt x="989" y="424"/>
                    </a:lnTo>
                    <a:lnTo>
                      <a:pt x="995" y="424"/>
                    </a:lnTo>
                    <a:lnTo>
                      <a:pt x="994" y="432"/>
                    </a:lnTo>
                    <a:lnTo>
                      <a:pt x="995" y="436"/>
                    </a:lnTo>
                    <a:lnTo>
                      <a:pt x="994" y="439"/>
                    </a:lnTo>
                    <a:lnTo>
                      <a:pt x="987" y="444"/>
                    </a:lnTo>
                    <a:lnTo>
                      <a:pt x="987" y="449"/>
                    </a:lnTo>
                    <a:lnTo>
                      <a:pt x="990" y="454"/>
                    </a:lnTo>
                    <a:lnTo>
                      <a:pt x="990" y="462"/>
                    </a:lnTo>
                    <a:lnTo>
                      <a:pt x="999" y="467"/>
                    </a:lnTo>
                    <a:lnTo>
                      <a:pt x="999" y="472"/>
                    </a:lnTo>
                    <a:lnTo>
                      <a:pt x="995" y="475"/>
                    </a:lnTo>
                    <a:lnTo>
                      <a:pt x="997" y="490"/>
                    </a:lnTo>
                    <a:lnTo>
                      <a:pt x="1000" y="489"/>
                    </a:lnTo>
                    <a:lnTo>
                      <a:pt x="1002" y="485"/>
                    </a:lnTo>
                    <a:lnTo>
                      <a:pt x="1000" y="482"/>
                    </a:lnTo>
                    <a:lnTo>
                      <a:pt x="1004" y="479"/>
                    </a:lnTo>
                    <a:lnTo>
                      <a:pt x="1004" y="474"/>
                    </a:lnTo>
                    <a:lnTo>
                      <a:pt x="1007" y="472"/>
                    </a:lnTo>
                    <a:lnTo>
                      <a:pt x="1010" y="466"/>
                    </a:lnTo>
                    <a:lnTo>
                      <a:pt x="1014" y="467"/>
                    </a:lnTo>
                    <a:lnTo>
                      <a:pt x="1017" y="475"/>
                    </a:lnTo>
                    <a:lnTo>
                      <a:pt x="1017" y="485"/>
                    </a:lnTo>
                    <a:lnTo>
                      <a:pt x="1019" y="489"/>
                    </a:lnTo>
                    <a:lnTo>
                      <a:pt x="1015" y="490"/>
                    </a:lnTo>
                    <a:lnTo>
                      <a:pt x="1015" y="495"/>
                    </a:lnTo>
                    <a:lnTo>
                      <a:pt x="1012" y="497"/>
                    </a:lnTo>
                    <a:lnTo>
                      <a:pt x="1022" y="502"/>
                    </a:lnTo>
                    <a:lnTo>
                      <a:pt x="1029" y="502"/>
                    </a:lnTo>
                    <a:lnTo>
                      <a:pt x="1037" y="504"/>
                    </a:lnTo>
                    <a:lnTo>
                      <a:pt x="1042" y="509"/>
                    </a:lnTo>
                    <a:lnTo>
                      <a:pt x="1040" y="514"/>
                    </a:lnTo>
                    <a:lnTo>
                      <a:pt x="1047" y="517"/>
                    </a:lnTo>
                    <a:lnTo>
                      <a:pt x="1057" y="519"/>
                    </a:lnTo>
                    <a:lnTo>
                      <a:pt x="1065" y="527"/>
                    </a:lnTo>
                    <a:lnTo>
                      <a:pt x="1065" y="524"/>
                    </a:lnTo>
                    <a:lnTo>
                      <a:pt x="1065" y="517"/>
                    </a:lnTo>
                    <a:lnTo>
                      <a:pt x="1072" y="510"/>
                    </a:lnTo>
                    <a:lnTo>
                      <a:pt x="1078" y="510"/>
                    </a:lnTo>
                    <a:lnTo>
                      <a:pt x="1088" y="519"/>
                    </a:lnTo>
                    <a:lnTo>
                      <a:pt x="1095" y="519"/>
                    </a:lnTo>
                    <a:lnTo>
                      <a:pt x="1100" y="522"/>
                    </a:lnTo>
                    <a:lnTo>
                      <a:pt x="1102" y="530"/>
                    </a:lnTo>
                    <a:lnTo>
                      <a:pt x="1100" y="522"/>
                    </a:lnTo>
                    <a:lnTo>
                      <a:pt x="1098" y="515"/>
                    </a:lnTo>
                    <a:lnTo>
                      <a:pt x="1093" y="515"/>
                    </a:lnTo>
                    <a:lnTo>
                      <a:pt x="1087" y="514"/>
                    </a:lnTo>
                    <a:lnTo>
                      <a:pt x="1078" y="509"/>
                    </a:lnTo>
                    <a:lnTo>
                      <a:pt x="1070" y="510"/>
                    </a:lnTo>
                    <a:lnTo>
                      <a:pt x="1062" y="515"/>
                    </a:lnTo>
                    <a:lnTo>
                      <a:pt x="1059" y="514"/>
                    </a:lnTo>
                    <a:lnTo>
                      <a:pt x="1057" y="515"/>
                    </a:lnTo>
                    <a:lnTo>
                      <a:pt x="1049" y="512"/>
                    </a:lnTo>
                    <a:lnTo>
                      <a:pt x="1040" y="504"/>
                    </a:lnTo>
                    <a:lnTo>
                      <a:pt x="1035" y="500"/>
                    </a:lnTo>
                    <a:lnTo>
                      <a:pt x="1027" y="499"/>
                    </a:lnTo>
                    <a:lnTo>
                      <a:pt x="1022" y="492"/>
                    </a:lnTo>
                    <a:lnTo>
                      <a:pt x="1027" y="494"/>
                    </a:lnTo>
                    <a:lnTo>
                      <a:pt x="1029" y="494"/>
                    </a:lnTo>
                    <a:lnTo>
                      <a:pt x="1035" y="484"/>
                    </a:lnTo>
                    <a:lnTo>
                      <a:pt x="1034" y="479"/>
                    </a:lnTo>
                    <a:lnTo>
                      <a:pt x="1027" y="474"/>
                    </a:lnTo>
                    <a:lnTo>
                      <a:pt x="1024" y="464"/>
                    </a:lnTo>
                    <a:lnTo>
                      <a:pt x="1015" y="454"/>
                    </a:lnTo>
                    <a:lnTo>
                      <a:pt x="1010" y="451"/>
                    </a:lnTo>
                    <a:lnTo>
                      <a:pt x="1005" y="446"/>
                    </a:lnTo>
                    <a:lnTo>
                      <a:pt x="1007" y="441"/>
                    </a:lnTo>
                    <a:lnTo>
                      <a:pt x="1005" y="436"/>
                    </a:lnTo>
                    <a:lnTo>
                      <a:pt x="1004" y="424"/>
                    </a:lnTo>
                    <a:lnTo>
                      <a:pt x="999" y="419"/>
                    </a:lnTo>
                    <a:lnTo>
                      <a:pt x="995" y="419"/>
                    </a:lnTo>
                    <a:lnTo>
                      <a:pt x="987" y="414"/>
                    </a:lnTo>
                    <a:lnTo>
                      <a:pt x="974" y="414"/>
                    </a:lnTo>
                    <a:lnTo>
                      <a:pt x="970" y="407"/>
                    </a:lnTo>
                    <a:lnTo>
                      <a:pt x="964" y="404"/>
                    </a:lnTo>
                    <a:lnTo>
                      <a:pt x="964" y="399"/>
                    </a:lnTo>
                    <a:lnTo>
                      <a:pt x="961" y="394"/>
                    </a:lnTo>
                    <a:lnTo>
                      <a:pt x="961" y="392"/>
                    </a:lnTo>
                    <a:lnTo>
                      <a:pt x="956" y="394"/>
                    </a:lnTo>
                    <a:lnTo>
                      <a:pt x="939" y="394"/>
                    </a:lnTo>
                    <a:lnTo>
                      <a:pt x="934" y="394"/>
                    </a:lnTo>
                    <a:lnTo>
                      <a:pt x="926" y="391"/>
                    </a:lnTo>
                    <a:lnTo>
                      <a:pt x="926" y="384"/>
                    </a:lnTo>
                    <a:lnTo>
                      <a:pt x="922" y="384"/>
                    </a:lnTo>
                    <a:lnTo>
                      <a:pt x="921" y="381"/>
                    </a:lnTo>
                    <a:lnTo>
                      <a:pt x="922" y="372"/>
                    </a:lnTo>
                    <a:lnTo>
                      <a:pt x="916" y="363"/>
                    </a:lnTo>
                    <a:lnTo>
                      <a:pt x="907" y="359"/>
                    </a:lnTo>
                    <a:lnTo>
                      <a:pt x="909" y="356"/>
                    </a:lnTo>
                    <a:lnTo>
                      <a:pt x="907" y="353"/>
                    </a:lnTo>
                    <a:lnTo>
                      <a:pt x="904" y="353"/>
                    </a:lnTo>
                    <a:lnTo>
                      <a:pt x="901" y="349"/>
                    </a:lnTo>
                    <a:lnTo>
                      <a:pt x="902" y="346"/>
                    </a:lnTo>
                    <a:lnTo>
                      <a:pt x="902" y="341"/>
                    </a:lnTo>
                    <a:lnTo>
                      <a:pt x="897" y="336"/>
                    </a:lnTo>
                    <a:lnTo>
                      <a:pt x="901" y="334"/>
                    </a:lnTo>
                    <a:lnTo>
                      <a:pt x="907" y="334"/>
                    </a:lnTo>
                    <a:lnTo>
                      <a:pt x="914" y="328"/>
                    </a:lnTo>
                    <a:lnTo>
                      <a:pt x="919" y="328"/>
                    </a:lnTo>
                    <a:lnTo>
                      <a:pt x="932" y="326"/>
                    </a:lnTo>
                    <a:lnTo>
                      <a:pt x="951" y="319"/>
                    </a:lnTo>
                    <a:lnTo>
                      <a:pt x="957" y="314"/>
                    </a:lnTo>
                    <a:lnTo>
                      <a:pt x="964" y="313"/>
                    </a:lnTo>
                    <a:lnTo>
                      <a:pt x="969" y="314"/>
                    </a:lnTo>
                    <a:lnTo>
                      <a:pt x="974" y="313"/>
                    </a:lnTo>
                    <a:lnTo>
                      <a:pt x="977" y="308"/>
                    </a:lnTo>
                    <a:lnTo>
                      <a:pt x="985" y="304"/>
                    </a:lnTo>
                    <a:lnTo>
                      <a:pt x="1002" y="298"/>
                    </a:lnTo>
                    <a:lnTo>
                      <a:pt x="1004" y="299"/>
                    </a:lnTo>
                    <a:lnTo>
                      <a:pt x="1002" y="304"/>
                    </a:lnTo>
                    <a:lnTo>
                      <a:pt x="1002" y="308"/>
                    </a:lnTo>
                    <a:lnTo>
                      <a:pt x="999" y="309"/>
                    </a:lnTo>
                    <a:lnTo>
                      <a:pt x="994" y="319"/>
                    </a:lnTo>
                    <a:lnTo>
                      <a:pt x="994" y="323"/>
                    </a:lnTo>
                    <a:lnTo>
                      <a:pt x="1004" y="331"/>
                    </a:lnTo>
                    <a:lnTo>
                      <a:pt x="1012" y="331"/>
                    </a:lnTo>
                    <a:lnTo>
                      <a:pt x="1007" y="328"/>
                    </a:lnTo>
                    <a:lnTo>
                      <a:pt x="999" y="321"/>
                    </a:lnTo>
                    <a:lnTo>
                      <a:pt x="999" y="318"/>
                    </a:lnTo>
                    <a:lnTo>
                      <a:pt x="1002" y="313"/>
                    </a:lnTo>
                    <a:lnTo>
                      <a:pt x="1012" y="308"/>
                    </a:lnTo>
                    <a:lnTo>
                      <a:pt x="1015" y="299"/>
                    </a:lnTo>
                    <a:lnTo>
                      <a:pt x="1012" y="293"/>
                    </a:lnTo>
                    <a:lnTo>
                      <a:pt x="1007" y="293"/>
                    </a:lnTo>
                    <a:lnTo>
                      <a:pt x="1000" y="289"/>
                    </a:lnTo>
                    <a:lnTo>
                      <a:pt x="1000" y="286"/>
                    </a:lnTo>
                    <a:lnTo>
                      <a:pt x="994" y="284"/>
                    </a:lnTo>
                    <a:lnTo>
                      <a:pt x="990" y="288"/>
                    </a:lnTo>
                    <a:lnTo>
                      <a:pt x="989" y="286"/>
                    </a:lnTo>
                    <a:lnTo>
                      <a:pt x="985" y="279"/>
                    </a:lnTo>
                    <a:lnTo>
                      <a:pt x="977" y="279"/>
                    </a:lnTo>
                    <a:lnTo>
                      <a:pt x="974" y="281"/>
                    </a:lnTo>
                    <a:lnTo>
                      <a:pt x="969" y="274"/>
                    </a:lnTo>
                    <a:lnTo>
                      <a:pt x="970" y="274"/>
                    </a:lnTo>
                    <a:lnTo>
                      <a:pt x="972" y="270"/>
                    </a:lnTo>
                    <a:lnTo>
                      <a:pt x="974" y="270"/>
                    </a:lnTo>
                    <a:lnTo>
                      <a:pt x="979" y="273"/>
                    </a:lnTo>
                    <a:lnTo>
                      <a:pt x="985" y="273"/>
                    </a:lnTo>
                    <a:lnTo>
                      <a:pt x="989" y="270"/>
                    </a:lnTo>
                    <a:lnTo>
                      <a:pt x="987" y="268"/>
                    </a:lnTo>
                    <a:lnTo>
                      <a:pt x="985" y="270"/>
                    </a:lnTo>
                    <a:lnTo>
                      <a:pt x="980" y="270"/>
                    </a:lnTo>
                    <a:lnTo>
                      <a:pt x="975" y="266"/>
                    </a:lnTo>
                    <a:lnTo>
                      <a:pt x="975" y="263"/>
                    </a:lnTo>
                    <a:lnTo>
                      <a:pt x="969" y="261"/>
                    </a:lnTo>
                    <a:lnTo>
                      <a:pt x="962" y="260"/>
                    </a:lnTo>
                    <a:lnTo>
                      <a:pt x="957" y="261"/>
                    </a:lnTo>
                    <a:lnTo>
                      <a:pt x="954" y="258"/>
                    </a:lnTo>
                    <a:lnTo>
                      <a:pt x="957" y="255"/>
                    </a:lnTo>
                    <a:lnTo>
                      <a:pt x="956" y="250"/>
                    </a:lnTo>
                    <a:lnTo>
                      <a:pt x="954" y="248"/>
                    </a:lnTo>
                    <a:lnTo>
                      <a:pt x="954" y="246"/>
                    </a:lnTo>
                    <a:lnTo>
                      <a:pt x="957" y="246"/>
                    </a:lnTo>
                    <a:lnTo>
                      <a:pt x="962" y="253"/>
                    </a:lnTo>
                    <a:lnTo>
                      <a:pt x="967" y="251"/>
                    </a:lnTo>
                    <a:lnTo>
                      <a:pt x="972" y="260"/>
                    </a:lnTo>
                    <a:lnTo>
                      <a:pt x="974" y="255"/>
                    </a:lnTo>
                    <a:lnTo>
                      <a:pt x="972" y="251"/>
                    </a:lnTo>
                    <a:lnTo>
                      <a:pt x="977" y="248"/>
                    </a:lnTo>
                    <a:lnTo>
                      <a:pt x="977" y="240"/>
                    </a:lnTo>
                    <a:lnTo>
                      <a:pt x="974" y="238"/>
                    </a:lnTo>
                    <a:lnTo>
                      <a:pt x="975" y="236"/>
                    </a:lnTo>
                    <a:lnTo>
                      <a:pt x="980" y="236"/>
                    </a:lnTo>
                    <a:lnTo>
                      <a:pt x="982" y="233"/>
                    </a:lnTo>
                    <a:lnTo>
                      <a:pt x="970" y="231"/>
                    </a:lnTo>
                    <a:lnTo>
                      <a:pt x="969" y="233"/>
                    </a:lnTo>
                    <a:lnTo>
                      <a:pt x="965" y="233"/>
                    </a:lnTo>
                    <a:lnTo>
                      <a:pt x="965" y="230"/>
                    </a:lnTo>
                    <a:lnTo>
                      <a:pt x="970" y="226"/>
                    </a:lnTo>
                    <a:lnTo>
                      <a:pt x="979" y="225"/>
                    </a:lnTo>
                    <a:lnTo>
                      <a:pt x="984" y="223"/>
                    </a:lnTo>
                    <a:lnTo>
                      <a:pt x="984" y="220"/>
                    </a:lnTo>
                    <a:lnTo>
                      <a:pt x="989" y="215"/>
                    </a:lnTo>
                    <a:lnTo>
                      <a:pt x="989" y="211"/>
                    </a:lnTo>
                    <a:lnTo>
                      <a:pt x="990" y="210"/>
                    </a:lnTo>
                    <a:lnTo>
                      <a:pt x="989" y="206"/>
                    </a:lnTo>
                    <a:lnTo>
                      <a:pt x="994" y="201"/>
                    </a:lnTo>
                    <a:lnTo>
                      <a:pt x="995" y="201"/>
                    </a:lnTo>
                    <a:lnTo>
                      <a:pt x="997" y="203"/>
                    </a:lnTo>
                    <a:lnTo>
                      <a:pt x="1000" y="203"/>
                    </a:lnTo>
                    <a:lnTo>
                      <a:pt x="1002" y="198"/>
                    </a:lnTo>
                    <a:lnTo>
                      <a:pt x="1004" y="198"/>
                    </a:lnTo>
                    <a:lnTo>
                      <a:pt x="1000" y="195"/>
                    </a:lnTo>
                    <a:lnTo>
                      <a:pt x="1002" y="191"/>
                    </a:lnTo>
                    <a:lnTo>
                      <a:pt x="1009" y="190"/>
                    </a:lnTo>
                    <a:lnTo>
                      <a:pt x="1012" y="190"/>
                    </a:lnTo>
                    <a:lnTo>
                      <a:pt x="1014" y="185"/>
                    </a:lnTo>
                    <a:lnTo>
                      <a:pt x="1015" y="185"/>
                    </a:lnTo>
                    <a:lnTo>
                      <a:pt x="1020" y="186"/>
                    </a:lnTo>
                    <a:lnTo>
                      <a:pt x="1029" y="185"/>
                    </a:lnTo>
                    <a:lnTo>
                      <a:pt x="1027" y="181"/>
                    </a:lnTo>
                    <a:lnTo>
                      <a:pt x="1027" y="178"/>
                    </a:lnTo>
                    <a:lnTo>
                      <a:pt x="1037" y="176"/>
                    </a:lnTo>
                    <a:lnTo>
                      <a:pt x="1044" y="175"/>
                    </a:lnTo>
                    <a:lnTo>
                      <a:pt x="1045" y="170"/>
                    </a:lnTo>
                    <a:lnTo>
                      <a:pt x="1060" y="165"/>
                    </a:lnTo>
                    <a:lnTo>
                      <a:pt x="1060" y="160"/>
                    </a:lnTo>
                    <a:lnTo>
                      <a:pt x="1059" y="160"/>
                    </a:lnTo>
                    <a:lnTo>
                      <a:pt x="1050" y="163"/>
                    </a:lnTo>
                    <a:lnTo>
                      <a:pt x="1047" y="162"/>
                    </a:lnTo>
                    <a:lnTo>
                      <a:pt x="1042" y="167"/>
                    </a:lnTo>
                    <a:lnTo>
                      <a:pt x="1039" y="163"/>
                    </a:lnTo>
                    <a:lnTo>
                      <a:pt x="1039" y="155"/>
                    </a:lnTo>
                    <a:lnTo>
                      <a:pt x="1042" y="153"/>
                    </a:lnTo>
                    <a:lnTo>
                      <a:pt x="1044" y="148"/>
                    </a:lnTo>
                    <a:lnTo>
                      <a:pt x="1045" y="150"/>
                    </a:lnTo>
                    <a:lnTo>
                      <a:pt x="1045" y="152"/>
                    </a:lnTo>
                    <a:lnTo>
                      <a:pt x="1047" y="152"/>
                    </a:lnTo>
                    <a:lnTo>
                      <a:pt x="1052" y="148"/>
                    </a:lnTo>
                    <a:lnTo>
                      <a:pt x="1045" y="145"/>
                    </a:lnTo>
                    <a:lnTo>
                      <a:pt x="1052" y="143"/>
                    </a:lnTo>
                    <a:lnTo>
                      <a:pt x="1057" y="147"/>
                    </a:lnTo>
                    <a:lnTo>
                      <a:pt x="1060" y="147"/>
                    </a:lnTo>
                    <a:lnTo>
                      <a:pt x="1067" y="142"/>
                    </a:lnTo>
                    <a:lnTo>
                      <a:pt x="1072" y="143"/>
                    </a:lnTo>
                    <a:lnTo>
                      <a:pt x="1085" y="140"/>
                    </a:lnTo>
                    <a:lnTo>
                      <a:pt x="1090" y="140"/>
                    </a:lnTo>
                    <a:lnTo>
                      <a:pt x="1092" y="143"/>
                    </a:lnTo>
                    <a:lnTo>
                      <a:pt x="1087" y="153"/>
                    </a:lnTo>
                    <a:lnTo>
                      <a:pt x="1087" y="157"/>
                    </a:lnTo>
                    <a:lnTo>
                      <a:pt x="1092" y="160"/>
                    </a:lnTo>
                    <a:lnTo>
                      <a:pt x="1093" y="153"/>
                    </a:lnTo>
                    <a:lnTo>
                      <a:pt x="1098" y="147"/>
                    </a:lnTo>
                    <a:lnTo>
                      <a:pt x="1097" y="143"/>
                    </a:lnTo>
                    <a:lnTo>
                      <a:pt x="1098" y="142"/>
                    </a:lnTo>
                    <a:lnTo>
                      <a:pt x="1102" y="145"/>
                    </a:lnTo>
                    <a:lnTo>
                      <a:pt x="1103" y="152"/>
                    </a:lnTo>
                    <a:lnTo>
                      <a:pt x="1107" y="152"/>
                    </a:lnTo>
                    <a:lnTo>
                      <a:pt x="1108" y="147"/>
                    </a:lnTo>
                    <a:lnTo>
                      <a:pt x="1107" y="143"/>
                    </a:lnTo>
                    <a:lnTo>
                      <a:pt x="1112" y="140"/>
                    </a:lnTo>
                    <a:lnTo>
                      <a:pt x="1113" y="140"/>
                    </a:lnTo>
                    <a:lnTo>
                      <a:pt x="1113" y="145"/>
                    </a:lnTo>
                    <a:lnTo>
                      <a:pt x="1122" y="140"/>
                    </a:lnTo>
                    <a:lnTo>
                      <a:pt x="1122" y="138"/>
                    </a:lnTo>
                    <a:lnTo>
                      <a:pt x="1118" y="133"/>
                    </a:lnTo>
                    <a:lnTo>
                      <a:pt x="1123" y="135"/>
                    </a:lnTo>
                    <a:lnTo>
                      <a:pt x="1127" y="132"/>
                    </a:lnTo>
                    <a:lnTo>
                      <a:pt x="1122" y="130"/>
                    </a:lnTo>
                    <a:lnTo>
                      <a:pt x="1127" y="125"/>
                    </a:lnTo>
                    <a:lnTo>
                      <a:pt x="1133" y="125"/>
                    </a:lnTo>
                    <a:lnTo>
                      <a:pt x="1138" y="122"/>
                    </a:lnTo>
                    <a:lnTo>
                      <a:pt x="1140" y="123"/>
                    </a:lnTo>
                    <a:lnTo>
                      <a:pt x="1140" y="127"/>
                    </a:lnTo>
                    <a:lnTo>
                      <a:pt x="1143" y="127"/>
                    </a:lnTo>
                    <a:lnTo>
                      <a:pt x="1150" y="128"/>
                    </a:lnTo>
                    <a:lnTo>
                      <a:pt x="1150" y="133"/>
                    </a:lnTo>
                    <a:lnTo>
                      <a:pt x="1153" y="137"/>
                    </a:lnTo>
                    <a:lnTo>
                      <a:pt x="1148" y="147"/>
                    </a:lnTo>
                    <a:lnTo>
                      <a:pt x="1155" y="143"/>
                    </a:lnTo>
                    <a:lnTo>
                      <a:pt x="1160" y="135"/>
                    </a:lnTo>
                    <a:lnTo>
                      <a:pt x="1155" y="125"/>
                    </a:lnTo>
                    <a:lnTo>
                      <a:pt x="1148" y="122"/>
                    </a:lnTo>
                    <a:lnTo>
                      <a:pt x="1143" y="117"/>
                    </a:lnTo>
                    <a:lnTo>
                      <a:pt x="1138" y="120"/>
                    </a:lnTo>
                    <a:lnTo>
                      <a:pt x="1137" y="117"/>
                    </a:lnTo>
                    <a:lnTo>
                      <a:pt x="1130" y="118"/>
                    </a:lnTo>
                    <a:lnTo>
                      <a:pt x="1130" y="115"/>
                    </a:lnTo>
                    <a:lnTo>
                      <a:pt x="1125" y="113"/>
                    </a:lnTo>
                    <a:lnTo>
                      <a:pt x="1123" y="112"/>
                    </a:lnTo>
                    <a:lnTo>
                      <a:pt x="1127" y="108"/>
                    </a:lnTo>
                    <a:lnTo>
                      <a:pt x="1137" y="108"/>
                    </a:lnTo>
                    <a:lnTo>
                      <a:pt x="1140" y="105"/>
                    </a:lnTo>
                    <a:lnTo>
                      <a:pt x="1145" y="105"/>
                    </a:lnTo>
                    <a:lnTo>
                      <a:pt x="1150" y="107"/>
                    </a:lnTo>
                    <a:lnTo>
                      <a:pt x="1153" y="105"/>
                    </a:lnTo>
                    <a:lnTo>
                      <a:pt x="1157" y="107"/>
                    </a:lnTo>
                    <a:lnTo>
                      <a:pt x="1168" y="102"/>
                    </a:lnTo>
                    <a:lnTo>
                      <a:pt x="1175" y="105"/>
                    </a:lnTo>
                    <a:lnTo>
                      <a:pt x="1178" y="105"/>
                    </a:lnTo>
                    <a:lnTo>
                      <a:pt x="1181" y="105"/>
                    </a:lnTo>
                    <a:lnTo>
                      <a:pt x="1186" y="102"/>
                    </a:lnTo>
                    <a:lnTo>
                      <a:pt x="1185" y="100"/>
                    </a:lnTo>
                    <a:lnTo>
                      <a:pt x="1176" y="100"/>
                    </a:lnTo>
                    <a:lnTo>
                      <a:pt x="1168" y="97"/>
                    </a:lnTo>
                    <a:lnTo>
                      <a:pt x="1163" y="98"/>
                    </a:lnTo>
                    <a:lnTo>
                      <a:pt x="1155" y="98"/>
                    </a:lnTo>
                    <a:lnTo>
                      <a:pt x="1155" y="95"/>
                    </a:lnTo>
                    <a:lnTo>
                      <a:pt x="1152" y="90"/>
                    </a:lnTo>
                    <a:lnTo>
                      <a:pt x="1158" y="85"/>
                    </a:lnTo>
                    <a:lnTo>
                      <a:pt x="1152" y="83"/>
                    </a:lnTo>
                    <a:lnTo>
                      <a:pt x="1147" y="77"/>
                    </a:lnTo>
                    <a:lnTo>
                      <a:pt x="1142" y="78"/>
                    </a:lnTo>
                    <a:lnTo>
                      <a:pt x="1137" y="72"/>
                    </a:lnTo>
                    <a:lnTo>
                      <a:pt x="1137" y="67"/>
                    </a:lnTo>
                    <a:lnTo>
                      <a:pt x="1142" y="67"/>
                    </a:lnTo>
                    <a:lnTo>
                      <a:pt x="1142" y="62"/>
                    </a:lnTo>
                    <a:lnTo>
                      <a:pt x="1135" y="57"/>
                    </a:lnTo>
                    <a:lnTo>
                      <a:pt x="1137" y="37"/>
                    </a:lnTo>
                    <a:lnTo>
                      <a:pt x="1142" y="32"/>
                    </a:lnTo>
                    <a:lnTo>
                      <a:pt x="1140" y="27"/>
                    </a:lnTo>
                    <a:lnTo>
                      <a:pt x="1140" y="19"/>
                    </a:lnTo>
                    <a:lnTo>
                      <a:pt x="1145" y="15"/>
                    </a:lnTo>
                    <a:lnTo>
                      <a:pt x="1142" y="10"/>
                    </a:lnTo>
                    <a:lnTo>
                      <a:pt x="1147" y="9"/>
                    </a:lnTo>
                    <a:lnTo>
                      <a:pt x="1147" y="5"/>
                    </a:lnTo>
                    <a:lnTo>
                      <a:pt x="1155" y="0"/>
                    </a:lnTo>
                    <a:lnTo>
                      <a:pt x="1158" y="0"/>
                    </a:lnTo>
                    <a:lnTo>
                      <a:pt x="1163" y="7"/>
                    </a:lnTo>
                    <a:lnTo>
                      <a:pt x="1168" y="2"/>
                    </a:lnTo>
                    <a:lnTo>
                      <a:pt x="1171" y="2"/>
                    </a:lnTo>
                    <a:lnTo>
                      <a:pt x="1175" y="9"/>
                    </a:lnTo>
                    <a:lnTo>
                      <a:pt x="1181" y="9"/>
                    </a:lnTo>
                    <a:lnTo>
                      <a:pt x="1188" y="4"/>
                    </a:lnTo>
                    <a:lnTo>
                      <a:pt x="1190" y="5"/>
                    </a:lnTo>
                    <a:lnTo>
                      <a:pt x="1190" y="12"/>
                    </a:lnTo>
                    <a:lnTo>
                      <a:pt x="1191" y="14"/>
                    </a:lnTo>
                    <a:lnTo>
                      <a:pt x="1200" y="15"/>
                    </a:lnTo>
                    <a:lnTo>
                      <a:pt x="1200" y="17"/>
                    </a:lnTo>
                    <a:lnTo>
                      <a:pt x="1195" y="20"/>
                    </a:lnTo>
                    <a:lnTo>
                      <a:pt x="1195" y="22"/>
                    </a:lnTo>
                    <a:lnTo>
                      <a:pt x="1193" y="25"/>
                    </a:lnTo>
                    <a:lnTo>
                      <a:pt x="1195" y="30"/>
                    </a:lnTo>
                    <a:lnTo>
                      <a:pt x="1190" y="37"/>
                    </a:lnTo>
                    <a:lnTo>
                      <a:pt x="1183" y="39"/>
                    </a:lnTo>
                    <a:lnTo>
                      <a:pt x="1180" y="44"/>
                    </a:lnTo>
                    <a:lnTo>
                      <a:pt x="1183" y="45"/>
                    </a:lnTo>
                    <a:lnTo>
                      <a:pt x="1195" y="40"/>
                    </a:lnTo>
                    <a:lnTo>
                      <a:pt x="1203" y="30"/>
                    </a:lnTo>
                    <a:lnTo>
                      <a:pt x="1206" y="30"/>
                    </a:lnTo>
                    <a:lnTo>
                      <a:pt x="1206" y="34"/>
                    </a:lnTo>
                    <a:lnTo>
                      <a:pt x="1203" y="39"/>
                    </a:lnTo>
                    <a:lnTo>
                      <a:pt x="1203" y="42"/>
                    </a:lnTo>
                    <a:lnTo>
                      <a:pt x="1208" y="42"/>
                    </a:lnTo>
                    <a:lnTo>
                      <a:pt x="1211" y="35"/>
                    </a:lnTo>
                    <a:lnTo>
                      <a:pt x="1216" y="34"/>
                    </a:lnTo>
                    <a:lnTo>
                      <a:pt x="1220" y="35"/>
                    </a:lnTo>
                    <a:lnTo>
                      <a:pt x="1225" y="35"/>
                    </a:lnTo>
                    <a:lnTo>
                      <a:pt x="1226" y="30"/>
                    </a:lnTo>
                    <a:lnTo>
                      <a:pt x="1230" y="30"/>
                    </a:lnTo>
                    <a:lnTo>
                      <a:pt x="1233" y="32"/>
                    </a:lnTo>
                    <a:lnTo>
                      <a:pt x="1236" y="30"/>
                    </a:lnTo>
                    <a:lnTo>
                      <a:pt x="1243" y="35"/>
                    </a:lnTo>
                    <a:lnTo>
                      <a:pt x="1243" y="40"/>
                    </a:lnTo>
                    <a:lnTo>
                      <a:pt x="1246" y="47"/>
                    </a:lnTo>
                    <a:lnTo>
                      <a:pt x="1245" y="49"/>
                    </a:lnTo>
                    <a:lnTo>
                      <a:pt x="1243" y="54"/>
                    </a:lnTo>
                    <a:lnTo>
                      <a:pt x="1240" y="60"/>
                    </a:lnTo>
                    <a:lnTo>
                      <a:pt x="1246" y="69"/>
                    </a:lnTo>
                    <a:lnTo>
                      <a:pt x="1246" y="74"/>
                    </a:lnTo>
                    <a:lnTo>
                      <a:pt x="1241" y="75"/>
                    </a:lnTo>
                    <a:lnTo>
                      <a:pt x="1238" y="78"/>
                    </a:lnTo>
                    <a:lnTo>
                      <a:pt x="1241" y="78"/>
                    </a:lnTo>
                    <a:lnTo>
                      <a:pt x="1251" y="77"/>
                    </a:lnTo>
                    <a:lnTo>
                      <a:pt x="1256" y="72"/>
                    </a:lnTo>
                    <a:lnTo>
                      <a:pt x="1263" y="70"/>
                    </a:lnTo>
                    <a:lnTo>
                      <a:pt x="1266" y="65"/>
                    </a:lnTo>
                    <a:lnTo>
                      <a:pt x="1266" y="57"/>
                    </a:lnTo>
                    <a:lnTo>
                      <a:pt x="1263" y="50"/>
                    </a:lnTo>
                    <a:lnTo>
                      <a:pt x="1261" y="52"/>
                    </a:lnTo>
                    <a:lnTo>
                      <a:pt x="1258" y="50"/>
                    </a:lnTo>
                    <a:lnTo>
                      <a:pt x="1256" y="45"/>
                    </a:lnTo>
                    <a:lnTo>
                      <a:pt x="1259" y="44"/>
                    </a:lnTo>
                    <a:lnTo>
                      <a:pt x="1263" y="44"/>
                    </a:lnTo>
                    <a:lnTo>
                      <a:pt x="1264" y="45"/>
                    </a:lnTo>
                    <a:lnTo>
                      <a:pt x="1268" y="45"/>
                    </a:lnTo>
                    <a:lnTo>
                      <a:pt x="1276" y="42"/>
                    </a:lnTo>
                    <a:lnTo>
                      <a:pt x="1283" y="37"/>
                    </a:lnTo>
                    <a:lnTo>
                      <a:pt x="1286" y="37"/>
                    </a:lnTo>
                    <a:lnTo>
                      <a:pt x="1293" y="37"/>
                    </a:lnTo>
                    <a:lnTo>
                      <a:pt x="1294" y="34"/>
                    </a:lnTo>
                    <a:lnTo>
                      <a:pt x="1299" y="30"/>
                    </a:lnTo>
                    <a:lnTo>
                      <a:pt x="1301" y="30"/>
                    </a:lnTo>
                    <a:lnTo>
                      <a:pt x="1304" y="27"/>
                    </a:lnTo>
                    <a:lnTo>
                      <a:pt x="1309" y="27"/>
                    </a:lnTo>
                    <a:lnTo>
                      <a:pt x="1311" y="29"/>
                    </a:lnTo>
                    <a:lnTo>
                      <a:pt x="1316" y="27"/>
                    </a:lnTo>
                    <a:lnTo>
                      <a:pt x="1318" y="30"/>
                    </a:lnTo>
                    <a:lnTo>
                      <a:pt x="1316" y="32"/>
                    </a:lnTo>
                    <a:lnTo>
                      <a:pt x="1316" y="35"/>
                    </a:lnTo>
                    <a:lnTo>
                      <a:pt x="1328" y="35"/>
                    </a:lnTo>
                    <a:lnTo>
                      <a:pt x="1328" y="37"/>
                    </a:lnTo>
                    <a:lnTo>
                      <a:pt x="1333" y="37"/>
                    </a:lnTo>
                    <a:lnTo>
                      <a:pt x="1351" y="47"/>
                    </a:lnTo>
                    <a:lnTo>
                      <a:pt x="1356" y="49"/>
                    </a:lnTo>
                    <a:lnTo>
                      <a:pt x="1358" y="54"/>
                    </a:lnTo>
                    <a:lnTo>
                      <a:pt x="1358" y="55"/>
                    </a:lnTo>
                    <a:lnTo>
                      <a:pt x="1366" y="65"/>
                    </a:lnTo>
                    <a:lnTo>
                      <a:pt x="1367" y="64"/>
                    </a:lnTo>
                    <a:lnTo>
                      <a:pt x="1367" y="60"/>
                    </a:lnTo>
                    <a:lnTo>
                      <a:pt x="1371" y="59"/>
                    </a:lnTo>
                    <a:lnTo>
                      <a:pt x="1372" y="57"/>
                    </a:lnTo>
                    <a:lnTo>
                      <a:pt x="1369" y="55"/>
                    </a:lnTo>
                    <a:lnTo>
                      <a:pt x="1364" y="54"/>
                    </a:lnTo>
                    <a:lnTo>
                      <a:pt x="1364" y="50"/>
                    </a:lnTo>
                    <a:lnTo>
                      <a:pt x="1367" y="47"/>
                    </a:lnTo>
                    <a:lnTo>
                      <a:pt x="1371" y="49"/>
                    </a:lnTo>
                    <a:lnTo>
                      <a:pt x="1374" y="52"/>
                    </a:lnTo>
                    <a:lnTo>
                      <a:pt x="1377" y="54"/>
                    </a:lnTo>
                    <a:lnTo>
                      <a:pt x="1377" y="59"/>
                    </a:lnTo>
                    <a:lnTo>
                      <a:pt x="1384" y="64"/>
                    </a:lnTo>
                    <a:lnTo>
                      <a:pt x="1386" y="69"/>
                    </a:lnTo>
                    <a:lnTo>
                      <a:pt x="1389" y="70"/>
                    </a:lnTo>
                    <a:lnTo>
                      <a:pt x="1391" y="69"/>
                    </a:lnTo>
                    <a:lnTo>
                      <a:pt x="1394" y="69"/>
                    </a:lnTo>
                    <a:lnTo>
                      <a:pt x="1396" y="70"/>
                    </a:lnTo>
                    <a:lnTo>
                      <a:pt x="1399" y="74"/>
                    </a:lnTo>
                    <a:lnTo>
                      <a:pt x="1401" y="78"/>
                    </a:lnTo>
                    <a:lnTo>
                      <a:pt x="1404" y="83"/>
                    </a:lnTo>
                    <a:lnTo>
                      <a:pt x="1404" y="87"/>
                    </a:lnTo>
                    <a:lnTo>
                      <a:pt x="1402" y="85"/>
                    </a:lnTo>
                    <a:lnTo>
                      <a:pt x="1401" y="83"/>
                    </a:lnTo>
                    <a:lnTo>
                      <a:pt x="1399" y="80"/>
                    </a:lnTo>
                    <a:lnTo>
                      <a:pt x="1397" y="80"/>
                    </a:lnTo>
                    <a:lnTo>
                      <a:pt x="1396" y="83"/>
                    </a:lnTo>
                    <a:lnTo>
                      <a:pt x="1391" y="80"/>
                    </a:lnTo>
                    <a:lnTo>
                      <a:pt x="1382" y="77"/>
                    </a:lnTo>
                    <a:lnTo>
                      <a:pt x="1376" y="77"/>
                    </a:lnTo>
                    <a:lnTo>
                      <a:pt x="1376" y="78"/>
                    </a:lnTo>
                    <a:lnTo>
                      <a:pt x="1379" y="82"/>
                    </a:lnTo>
                    <a:lnTo>
                      <a:pt x="1386" y="83"/>
                    </a:lnTo>
                    <a:lnTo>
                      <a:pt x="1387" y="85"/>
                    </a:lnTo>
                    <a:lnTo>
                      <a:pt x="1386" y="87"/>
                    </a:lnTo>
                    <a:lnTo>
                      <a:pt x="1389" y="92"/>
                    </a:lnTo>
                    <a:lnTo>
                      <a:pt x="1392" y="93"/>
                    </a:lnTo>
                    <a:lnTo>
                      <a:pt x="1394" y="92"/>
                    </a:lnTo>
                    <a:lnTo>
                      <a:pt x="1396" y="87"/>
                    </a:lnTo>
                    <a:lnTo>
                      <a:pt x="1397" y="87"/>
                    </a:lnTo>
                    <a:lnTo>
                      <a:pt x="1401" y="90"/>
                    </a:lnTo>
                    <a:lnTo>
                      <a:pt x="1404" y="92"/>
                    </a:lnTo>
                    <a:lnTo>
                      <a:pt x="1406" y="90"/>
                    </a:lnTo>
                    <a:lnTo>
                      <a:pt x="1409" y="92"/>
                    </a:lnTo>
                    <a:lnTo>
                      <a:pt x="1411" y="93"/>
                    </a:lnTo>
                    <a:lnTo>
                      <a:pt x="1409" y="97"/>
                    </a:lnTo>
                    <a:lnTo>
                      <a:pt x="1412" y="103"/>
                    </a:lnTo>
                    <a:lnTo>
                      <a:pt x="1414" y="110"/>
                    </a:lnTo>
                    <a:lnTo>
                      <a:pt x="1414" y="120"/>
                    </a:lnTo>
                    <a:lnTo>
                      <a:pt x="1411" y="127"/>
                    </a:lnTo>
                    <a:lnTo>
                      <a:pt x="1409" y="127"/>
                    </a:lnTo>
                    <a:lnTo>
                      <a:pt x="1407" y="130"/>
                    </a:lnTo>
                    <a:lnTo>
                      <a:pt x="1409" y="135"/>
                    </a:lnTo>
                    <a:lnTo>
                      <a:pt x="1404" y="140"/>
                    </a:lnTo>
                    <a:lnTo>
                      <a:pt x="1406" y="142"/>
                    </a:lnTo>
                    <a:lnTo>
                      <a:pt x="1407" y="145"/>
                    </a:lnTo>
                    <a:lnTo>
                      <a:pt x="1409" y="148"/>
                    </a:lnTo>
                    <a:lnTo>
                      <a:pt x="1402" y="152"/>
                    </a:lnTo>
                    <a:lnTo>
                      <a:pt x="1401" y="155"/>
                    </a:lnTo>
                    <a:lnTo>
                      <a:pt x="1402" y="158"/>
                    </a:lnTo>
                    <a:lnTo>
                      <a:pt x="1397" y="165"/>
                    </a:lnTo>
                    <a:lnTo>
                      <a:pt x="1396" y="168"/>
                    </a:lnTo>
                    <a:lnTo>
                      <a:pt x="1396" y="170"/>
                    </a:lnTo>
                    <a:lnTo>
                      <a:pt x="1394" y="175"/>
                    </a:lnTo>
                    <a:lnTo>
                      <a:pt x="1389" y="176"/>
                    </a:lnTo>
                    <a:lnTo>
                      <a:pt x="1384" y="181"/>
                    </a:lnTo>
                    <a:lnTo>
                      <a:pt x="1379" y="181"/>
                    </a:lnTo>
                    <a:lnTo>
                      <a:pt x="1384" y="183"/>
                    </a:lnTo>
                    <a:lnTo>
                      <a:pt x="1387" y="181"/>
                    </a:lnTo>
                    <a:lnTo>
                      <a:pt x="1391" y="180"/>
                    </a:lnTo>
                    <a:lnTo>
                      <a:pt x="1392" y="180"/>
                    </a:lnTo>
                    <a:lnTo>
                      <a:pt x="1396" y="185"/>
                    </a:lnTo>
                    <a:lnTo>
                      <a:pt x="1391" y="193"/>
                    </a:lnTo>
                    <a:lnTo>
                      <a:pt x="1387" y="198"/>
                    </a:lnTo>
                    <a:lnTo>
                      <a:pt x="1384" y="208"/>
                    </a:lnTo>
                    <a:lnTo>
                      <a:pt x="1387" y="213"/>
                    </a:lnTo>
                    <a:lnTo>
                      <a:pt x="1387" y="216"/>
                    </a:lnTo>
                    <a:lnTo>
                      <a:pt x="1384" y="226"/>
                    </a:lnTo>
                    <a:lnTo>
                      <a:pt x="1377" y="228"/>
                    </a:lnTo>
                    <a:lnTo>
                      <a:pt x="1376" y="228"/>
                    </a:lnTo>
                    <a:lnTo>
                      <a:pt x="1372" y="228"/>
                    </a:lnTo>
                    <a:lnTo>
                      <a:pt x="1371" y="231"/>
                    </a:lnTo>
                    <a:lnTo>
                      <a:pt x="1372" y="233"/>
                    </a:lnTo>
                    <a:lnTo>
                      <a:pt x="1374" y="241"/>
                    </a:lnTo>
                    <a:lnTo>
                      <a:pt x="1372" y="246"/>
                    </a:lnTo>
                    <a:lnTo>
                      <a:pt x="1367" y="248"/>
                    </a:lnTo>
                    <a:lnTo>
                      <a:pt x="1366" y="255"/>
                    </a:lnTo>
                    <a:lnTo>
                      <a:pt x="1367" y="260"/>
                    </a:lnTo>
                    <a:lnTo>
                      <a:pt x="1367" y="266"/>
                    </a:lnTo>
                    <a:lnTo>
                      <a:pt x="1366" y="268"/>
                    </a:lnTo>
                    <a:lnTo>
                      <a:pt x="1367" y="271"/>
                    </a:lnTo>
                    <a:lnTo>
                      <a:pt x="1371" y="273"/>
                    </a:lnTo>
                    <a:lnTo>
                      <a:pt x="1367" y="284"/>
                    </a:lnTo>
                    <a:lnTo>
                      <a:pt x="1362" y="288"/>
                    </a:lnTo>
                    <a:lnTo>
                      <a:pt x="1362" y="293"/>
                    </a:lnTo>
                    <a:lnTo>
                      <a:pt x="1364" y="289"/>
                    </a:lnTo>
                    <a:lnTo>
                      <a:pt x="1367" y="289"/>
                    </a:lnTo>
                    <a:lnTo>
                      <a:pt x="1372" y="284"/>
                    </a:lnTo>
                    <a:lnTo>
                      <a:pt x="1374" y="281"/>
                    </a:lnTo>
                    <a:lnTo>
                      <a:pt x="1374" y="279"/>
                    </a:lnTo>
                    <a:lnTo>
                      <a:pt x="1376" y="276"/>
                    </a:lnTo>
                    <a:lnTo>
                      <a:pt x="1382" y="276"/>
                    </a:lnTo>
                    <a:lnTo>
                      <a:pt x="1386" y="274"/>
                    </a:lnTo>
                    <a:lnTo>
                      <a:pt x="1381" y="274"/>
                    </a:lnTo>
                    <a:lnTo>
                      <a:pt x="1374" y="266"/>
                    </a:lnTo>
                    <a:lnTo>
                      <a:pt x="1371" y="260"/>
                    </a:lnTo>
                    <a:lnTo>
                      <a:pt x="1374" y="256"/>
                    </a:lnTo>
                    <a:lnTo>
                      <a:pt x="1382" y="255"/>
                    </a:lnTo>
                    <a:lnTo>
                      <a:pt x="1391" y="255"/>
                    </a:lnTo>
                    <a:lnTo>
                      <a:pt x="1397" y="248"/>
                    </a:lnTo>
                    <a:lnTo>
                      <a:pt x="1401" y="248"/>
                    </a:lnTo>
                    <a:lnTo>
                      <a:pt x="1404" y="246"/>
                    </a:lnTo>
                    <a:lnTo>
                      <a:pt x="1401" y="243"/>
                    </a:lnTo>
                    <a:lnTo>
                      <a:pt x="1409" y="236"/>
                    </a:lnTo>
                    <a:lnTo>
                      <a:pt x="1412" y="231"/>
                    </a:lnTo>
                    <a:lnTo>
                      <a:pt x="1409" y="228"/>
                    </a:lnTo>
                    <a:lnTo>
                      <a:pt x="1409" y="226"/>
                    </a:lnTo>
                    <a:lnTo>
                      <a:pt x="1414" y="228"/>
                    </a:lnTo>
                    <a:lnTo>
                      <a:pt x="1421" y="226"/>
                    </a:lnTo>
                    <a:lnTo>
                      <a:pt x="1424" y="221"/>
                    </a:lnTo>
                    <a:lnTo>
                      <a:pt x="1421" y="218"/>
                    </a:lnTo>
                    <a:lnTo>
                      <a:pt x="1431" y="213"/>
                    </a:lnTo>
                    <a:lnTo>
                      <a:pt x="1431" y="208"/>
                    </a:lnTo>
                    <a:lnTo>
                      <a:pt x="1429" y="205"/>
                    </a:lnTo>
                    <a:lnTo>
                      <a:pt x="1419" y="210"/>
                    </a:lnTo>
                    <a:lnTo>
                      <a:pt x="1419" y="211"/>
                    </a:lnTo>
                    <a:lnTo>
                      <a:pt x="1412" y="216"/>
                    </a:lnTo>
                    <a:lnTo>
                      <a:pt x="1406" y="215"/>
                    </a:lnTo>
                    <a:lnTo>
                      <a:pt x="1402" y="208"/>
                    </a:lnTo>
                    <a:lnTo>
                      <a:pt x="1407" y="203"/>
                    </a:lnTo>
                    <a:lnTo>
                      <a:pt x="1406" y="196"/>
                    </a:lnTo>
                    <a:lnTo>
                      <a:pt x="1411" y="193"/>
                    </a:lnTo>
                    <a:lnTo>
                      <a:pt x="1417" y="193"/>
                    </a:lnTo>
                    <a:lnTo>
                      <a:pt x="1426" y="198"/>
                    </a:lnTo>
                    <a:lnTo>
                      <a:pt x="1429" y="195"/>
                    </a:lnTo>
                    <a:lnTo>
                      <a:pt x="1429" y="190"/>
                    </a:lnTo>
                    <a:lnTo>
                      <a:pt x="1436" y="186"/>
                    </a:lnTo>
                    <a:lnTo>
                      <a:pt x="1436" y="190"/>
                    </a:lnTo>
                    <a:lnTo>
                      <a:pt x="1432" y="193"/>
                    </a:lnTo>
                    <a:lnTo>
                      <a:pt x="1434" y="196"/>
                    </a:lnTo>
                    <a:lnTo>
                      <a:pt x="1447" y="206"/>
                    </a:lnTo>
                    <a:lnTo>
                      <a:pt x="1454" y="208"/>
                    </a:lnTo>
                    <a:lnTo>
                      <a:pt x="1456" y="205"/>
                    </a:lnTo>
                    <a:lnTo>
                      <a:pt x="1465" y="205"/>
                    </a:lnTo>
                    <a:lnTo>
                      <a:pt x="1469" y="200"/>
                    </a:lnTo>
                    <a:lnTo>
                      <a:pt x="1469" y="195"/>
                    </a:lnTo>
                    <a:lnTo>
                      <a:pt x="1460" y="188"/>
                    </a:lnTo>
                    <a:lnTo>
                      <a:pt x="1460" y="185"/>
                    </a:lnTo>
                    <a:lnTo>
                      <a:pt x="1464" y="185"/>
                    </a:lnTo>
                    <a:lnTo>
                      <a:pt x="1474" y="193"/>
                    </a:lnTo>
                    <a:lnTo>
                      <a:pt x="1477" y="195"/>
                    </a:lnTo>
                    <a:lnTo>
                      <a:pt x="1482" y="198"/>
                    </a:lnTo>
                    <a:lnTo>
                      <a:pt x="1480" y="201"/>
                    </a:lnTo>
                    <a:lnTo>
                      <a:pt x="1482" y="205"/>
                    </a:lnTo>
                    <a:lnTo>
                      <a:pt x="1487" y="210"/>
                    </a:lnTo>
                    <a:lnTo>
                      <a:pt x="1489" y="218"/>
                    </a:lnTo>
                    <a:lnTo>
                      <a:pt x="1490" y="220"/>
                    </a:lnTo>
                    <a:lnTo>
                      <a:pt x="1490" y="216"/>
                    </a:lnTo>
                    <a:lnTo>
                      <a:pt x="1495" y="213"/>
                    </a:lnTo>
                    <a:lnTo>
                      <a:pt x="1497" y="211"/>
                    </a:lnTo>
                    <a:lnTo>
                      <a:pt x="1500" y="208"/>
                    </a:lnTo>
                    <a:lnTo>
                      <a:pt x="1497" y="208"/>
                    </a:lnTo>
                    <a:lnTo>
                      <a:pt x="1494" y="210"/>
                    </a:lnTo>
                    <a:lnTo>
                      <a:pt x="1490" y="208"/>
                    </a:lnTo>
                    <a:lnTo>
                      <a:pt x="1487" y="203"/>
                    </a:lnTo>
                    <a:lnTo>
                      <a:pt x="1494" y="198"/>
                    </a:lnTo>
                    <a:lnTo>
                      <a:pt x="1499" y="195"/>
                    </a:lnTo>
                    <a:lnTo>
                      <a:pt x="1500" y="191"/>
                    </a:lnTo>
                    <a:lnTo>
                      <a:pt x="1504" y="191"/>
                    </a:lnTo>
                    <a:lnTo>
                      <a:pt x="1505" y="188"/>
                    </a:lnTo>
                    <a:lnTo>
                      <a:pt x="1515" y="186"/>
                    </a:lnTo>
                    <a:lnTo>
                      <a:pt x="1532" y="183"/>
                    </a:lnTo>
                    <a:lnTo>
                      <a:pt x="1552" y="183"/>
                    </a:lnTo>
                    <a:lnTo>
                      <a:pt x="1567" y="176"/>
                    </a:lnTo>
                    <a:lnTo>
                      <a:pt x="1573" y="176"/>
                    </a:lnTo>
                    <a:lnTo>
                      <a:pt x="1580" y="178"/>
                    </a:lnTo>
                    <a:lnTo>
                      <a:pt x="1580" y="181"/>
                    </a:lnTo>
                    <a:lnTo>
                      <a:pt x="1578" y="183"/>
                    </a:lnTo>
                    <a:lnTo>
                      <a:pt x="1575" y="188"/>
                    </a:lnTo>
                    <a:lnTo>
                      <a:pt x="1577" y="196"/>
                    </a:lnTo>
                    <a:lnTo>
                      <a:pt x="1583" y="201"/>
                    </a:lnTo>
                    <a:lnTo>
                      <a:pt x="1605" y="201"/>
                    </a:lnTo>
                    <a:lnTo>
                      <a:pt x="1610" y="203"/>
                    </a:lnTo>
                    <a:lnTo>
                      <a:pt x="1612" y="201"/>
                    </a:lnTo>
                    <a:lnTo>
                      <a:pt x="1618" y="203"/>
                    </a:lnTo>
                    <a:lnTo>
                      <a:pt x="1625" y="205"/>
                    </a:lnTo>
                    <a:lnTo>
                      <a:pt x="1640" y="201"/>
                    </a:lnTo>
                    <a:lnTo>
                      <a:pt x="1650" y="196"/>
                    </a:lnTo>
                    <a:lnTo>
                      <a:pt x="1655" y="198"/>
                    </a:lnTo>
                    <a:lnTo>
                      <a:pt x="1660" y="198"/>
                    </a:lnTo>
                    <a:lnTo>
                      <a:pt x="1661" y="193"/>
                    </a:lnTo>
                    <a:lnTo>
                      <a:pt x="1660" y="190"/>
                    </a:lnTo>
                    <a:lnTo>
                      <a:pt x="1665" y="190"/>
                    </a:lnTo>
                    <a:lnTo>
                      <a:pt x="1670" y="190"/>
                    </a:lnTo>
                    <a:lnTo>
                      <a:pt x="1675" y="188"/>
                    </a:lnTo>
                    <a:lnTo>
                      <a:pt x="1676" y="191"/>
                    </a:lnTo>
                    <a:lnTo>
                      <a:pt x="1680" y="193"/>
                    </a:lnTo>
                    <a:lnTo>
                      <a:pt x="1683" y="188"/>
                    </a:lnTo>
                    <a:lnTo>
                      <a:pt x="1681" y="185"/>
                    </a:lnTo>
                    <a:lnTo>
                      <a:pt x="1676" y="181"/>
                    </a:lnTo>
                    <a:lnTo>
                      <a:pt x="1678" y="176"/>
                    </a:lnTo>
                    <a:lnTo>
                      <a:pt x="1675" y="173"/>
                    </a:lnTo>
                    <a:lnTo>
                      <a:pt x="1670" y="173"/>
                    </a:lnTo>
                    <a:lnTo>
                      <a:pt x="1670" y="167"/>
                    </a:lnTo>
                    <a:lnTo>
                      <a:pt x="1666" y="167"/>
                    </a:lnTo>
                    <a:lnTo>
                      <a:pt x="1665" y="162"/>
                    </a:lnTo>
                    <a:lnTo>
                      <a:pt x="1661" y="158"/>
                    </a:lnTo>
                    <a:lnTo>
                      <a:pt x="1661" y="153"/>
                    </a:lnTo>
                    <a:lnTo>
                      <a:pt x="1663" y="148"/>
                    </a:lnTo>
                    <a:lnTo>
                      <a:pt x="1665" y="152"/>
                    </a:lnTo>
                    <a:lnTo>
                      <a:pt x="1666" y="153"/>
                    </a:lnTo>
                    <a:lnTo>
                      <a:pt x="1673" y="148"/>
                    </a:lnTo>
                    <a:lnTo>
                      <a:pt x="1671" y="147"/>
                    </a:lnTo>
                    <a:lnTo>
                      <a:pt x="1670" y="143"/>
                    </a:lnTo>
                    <a:lnTo>
                      <a:pt x="1673" y="143"/>
                    </a:lnTo>
                    <a:lnTo>
                      <a:pt x="1680" y="147"/>
                    </a:lnTo>
                    <a:lnTo>
                      <a:pt x="1683" y="145"/>
                    </a:lnTo>
                    <a:lnTo>
                      <a:pt x="1683" y="142"/>
                    </a:lnTo>
                    <a:lnTo>
                      <a:pt x="1685" y="143"/>
                    </a:lnTo>
                    <a:lnTo>
                      <a:pt x="1691" y="143"/>
                    </a:lnTo>
                    <a:lnTo>
                      <a:pt x="1695" y="143"/>
                    </a:lnTo>
                    <a:lnTo>
                      <a:pt x="1696" y="140"/>
                    </a:lnTo>
                    <a:lnTo>
                      <a:pt x="1701" y="145"/>
                    </a:lnTo>
                    <a:lnTo>
                      <a:pt x="1705" y="145"/>
                    </a:lnTo>
                    <a:lnTo>
                      <a:pt x="1708" y="150"/>
                    </a:lnTo>
                    <a:lnTo>
                      <a:pt x="1711" y="147"/>
                    </a:lnTo>
                    <a:lnTo>
                      <a:pt x="1711" y="143"/>
                    </a:lnTo>
                    <a:lnTo>
                      <a:pt x="1715" y="143"/>
                    </a:lnTo>
                    <a:lnTo>
                      <a:pt x="1718" y="148"/>
                    </a:lnTo>
                    <a:lnTo>
                      <a:pt x="1715" y="150"/>
                    </a:lnTo>
                    <a:lnTo>
                      <a:pt x="1713" y="155"/>
                    </a:lnTo>
                    <a:lnTo>
                      <a:pt x="1715" y="155"/>
                    </a:lnTo>
                    <a:lnTo>
                      <a:pt x="1720" y="155"/>
                    </a:lnTo>
                    <a:lnTo>
                      <a:pt x="1721" y="155"/>
                    </a:lnTo>
                    <a:lnTo>
                      <a:pt x="1721" y="152"/>
                    </a:lnTo>
                    <a:lnTo>
                      <a:pt x="1723" y="150"/>
                    </a:lnTo>
                    <a:lnTo>
                      <a:pt x="1726" y="152"/>
                    </a:lnTo>
                    <a:lnTo>
                      <a:pt x="1725" y="147"/>
                    </a:lnTo>
                    <a:lnTo>
                      <a:pt x="1723" y="145"/>
                    </a:lnTo>
                    <a:lnTo>
                      <a:pt x="1723" y="143"/>
                    </a:lnTo>
                    <a:lnTo>
                      <a:pt x="1728" y="143"/>
                    </a:lnTo>
                    <a:lnTo>
                      <a:pt x="1735" y="142"/>
                    </a:lnTo>
                    <a:lnTo>
                      <a:pt x="1738" y="143"/>
                    </a:lnTo>
                    <a:lnTo>
                      <a:pt x="1741" y="142"/>
                    </a:lnTo>
                    <a:lnTo>
                      <a:pt x="1746" y="142"/>
                    </a:lnTo>
                    <a:lnTo>
                      <a:pt x="1748" y="145"/>
                    </a:lnTo>
                    <a:lnTo>
                      <a:pt x="1748" y="150"/>
                    </a:lnTo>
                    <a:lnTo>
                      <a:pt x="1750" y="148"/>
                    </a:lnTo>
                    <a:lnTo>
                      <a:pt x="1753" y="148"/>
                    </a:lnTo>
                    <a:lnTo>
                      <a:pt x="1756" y="143"/>
                    </a:lnTo>
                    <a:lnTo>
                      <a:pt x="1758" y="150"/>
                    </a:lnTo>
                    <a:lnTo>
                      <a:pt x="1761" y="150"/>
                    </a:lnTo>
                    <a:lnTo>
                      <a:pt x="1766" y="147"/>
                    </a:lnTo>
                    <a:lnTo>
                      <a:pt x="1769" y="150"/>
                    </a:lnTo>
                    <a:lnTo>
                      <a:pt x="1771" y="158"/>
                    </a:lnTo>
                    <a:lnTo>
                      <a:pt x="1774" y="153"/>
                    </a:lnTo>
                    <a:lnTo>
                      <a:pt x="1778" y="152"/>
                    </a:lnTo>
                    <a:lnTo>
                      <a:pt x="1779" y="153"/>
                    </a:lnTo>
                    <a:lnTo>
                      <a:pt x="1778" y="160"/>
                    </a:lnTo>
                    <a:lnTo>
                      <a:pt x="1781" y="162"/>
                    </a:lnTo>
                    <a:lnTo>
                      <a:pt x="1783" y="163"/>
                    </a:lnTo>
                    <a:lnTo>
                      <a:pt x="1788" y="163"/>
                    </a:lnTo>
                    <a:lnTo>
                      <a:pt x="1788" y="168"/>
                    </a:lnTo>
                    <a:lnTo>
                      <a:pt x="1791" y="167"/>
                    </a:lnTo>
                    <a:lnTo>
                      <a:pt x="1793" y="167"/>
                    </a:lnTo>
                    <a:lnTo>
                      <a:pt x="1794" y="170"/>
                    </a:lnTo>
                    <a:lnTo>
                      <a:pt x="1789" y="175"/>
                    </a:lnTo>
                    <a:lnTo>
                      <a:pt x="1791" y="180"/>
                    </a:lnTo>
                    <a:lnTo>
                      <a:pt x="1798" y="173"/>
                    </a:lnTo>
                    <a:lnTo>
                      <a:pt x="1801" y="173"/>
                    </a:lnTo>
                    <a:lnTo>
                      <a:pt x="1803" y="176"/>
                    </a:lnTo>
                    <a:lnTo>
                      <a:pt x="1793" y="185"/>
                    </a:lnTo>
                    <a:lnTo>
                      <a:pt x="1794" y="190"/>
                    </a:lnTo>
                    <a:lnTo>
                      <a:pt x="1801" y="191"/>
                    </a:lnTo>
                    <a:lnTo>
                      <a:pt x="1803" y="188"/>
                    </a:lnTo>
                    <a:lnTo>
                      <a:pt x="1806" y="186"/>
                    </a:lnTo>
                    <a:lnTo>
                      <a:pt x="1809" y="188"/>
                    </a:lnTo>
                    <a:lnTo>
                      <a:pt x="1811" y="191"/>
                    </a:lnTo>
                    <a:lnTo>
                      <a:pt x="1814" y="190"/>
                    </a:lnTo>
                    <a:lnTo>
                      <a:pt x="1819" y="195"/>
                    </a:lnTo>
                    <a:lnTo>
                      <a:pt x="1818" y="201"/>
                    </a:lnTo>
                    <a:lnTo>
                      <a:pt x="1823" y="201"/>
                    </a:lnTo>
                    <a:lnTo>
                      <a:pt x="1823" y="205"/>
                    </a:lnTo>
                    <a:lnTo>
                      <a:pt x="1828" y="203"/>
                    </a:lnTo>
                    <a:lnTo>
                      <a:pt x="1828" y="206"/>
                    </a:lnTo>
                    <a:lnTo>
                      <a:pt x="1824" y="213"/>
                    </a:lnTo>
                    <a:lnTo>
                      <a:pt x="1818" y="215"/>
                    </a:lnTo>
                    <a:lnTo>
                      <a:pt x="1814" y="213"/>
                    </a:lnTo>
                    <a:lnTo>
                      <a:pt x="1804" y="210"/>
                    </a:lnTo>
                    <a:lnTo>
                      <a:pt x="1794" y="210"/>
                    </a:lnTo>
                    <a:lnTo>
                      <a:pt x="1798" y="213"/>
                    </a:lnTo>
                    <a:lnTo>
                      <a:pt x="1799" y="218"/>
                    </a:lnTo>
                    <a:lnTo>
                      <a:pt x="1809" y="218"/>
                    </a:lnTo>
                    <a:lnTo>
                      <a:pt x="1811" y="221"/>
                    </a:lnTo>
                    <a:lnTo>
                      <a:pt x="1821" y="228"/>
                    </a:lnTo>
                    <a:lnTo>
                      <a:pt x="1829" y="230"/>
                    </a:lnTo>
                    <a:lnTo>
                      <a:pt x="1834" y="226"/>
                    </a:lnTo>
                    <a:lnTo>
                      <a:pt x="1836" y="221"/>
                    </a:lnTo>
                    <a:lnTo>
                      <a:pt x="1831" y="218"/>
                    </a:lnTo>
                    <a:lnTo>
                      <a:pt x="1829" y="215"/>
                    </a:lnTo>
                    <a:lnTo>
                      <a:pt x="1831" y="215"/>
                    </a:lnTo>
                    <a:lnTo>
                      <a:pt x="1836" y="220"/>
                    </a:lnTo>
                    <a:lnTo>
                      <a:pt x="1843" y="223"/>
                    </a:lnTo>
                    <a:lnTo>
                      <a:pt x="1844" y="225"/>
                    </a:lnTo>
                    <a:lnTo>
                      <a:pt x="1841" y="225"/>
                    </a:lnTo>
                    <a:lnTo>
                      <a:pt x="1831" y="233"/>
                    </a:lnTo>
                    <a:lnTo>
                      <a:pt x="1834" y="235"/>
                    </a:lnTo>
                    <a:lnTo>
                      <a:pt x="1838" y="235"/>
                    </a:lnTo>
                    <a:lnTo>
                      <a:pt x="1841" y="233"/>
                    </a:lnTo>
                    <a:lnTo>
                      <a:pt x="1844" y="233"/>
                    </a:lnTo>
                    <a:lnTo>
                      <a:pt x="1859" y="246"/>
                    </a:lnTo>
                    <a:lnTo>
                      <a:pt x="1864" y="248"/>
                    </a:lnTo>
                    <a:lnTo>
                      <a:pt x="1869" y="253"/>
                    </a:lnTo>
                    <a:lnTo>
                      <a:pt x="1881" y="255"/>
                    </a:lnTo>
                    <a:lnTo>
                      <a:pt x="1887" y="261"/>
                    </a:lnTo>
                    <a:lnTo>
                      <a:pt x="1894" y="263"/>
                    </a:lnTo>
                    <a:lnTo>
                      <a:pt x="1896" y="261"/>
                    </a:lnTo>
                    <a:lnTo>
                      <a:pt x="1894" y="258"/>
                    </a:lnTo>
                    <a:lnTo>
                      <a:pt x="1897" y="256"/>
                    </a:lnTo>
                    <a:lnTo>
                      <a:pt x="1901" y="260"/>
                    </a:lnTo>
                    <a:lnTo>
                      <a:pt x="1902" y="263"/>
                    </a:lnTo>
                    <a:lnTo>
                      <a:pt x="1906" y="268"/>
                    </a:lnTo>
                    <a:lnTo>
                      <a:pt x="1907" y="268"/>
                    </a:lnTo>
                    <a:lnTo>
                      <a:pt x="1909" y="263"/>
                    </a:lnTo>
                    <a:lnTo>
                      <a:pt x="1904" y="240"/>
                    </a:lnTo>
                    <a:lnTo>
                      <a:pt x="1899" y="228"/>
                    </a:lnTo>
                    <a:lnTo>
                      <a:pt x="1892" y="216"/>
                    </a:lnTo>
                    <a:lnTo>
                      <a:pt x="1891" y="205"/>
                    </a:lnTo>
                    <a:lnTo>
                      <a:pt x="1887" y="196"/>
                    </a:lnTo>
                    <a:lnTo>
                      <a:pt x="1887" y="193"/>
                    </a:lnTo>
                    <a:lnTo>
                      <a:pt x="1891" y="195"/>
                    </a:lnTo>
                    <a:lnTo>
                      <a:pt x="1894" y="201"/>
                    </a:lnTo>
                    <a:lnTo>
                      <a:pt x="1899" y="206"/>
                    </a:lnTo>
                    <a:lnTo>
                      <a:pt x="1906" y="208"/>
                    </a:lnTo>
                    <a:lnTo>
                      <a:pt x="1911" y="213"/>
                    </a:lnTo>
                    <a:lnTo>
                      <a:pt x="1919" y="213"/>
                    </a:lnTo>
                    <a:lnTo>
                      <a:pt x="1939" y="211"/>
                    </a:lnTo>
                    <a:lnTo>
                      <a:pt x="1942" y="213"/>
                    </a:lnTo>
                    <a:lnTo>
                      <a:pt x="1946" y="211"/>
                    </a:lnTo>
                    <a:lnTo>
                      <a:pt x="1951" y="215"/>
                    </a:lnTo>
                    <a:lnTo>
                      <a:pt x="1952" y="213"/>
                    </a:lnTo>
                    <a:lnTo>
                      <a:pt x="1949" y="208"/>
                    </a:lnTo>
                    <a:lnTo>
                      <a:pt x="1949" y="206"/>
                    </a:lnTo>
                    <a:lnTo>
                      <a:pt x="1946" y="203"/>
                    </a:lnTo>
                    <a:lnTo>
                      <a:pt x="1947" y="201"/>
                    </a:lnTo>
                    <a:lnTo>
                      <a:pt x="1949" y="196"/>
                    </a:lnTo>
                    <a:lnTo>
                      <a:pt x="1965" y="190"/>
                    </a:lnTo>
                    <a:lnTo>
                      <a:pt x="1967" y="191"/>
                    </a:lnTo>
                    <a:lnTo>
                      <a:pt x="1970" y="191"/>
                    </a:lnTo>
                    <a:lnTo>
                      <a:pt x="1977" y="193"/>
                    </a:lnTo>
                    <a:lnTo>
                      <a:pt x="1984" y="193"/>
                    </a:lnTo>
                    <a:lnTo>
                      <a:pt x="1990" y="198"/>
                    </a:lnTo>
                    <a:lnTo>
                      <a:pt x="1995" y="200"/>
                    </a:lnTo>
                    <a:lnTo>
                      <a:pt x="1999" y="205"/>
                    </a:lnTo>
                    <a:lnTo>
                      <a:pt x="2007" y="205"/>
                    </a:lnTo>
                    <a:lnTo>
                      <a:pt x="2009" y="210"/>
                    </a:lnTo>
                    <a:lnTo>
                      <a:pt x="2020" y="210"/>
                    </a:lnTo>
                    <a:lnTo>
                      <a:pt x="2014" y="206"/>
                    </a:lnTo>
                    <a:lnTo>
                      <a:pt x="2012" y="203"/>
                    </a:lnTo>
                    <a:lnTo>
                      <a:pt x="2019" y="205"/>
                    </a:lnTo>
                    <a:lnTo>
                      <a:pt x="2024" y="201"/>
                    </a:lnTo>
                    <a:lnTo>
                      <a:pt x="2019" y="200"/>
                    </a:lnTo>
                    <a:lnTo>
                      <a:pt x="2022" y="196"/>
                    </a:lnTo>
                    <a:lnTo>
                      <a:pt x="2019" y="193"/>
                    </a:lnTo>
                    <a:lnTo>
                      <a:pt x="2012" y="196"/>
                    </a:lnTo>
                    <a:lnTo>
                      <a:pt x="2007" y="195"/>
                    </a:lnTo>
                    <a:lnTo>
                      <a:pt x="2005" y="188"/>
                    </a:lnTo>
                    <a:lnTo>
                      <a:pt x="2004" y="183"/>
                    </a:lnTo>
                    <a:lnTo>
                      <a:pt x="2007" y="180"/>
                    </a:lnTo>
                    <a:lnTo>
                      <a:pt x="2009" y="183"/>
                    </a:lnTo>
                    <a:lnTo>
                      <a:pt x="2014" y="180"/>
                    </a:lnTo>
                    <a:lnTo>
                      <a:pt x="2010" y="176"/>
                    </a:lnTo>
                    <a:lnTo>
                      <a:pt x="2015" y="175"/>
                    </a:lnTo>
                    <a:lnTo>
                      <a:pt x="2022" y="180"/>
                    </a:lnTo>
                    <a:lnTo>
                      <a:pt x="2024" y="185"/>
                    </a:lnTo>
                    <a:lnTo>
                      <a:pt x="2027" y="185"/>
                    </a:lnTo>
                    <a:lnTo>
                      <a:pt x="2030" y="186"/>
                    </a:lnTo>
                    <a:lnTo>
                      <a:pt x="2034" y="185"/>
                    </a:lnTo>
                    <a:lnTo>
                      <a:pt x="2032" y="180"/>
                    </a:lnTo>
                    <a:lnTo>
                      <a:pt x="2037" y="178"/>
                    </a:lnTo>
                    <a:lnTo>
                      <a:pt x="2040" y="180"/>
                    </a:lnTo>
                    <a:lnTo>
                      <a:pt x="2042" y="176"/>
                    </a:lnTo>
                    <a:lnTo>
                      <a:pt x="2034" y="168"/>
                    </a:lnTo>
                    <a:lnTo>
                      <a:pt x="2029" y="168"/>
                    </a:lnTo>
                    <a:lnTo>
                      <a:pt x="2022" y="163"/>
                    </a:lnTo>
                    <a:lnTo>
                      <a:pt x="2024" y="158"/>
                    </a:lnTo>
                    <a:lnTo>
                      <a:pt x="2020" y="155"/>
                    </a:lnTo>
                    <a:lnTo>
                      <a:pt x="2015" y="157"/>
                    </a:lnTo>
                    <a:lnTo>
                      <a:pt x="2010" y="155"/>
                    </a:lnTo>
                    <a:lnTo>
                      <a:pt x="2017" y="152"/>
                    </a:lnTo>
                    <a:lnTo>
                      <a:pt x="2014" y="148"/>
                    </a:lnTo>
                    <a:lnTo>
                      <a:pt x="2015" y="147"/>
                    </a:lnTo>
                    <a:lnTo>
                      <a:pt x="2012" y="142"/>
                    </a:lnTo>
                    <a:lnTo>
                      <a:pt x="2020" y="142"/>
                    </a:lnTo>
                    <a:lnTo>
                      <a:pt x="2022" y="133"/>
                    </a:lnTo>
                    <a:lnTo>
                      <a:pt x="2012" y="137"/>
                    </a:lnTo>
                    <a:lnTo>
                      <a:pt x="2007" y="140"/>
                    </a:lnTo>
                    <a:lnTo>
                      <a:pt x="2007" y="145"/>
                    </a:lnTo>
                    <a:lnTo>
                      <a:pt x="1997" y="143"/>
                    </a:lnTo>
                    <a:lnTo>
                      <a:pt x="1992" y="135"/>
                    </a:lnTo>
                    <a:lnTo>
                      <a:pt x="1995" y="130"/>
                    </a:lnTo>
                    <a:lnTo>
                      <a:pt x="1997" y="125"/>
                    </a:lnTo>
                    <a:lnTo>
                      <a:pt x="2005" y="122"/>
                    </a:lnTo>
                    <a:lnTo>
                      <a:pt x="2010" y="122"/>
                    </a:lnTo>
                    <a:lnTo>
                      <a:pt x="2019" y="115"/>
                    </a:lnTo>
                    <a:lnTo>
                      <a:pt x="2019" y="112"/>
                    </a:lnTo>
                    <a:lnTo>
                      <a:pt x="2014" y="107"/>
                    </a:lnTo>
                    <a:lnTo>
                      <a:pt x="2009" y="107"/>
                    </a:lnTo>
                    <a:lnTo>
                      <a:pt x="2005" y="105"/>
                    </a:lnTo>
                    <a:lnTo>
                      <a:pt x="1997" y="105"/>
                    </a:lnTo>
                    <a:lnTo>
                      <a:pt x="1990" y="100"/>
                    </a:lnTo>
                    <a:lnTo>
                      <a:pt x="1999" y="97"/>
                    </a:lnTo>
                    <a:lnTo>
                      <a:pt x="2007" y="97"/>
                    </a:lnTo>
                    <a:lnTo>
                      <a:pt x="2019" y="100"/>
                    </a:lnTo>
                    <a:lnTo>
                      <a:pt x="2029" y="98"/>
                    </a:lnTo>
                    <a:lnTo>
                      <a:pt x="2045" y="98"/>
                    </a:lnTo>
                    <a:lnTo>
                      <a:pt x="2073" y="97"/>
                    </a:lnTo>
                    <a:lnTo>
                      <a:pt x="2077" y="93"/>
                    </a:lnTo>
                    <a:lnTo>
                      <a:pt x="2098" y="93"/>
                    </a:lnTo>
                    <a:lnTo>
                      <a:pt x="2107" y="95"/>
                    </a:lnTo>
                    <a:lnTo>
                      <a:pt x="2115" y="93"/>
                    </a:lnTo>
                    <a:lnTo>
                      <a:pt x="2127" y="93"/>
                    </a:lnTo>
                    <a:lnTo>
                      <a:pt x="2120" y="95"/>
                    </a:lnTo>
                    <a:lnTo>
                      <a:pt x="2103" y="102"/>
                    </a:lnTo>
                    <a:lnTo>
                      <a:pt x="2098" y="100"/>
                    </a:lnTo>
                    <a:lnTo>
                      <a:pt x="2095" y="100"/>
                    </a:lnTo>
                    <a:lnTo>
                      <a:pt x="2090" y="98"/>
                    </a:lnTo>
                    <a:lnTo>
                      <a:pt x="2088" y="108"/>
                    </a:lnTo>
                    <a:lnTo>
                      <a:pt x="2092" y="113"/>
                    </a:lnTo>
                    <a:lnTo>
                      <a:pt x="2088" y="115"/>
                    </a:lnTo>
                    <a:lnTo>
                      <a:pt x="2087" y="118"/>
                    </a:lnTo>
                    <a:lnTo>
                      <a:pt x="2092" y="120"/>
                    </a:lnTo>
                    <a:lnTo>
                      <a:pt x="2100" y="115"/>
                    </a:lnTo>
                    <a:lnTo>
                      <a:pt x="2100" y="112"/>
                    </a:lnTo>
                    <a:lnTo>
                      <a:pt x="2112" y="103"/>
                    </a:lnTo>
                    <a:lnTo>
                      <a:pt x="2128" y="97"/>
                    </a:lnTo>
                    <a:lnTo>
                      <a:pt x="2132" y="105"/>
                    </a:lnTo>
                    <a:lnTo>
                      <a:pt x="2132" y="117"/>
                    </a:lnTo>
                    <a:lnTo>
                      <a:pt x="2130" y="118"/>
                    </a:lnTo>
                    <a:lnTo>
                      <a:pt x="2127" y="112"/>
                    </a:lnTo>
                    <a:lnTo>
                      <a:pt x="2123" y="108"/>
                    </a:lnTo>
                    <a:lnTo>
                      <a:pt x="2122" y="103"/>
                    </a:lnTo>
                    <a:lnTo>
                      <a:pt x="2117" y="107"/>
                    </a:lnTo>
                    <a:lnTo>
                      <a:pt x="2115" y="107"/>
                    </a:lnTo>
                    <a:lnTo>
                      <a:pt x="2117" y="113"/>
                    </a:lnTo>
                    <a:lnTo>
                      <a:pt x="2122" y="115"/>
                    </a:lnTo>
                    <a:lnTo>
                      <a:pt x="2123" y="125"/>
                    </a:lnTo>
                    <a:lnTo>
                      <a:pt x="2120" y="132"/>
                    </a:lnTo>
                    <a:lnTo>
                      <a:pt x="2117" y="130"/>
                    </a:lnTo>
                    <a:lnTo>
                      <a:pt x="2113" y="133"/>
                    </a:lnTo>
                    <a:lnTo>
                      <a:pt x="2120" y="137"/>
                    </a:lnTo>
                    <a:lnTo>
                      <a:pt x="2120" y="140"/>
                    </a:lnTo>
                    <a:lnTo>
                      <a:pt x="2122" y="142"/>
                    </a:lnTo>
                    <a:lnTo>
                      <a:pt x="2125" y="142"/>
                    </a:lnTo>
                    <a:lnTo>
                      <a:pt x="2132" y="137"/>
                    </a:lnTo>
                    <a:lnTo>
                      <a:pt x="2132" y="132"/>
                    </a:lnTo>
                    <a:lnTo>
                      <a:pt x="2137" y="125"/>
                    </a:lnTo>
                    <a:lnTo>
                      <a:pt x="2135" y="120"/>
                    </a:lnTo>
                    <a:lnTo>
                      <a:pt x="2135" y="115"/>
                    </a:lnTo>
                    <a:lnTo>
                      <a:pt x="2133" y="92"/>
                    </a:lnTo>
                    <a:lnTo>
                      <a:pt x="2142" y="87"/>
                    </a:lnTo>
                    <a:lnTo>
                      <a:pt x="2155" y="83"/>
                    </a:lnTo>
                    <a:lnTo>
                      <a:pt x="2168" y="80"/>
                    </a:lnTo>
                    <a:lnTo>
                      <a:pt x="2181" y="82"/>
                    </a:lnTo>
                    <a:lnTo>
                      <a:pt x="2198" y="87"/>
                    </a:lnTo>
                    <a:lnTo>
                      <a:pt x="2206" y="97"/>
                    </a:lnTo>
                    <a:lnTo>
                      <a:pt x="2205" y="102"/>
                    </a:lnTo>
                    <a:lnTo>
                      <a:pt x="2201" y="105"/>
                    </a:lnTo>
                    <a:lnTo>
                      <a:pt x="2191" y="98"/>
                    </a:lnTo>
                    <a:lnTo>
                      <a:pt x="2191" y="100"/>
                    </a:lnTo>
                    <a:lnTo>
                      <a:pt x="2193" y="103"/>
                    </a:lnTo>
                    <a:lnTo>
                      <a:pt x="2193" y="108"/>
                    </a:lnTo>
                    <a:lnTo>
                      <a:pt x="2193" y="113"/>
                    </a:lnTo>
                    <a:lnTo>
                      <a:pt x="2190" y="115"/>
                    </a:lnTo>
                    <a:lnTo>
                      <a:pt x="2193" y="117"/>
                    </a:lnTo>
                    <a:lnTo>
                      <a:pt x="2198" y="113"/>
                    </a:lnTo>
                    <a:lnTo>
                      <a:pt x="2206" y="113"/>
                    </a:lnTo>
                    <a:lnTo>
                      <a:pt x="2211" y="108"/>
                    </a:lnTo>
                    <a:lnTo>
                      <a:pt x="2213" y="115"/>
                    </a:lnTo>
                    <a:lnTo>
                      <a:pt x="2216" y="120"/>
                    </a:lnTo>
                    <a:lnTo>
                      <a:pt x="2216" y="125"/>
                    </a:lnTo>
                    <a:lnTo>
                      <a:pt x="2220" y="128"/>
                    </a:lnTo>
                    <a:lnTo>
                      <a:pt x="2223" y="123"/>
                    </a:lnTo>
                    <a:lnTo>
                      <a:pt x="2223" y="120"/>
                    </a:lnTo>
                    <a:lnTo>
                      <a:pt x="2228" y="115"/>
                    </a:lnTo>
                    <a:lnTo>
                      <a:pt x="2235" y="118"/>
                    </a:lnTo>
                    <a:lnTo>
                      <a:pt x="2236" y="123"/>
                    </a:lnTo>
                    <a:lnTo>
                      <a:pt x="2235" y="127"/>
                    </a:lnTo>
                    <a:lnTo>
                      <a:pt x="2233" y="133"/>
                    </a:lnTo>
                    <a:lnTo>
                      <a:pt x="2233" y="135"/>
                    </a:lnTo>
                    <a:lnTo>
                      <a:pt x="2238" y="133"/>
                    </a:lnTo>
                    <a:lnTo>
                      <a:pt x="2240" y="128"/>
                    </a:lnTo>
                    <a:lnTo>
                      <a:pt x="2243" y="127"/>
                    </a:lnTo>
                    <a:lnTo>
                      <a:pt x="2245" y="130"/>
                    </a:lnTo>
                    <a:lnTo>
                      <a:pt x="2245" y="125"/>
                    </a:lnTo>
                    <a:lnTo>
                      <a:pt x="2250" y="117"/>
                    </a:lnTo>
                    <a:lnTo>
                      <a:pt x="2251" y="115"/>
                    </a:lnTo>
                    <a:lnTo>
                      <a:pt x="2254" y="117"/>
                    </a:lnTo>
                    <a:lnTo>
                      <a:pt x="2266" y="123"/>
                    </a:lnTo>
                    <a:lnTo>
                      <a:pt x="2278" y="127"/>
                    </a:lnTo>
                    <a:lnTo>
                      <a:pt x="2284" y="133"/>
                    </a:lnTo>
                    <a:lnTo>
                      <a:pt x="2284" y="137"/>
                    </a:lnTo>
                    <a:lnTo>
                      <a:pt x="2276" y="142"/>
                    </a:lnTo>
                    <a:lnTo>
                      <a:pt x="2271" y="147"/>
                    </a:lnTo>
                    <a:lnTo>
                      <a:pt x="2278" y="143"/>
                    </a:lnTo>
                    <a:lnTo>
                      <a:pt x="2288" y="142"/>
                    </a:lnTo>
                    <a:lnTo>
                      <a:pt x="2294" y="143"/>
                    </a:lnTo>
                    <a:lnTo>
                      <a:pt x="2303" y="142"/>
                    </a:lnTo>
                    <a:lnTo>
                      <a:pt x="2309" y="137"/>
                    </a:lnTo>
                    <a:lnTo>
                      <a:pt x="2314" y="135"/>
                    </a:lnTo>
                    <a:lnTo>
                      <a:pt x="2324" y="127"/>
                    </a:lnTo>
                    <a:lnTo>
                      <a:pt x="2329" y="125"/>
                    </a:lnTo>
                    <a:lnTo>
                      <a:pt x="2336" y="118"/>
                    </a:lnTo>
                    <a:lnTo>
                      <a:pt x="2343" y="117"/>
                    </a:lnTo>
                    <a:lnTo>
                      <a:pt x="2361" y="108"/>
                    </a:lnTo>
                    <a:lnTo>
                      <a:pt x="2371" y="105"/>
                    </a:lnTo>
                    <a:lnTo>
                      <a:pt x="2376" y="107"/>
                    </a:lnTo>
                    <a:lnTo>
                      <a:pt x="2376" y="105"/>
                    </a:lnTo>
                    <a:lnTo>
                      <a:pt x="2386" y="98"/>
                    </a:lnTo>
                    <a:lnTo>
                      <a:pt x="2392" y="98"/>
                    </a:lnTo>
                    <a:lnTo>
                      <a:pt x="2404" y="98"/>
                    </a:lnTo>
                    <a:lnTo>
                      <a:pt x="2429" y="105"/>
                    </a:lnTo>
                    <a:lnTo>
                      <a:pt x="2439" y="115"/>
                    </a:lnTo>
                    <a:lnTo>
                      <a:pt x="2449" y="120"/>
                    </a:lnTo>
                    <a:lnTo>
                      <a:pt x="2457" y="128"/>
                    </a:lnTo>
                    <a:lnTo>
                      <a:pt x="2462" y="137"/>
                    </a:lnTo>
                    <a:lnTo>
                      <a:pt x="2462" y="140"/>
                    </a:lnTo>
                    <a:lnTo>
                      <a:pt x="2464" y="143"/>
                    </a:lnTo>
                    <a:lnTo>
                      <a:pt x="2464" y="150"/>
                    </a:lnTo>
                    <a:lnTo>
                      <a:pt x="2469" y="158"/>
                    </a:lnTo>
                    <a:lnTo>
                      <a:pt x="2469" y="162"/>
                    </a:lnTo>
                    <a:lnTo>
                      <a:pt x="2465" y="167"/>
                    </a:lnTo>
                    <a:lnTo>
                      <a:pt x="2472" y="165"/>
                    </a:lnTo>
                    <a:lnTo>
                      <a:pt x="2477" y="160"/>
                    </a:lnTo>
                    <a:lnTo>
                      <a:pt x="2484" y="160"/>
                    </a:lnTo>
                    <a:lnTo>
                      <a:pt x="2487" y="162"/>
                    </a:lnTo>
                    <a:lnTo>
                      <a:pt x="2487" y="158"/>
                    </a:lnTo>
                    <a:lnTo>
                      <a:pt x="2494" y="158"/>
                    </a:lnTo>
                    <a:lnTo>
                      <a:pt x="2499" y="162"/>
                    </a:lnTo>
                    <a:lnTo>
                      <a:pt x="2502" y="167"/>
                    </a:lnTo>
                    <a:lnTo>
                      <a:pt x="2502" y="162"/>
                    </a:lnTo>
                    <a:lnTo>
                      <a:pt x="2500" y="155"/>
                    </a:lnTo>
                    <a:lnTo>
                      <a:pt x="2505" y="155"/>
                    </a:lnTo>
                    <a:lnTo>
                      <a:pt x="2509" y="160"/>
                    </a:lnTo>
                    <a:lnTo>
                      <a:pt x="2517" y="168"/>
                    </a:lnTo>
                    <a:lnTo>
                      <a:pt x="2519" y="175"/>
                    </a:lnTo>
                    <a:lnTo>
                      <a:pt x="2522" y="175"/>
                    </a:lnTo>
                    <a:lnTo>
                      <a:pt x="2530" y="183"/>
                    </a:lnTo>
                    <a:lnTo>
                      <a:pt x="2529" y="181"/>
                    </a:lnTo>
                    <a:lnTo>
                      <a:pt x="2527" y="175"/>
                    </a:lnTo>
                    <a:lnTo>
                      <a:pt x="2522" y="172"/>
                    </a:lnTo>
                    <a:lnTo>
                      <a:pt x="2522" y="168"/>
                    </a:lnTo>
                    <a:lnTo>
                      <a:pt x="2527" y="172"/>
                    </a:lnTo>
                    <a:lnTo>
                      <a:pt x="2530" y="170"/>
                    </a:lnTo>
                    <a:lnTo>
                      <a:pt x="2535" y="175"/>
                    </a:lnTo>
                    <a:lnTo>
                      <a:pt x="2542" y="183"/>
                    </a:lnTo>
                    <a:lnTo>
                      <a:pt x="2540" y="176"/>
                    </a:lnTo>
                    <a:lnTo>
                      <a:pt x="2532" y="165"/>
                    </a:lnTo>
                    <a:lnTo>
                      <a:pt x="2532" y="155"/>
                    </a:lnTo>
                    <a:lnTo>
                      <a:pt x="2532" y="147"/>
                    </a:lnTo>
                    <a:lnTo>
                      <a:pt x="2539" y="140"/>
                    </a:lnTo>
                    <a:lnTo>
                      <a:pt x="2547" y="140"/>
                    </a:lnTo>
                    <a:lnTo>
                      <a:pt x="2552" y="137"/>
                    </a:lnTo>
                    <a:lnTo>
                      <a:pt x="2560" y="133"/>
                    </a:lnTo>
                    <a:lnTo>
                      <a:pt x="2560" y="130"/>
                    </a:lnTo>
                    <a:lnTo>
                      <a:pt x="2562" y="128"/>
                    </a:lnTo>
                    <a:lnTo>
                      <a:pt x="2565" y="128"/>
                    </a:lnTo>
                    <a:lnTo>
                      <a:pt x="2570" y="132"/>
                    </a:lnTo>
                    <a:lnTo>
                      <a:pt x="2573" y="133"/>
                    </a:lnTo>
                    <a:lnTo>
                      <a:pt x="2580" y="132"/>
                    </a:lnTo>
                    <a:lnTo>
                      <a:pt x="2587" y="128"/>
                    </a:lnTo>
                    <a:lnTo>
                      <a:pt x="2590" y="128"/>
                    </a:lnTo>
                    <a:lnTo>
                      <a:pt x="2600" y="127"/>
                    </a:lnTo>
                    <a:lnTo>
                      <a:pt x="2610" y="127"/>
                    </a:lnTo>
                    <a:lnTo>
                      <a:pt x="2613" y="123"/>
                    </a:lnTo>
                    <a:lnTo>
                      <a:pt x="2617" y="123"/>
                    </a:lnTo>
                    <a:lnTo>
                      <a:pt x="2617" y="127"/>
                    </a:lnTo>
                    <a:lnTo>
                      <a:pt x="2620" y="130"/>
                    </a:lnTo>
                    <a:lnTo>
                      <a:pt x="2622" y="125"/>
                    </a:lnTo>
                    <a:lnTo>
                      <a:pt x="2628" y="118"/>
                    </a:lnTo>
                    <a:lnTo>
                      <a:pt x="2627" y="115"/>
                    </a:lnTo>
                    <a:lnTo>
                      <a:pt x="2627" y="108"/>
                    </a:lnTo>
                    <a:lnTo>
                      <a:pt x="2627" y="103"/>
                    </a:lnTo>
                    <a:lnTo>
                      <a:pt x="2630" y="102"/>
                    </a:lnTo>
                    <a:lnTo>
                      <a:pt x="2638" y="103"/>
                    </a:lnTo>
                    <a:lnTo>
                      <a:pt x="2640" y="108"/>
                    </a:lnTo>
                    <a:lnTo>
                      <a:pt x="2642" y="112"/>
                    </a:lnTo>
                    <a:lnTo>
                      <a:pt x="2648" y="112"/>
                    </a:lnTo>
                    <a:lnTo>
                      <a:pt x="2651" y="115"/>
                    </a:lnTo>
                    <a:lnTo>
                      <a:pt x="2651" y="120"/>
                    </a:lnTo>
                    <a:lnTo>
                      <a:pt x="2658" y="127"/>
                    </a:lnTo>
                    <a:lnTo>
                      <a:pt x="2661" y="128"/>
                    </a:lnTo>
                    <a:lnTo>
                      <a:pt x="2670" y="128"/>
                    </a:lnTo>
                    <a:lnTo>
                      <a:pt x="2681" y="130"/>
                    </a:lnTo>
                    <a:lnTo>
                      <a:pt x="2683" y="128"/>
                    </a:lnTo>
                    <a:lnTo>
                      <a:pt x="2686" y="130"/>
                    </a:lnTo>
                    <a:lnTo>
                      <a:pt x="2695" y="140"/>
                    </a:lnTo>
                    <a:lnTo>
                      <a:pt x="2695" y="145"/>
                    </a:lnTo>
                    <a:lnTo>
                      <a:pt x="2698" y="147"/>
                    </a:lnTo>
                    <a:lnTo>
                      <a:pt x="2705" y="148"/>
                    </a:lnTo>
                    <a:lnTo>
                      <a:pt x="2710" y="145"/>
                    </a:lnTo>
                    <a:lnTo>
                      <a:pt x="2715" y="145"/>
                    </a:lnTo>
                    <a:lnTo>
                      <a:pt x="2715" y="142"/>
                    </a:lnTo>
                    <a:lnTo>
                      <a:pt x="2720" y="138"/>
                    </a:lnTo>
                    <a:lnTo>
                      <a:pt x="2723" y="138"/>
                    </a:lnTo>
                    <a:lnTo>
                      <a:pt x="2726" y="137"/>
                    </a:lnTo>
                    <a:lnTo>
                      <a:pt x="2723" y="133"/>
                    </a:lnTo>
                    <a:lnTo>
                      <a:pt x="2725" y="132"/>
                    </a:lnTo>
                    <a:lnTo>
                      <a:pt x="2723" y="128"/>
                    </a:lnTo>
                    <a:lnTo>
                      <a:pt x="2723" y="125"/>
                    </a:lnTo>
                    <a:lnTo>
                      <a:pt x="2718" y="120"/>
                    </a:lnTo>
                    <a:lnTo>
                      <a:pt x="2711" y="118"/>
                    </a:lnTo>
                    <a:lnTo>
                      <a:pt x="2710" y="112"/>
                    </a:lnTo>
                    <a:lnTo>
                      <a:pt x="2701" y="103"/>
                    </a:lnTo>
                    <a:lnTo>
                      <a:pt x="2698" y="102"/>
                    </a:lnTo>
                    <a:lnTo>
                      <a:pt x="2696" y="98"/>
                    </a:lnTo>
                    <a:lnTo>
                      <a:pt x="2686" y="95"/>
                    </a:lnTo>
                    <a:lnTo>
                      <a:pt x="2683" y="98"/>
                    </a:lnTo>
                    <a:lnTo>
                      <a:pt x="2680" y="98"/>
                    </a:lnTo>
                    <a:lnTo>
                      <a:pt x="2680" y="93"/>
                    </a:lnTo>
                    <a:lnTo>
                      <a:pt x="2681" y="90"/>
                    </a:lnTo>
                    <a:lnTo>
                      <a:pt x="2678" y="83"/>
                    </a:lnTo>
                    <a:lnTo>
                      <a:pt x="2676" y="80"/>
                    </a:lnTo>
                    <a:lnTo>
                      <a:pt x="2673" y="77"/>
                    </a:lnTo>
                    <a:lnTo>
                      <a:pt x="2670" y="70"/>
                    </a:lnTo>
                    <a:lnTo>
                      <a:pt x="2663" y="65"/>
                    </a:lnTo>
                    <a:lnTo>
                      <a:pt x="2665" y="65"/>
                    </a:lnTo>
                    <a:lnTo>
                      <a:pt x="2676" y="64"/>
                    </a:lnTo>
                    <a:lnTo>
                      <a:pt x="2680" y="65"/>
                    </a:lnTo>
                    <a:lnTo>
                      <a:pt x="2691" y="64"/>
                    </a:lnTo>
                    <a:lnTo>
                      <a:pt x="2703" y="64"/>
                    </a:lnTo>
                    <a:lnTo>
                      <a:pt x="2703" y="60"/>
                    </a:lnTo>
                    <a:lnTo>
                      <a:pt x="2710" y="59"/>
                    </a:lnTo>
                    <a:lnTo>
                      <a:pt x="2716" y="62"/>
                    </a:lnTo>
                    <a:lnTo>
                      <a:pt x="2720" y="60"/>
                    </a:lnTo>
                    <a:lnTo>
                      <a:pt x="2723" y="62"/>
                    </a:lnTo>
                    <a:lnTo>
                      <a:pt x="2723" y="57"/>
                    </a:lnTo>
                    <a:lnTo>
                      <a:pt x="2730" y="57"/>
                    </a:lnTo>
                    <a:lnTo>
                      <a:pt x="2731" y="60"/>
                    </a:lnTo>
                    <a:lnTo>
                      <a:pt x="2733" y="59"/>
                    </a:lnTo>
                    <a:lnTo>
                      <a:pt x="2736" y="55"/>
                    </a:lnTo>
                    <a:lnTo>
                      <a:pt x="2741" y="55"/>
                    </a:lnTo>
                    <a:lnTo>
                      <a:pt x="2741" y="52"/>
                    </a:lnTo>
                    <a:lnTo>
                      <a:pt x="2761" y="47"/>
                    </a:lnTo>
                    <a:lnTo>
                      <a:pt x="2763" y="52"/>
                    </a:lnTo>
                    <a:lnTo>
                      <a:pt x="2764" y="47"/>
                    </a:lnTo>
                    <a:lnTo>
                      <a:pt x="2766" y="44"/>
                    </a:lnTo>
                    <a:lnTo>
                      <a:pt x="2769" y="45"/>
                    </a:lnTo>
                    <a:lnTo>
                      <a:pt x="2776" y="44"/>
                    </a:lnTo>
                    <a:lnTo>
                      <a:pt x="2779" y="44"/>
                    </a:lnTo>
                    <a:lnTo>
                      <a:pt x="2783" y="47"/>
                    </a:lnTo>
                    <a:lnTo>
                      <a:pt x="2793" y="47"/>
                    </a:lnTo>
                    <a:lnTo>
                      <a:pt x="2796" y="45"/>
                    </a:lnTo>
                    <a:lnTo>
                      <a:pt x="2799" y="49"/>
                    </a:lnTo>
                    <a:lnTo>
                      <a:pt x="2803" y="50"/>
                    </a:lnTo>
                    <a:lnTo>
                      <a:pt x="2804" y="47"/>
                    </a:lnTo>
                    <a:lnTo>
                      <a:pt x="2813" y="45"/>
                    </a:lnTo>
                    <a:lnTo>
                      <a:pt x="2828" y="50"/>
                    </a:lnTo>
                    <a:lnTo>
                      <a:pt x="2834" y="52"/>
                    </a:lnTo>
                    <a:lnTo>
                      <a:pt x="2838" y="52"/>
                    </a:lnTo>
                    <a:lnTo>
                      <a:pt x="2836" y="50"/>
                    </a:lnTo>
                    <a:lnTo>
                      <a:pt x="2841" y="49"/>
                    </a:lnTo>
                    <a:lnTo>
                      <a:pt x="2844" y="52"/>
                    </a:lnTo>
                    <a:lnTo>
                      <a:pt x="2841" y="54"/>
                    </a:lnTo>
                    <a:lnTo>
                      <a:pt x="2844" y="55"/>
                    </a:lnTo>
                    <a:lnTo>
                      <a:pt x="2851" y="54"/>
                    </a:lnTo>
                    <a:lnTo>
                      <a:pt x="2867" y="55"/>
                    </a:lnTo>
                    <a:lnTo>
                      <a:pt x="2882" y="64"/>
                    </a:lnTo>
                    <a:lnTo>
                      <a:pt x="2881" y="65"/>
                    </a:lnTo>
                    <a:lnTo>
                      <a:pt x="2877" y="64"/>
                    </a:lnTo>
                    <a:lnTo>
                      <a:pt x="2869" y="60"/>
                    </a:lnTo>
                    <a:lnTo>
                      <a:pt x="2867" y="62"/>
                    </a:lnTo>
                    <a:lnTo>
                      <a:pt x="2882" y="67"/>
                    </a:lnTo>
                    <a:lnTo>
                      <a:pt x="2889" y="67"/>
                    </a:lnTo>
                    <a:lnTo>
                      <a:pt x="2891" y="64"/>
                    </a:lnTo>
                    <a:lnTo>
                      <a:pt x="2897" y="64"/>
                    </a:lnTo>
                    <a:lnTo>
                      <a:pt x="2904" y="64"/>
                    </a:lnTo>
                    <a:lnTo>
                      <a:pt x="2902" y="60"/>
                    </a:lnTo>
                    <a:lnTo>
                      <a:pt x="2906" y="59"/>
                    </a:lnTo>
                    <a:lnTo>
                      <a:pt x="2911" y="62"/>
                    </a:lnTo>
                    <a:lnTo>
                      <a:pt x="2916" y="64"/>
                    </a:lnTo>
                    <a:lnTo>
                      <a:pt x="2917" y="65"/>
                    </a:lnTo>
                    <a:lnTo>
                      <a:pt x="2917" y="62"/>
                    </a:lnTo>
                    <a:lnTo>
                      <a:pt x="2919" y="62"/>
                    </a:lnTo>
                    <a:lnTo>
                      <a:pt x="2926" y="64"/>
                    </a:lnTo>
                    <a:lnTo>
                      <a:pt x="2926" y="65"/>
                    </a:lnTo>
                    <a:lnTo>
                      <a:pt x="2934" y="69"/>
                    </a:lnTo>
                    <a:lnTo>
                      <a:pt x="2939" y="67"/>
                    </a:lnTo>
                    <a:lnTo>
                      <a:pt x="2960" y="70"/>
                    </a:lnTo>
                    <a:lnTo>
                      <a:pt x="2957" y="67"/>
                    </a:lnTo>
                    <a:lnTo>
                      <a:pt x="2965" y="67"/>
                    </a:lnTo>
                    <a:lnTo>
                      <a:pt x="2967" y="70"/>
                    </a:lnTo>
                    <a:lnTo>
                      <a:pt x="2970" y="72"/>
                    </a:lnTo>
                    <a:lnTo>
                      <a:pt x="2970" y="67"/>
                    </a:lnTo>
                    <a:lnTo>
                      <a:pt x="2972" y="67"/>
                    </a:lnTo>
                    <a:lnTo>
                      <a:pt x="2980" y="69"/>
                    </a:lnTo>
                    <a:lnTo>
                      <a:pt x="2979" y="70"/>
                    </a:lnTo>
                    <a:lnTo>
                      <a:pt x="2982" y="74"/>
                    </a:lnTo>
                    <a:lnTo>
                      <a:pt x="2989" y="72"/>
                    </a:lnTo>
                    <a:lnTo>
                      <a:pt x="2989" y="70"/>
                    </a:lnTo>
                    <a:lnTo>
                      <a:pt x="2987" y="69"/>
                    </a:lnTo>
                    <a:lnTo>
                      <a:pt x="2994" y="69"/>
                    </a:lnTo>
                    <a:lnTo>
                      <a:pt x="2997" y="70"/>
                    </a:lnTo>
                    <a:lnTo>
                      <a:pt x="2995" y="74"/>
                    </a:lnTo>
                    <a:lnTo>
                      <a:pt x="3000" y="78"/>
                    </a:lnTo>
                    <a:lnTo>
                      <a:pt x="3009" y="80"/>
                    </a:lnTo>
                    <a:lnTo>
                      <a:pt x="3015" y="78"/>
                    </a:lnTo>
                    <a:lnTo>
                      <a:pt x="3005" y="75"/>
                    </a:lnTo>
                    <a:lnTo>
                      <a:pt x="3002" y="74"/>
                    </a:lnTo>
                    <a:lnTo>
                      <a:pt x="3000" y="70"/>
                    </a:lnTo>
                    <a:lnTo>
                      <a:pt x="3005" y="70"/>
                    </a:lnTo>
                    <a:lnTo>
                      <a:pt x="3010" y="70"/>
                    </a:lnTo>
                    <a:lnTo>
                      <a:pt x="3020" y="75"/>
                    </a:lnTo>
                    <a:lnTo>
                      <a:pt x="3024" y="80"/>
                    </a:lnTo>
                    <a:lnTo>
                      <a:pt x="3025" y="82"/>
                    </a:lnTo>
                    <a:lnTo>
                      <a:pt x="3027" y="77"/>
                    </a:lnTo>
                    <a:lnTo>
                      <a:pt x="3025" y="75"/>
                    </a:lnTo>
                    <a:lnTo>
                      <a:pt x="3029" y="77"/>
                    </a:lnTo>
                    <a:lnTo>
                      <a:pt x="3032" y="78"/>
                    </a:lnTo>
                    <a:lnTo>
                      <a:pt x="3032" y="80"/>
                    </a:lnTo>
                    <a:lnTo>
                      <a:pt x="3037" y="87"/>
                    </a:lnTo>
                    <a:lnTo>
                      <a:pt x="3044" y="98"/>
                    </a:lnTo>
                    <a:lnTo>
                      <a:pt x="3052" y="102"/>
                    </a:lnTo>
                    <a:lnTo>
                      <a:pt x="3053" y="105"/>
                    </a:lnTo>
                    <a:lnTo>
                      <a:pt x="3058" y="110"/>
                    </a:lnTo>
                    <a:lnTo>
                      <a:pt x="3060" y="113"/>
                    </a:lnTo>
                    <a:lnTo>
                      <a:pt x="3058" y="117"/>
                    </a:lnTo>
                    <a:lnTo>
                      <a:pt x="3060" y="120"/>
                    </a:lnTo>
                    <a:lnTo>
                      <a:pt x="3063" y="122"/>
                    </a:lnTo>
                    <a:lnTo>
                      <a:pt x="3068" y="118"/>
                    </a:lnTo>
                    <a:lnTo>
                      <a:pt x="3075" y="118"/>
                    </a:lnTo>
                    <a:lnTo>
                      <a:pt x="3078" y="125"/>
                    </a:lnTo>
                    <a:lnTo>
                      <a:pt x="3083" y="127"/>
                    </a:lnTo>
                    <a:lnTo>
                      <a:pt x="3083" y="125"/>
                    </a:lnTo>
                    <a:lnTo>
                      <a:pt x="3082" y="123"/>
                    </a:lnTo>
                    <a:lnTo>
                      <a:pt x="3080" y="120"/>
                    </a:lnTo>
                    <a:lnTo>
                      <a:pt x="3083" y="115"/>
                    </a:lnTo>
                    <a:lnTo>
                      <a:pt x="3087" y="117"/>
                    </a:lnTo>
                    <a:lnTo>
                      <a:pt x="3088" y="122"/>
                    </a:lnTo>
                    <a:lnTo>
                      <a:pt x="3093" y="127"/>
                    </a:lnTo>
                    <a:lnTo>
                      <a:pt x="3093" y="125"/>
                    </a:lnTo>
                    <a:lnTo>
                      <a:pt x="3090" y="118"/>
                    </a:lnTo>
                    <a:lnTo>
                      <a:pt x="3090" y="113"/>
                    </a:lnTo>
                    <a:lnTo>
                      <a:pt x="3087" y="110"/>
                    </a:lnTo>
                    <a:lnTo>
                      <a:pt x="3080" y="113"/>
                    </a:lnTo>
                    <a:lnTo>
                      <a:pt x="3073" y="113"/>
                    </a:lnTo>
                    <a:lnTo>
                      <a:pt x="3073" y="110"/>
                    </a:lnTo>
                    <a:lnTo>
                      <a:pt x="3077" y="107"/>
                    </a:lnTo>
                    <a:lnTo>
                      <a:pt x="3075" y="102"/>
                    </a:lnTo>
                    <a:lnTo>
                      <a:pt x="3065" y="97"/>
                    </a:lnTo>
                    <a:lnTo>
                      <a:pt x="3062" y="93"/>
                    </a:lnTo>
                    <a:lnTo>
                      <a:pt x="3058" y="88"/>
                    </a:lnTo>
                    <a:lnTo>
                      <a:pt x="3055" y="88"/>
                    </a:lnTo>
                    <a:lnTo>
                      <a:pt x="3050" y="93"/>
                    </a:lnTo>
                    <a:lnTo>
                      <a:pt x="3048" y="90"/>
                    </a:lnTo>
                    <a:lnTo>
                      <a:pt x="3053" y="87"/>
                    </a:lnTo>
                    <a:lnTo>
                      <a:pt x="3057" y="80"/>
                    </a:lnTo>
                    <a:lnTo>
                      <a:pt x="3063" y="72"/>
                    </a:lnTo>
                    <a:lnTo>
                      <a:pt x="3067" y="72"/>
                    </a:lnTo>
                    <a:lnTo>
                      <a:pt x="3067" y="74"/>
                    </a:lnTo>
                    <a:lnTo>
                      <a:pt x="3070" y="82"/>
                    </a:lnTo>
                    <a:lnTo>
                      <a:pt x="3075" y="83"/>
                    </a:lnTo>
                    <a:lnTo>
                      <a:pt x="3077" y="82"/>
                    </a:lnTo>
                    <a:lnTo>
                      <a:pt x="3072" y="78"/>
                    </a:lnTo>
                    <a:lnTo>
                      <a:pt x="3070" y="75"/>
                    </a:lnTo>
                    <a:lnTo>
                      <a:pt x="3072" y="74"/>
                    </a:lnTo>
                    <a:lnTo>
                      <a:pt x="3078" y="70"/>
                    </a:lnTo>
                    <a:lnTo>
                      <a:pt x="3080" y="69"/>
                    </a:lnTo>
                    <a:lnTo>
                      <a:pt x="3073" y="69"/>
                    </a:lnTo>
                    <a:lnTo>
                      <a:pt x="3077" y="65"/>
                    </a:lnTo>
                    <a:lnTo>
                      <a:pt x="3078" y="65"/>
                    </a:lnTo>
                    <a:lnTo>
                      <a:pt x="3083" y="64"/>
                    </a:lnTo>
                    <a:lnTo>
                      <a:pt x="3087" y="57"/>
                    </a:lnTo>
                    <a:lnTo>
                      <a:pt x="3092" y="59"/>
                    </a:lnTo>
                    <a:lnTo>
                      <a:pt x="3093" y="60"/>
                    </a:lnTo>
                    <a:lnTo>
                      <a:pt x="3097" y="60"/>
                    </a:lnTo>
                    <a:lnTo>
                      <a:pt x="3100" y="60"/>
                    </a:lnTo>
                    <a:lnTo>
                      <a:pt x="3102" y="64"/>
                    </a:lnTo>
                    <a:lnTo>
                      <a:pt x="3105" y="67"/>
                    </a:lnTo>
                    <a:lnTo>
                      <a:pt x="3112" y="67"/>
                    </a:lnTo>
                    <a:lnTo>
                      <a:pt x="3115" y="65"/>
                    </a:lnTo>
                    <a:lnTo>
                      <a:pt x="3130" y="69"/>
                    </a:lnTo>
                    <a:lnTo>
                      <a:pt x="3130" y="74"/>
                    </a:lnTo>
                    <a:lnTo>
                      <a:pt x="3130" y="75"/>
                    </a:lnTo>
                    <a:lnTo>
                      <a:pt x="3133" y="74"/>
                    </a:lnTo>
                    <a:lnTo>
                      <a:pt x="3133" y="70"/>
                    </a:lnTo>
                    <a:lnTo>
                      <a:pt x="3138" y="72"/>
                    </a:lnTo>
                    <a:lnTo>
                      <a:pt x="3138" y="77"/>
                    </a:lnTo>
                    <a:lnTo>
                      <a:pt x="3143" y="74"/>
                    </a:lnTo>
                    <a:lnTo>
                      <a:pt x="3146" y="69"/>
                    </a:lnTo>
                    <a:lnTo>
                      <a:pt x="3151" y="70"/>
                    </a:lnTo>
                    <a:lnTo>
                      <a:pt x="3151" y="74"/>
                    </a:lnTo>
                    <a:lnTo>
                      <a:pt x="3148" y="77"/>
                    </a:lnTo>
                    <a:lnTo>
                      <a:pt x="3148" y="80"/>
                    </a:lnTo>
                    <a:lnTo>
                      <a:pt x="3151" y="92"/>
                    </a:lnTo>
                    <a:lnTo>
                      <a:pt x="3150" y="97"/>
                    </a:lnTo>
                    <a:lnTo>
                      <a:pt x="3151" y="100"/>
                    </a:lnTo>
                    <a:lnTo>
                      <a:pt x="3155" y="98"/>
                    </a:lnTo>
                    <a:lnTo>
                      <a:pt x="3158" y="103"/>
                    </a:lnTo>
                    <a:lnTo>
                      <a:pt x="3163" y="105"/>
                    </a:lnTo>
                    <a:lnTo>
                      <a:pt x="3165" y="110"/>
                    </a:lnTo>
                    <a:lnTo>
                      <a:pt x="3163" y="113"/>
                    </a:lnTo>
                    <a:lnTo>
                      <a:pt x="3155" y="113"/>
                    </a:lnTo>
                    <a:lnTo>
                      <a:pt x="3146" y="113"/>
                    </a:lnTo>
                    <a:lnTo>
                      <a:pt x="3158" y="117"/>
                    </a:lnTo>
                    <a:lnTo>
                      <a:pt x="3161" y="120"/>
                    </a:lnTo>
                    <a:lnTo>
                      <a:pt x="3160" y="123"/>
                    </a:lnTo>
                    <a:lnTo>
                      <a:pt x="3155" y="125"/>
                    </a:lnTo>
                    <a:lnTo>
                      <a:pt x="3150" y="132"/>
                    </a:lnTo>
                    <a:lnTo>
                      <a:pt x="3148" y="130"/>
                    </a:lnTo>
                    <a:lnTo>
                      <a:pt x="3142" y="135"/>
                    </a:lnTo>
                    <a:lnTo>
                      <a:pt x="3135" y="133"/>
                    </a:lnTo>
                    <a:lnTo>
                      <a:pt x="3130" y="138"/>
                    </a:lnTo>
                    <a:lnTo>
                      <a:pt x="3138" y="137"/>
                    </a:lnTo>
                    <a:lnTo>
                      <a:pt x="3142" y="138"/>
                    </a:lnTo>
                    <a:lnTo>
                      <a:pt x="3143" y="142"/>
                    </a:lnTo>
                    <a:lnTo>
                      <a:pt x="3146" y="138"/>
                    </a:lnTo>
                    <a:lnTo>
                      <a:pt x="3150" y="138"/>
                    </a:lnTo>
                    <a:lnTo>
                      <a:pt x="3150" y="143"/>
                    </a:lnTo>
                    <a:lnTo>
                      <a:pt x="3155" y="148"/>
                    </a:lnTo>
                    <a:lnTo>
                      <a:pt x="3150" y="150"/>
                    </a:lnTo>
                    <a:lnTo>
                      <a:pt x="3150" y="158"/>
                    </a:lnTo>
                    <a:lnTo>
                      <a:pt x="3155" y="152"/>
                    </a:lnTo>
                    <a:lnTo>
                      <a:pt x="3161" y="152"/>
                    </a:lnTo>
                    <a:lnTo>
                      <a:pt x="3168" y="157"/>
                    </a:lnTo>
                    <a:lnTo>
                      <a:pt x="3166" y="160"/>
                    </a:lnTo>
                    <a:lnTo>
                      <a:pt x="3171" y="165"/>
                    </a:lnTo>
                    <a:lnTo>
                      <a:pt x="3165" y="168"/>
                    </a:lnTo>
                    <a:lnTo>
                      <a:pt x="3168" y="170"/>
                    </a:lnTo>
                    <a:lnTo>
                      <a:pt x="3170" y="176"/>
                    </a:lnTo>
                    <a:lnTo>
                      <a:pt x="3163" y="178"/>
                    </a:lnTo>
                    <a:lnTo>
                      <a:pt x="3163" y="181"/>
                    </a:lnTo>
                    <a:lnTo>
                      <a:pt x="3165" y="185"/>
                    </a:lnTo>
                    <a:lnTo>
                      <a:pt x="3166" y="181"/>
                    </a:lnTo>
                    <a:lnTo>
                      <a:pt x="3170" y="180"/>
                    </a:lnTo>
                    <a:lnTo>
                      <a:pt x="3173" y="183"/>
                    </a:lnTo>
                    <a:lnTo>
                      <a:pt x="3171" y="190"/>
                    </a:lnTo>
                    <a:lnTo>
                      <a:pt x="3178" y="188"/>
                    </a:lnTo>
                    <a:lnTo>
                      <a:pt x="3180" y="191"/>
                    </a:lnTo>
                    <a:lnTo>
                      <a:pt x="3180" y="188"/>
                    </a:lnTo>
                    <a:lnTo>
                      <a:pt x="3183" y="185"/>
                    </a:lnTo>
                    <a:lnTo>
                      <a:pt x="3186" y="186"/>
                    </a:lnTo>
                    <a:lnTo>
                      <a:pt x="3191" y="188"/>
                    </a:lnTo>
                    <a:lnTo>
                      <a:pt x="3191" y="193"/>
                    </a:lnTo>
                    <a:lnTo>
                      <a:pt x="3188" y="195"/>
                    </a:lnTo>
                    <a:lnTo>
                      <a:pt x="3183" y="191"/>
                    </a:lnTo>
                    <a:lnTo>
                      <a:pt x="3180" y="196"/>
                    </a:lnTo>
                    <a:lnTo>
                      <a:pt x="3185" y="198"/>
                    </a:lnTo>
                    <a:lnTo>
                      <a:pt x="3190" y="198"/>
                    </a:lnTo>
                    <a:lnTo>
                      <a:pt x="3193" y="205"/>
                    </a:lnTo>
                    <a:lnTo>
                      <a:pt x="3193" y="206"/>
                    </a:lnTo>
                    <a:lnTo>
                      <a:pt x="3186" y="210"/>
                    </a:lnTo>
                    <a:lnTo>
                      <a:pt x="3180" y="203"/>
                    </a:lnTo>
                    <a:lnTo>
                      <a:pt x="3178" y="201"/>
                    </a:lnTo>
                    <a:lnTo>
                      <a:pt x="3181" y="210"/>
                    </a:lnTo>
                    <a:lnTo>
                      <a:pt x="3178" y="213"/>
                    </a:lnTo>
                    <a:lnTo>
                      <a:pt x="3175" y="213"/>
                    </a:lnTo>
                    <a:lnTo>
                      <a:pt x="3175" y="211"/>
                    </a:lnTo>
                    <a:lnTo>
                      <a:pt x="3170" y="211"/>
                    </a:lnTo>
                    <a:lnTo>
                      <a:pt x="3166" y="210"/>
                    </a:lnTo>
                    <a:lnTo>
                      <a:pt x="3156" y="208"/>
                    </a:lnTo>
                    <a:lnTo>
                      <a:pt x="3151" y="211"/>
                    </a:lnTo>
                    <a:lnTo>
                      <a:pt x="3146" y="211"/>
                    </a:lnTo>
                    <a:lnTo>
                      <a:pt x="3148" y="208"/>
                    </a:lnTo>
                    <a:lnTo>
                      <a:pt x="3146" y="205"/>
                    </a:lnTo>
                    <a:lnTo>
                      <a:pt x="3143" y="205"/>
                    </a:lnTo>
                    <a:lnTo>
                      <a:pt x="3143" y="210"/>
                    </a:lnTo>
                    <a:lnTo>
                      <a:pt x="3142" y="210"/>
                    </a:lnTo>
                    <a:lnTo>
                      <a:pt x="3140" y="211"/>
                    </a:lnTo>
                    <a:lnTo>
                      <a:pt x="3142" y="215"/>
                    </a:lnTo>
                    <a:lnTo>
                      <a:pt x="3138" y="218"/>
                    </a:lnTo>
                    <a:lnTo>
                      <a:pt x="3137" y="218"/>
                    </a:lnTo>
                    <a:lnTo>
                      <a:pt x="3137" y="216"/>
                    </a:lnTo>
                    <a:lnTo>
                      <a:pt x="3135" y="215"/>
                    </a:lnTo>
                    <a:lnTo>
                      <a:pt x="3125" y="218"/>
                    </a:lnTo>
                    <a:lnTo>
                      <a:pt x="3122" y="216"/>
                    </a:lnTo>
                    <a:lnTo>
                      <a:pt x="3123" y="213"/>
                    </a:lnTo>
                    <a:lnTo>
                      <a:pt x="3122" y="208"/>
                    </a:lnTo>
                    <a:lnTo>
                      <a:pt x="3118" y="206"/>
                    </a:lnTo>
                    <a:lnTo>
                      <a:pt x="3107" y="200"/>
                    </a:lnTo>
                    <a:lnTo>
                      <a:pt x="3107" y="198"/>
                    </a:lnTo>
                    <a:lnTo>
                      <a:pt x="3107" y="196"/>
                    </a:lnTo>
                    <a:lnTo>
                      <a:pt x="3098" y="193"/>
                    </a:lnTo>
                    <a:lnTo>
                      <a:pt x="3098" y="198"/>
                    </a:lnTo>
                    <a:lnTo>
                      <a:pt x="3090" y="200"/>
                    </a:lnTo>
                    <a:lnTo>
                      <a:pt x="3085" y="205"/>
                    </a:lnTo>
                    <a:lnTo>
                      <a:pt x="3083" y="205"/>
                    </a:lnTo>
                    <a:lnTo>
                      <a:pt x="3082" y="198"/>
                    </a:lnTo>
                    <a:lnTo>
                      <a:pt x="3080" y="195"/>
                    </a:lnTo>
                    <a:lnTo>
                      <a:pt x="3080" y="198"/>
                    </a:lnTo>
                    <a:lnTo>
                      <a:pt x="3080" y="208"/>
                    </a:lnTo>
                    <a:lnTo>
                      <a:pt x="3082" y="213"/>
                    </a:lnTo>
                    <a:lnTo>
                      <a:pt x="3080" y="218"/>
                    </a:lnTo>
                    <a:lnTo>
                      <a:pt x="3072" y="230"/>
                    </a:lnTo>
                    <a:lnTo>
                      <a:pt x="3067" y="228"/>
                    </a:lnTo>
                    <a:lnTo>
                      <a:pt x="3067" y="221"/>
                    </a:lnTo>
                    <a:lnTo>
                      <a:pt x="3062" y="220"/>
                    </a:lnTo>
                    <a:lnTo>
                      <a:pt x="3057" y="221"/>
                    </a:lnTo>
                    <a:lnTo>
                      <a:pt x="3045" y="213"/>
                    </a:lnTo>
                    <a:lnTo>
                      <a:pt x="3045" y="210"/>
                    </a:lnTo>
                    <a:lnTo>
                      <a:pt x="3044" y="200"/>
                    </a:lnTo>
                    <a:lnTo>
                      <a:pt x="3040" y="198"/>
                    </a:lnTo>
                    <a:lnTo>
                      <a:pt x="3039" y="195"/>
                    </a:lnTo>
                    <a:lnTo>
                      <a:pt x="3035" y="191"/>
                    </a:lnTo>
                    <a:lnTo>
                      <a:pt x="3034" y="195"/>
                    </a:lnTo>
                    <a:lnTo>
                      <a:pt x="3035" y="198"/>
                    </a:lnTo>
                    <a:lnTo>
                      <a:pt x="3034" y="201"/>
                    </a:lnTo>
                    <a:lnTo>
                      <a:pt x="3037" y="205"/>
                    </a:lnTo>
                    <a:lnTo>
                      <a:pt x="3035" y="208"/>
                    </a:lnTo>
                    <a:lnTo>
                      <a:pt x="3029" y="203"/>
                    </a:lnTo>
                    <a:lnTo>
                      <a:pt x="3024" y="198"/>
                    </a:lnTo>
                    <a:lnTo>
                      <a:pt x="3022" y="198"/>
                    </a:lnTo>
                    <a:lnTo>
                      <a:pt x="3025" y="203"/>
                    </a:lnTo>
                    <a:lnTo>
                      <a:pt x="3022" y="206"/>
                    </a:lnTo>
                    <a:lnTo>
                      <a:pt x="3024" y="208"/>
                    </a:lnTo>
                    <a:lnTo>
                      <a:pt x="3030" y="208"/>
                    </a:lnTo>
                    <a:lnTo>
                      <a:pt x="3032" y="211"/>
                    </a:lnTo>
                    <a:lnTo>
                      <a:pt x="3030" y="216"/>
                    </a:lnTo>
                    <a:lnTo>
                      <a:pt x="3024" y="216"/>
                    </a:lnTo>
                    <a:lnTo>
                      <a:pt x="3024" y="220"/>
                    </a:lnTo>
                    <a:lnTo>
                      <a:pt x="3025" y="221"/>
                    </a:lnTo>
                    <a:lnTo>
                      <a:pt x="3040" y="235"/>
                    </a:lnTo>
                    <a:lnTo>
                      <a:pt x="3048" y="238"/>
                    </a:lnTo>
                    <a:lnTo>
                      <a:pt x="3055" y="235"/>
                    </a:lnTo>
                    <a:lnTo>
                      <a:pt x="3060" y="238"/>
                    </a:lnTo>
                    <a:lnTo>
                      <a:pt x="3063" y="245"/>
                    </a:lnTo>
                    <a:lnTo>
                      <a:pt x="3062" y="245"/>
                    </a:lnTo>
                    <a:lnTo>
                      <a:pt x="3057" y="240"/>
                    </a:lnTo>
                    <a:lnTo>
                      <a:pt x="3055" y="240"/>
                    </a:lnTo>
                    <a:lnTo>
                      <a:pt x="3058" y="246"/>
                    </a:lnTo>
                    <a:lnTo>
                      <a:pt x="3065" y="250"/>
                    </a:lnTo>
                    <a:lnTo>
                      <a:pt x="3067" y="256"/>
                    </a:lnTo>
                    <a:lnTo>
                      <a:pt x="3072" y="261"/>
                    </a:lnTo>
                    <a:lnTo>
                      <a:pt x="3072" y="270"/>
                    </a:lnTo>
                    <a:lnTo>
                      <a:pt x="3067" y="284"/>
                    </a:lnTo>
                    <a:lnTo>
                      <a:pt x="3070" y="293"/>
                    </a:lnTo>
                    <a:lnTo>
                      <a:pt x="3070" y="299"/>
                    </a:lnTo>
                    <a:lnTo>
                      <a:pt x="3072" y="301"/>
                    </a:lnTo>
                    <a:lnTo>
                      <a:pt x="3065" y="309"/>
                    </a:lnTo>
                    <a:lnTo>
                      <a:pt x="3065" y="316"/>
                    </a:lnTo>
                    <a:lnTo>
                      <a:pt x="3062" y="318"/>
                    </a:lnTo>
                    <a:lnTo>
                      <a:pt x="3062" y="314"/>
                    </a:lnTo>
                    <a:lnTo>
                      <a:pt x="3062" y="313"/>
                    </a:lnTo>
                    <a:lnTo>
                      <a:pt x="3050" y="319"/>
                    </a:lnTo>
                    <a:lnTo>
                      <a:pt x="3047" y="318"/>
                    </a:lnTo>
                    <a:lnTo>
                      <a:pt x="3042" y="319"/>
                    </a:lnTo>
                    <a:lnTo>
                      <a:pt x="3039" y="319"/>
                    </a:lnTo>
                    <a:lnTo>
                      <a:pt x="3035" y="316"/>
                    </a:lnTo>
                    <a:lnTo>
                      <a:pt x="3030" y="314"/>
                    </a:lnTo>
                    <a:lnTo>
                      <a:pt x="3024" y="308"/>
                    </a:lnTo>
                    <a:lnTo>
                      <a:pt x="3019" y="304"/>
                    </a:lnTo>
                    <a:lnTo>
                      <a:pt x="3012" y="304"/>
                    </a:lnTo>
                    <a:lnTo>
                      <a:pt x="3009" y="301"/>
                    </a:lnTo>
                    <a:lnTo>
                      <a:pt x="3004" y="303"/>
                    </a:lnTo>
                    <a:lnTo>
                      <a:pt x="2999" y="308"/>
                    </a:lnTo>
                    <a:lnTo>
                      <a:pt x="2994" y="308"/>
                    </a:lnTo>
                    <a:lnTo>
                      <a:pt x="2999" y="309"/>
                    </a:lnTo>
                    <a:lnTo>
                      <a:pt x="3005" y="309"/>
                    </a:lnTo>
                    <a:lnTo>
                      <a:pt x="3009" y="306"/>
                    </a:lnTo>
                    <a:lnTo>
                      <a:pt x="3022" y="311"/>
                    </a:lnTo>
                    <a:lnTo>
                      <a:pt x="3025" y="314"/>
                    </a:lnTo>
                    <a:lnTo>
                      <a:pt x="3019" y="318"/>
                    </a:lnTo>
                    <a:lnTo>
                      <a:pt x="3014" y="316"/>
                    </a:lnTo>
                    <a:lnTo>
                      <a:pt x="3009" y="316"/>
                    </a:lnTo>
                    <a:lnTo>
                      <a:pt x="3009" y="321"/>
                    </a:lnTo>
                    <a:lnTo>
                      <a:pt x="3004" y="316"/>
                    </a:lnTo>
                    <a:lnTo>
                      <a:pt x="2999" y="316"/>
                    </a:lnTo>
                    <a:lnTo>
                      <a:pt x="3002" y="316"/>
                    </a:lnTo>
                    <a:lnTo>
                      <a:pt x="3004" y="323"/>
                    </a:lnTo>
                    <a:lnTo>
                      <a:pt x="3010" y="326"/>
                    </a:lnTo>
                    <a:lnTo>
                      <a:pt x="3009" y="333"/>
                    </a:lnTo>
                    <a:lnTo>
                      <a:pt x="3012" y="339"/>
                    </a:lnTo>
                    <a:lnTo>
                      <a:pt x="3017" y="343"/>
                    </a:lnTo>
                    <a:lnTo>
                      <a:pt x="3014" y="339"/>
                    </a:lnTo>
                    <a:lnTo>
                      <a:pt x="3015" y="331"/>
                    </a:lnTo>
                    <a:lnTo>
                      <a:pt x="3019" y="328"/>
                    </a:lnTo>
                    <a:lnTo>
                      <a:pt x="3022" y="329"/>
                    </a:lnTo>
                    <a:lnTo>
                      <a:pt x="3022" y="328"/>
                    </a:lnTo>
                    <a:lnTo>
                      <a:pt x="3030" y="321"/>
                    </a:lnTo>
                    <a:lnTo>
                      <a:pt x="3034" y="319"/>
                    </a:lnTo>
                    <a:lnTo>
                      <a:pt x="3037" y="323"/>
                    </a:lnTo>
                    <a:lnTo>
                      <a:pt x="3037" y="324"/>
                    </a:lnTo>
                    <a:lnTo>
                      <a:pt x="3044" y="333"/>
                    </a:lnTo>
                    <a:lnTo>
                      <a:pt x="3048" y="334"/>
                    </a:lnTo>
                    <a:lnTo>
                      <a:pt x="3055" y="339"/>
                    </a:lnTo>
                    <a:lnTo>
                      <a:pt x="3062" y="339"/>
                    </a:lnTo>
                    <a:lnTo>
                      <a:pt x="3063" y="336"/>
                    </a:lnTo>
                    <a:lnTo>
                      <a:pt x="3062" y="333"/>
                    </a:lnTo>
                    <a:lnTo>
                      <a:pt x="3065" y="333"/>
                    </a:lnTo>
                    <a:lnTo>
                      <a:pt x="3077" y="343"/>
                    </a:lnTo>
                    <a:lnTo>
                      <a:pt x="3078" y="346"/>
                    </a:lnTo>
                    <a:lnTo>
                      <a:pt x="3075" y="346"/>
                    </a:lnTo>
                    <a:lnTo>
                      <a:pt x="3073" y="349"/>
                    </a:lnTo>
                    <a:lnTo>
                      <a:pt x="3083" y="358"/>
                    </a:lnTo>
                    <a:lnTo>
                      <a:pt x="3087" y="358"/>
                    </a:lnTo>
                    <a:lnTo>
                      <a:pt x="3085" y="354"/>
                    </a:lnTo>
                    <a:lnTo>
                      <a:pt x="3087" y="349"/>
                    </a:lnTo>
                    <a:lnTo>
                      <a:pt x="3093" y="353"/>
                    </a:lnTo>
                    <a:lnTo>
                      <a:pt x="3103" y="368"/>
                    </a:lnTo>
                    <a:lnTo>
                      <a:pt x="3098" y="364"/>
                    </a:lnTo>
                    <a:lnTo>
                      <a:pt x="3097" y="364"/>
                    </a:lnTo>
                    <a:lnTo>
                      <a:pt x="3095" y="366"/>
                    </a:lnTo>
                    <a:lnTo>
                      <a:pt x="3098" y="371"/>
                    </a:lnTo>
                    <a:lnTo>
                      <a:pt x="3093" y="372"/>
                    </a:lnTo>
                    <a:lnTo>
                      <a:pt x="3093" y="377"/>
                    </a:lnTo>
                    <a:lnTo>
                      <a:pt x="3095" y="381"/>
                    </a:lnTo>
                    <a:lnTo>
                      <a:pt x="3100" y="379"/>
                    </a:lnTo>
                    <a:lnTo>
                      <a:pt x="3100" y="374"/>
                    </a:lnTo>
                    <a:lnTo>
                      <a:pt x="3103" y="372"/>
                    </a:lnTo>
                    <a:lnTo>
                      <a:pt x="3107" y="374"/>
                    </a:lnTo>
                    <a:lnTo>
                      <a:pt x="3107" y="371"/>
                    </a:lnTo>
                    <a:lnTo>
                      <a:pt x="3112" y="376"/>
                    </a:lnTo>
                    <a:lnTo>
                      <a:pt x="3122" y="382"/>
                    </a:lnTo>
                    <a:lnTo>
                      <a:pt x="3133" y="386"/>
                    </a:lnTo>
                    <a:lnTo>
                      <a:pt x="3140" y="391"/>
                    </a:lnTo>
                    <a:lnTo>
                      <a:pt x="3137" y="394"/>
                    </a:lnTo>
                    <a:lnTo>
                      <a:pt x="3143" y="402"/>
                    </a:lnTo>
                    <a:lnTo>
                      <a:pt x="3148" y="402"/>
                    </a:lnTo>
                    <a:lnTo>
                      <a:pt x="3155" y="412"/>
                    </a:lnTo>
                    <a:lnTo>
                      <a:pt x="3155" y="426"/>
                    </a:lnTo>
                    <a:lnTo>
                      <a:pt x="3151" y="426"/>
                    </a:lnTo>
                    <a:lnTo>
                      <a:pt x="3151" y="429"/>
                    </a:lnTo>
                    <a:lnTo>
                      <a:pt x="3156" y="431"/>
                    </a:lnTo>
                    <a:lnTo>
                      <a:pt x="3158" y="436"/>
                    </a:lnTo>
                    <a:lnTo>
                      <a:pt x="3156" y="437"/>
                    </a:lnTo>
                    <a:lnTo>
                      <a:pt x="3153" y="434"/>
                    </a:lnTo>
                    <a:lnTo>
                      <a:pt x="3135" y="434"/>
                    </a:lnTo>
                    <a:lnTo>
                      <a:pt x="3130" y="432"/>
                    </a:lnTo>
                    <a:lnTo>
                      <a:pt x="3127" y="434"/>
                    </a:lnTo>
                    <a:lnTo>
                      <a:pt x="3122" y="432"/>
                    </a:lnTo>
                    <a:lnTo>
                      <a:pt x="3122" y="429"/>
                    </a:lnTo>
                    <a:lnTo>
                      <a:pt x="3118" y="427"/>
                    </a:lnTo>
                    <a:lnTo>
                      <a:pt x="3117" y="429"/>
                    </a:lnTo>
                    <a:lnTo>
                      <a:pt x="3120" y="432"/>
                    </a:lnTo>
                    <a:lnTo>
                      <a:pt x="3112" y="437"/>
                    </a:lnTo>
                    <a:lnTo>
                      <a:pt x="3105" y="436"/>
                    </a:lnTo>
                    <a:lnTo>
                      <a:pt x="3103" y="439"/>
                    </a:lnTo>
                    <a:lnTo>
                      <a:pt x="3107" y="441"/>
                    </a:lnTo>
                    <a:lnTo>
                      <a:pt x="3098" y="447"/>
                    </a:lnTo>
                    <a:lnTo>
                      <a:pt x="3095" y="447"/>
                    </a:lnTo>
                    <a:lnTo>
                      <a:pt x="3095" y="451"/>
                    </a:lnTo>
                    <a:lnTo>
                      <a:pt x="3098" y="452"/>
                    </a:lnTo>
                    <a:lnTo>
                      <a:pt x="3090" y="461"/>
                    </a:lnTo>
                    <a:lnTo>
                      <a:pt x="3088" y="464"/>
                    </a:lnTo>
                    <a:lnTo>
                      <a:pt x="3087" y="462"/>
                    </a:lnTo>
                    <a:lnTo>
                      <a:pt x="3083" y="462"/>
                    </a:lnTo>
                    <a:lnTo>
                      <a:pt x="3083" y="469"/>
                    </a:lnTo>
                    <a:lnTo>
                      <a:pt x="3087" y="474"/>
                    </a:lnTo>
                    <a:lnTo>
                      <a:pt x="3082" y="479"/>
                    </a:lnTo>
                    <a:lnTo>
                      <a:pt x="3078" y="475"/>
                    </a:lnTo>
                    <a:lnTo>
                      <a:pt x="3077" y="480"/>
                    </a:lnTo>
                    <a:lnTo>
                      <a:pt x="3080" y="484"/>
                    </a:lnTo>
                    <a:lnTo>
                      <a:pt x="3073" y="489"/>
                    </a:lnTo>
                    <a:lnTo>
                      <a:pt x="3070" y="490"/>
                    </a:lnTo>
                    <a:lnTo>
                      <a:pt x="3073" y="492"/>
                    </a:lnTo>
                    <a:lnTo>
                      <a:pt x="3072" y="494"/>
                    </a:lnTo>
                    <a:lnTo>
                      <a:pt x="3070" y="499"/>
                    </a:lnTo>
                    <a:lnTo>
                      <a:pt x="3067" y="497"/>
                    </a:lnTo>
                    <a:lnTo>
                      <a:pt x="3063" y="499"/>
                    </a:lnTo>
                    <a:lnTo>
                      <a:pt x="3065" y="502"/>
                    </a:lnTo>
                    <a:lnTo>
                      <a:pt x="3067" y="505"/>
                    </a:lnTo>
                    <a:lnTo>
                      <a:pt x="3062" y="509"/>
                    </a:lnTo>
                    <a:lnTo>
                      <a:pt x="3063" y="512"/>
                    </a:lnTo>
                    <a:lnTo>
                      <a:pt x="3062" y="515"/>
                    </a:lnTo>
                    <a:lnTo>
                      <a:pt x="3058" y="515"/>
                    </a:lnTo>
                    <a:lnTo>
                      <a:pt x="3057" y="514"/>
                    </a:lnTo>
                    <a:lnTo>
                      <a:pt x="3053" y="514"/>
                    </a:lnTo>
                    <a:lnTo>
                      <a:pt x="3057" y="519"/>
                    </a:lnTo>
                    <a:lnTo>
                      <a:pt x="3063" y="520"/>
                    </a:lnTo>
                    <a:lnTo>
                      <a:pt x="3060" y="525"/>
                    </a:lnTo>
                    <a:lnTo>
                      <a:pt x="3053" y="527"/>
                    </a:lnTo>
                    <a:lnTo>
                      <a:pt x="3053" y="529"/>
                    </a:lnTo>
                    <a:lnTo>
                      <a:pt x="3057" y="530"/>
                    </a:lnTo>
                    <a:lnTo>
                      <a:pt x="3060" y="537"/>
                    </a:lnTo>
                    <a:lnTo>
                      <a:pt x="3058" y="540"/>
                    </a:lnTo>
                    <a:lnTo>
                      <a:pt x="3060" y="542"/>
                    </a:lnTo>
                    <a:lnTo>
                      <a:pt x="3055" y="549"/>
                    </a:lnTo>
                    <a:lnTo>
                      <a:pt x="3055" y="552"/>
                    </a:lnTo>
                    <a:lnTo>
                      <a:pt x="3052" y="560"/>
                    </a:lnTo>
                    <a:lnTo>
                      <a:pt x="3050" y="570"/>
                    </a:lnTo>
                    <a:lnTo>
                      <a:pt x="3048" y="573"/>
                    </a:lnTo>
                    <a:lnTo>
                      <a:pt x="3047" y="578"/>
                    </a:lnTo>
                    <a:lnTo>
                      <a:pt x="3050" y="578"/>
                    </a:lnTo>
                    <a:lnTo>
                      <a:pt x="3052" y="582"/>
                    </a:lnTo>
                    <a:lnTo>
                      <a:pt x="3050" y="585"/>
                    </a:lnTo>
                    <a:lnTo>
                      <a:pt x="3057" y="593"/>
                    </a:lnTo>
                    <a:lnTo>
                      <a:pt x="3057" y="597"/>
                    </a:lnTo>
                    <a:lnTo>
                      <a:pt x="3053" y="595"/>
                    </a:lnTo>
                    <a:lnTo>
                      <a:pt x="3048" y="597"/>
                    </a:lnTo>
                    <a:lnTo>
                      <a:pt x="3044" y="592"/>
                    </a:lnTo>
                    <a:lnTo>
                      <a:pt x="3042" y="595"/>
                    </a:lnTo>
                    <a:lnTo>
                      <a:pt x="3034" y="587"/>
                    </a:lnTo>
                    <a:lnTo>
                      <a:pt x="3037" y="587"/>
                    </a:lnTo>
                    <a:lnTo>
                      <a:pt x="3034" y="585"/>
                    </a:lnTo>
                    <a:lnTo>
                      <a:pt x="3030" y="585"/>
                    </a:lnTo>
                    <a:lnTo>
                      <a:pt x="3027" y="585"/>
                    </a:lnTo>
                    <a:lnTo>
                      <a:pt x="3025" y="582"/>
                    </a:lnTo>
                    <a:lnTo>
                      <a:pt x="3012" y="575"/>
                    </a:lnTo>
                    <a:lnTo>
                      <a:pt x="3005" y="573"/>
                    </a:lnTo>
                    <a:lnTo>
                      <a:pt x="2997" y="578"/>
                    </a:lnTo>
                    <a:lnTo>
                      <a:pt x="2995" y="577"/>
                    </a:lnTo>
                    <a:lnTo>
                      <a:pt x="2990" y="577"/>
                    </a:lnTo>
                    <a:lnTo>
                      <a:pt x="2985" y="583"/>
                    </a:lnTo>
                    <a:lnTo>
                      <a:pt x="2980" y="583"/>
                    </a:lnTo>
                    <a:lnTo>
                      <a:pt x="2977" y="592"/>
                    </a:lnTo>
                    <a:lnTo>
                      <a:pt x="2974" y="595"/>
                    </a:lnTo>
                    <a:lnTo>
                      <a:pt x="2970" y="592"/>
                    </a:lnTo>
                    <a:lnTo>
                      <a:pt x="2974" y="598"/>
                    </a:lnTo>
                    <a:lnTo>
                      <a:pt x="2970" y="602"/>
                    </a:lnTo>
                    <a:lnTo>
                      <a:pt x="2972" y="607"/>
                    </a:lnTo>
                    <a:lnTo>
                      <a:pt x="2970" y="610"/>
                    </a:lnTo>
                    <a:lnTo>
                      <a:pt x="2969" y="622"/>
                    </a:lnTo>
                    <a:lnTo>
                      <a:pt x="2965" y="623"/>
                    </a:lnTo>
                    <a:lnTo>
                      <a:pt x="2962" y="620"/>
                    </a:lnTo>
                    <a:lnTo>
                      <a:pt x="2957" y="607"/>
                    </a:lnTo>
                    <a:lnTo>
                      <a:pt x="2957" y="602"/>
                    </a:lnTo>
                    <a:lnTo>
                      <a:pt x="2952" y="600"/>
                    </a:lnTo>
                    <a:lnTo>
                      <a:pt x="2949" y="595"/>
                    </a:lnTo>
                    <a:lnTo>
                      <a:pt x="2947" y="600"/>
                    </a:lnTo>
                    <a:lnTo>
                      <a:pt x="2942" y="610"/>
                    </a:lnTo>
                    <a:lnTo>
                      <a:pt x="2939" y="612"/>
                    </a:lnTo>
                    <a:lnTo>
                      <a:pt x="2937" y="617"/>
                    </a:lnTo>
                    <a:lnTo>
                      <a:pt x="2942" y="618"/>
                    </a:lnTo>
                    <a:lnTo>
                      <a:pt x="2937" y="628"/>
                    </a:lnTo>
                    <a:lnTo>
                      <a:pt x="2934" y="623"/>
                    </a:lnTo>
                    <a:lnTo>
                      <a:pt x="2931" y="623"/>
                    </a:lnTo>
                    <a:lnTo>
                      <a:pt x="2929" y="620"/>
                    </a:lnTo>
                    <a:lnTo>
                      <a:pt x="2926" y="620"/>
                    </a:lnTo>
                    <a:lnTo>
                      <a:pt x="2924" y="627"/>
                    </a:lnTo>
                    <a:lnTo>
                      <a:pt x="2921" y="627"/>
                    </a:lnTo>
                    <a:lnTo>
                      <a:pt x="2916" y="625"/>
                    </a:lnTo>
                    <a:lnTo>
                      <a:pt x="2912" y="625"/>
                    </a:lnTo>
                    <a:lnTo>
                      <a:pt x="2912" y="628"/>
                    </a:lnTo>
                    <a:lnTo>
                      <a:pt x="2914" y="632"/>
                    </a:lnTo>
                    <a:lnTo>
                      <a:pt x="2912" y="633"/>
                    </a:lnTo>
                    <a:lnTo>
                      <a:pt x="2911" y="637"/>
                    </a:lnTo>
                    <a:lnTo>
                      <a:pt x="2911" y="642"/>
                    </a:lnTo>
                    <a:lnTo>
                      <a:pt x="2914" y="645"/>
                    </a:lnTo>
                    <a:lnTo>
                      <a:pt x="2916" y="650"/>
                    </a:lnTo>
                    <a:lnTo>
                      <a:pt x="2914" y="652"/>
                    </a:lnTo>
                    <a:lnTo>
                      <a:pt x="2914" y="655"/>
                    </a:lnTo>
                    <a:lnTo>
                      <a:pt x="2919" y="657"/>
                    </a:lnTo>
                    <a:lnTo>
                      <a:pt x="2924" y="660"/>
                    </a:lnTo>
                    <a:lnTo>
                      <a:pt x="2924" y="662"/>
                    </a:lnTo>
                    <a:lnTo>
                      <a:pt x="2922" y="662"/>
                    </a:lnTo>
                    <a:lnTo>
                      <a:pt x="2921" y="665"/>
                    </a:lnTo>
                    <a:lnTo>
                      <a:pt x="2924" y="668"/>
                    </a:lnTo>
                    <a:lnTo>
                      <a:pt x="2927" y="671"/>
                    </a:lnTo>
                    <a:lnTo>
                      <a:pt x="2927" y="673"/>
                    </a:lnTo>
                    <a:lnTo>
                      <a:pt x="2924" y="670"/>
                    </a:lnTo>
                    <a:lnTo>
                      <a:pt x="2921" y="671"/>
                    </a:lnTo>
                    <a:lnTo>
                      <a:pt x="2919" y="673"/>
                    </a:lnTo>
                    <a:lnTo>
                      <a:pt x="2924" y="678"/>
                    </a:lnTo>
                    <a:lnTo>
                      <a:pt x="2927" y="676"/>
                    </a:lnTo>
                    <a:lnTo>
                      <a:pt x="2927" y="681"/>
                    </a:lnTo>
                    <a:lnTo>
                      <a:pt x="2926" y="686"/>
                    </a:lnTo>
                    <a:lnTo>
                      <a:pt x="2926" y="690"/>
                    </a:lnTo>
                    <a:lnTo>
                      <a:pt x="2922" y="693"/>
                    </a:lnTo>
                    <a:lnTo>
                      <a:pt x="2926" y="700"/>
                    </a:lnTo>
                    <a:lnTo>
                      <a:pt x="2924" y="703"/>
                    </a:lnTo>
                    <a:lnTo>
                      <a:pt x="2926" y="706"/>
                    </a:lnTo>
                    <a:lnTo>
                      <a:pt x="2926" y="710"/>
                    </a:lnTo>
                    <a:lnTo>
                      <a:pt x="2926" y="715"/>
                    </a:lnTo>
                    <a:lnTo>
                      <a:pt x="2931" y="723"/>
                    </a:lnTo>
                    <a:lnTo>
                      <a:pt x="2927" y="725"/>
                    </a:lnTo>
                    <a:lnTo>
                      <a:pt x="2932" y="726"/>
                    </a:lnTo>
                    <a:lnTo>
                      <a:pt x="2936" y="731"/>
                    </a:lnTo>
                    <a:lnTo>
                      <a:pt x="2942" y="738"/>
                    </a:lnTo>
                    <a:lnTo>
                      <a:pt x="2949" y="741"/>
                    </a:lnTo>
                    <a:lnTo>
                      <a:pt x="2950" y="740"/>
                    </a:lnTo>
                    <a:lnTo>
                      <a:pt x="2950" y="736"/>
                    </a:lnTo>
                    <a:lnTo>
                      <a:pt x="2945" y="730"/>
                    </a:lnTo>
                    <a:lnTo>
                      <a:pt x="2945" y="726"/>
                    </a:lnTo>
                    <a:lnTo>
                      <a:pt x="2949" y="723"/>
                    </a:lnTo>
                    <a:lnTo>
                      <a:pt x="2954" y="725"/>
                    </a:lnTo>
                    <a:lnTo>
                      <a:pt x="2962" y="730"/>
                    </a:lnTo>
                    <a:lnTo>
                      <a:pt x="2965" y="730"/>
                    </a:lnTo>
                    <a:lnTo>
                      <a:pt x="2969" y="731"/>
                    </a:lnTo>
                    <a:lnTo>
                      <a:pt x="2969" y="735"/>
                    </a:lnTo>
                    <a:lnTo>
                      <a:pt x="2969" y="736"/>
                    </a:lnTo>
                    <a:lnTo>
                      <a:pt x="2970" y="740"/>
                    </a:lnTo>
                    <a:lnTo>
                      <a:pt x="2969" y="745"/>
                    </a:lnTo>
                    <a:lnTo>
                      <a:pt x="2969" y="748"/>
                    </a:lnTo>
                    <a:lnTo>
                      <a:pt x="2967" y="750"/>
                    </a:lnTo>
                    <a:lnTo>
                      <a:pt x="2964" y="753"/>
                    </a:lnTo>
                    <a:lnTo>
                      <a:pt x="2969" y="761"/>
                    </a:lnTo>
                    <a:lnTo>
                      <a:pt x="2972" y="766"/>
                    </a:lnTo>
                    <a:lnTo>
                      <a:pt x="2972" y="774"/>
                    </a:lnTo>
                    <a:lnTo>
                      <a:pt x="2977" y="778"/>
                    </a:lnTo>
                    <a:lnTo>
                      <a:pt x="2979" y="776"/>
                    </a:lnTo>
                    <a:lnTo>
                      <a:pt x="2979" y="773"/>
                    </a:lnTo>
                    <a:lnTo>
                      <a:pt x="2984" y="771"/>
                    </a:lnTo>
                    <a:lnTo>
                      <a:pt x="2985" y="769"/>
                    </a:lnTo>
                    <a:lnTo>
                      <a:pt x="2985" y="769"/>
                    </a:lnTo>
                    <a:lnTo>
                      <a:pt x="2990" y="773"/>
                    </a:lnTo>
                    <a:lnTo>
                      <a:pt x="2990" y="783"/>
                    </a:lnTo>
                    <a:lnTo>
                      <a:pt x="3002" y="791"/>
                    </a:lnTo>
                    <a:lnTo>
                      <a:pt x="3005" y="798"/>
                    </a:lnTo>
                    <a:lnTo>
                      <a:pt x="3004" y="801"/>
                    </a:lnTo>
                    <a:lnTo>
                      <a:pt x="3004" y="806"/>
                    </a:lnTo>
                    <a:lnTo>
                      <a:pt x="3000" y="808"/>
                    </a:lnTo>
                    <a:lnTo>
                      <a:pt x="2994" y="804"/>
                    </a:lnTo>
                    <a:lnTo>
                      <a:pt x="2985" y="801"/>
                    </a:lnTo>
                    <a:lnTo>
                      <a:pt x="2985" y="794"/>
                    </a:lnTo>
                    <a:lnTo>
                      <a:pt x="2987" y="791"/>
                    </a:lnTo>
                    <a:lnTo>
                      <a:pt x="2989" y="784"/>
                    </a:lnTo>
                    <a:lnTo>
                      <a:pt x="2987" y="781"/>
                    </a:lnTo>
                    <a:lnTo>
                      <a:pt x="2984" y="783"/>
                    </a:lnTo>
                    <a:lnTo>
                      <a:pt x="2985" y="784"/>
                    </a:lnTo>
                    <a:lnTo>
                      <a:pt x="2985" y="788"/>
                    </a:lnTo>
                    <a:lnTo>
                      <a:pt x="2980" y="789"/>
                    </a:lnTo>
                    <a:lnTo>
                      <a:pt x="2975" y="796"/>
                    </a:lnTo>
                    <a:lnTo>
                      <a:pt x="2977" y="798"/>
                    </a:lnTo>
                    <a:lnTo>
                      <a:pt x="2984" y="796"/>
                    </a:lnTo>
                    <a:lnTo>
                      <a:pt x="2984" y="801"/>
                    </a:lnTo>
                    <a:lnTo>
                      <a:pt x="2980" y="806"/>
                    </a:lnTo>
                    <a:lnTo>
                      <a:pt x="2982" y="813"/>
                    </a:lnTo>
                    <a:lnTo>
                      <a:pt x="2980" y="816"/>
                    </a:lnTo>
                    <a:lnTo>
                      <a:pt x="2980" y="831"/>
                    </a:lnTo>
                    <a:lnTo>
                      <a:pt x="2985" y="834"/>
                    </a:lnTo>
                    <a:lnTo>
                      <a:pt x="2984" y="838"/>
                    </a:lnTo>
                    <a:lnTo>
                      <a:pt x="2997" y="854"/>
                    </a:lnTo>
                    <a:lnTo>
                      <a:pt x="3000" y="854"/>
                    </a:lnTo>
                    <a:lnTo>
                      <a:pt x="3009" y="864"/>
                    </a:lnTo>
                    <a:lnTo>
                      <a:pt x="3014" y="867"/>
                    </a:lnTo>
                    <a:lnTo>
                      <a:pt x="3010" y="871"/>
                    </a:lnTo>
                    <a:lnTo>
                      <a:pt x="3012" y="876"/>
                    </a:lnTo>
                    <a:lnTo>
                      <a:pt x="2997" y="881"/>
                    </a:lnTo>
                    <a:lnTo>
                      <a:pt x="2995" y="879"/>
                    </a:lnTo>
                    <a:lnTo>
                      <a:pt x="2989" y="884"/>
                    </a:lnTo>
                    <a:lnTo>
                      <a:pt x="2984" y="882"/>
                    </a:lnTo>
                    <a:lnTo>
                      <a:pt x="2987" y="884"/>
                    </a:lnTo>
                    <a:lnTo>
                      <a:pt x="2982" y="894"/>
                    </a:lnTo>
                    <a:lnTo>
                      <a:pt x="2980" y="899"/>
                    </a:lnTo>
                    <a:lnTo>
                      <a:pt x="2979" y="902"/>
                    </a:lnTo>
                    <a:lnTo>
                      <a:pt x="2982" y="906"/>
                    </a:lnTo>
                    <a:lnTo>
                      <a:pt x="2979" y="917"/>
                    </a:lnTo>
                    <a:lnTo>
                      <a:pt x="2984" y="929"/>
                    </a:lnTo>
                    <a:lnTo>
                      <a:pt x="2990" y="932"/>
                    </a:lnTo>
                    <a:lnTo>
                      <a:pt x="2990" y="939"/>
                    </a:lnTo>
                    <a:lnTo>
                      <a:pt x="2997" y="941"/>
                    </a:lnTo>
                    <a:lnTo>
                      <a:pt x="3000" y="946"/>
                    </a:lnTo>
                    <a:lnTo>
                      <a:pt x="2995" y="946"/>
                    </a:lnTo>
                    <a:lnTo>
                      <a:pt x="2994" y="944"/>
                    </a:lnTo>
                    <a:lnTo>
                      <a:pt x="2989" y="946"/>
                    </a:lnTo>
                    <a:lnTo>
                      <a:pt x="2985" y="949"/>
                    </a:lnTo>
                    <a:lnTo>
                      <a:pt x="2980" y="949"/>
                    </a:lnTo>
                    <a:lnTo>
                      <a:pt x="2974" y="956"/>
                    </a:lnTo>
                    <a:lnTo>
                      <a:pt x="2969" y="952"/>
                    </a:lnTo>
                    <a:lnTo>
                      <a:pt x="2967" y="956"/>
                    </a:lnTo>
                    <a:lnTo>
                      <a:pt x="2969" y="959"/>
                    </a:lnTo>
                    <a:lnTo>
                      <a:pt x="2975" y="957"/>
                    </a:lnTo>
                    <a:lnTo>
                      <a:pt x="2974" y="962"/>
                    </a:lnTo>
                    <a:lnTo>
                      <a:pt x="2972" y="965"/>
                    </a:lnTo>
                    <a:lnTo>
                      <a:pt x="2977" y="970"/>
                    </a:lnTo>
                    <a:lnTo>
                      <a:pt x="2975" y="972"/>
                    </a:lnTo>
                    <a:lnTo>
                      <a:pt x="2972" y="970"/>
                    </a:lnTo>
                    <a:lnTo>
                      <a:pt x="2975" y="977"/>
                    </a:lnTo>
                    <a:lnTo>
                      <a:pt x="2974" y="980"/>
                    </a:lnTo>
                    <a:lnTo>
                      <a:pt x="2977" y="982"/>
                    </a:lnTo>
                    <a:lnTo>
                      <a:pt x="2980" y="980"/>
                    </a:lnTo>
                    <a:lnTo>
                      <a:pt x="2984" y="984"/>
                    </a:lnTo>
                    <a:lnTo>
                      <a:pt x="2980" y="987"/>
                    </a:lnTo>
                    <a:lnTo>
                      <a:pt x="2980" y="994"/>
                    </a:lnTo>
                    <a:lnTo>
                      <a:pt x="2982" y="997"/>
                    </a:lnTo>
                    <a:lnTo>
                      <a:pt x="2980" y="1007"/>
                    </a:lnTo>
                    <a:lnTo>
                      <a:pt x="2979" y="1010"/>
                    </a:lnTo>
                    <a:lnTo>
                      <a:pt x="2980" y="1014"/>
                    </a:lnTo>
                    <a:lnTo>
                      <a:pt x="2979" y="1017"/>
                    </a:lnTo>
                    <a:lnTo>
                      <a:pt x="2974" y="1022"/>
                    </a:lnTo>
                    <a:lnTo>
                      <a:pt x="2972" y="1025"/>
                    </a:lnTo>
                    <a:lnTo>
                      <a:pt x="2970" y="1027"/>
                    </a:lnTo>
                    <a:lnTo>
                      <a:pt x="2969" y="1037"/>
                    </a:lnTo>
                    <a:lnTo>
                      <a:pt x="2964" y="1047"/>
                    </a:lnTo>
                    <a:lnTo>
                      <a:pt x="2964" y="1042"/>
                    </a:lnTo>
                    <a:lnTo>
                      <a:pt x="2962" y="1039"/>
                    </a:lnTo>
                    <a:lnTo>
                      <a:pt x="2964" y="1034"/>
                    </a:lnTo>
                    <a:lnTo>
                      <a:pt x="2962" y="1032"/>
                    </a:lnTo>
                    <a:lnTo>
                      <a:pt x="2952" y="1030"/>
                    </a:lnTo>
                    <a:lnTo>
                      <a:pt x="2947" y="1024"/>
                    </a:lnTo>
                    <a:lnTo>
                      <a:pt x="2945" y="1015"/>
                    </a:lnTo>
                    <a:lnTo>
                      <a:pt x="2937" y="997"/>
                    </a:lnTo>
                    <a:lnTo>
                      <a:pt x="2931" y="989"/>
                    </a:lnTo>
                    <a:lnTo>
                      <a:pt x="2934" y="989"/>
                    </a:lnTo>
                    <a:lnTo>
                      <a:pt x="2937" y="987"/>
                    </a:lnTo>
                    <a:lnTo>
                      <a:pt x="2939" y="982"/>
                    </a:lnTo>
                    <a:lnTo>
                      <a:pt x="2936" y="984"/>
                    </a:lnTo>
                    <a:lnTo>
                      <a:pt x="2929" y="984"/>
                    </a:lnTo>
                    <a:lnTo>
                      <a:pt x="2921" y="980"/>
                    </a:lnTo>
                    <a:lnTo>
                      <a:pt x="2902" y="949"/>
                    </a:lnTo>
                    <a:lnTo>
                      <a:pt x="2886" y="932"/>
                    </a:lnTo>
                    <a:lnTo>
                      <a:pt x="2884" y="926"/>
                    </a:lnTo>
                    <a:lnTo>
                      <a:pt x="2879" y="919"/>
                    </a:lnTo>
                    <a:lnTo>
                      <a:pt x="2866" y="899"/>
                    </a:lnTo>
                    <a:lnTo>
                      <a:pt x="2852" y="876"/>
                    </a:lnTo>
                    <a:lnTo>
                      <a:pt x="2841" y="854"/>
                    </a:lnTo>
                    <a:lnTo>
                      <a:pt x="2841" y="848"/>
                    </a:lnTo>
                    <a:lnTo>
                      <a:pt x="2834" y="838"/>
                    </a:lnTo>
                    <a:lnTo>
                      <a:pt x="2833" y="823"/>
                    </a:lnTo>
                    <a:lnTo>
                      <a:pt x="2829" y="814"/>
                    </a:lnTo>
                    <a:lnTo>
                      <a:pt x="2829" y="804"/>
                    </a:lnTo>
                    <a:lnTo>
                      <a:pt x="2836" y="799"/>
                    </a:lnTo>
                    <a:lnTo>
                      <a:pt x="2836" y="791"/>
                    </a:lnTo>
                    <a:lnTo>
                      <a:pt x="2841" y="791"/>
                    </a:lnTo>
                    <a:lnTo>
                      <a:pt x="2838" y="788"/>
                    </a:lnTo>
                    <a:lnTo>
                      <a:pt x="2839" y="784"/>
                    </a:lnTo>
                    <a:lnTo>
                      <a:pt x="2841" y="774"/>
                    </a:lnTo>
                    <a:lnTo>
                      <a:pt x="2831" y="763"/>
                    </a:lnTo>
                    <a:lnTo>
                      <a:pt x="2824" y="763"/>
                    </a:lnTo>
                    <a:lnTo>
                      <a:pt x="2824" y="760"/>
                    </a:lnTo>
                    <a:lnTo>
                      <a:pt x="2829" y="756"/>
                    </a:lnTo>
                    <a:lnTo>
                      <a:pt x="2839" y="760"/>
                    </a:lnTo>
                    <a:lnTo>
                      <a:pt x="2844" y="755"/>
                    </a:lnTo>
                    <a:lnTo>
                      <a:pt x="2843" y="751"/>
                    </a:lnTo>
                    <a:lnTo>
                      <a:pt x="2843" y="743"/>
                    </a:lnTo>
                    <a:lnTo>
                      <a:pt x="2851" y="741"/>
                    </a:lnTo>
                    <a:lnTo>
                      <a:pt x="2856" y="743"/>
                    </a:lnTo>
                    <a:lnTo>
                      <a:pt x="2851" y="738"/>
                    </a:lnTo>
                    <a:lnTo>
                      <a:pt x="2859" y="725"/>
                    </a:lnTo>
                    <a:lnTo>
                      <a:pt x="2856" y="716"/>
                    </a:lnTo>
                    <a:lnTo>
                      <a:pt x="2856" y="708"/>
                    </a:lnTo>
                    <a:lnTo>
                      <a:pt x="2852" y="703"/>
                    </a:lnTo>
                    <a:lnTo>
                      <a:pt x="2857" y="700"/>
                    </a:lnTo>
                    <a:lnTo>
                      <a:pt x="2857" y="693"/>
                    </a:lnTo>
                    <a:lnTo>
                      <a:pt x="2856" y="691"/>
                    </a:lnTo>
                    <a:lnTo>
                      <a:pt x="2857" y="683"/>
                    </a:lnTo>
                    <a:lnTo>
                      <a:pt x="2861" y="683"/>
                    </a:lnTo>
                    <a:lnTo>
                      <a:pt x="2856" y="680"/>
                    </a:lnTo>
                    <a:lnTo>
                      <a:pt x="2856" y="676"/>
                    </a:lnTo>
                    <a:lnTo>
                      <a:pt x="2857" y="675"/>
                    </a:lnTo>
                    <a:lnTo>
                      <a:pt x="2857" y="666"/>
                    </a:lnTo>
                    <a:lnTo>
                      <a:pt x="2856" y="665"/>
                    </a:lnTo>
                    <a:lnTo>
                      <a:pt x="2857" y="660"/>
                    </a:lnTo>
                    <a:lnTo>
                      <a:pt x="2862" y="658"/>
                    </a:lnTo>
                    <a:lnTo>
                      <a:pt x="2864" y="655"/>
                    </a:lnTo>
                    <a:lnTo>
                      <a:pt x="2862" y="648"/>
                    </a:lnTo>
                    <a:lnTo>
                      <a:pt x="2864" y="638"/>
                    </a:lnTo>
                    <a:lnTo>
                      <a:pt x="2862" y="637"/>
                    </a:lnTo>
                    <a:lnTo>
                      <a:pt x="2861" y="635"/>
                    </a:lnTo>
                    <a:lnTo>
                      <a:pt x="2866" y="628"/>
                    </a:lnTo>
                    <a:lnTo>
                      <a:pt x="2866" y="622"/>
                    </a:lnTo>
                    <a:lnTo>
                      <a:pt x="2862" y="623"/>
                    </a:lnTo>
                    <a:lnTo>
                      <a:pt x="2861" y="617"/>
                    </a:lnTo>
                    <a:lnTo>
                      <a:pt x="2862" y="613"/>
                    </a:lnTo>
                    <a:lnTo>
                      <a:pt x="2864" y="610"/>
                    </a:lnTo>
                    <a:lnTo>
                      <a:pt x="2867" y="608"/>
                    </a:lnTo>
                    <a:lnTo>
                      <a:pt x="2867" y="607"/>
                    </a:lnTo>
                    <a:lnTo>
                      <a:pt x="2874" y="603"/>
                    </a:lnTo>
                    <a:lnTo>
                      <a:pt x="2874" y="598"/>
                    </a:lnTo>
                    <a:lnTo>
                      <a:pt x="2881" y="593"/>
                    </a:lnTo>
                    <a:lnTo>
                      <a:pt x="2882" y="593"/>
                    </a:lnTo>
                    <a:lnTo>
                      <a:pt x="2886" y="590"/>
                    </a:lnTo>
                    <a:lnTo>
                      <a:pt x="2889" y="590"/>
                    </a:lnTo>
                    <a:lnTo>
                      <a:pt x="2891" y="588"/>
                    </a:lnTo>
                    <a:lnTo>
                      <a:pt x="2889" y="587"/>
                    </a:lnTo>
                    <a:lnTo>
                      <a:pt x="2884" y="585"/>
                    </a:lnTo>
                    <a:lnTo>
                      <a:pt x="2881" y="587"/>
                    </a:lnTo>
                    <a:lnTo>
                      <a:pt x="2877" y="585"/>
                    </a:lnTo>
                    <a:lnTo>
                      <a:pt x="2877" y="577"/>
                    </a:lnTo>
                    <a:lnTo>
                      <a:pt x="2881" y="570"/>
                    </a:lnTo>
                    <a:lnTo>
                      <a:pt x="2879" y="567"/>
                    </a:lnTo>
                    <a:lnTo>
                      <a:pt x="2876" y="562"/>
                    </a:lnTo>
                    <a:lnTo>
                      <a:pt x="2874" y="562"/>
                    </a:lnTo>
                    <a:lnTo>
                      <a:pt x="2872" y="565"/>
                    </a:lnTo>
                    <a:lnTo>
                      <a:pt x="2871" y="565"/>
                    </a:lnTo>
                    <a:lnTo>
                      <a:pt x="2869" y="554"/>
                    </a:lnTo>
                    <a:lnTo>
                      <a:pt x="2872" y="552"/>
                    </a:lnTo>
                    <a:lnTo>
                      <a:pt x="2872" y="550"/>
                    </a:lnTo>
                    <a:lnTo>
                      <a:pt x="2871" y="544"/>
                    </a:lnTo>
                    <a:lnTo>
                      <a:pt x="2866" y="542"/>
                    </a:lnTo>
                    <a:lnTo>
                      <a:pt x="2867" y="540"/>
                    </a:lnTo>
                    <a:lnTo>
                      <a:pt x="2866" y="540"/>
                    </a:lnTo>
                    <a:lnTo>
                      <a:pt x="2866" y="539"/>
                    </a:lnTo>
                    <a:lnTo>
                      <a:pt x="2861" y="532"/>
                    </a:lnTo>
                    <a:lnTo>
                      <a:pt x="2859" y="529"/>
                    </a:lnTo>
                    <a:lnTo>
                      <a:pt x="2857" y="527"/>
                    </a:lnTo>
                    <a:lnTo>
                      <a:pt x="2856" y="522"/>
                    </a:lnTo>
                    <a:lnTo>
                      <a:pt x="2854" y="517"/>
                    </a:lnTo>
                    <a:lnTo>
                      <a:pt x="2854" y="514"/>
                    </a:lnTo>
                    <a:lnTo>
                      <a:pt x="2861" y="507"/>
                    </a:lnTo>
                    <a:lnTo>
                      <a:pt x="2866" y="509"/>
                    </a:lnTo>
                    <a:lnTo>
                      <a:pt x="2871" y="507"/>
                    </a:lnTo>
                    <a:lnTo>
                      <a:pt x="2867" y="504"/>
                    </a:lnTo>
                    <a:lnTo>
                      <a:pt x="2874" y="502"/>
                    </a:lnTo>
                    <a:lnTo>
                      <a:pt x="2871" y="502"/>
                    </a:lnTo>
                    <a:lnTo>
                      <a:pt x="2866" y="502"/>
                    </a:lnTo>
                    <a:lnTo>
                      <a:pt x="2864" y="500"/>
                    </a:lnTo>
                    <a:lnTo>
                      <a:pt x="2857" y="500"/>
                    </a:lnTo>
                    <a:lnTo>
                      <a:pt x="2851" y="495"/>
                    </a:lnTo>
                    <a:lnTo>
                      <a:pt x="2847" y="497"/>
                    </a:lnTo>
                    <a:lnTo>
                      <a:pt x="2843" y="497"/>
                    </a:lnTo>
                    <a:lnTo>
                      <a:pt x="2838" y="502"/>
                    </a:lnTo>
                    <a:lnTo>
                      <a:pt x="2833" y="502"/>
                    </a:lnTo>
                    <a:lnTo>
                      <a:pt x="2826" y="507"/>
                    </a:lnTo>
                    <a:lnTo>
                      <a:pt x="2829" y="509"/>
                    </a:lnTo>
                    <a:lnTo>
                      <a:pt x="2828" y="514"/>
                    </a:lnTo>
                    <a:lnTo>
                      <a:pt x="2833" y="517"/>
                    </a:lnTo>
                    <a:lnTo>
                      <a:pt x="2834" y="522"/>
                    </a:lnTo>
                    <a:lnTo>
                      <a:pt x="2833" y="524"/>
                    </a:lnTo>
                    <a:lnTo>
                      <a:pt x="2834" y="530"/>
                    </a:lnTo>
                    <a:lnTo>
                      <a:pt x="2839" y="532"/>
                    </a:lnTo>
                    <a:lnTo>
                      <a:pt x="2839" y="535"/>
                    </a:lnTo>
                    <a:lnTo>
                      <a:pt x="2843" y="537"/>
                    </a:lnTo>
                    <a:lnTo>
                      <a:pt x="2844" y="545"/>
                    </a:lnTo>
                    <a:lnTo>
                      <a:pt x="2851" y="549"/>
                    </a:lnTo>
                    <a:lnTo>
                      <a:pt x="2851" y="554"/>
                    </a:lnTo>
                    <a:lnTo>
                      <a:pt x="2854" y="557"/>
                    </a:lnTo>
                    <a:lnTo>
                      <a:pt x="2852" y="559"/>
                    </a:lnTo>
                    <a:lnTo>
                      <a:pt x="2847" y="557"/>
                    </a:lnTo>
                    <a:lnTo>
                      <a:pt x="2846" y="554"/>
                    </a:lnTo>
                    <a:lnTo>
                      <a:pt x="2839" y="554"/>
                    </a:lnTo>
                    <a:lnTo>
                      <a:pt x="2836" y="557"/>
                    </a:lnTo>
                    <a:lnTo>
                      <a:pt x="2834" y="564"/>
                    </a:lnTo>
                    <a:lnTo>
                      <a:pt x="2836" y="567"/>
                    </a:lnTo>
                    <a:lnTo>
                      <a:pt x="2836" y="573"/>
                    </a:lnTo>
                    <a:lnTo>
                      <a:pt x="2834" y="573"/>
                    </a:lnTo>
                    <a:lnTo>
                      <a:pt x="2833" y="575"/>
                    </a:lnTo>
                    <a:lnTo>
                      <a:pt x="2836" y="577"/>
                    </a:lnTo>
                    <a:lnTo>
                      <a:pt x="2834" y="580"/>
                    </a:lnTo>
                    <a:lnTo>
                      <a:pt x="2831" y="583"/>
                    </a:lnTo>
                    <a:lnTo>
                      <a:pt x="2834" y="587"/>
                    </a:lnTo>
                    <a:lnTo>
                      <a:pt x="2831" y="590"/>
                    </a:lnTo>
                    <a:lnTo>
                      <a:pt x="2831" y="600"/>
                    </a:lnTo>
                    <a:lnTo>
                      <a:pt x="2829" y="603"/>
                    </a:lnTo>
                    <a:lnTo>
                      <a:pt x="2829" y="605"/>
                    </a:lnTo>
                    <a:lnTo>
                      <a:pt x="2826" y="608"/>
                    </a:lnTo>
                    <a:lnTo>
                      <a:pt x="2823" y="613"/>
                    </a:lnTo>
                    <a:lnTo>
                      <a:pt x="2821" y="610"/>
                    </a:lnTo>
                    <a:lnTo>
                      <a:pt x="2816" y="605"/>
                    </a:lnTo>
                    <a:lnTo>
                      <a:pt x="2821" y="600"/>
                    </a:lnTo>
                    <a:lnTo>
                      <a:pt x="2819" y="597"/>
                    </a:lnTo>
                    <a:lnTo>
                      <a:pt x="2816" y="597"/>
                    </a:lnTo>
                    <a:lnTo>
                      <a:pt x="2811" y="600"/>
                    </a:lnTo>
                    <a:lnTo>
                      <a:pt x="2811" y="603"/>
                    </a:lnTo>
                    <a:lnTo>
                      <a:pt x="2808" y="605"/>
                    </a:lnTo>
                    <a:lnTo>
                      <a:pt x="2808" y="597"/>
                    </a:lnTo>
                    <a:lnTo>
                      <a:pt x="2803" y="597"/>
                    </a:lnTo>
                    <a:lnTo>
                      <a:pt x="2801" y="593"/>
                    </a:lnTo>
                    <a:lnTo>
                      <a:pt x="2796" y="597"/>
                    </a:lnTo>
                    <a:lnTo>
                      <a:pt x="2794" y="595"/>
                    </a:lnTo>
                    <a:lnTo>
                      <a:pt x="2796" y="593"/>
                    </a:lnTo>
                    <a:lnTo>
                      <a:pt x="2799" y="590"/>
                    </a:lnTo>
                    <a:lnTo>
                      <a:pt x="2798" y="588"/>
                    </a:lnTo>
                    <a:lnTo>
                      <a:pt x="2798" y="585"/>
                    </a:lnTo>
                    <a:lnTo>
                      <a:pt x="2799" y="585"/>
                    </a:lnTo>
                    <a:lnTo>
                      <a:pt x="2798" y="580"/>
                    </a:lnTo>
                    <a:lnTo>
                      <a:pt x="2794" y="578"/>
                    </a:lnTo>
                    <a:lnTo>
                      <a:pt x="2798" y="575"/>
                    </a:lnTo>
                    <a:lnTo>
                      <a:pt x="2796" y="572"/>
                    </a:lnTo>
                    <a:lnTo>
                      <a:pt x="2794" y="570"/>
                    </a:lnTo>
                    <a:lnTo>
                      <a:pt x="2796" y="567"/>
                    </a:lnTo>
                    <a:lnTo>
                      <a:pt x="2796" y="562"/>
                    </a:lnTo>
                    <a:lnTo>
                      <a:pt x="2791" y="559"/>
                    </a:lnTo>
                    <a:lnTo>
                      <a:pt x="2789" y="555"/>
                    </a:lnTo>
                    <a:lnTo>
                      <a:pt x="2788" y="555"/>
                    </a:lnTo>
                    <a:lnTo>
                      <a:pt x="2786" y="562"/>
                    </a:lnTo>
                    <a:lnTo>
                      <a:pt x="2783" y="562"/>
                    </a:lnTo>
                    <a:lnTo>
                      <a:pt x="2783" y="567"/>
                    </a:lnTo>
                    <a:lnTo>
                      <a:pt x="2779" y="572"/>
                    </a:lnTo>
                    <a:lnTo>
                      <a:pt x="2778" y="572"/>
                    </a:lnTo>
                    <a:lnTo>
                      <a:pt x="2774" y="567"/>
                    </a:lnTo>
                    <a:lnTo>
                      <a:pt x="2773" y="567"/>
                    </a:lnTo>
                    <a:lnTo>
                      <a:pt x="2771" y="567"/>
                    </a:lnTo>
                    <a:lnTo>
                      <a:pt x="2769" y="564"/>
                    </a:lnTo>
                    <a:lnTo>
                      <a:pt x="2764" y="564"/>
                    </a:lnTo>
                    <a:lnTo>
                      <a:pt x="2763" y="565"/>
                    </a:lnTo>
                    <a:lnTo>
                      <a:pt x="2761" y="565"/>
                    </a:lnTo>
                    <a:lnTo>
                      <a:pt x="2759" y="568"/>
                    </a:lnTo>
                    <a:lnTo>
                      <a:pt x="2756" y="570"/>
                    </a:lnTo>
                    <a:lnTo>
                      <a:pt x="2754" y="572"/>
                    </a:lnTo>
                    <a:lnTo>
                      <a:pt x="2746" y="572"/>
                    </a:lnTo>
                    <a:lnTo>
                      <a:pt x="2743" y="575"/>
                    </a:lnTo>
                    <a:lnTo>
                      <a:pt x="2740" y="575"/>
                    </a:lnTo>
                    <a:lnTo>
                      <a:pt x="2738" y="577"/>
                    </a:lnTo>
                    <a:lnTo>
                      <a:pt x="2731" y="575"/>
                    </a:lnTo>
                    <a:lnTo>
                      <a:pt x="2726" y="583"/>
                    </a:lnTo>
                    <a:lnTo>
                      <a:pt x="2723" y="585"/>
                    </a:lnTo>
                    <a:lnTo>
                      <a:pt x="2725" y="592"/>
                    </a:lnTo>
                    <a:lnTo>
                      <a:pt x="2720" y="593"/>
                    </a:lnTo>
                    <a:lnTo>
                      <a:pt x="2720" y="597"/>
                    </a:lnTo>
                    <a:lnTo>
                      <a:pt x="2723" y="598"/>
                    </a:lnTo>
                    <a:lnTo>
                      <a:pt x="2723" y="603"/>
                    </a:lnTo>
                    <a:lnTo>
                      <a:pt x="2728" y="610"/>
                    </a:lnTo>
                    <a:lnTo>
                      <a:pt x="2725" y="613"/>
                    </a:lnTo>
                    <a:lnTo>
                      <a:pt x="2721" y="628"/>
                    </a:lnTo>
                    <a:lnTo>
                      <a:pt x="2728" y="635"/>
                    </a:lnTo>
                    <a:lnTo>
                      <a:pt x="2723" y="637"/>
                    </a:lnTo>
                    <a:lnTo>
                      <a:pt x="2725" y="637"/>
                    </a:lnTo>
                    <a:lnTo>
                      <a:pt x="2725" y="642"/>
                    </a:lnTo>
                    <a:lnTo>
                      <a:pt x="2720" y="647"/>
                    </a:lnTo>
                    <a:lnTo>
                      <a:pt x="2720" y="653"/>
                    </a:lnTo>
                    <a:lnTo>
                      <a:pt x="2716" y="657"/>
                    </a:lnTo>
                    <a:lnTo>
                      <a:pt x="2716" y="662"/>
                    </a:lnTo>
                    <a:lnTo>
                      <a:pt x="2713" y="670"/>
                    </a:lnTo>
                    <a:lnTo>
                      <a:pt x="2718" y="675"/>
                    </a:lnTo>
                    <a:lnTo>
                      <a:pt x="2715" y="678"/>
                    </a:lnTo>
                    <a:lnTo>
                      <a:pt x="2721" y="686"/>
                    </a:lnTo>
                    <a:lnTo>
                      <a:pt x="2718" y="688"/>
                    </a:lnTo>
                    <a:lnTo>
                      <a:pt x="2716" y="691"/>
                    </a:lnTo>
                    <a:lnTo>
                      <a:pt x="2721" y="693"/>
                    </a:lnTo>
                    <a:lnTo>
                      <a:pt x="2723" y="691"/>
                    </a:lnTo>
                    <a:lnTo>
                      <a:pt x="2728" y="691"/>
                    </a:lnTo>
                    <a:lnTo>
                      <a:pt x="2726" y="690"/>
                    </a:lnTo>
                    <a:lnTo>
                      <a:pt x="2728" y="688"/>
                    </a:lnTo>
                    <a:lnTo>
                      <a:pt x="2733" y="691"/>
                    </a:lnTo>
                    <a:lnTo>
                      <a:pt x="2735" y="691"/>
                    </a:lnTo>
                    <a:lnTo>
                      <a:pt x="2735" y="688"/>
                    </a:lnTo>
                    <a:lnTo>
                      <a:pt x="2735" y="688"/>
                    </a:lnTo>
                    <a:lnTo>
                      <a:pt x="2738" y="690"/>
                    </a:lnTo>
                    <a:lnTo>
                      <a:pt x="2743" y="691"/>
                    </a:lnTo>
                    <a:lnTo>
                      <a:pt x="2743" y="693"/>
                    </a:lnTo>
                    <a:lnTo>
                      <a:pt x="2743" y="695"/>
                    </a:lnTo>
                    <a:lnTo>
                      <a:pt x="2746" y="700"/>
                    </a:lnTo>
                    <a:lnTo>
                      <a:pt x="2746" y="701"/>
                    </a:lnTo>
                    <a:lnTo>
                      <a:pt x="2743" y="701"/>
                    </a:lnTo>
                    <a:lnTo>
                      <a:pt x="2740" y="703"/>
                    </a:lnTo>
                    <a:lnTo>
                      <a:pt x="2736" y="701"/>
                    </a:lnTo>
                    <a:lnTo>
                      <a:pt x="2733" y="703"/>
                    </a:lnTo>
                    <a:lnTo>
                      <a:pt x="2731" y="705"/>
                    </a:lnTo>
                    <a:lnTo>
                      <a:pt x="2735" y="708"/>
                    </a:lnTo>
                    <a:lnTo>
                      <a:pt x="2728" y="713"/>
                    </a:lnTo>
                    <a:lnTo>
                      <a:pt x="2725" y="711"/>
                    </a:lnTo>
                    <a:lnTo>
                      <a:pt x="2725" y="708"/>
                    </a:lnTo>
                    <a:lnTo>
                      <a:pt x="2721" y="706"/>
                    </a:lnTo>
                    <a:lnTo>
                      <a:pt x="2718" y="708"/>
                    </a:lnTo>
                    <a:lnTo>
                      <a:pt x="2716" y="706"/>
                    </a:lnTo>
                    <a:lnTo>
                      <a:pt x="2713" y="708"/>
                    </a:lnTo>
                    <a:lnTo>
                      <a:pt x="2713" y="710"/>
                    </a:lnTo>
                    <a:lnTo>
                      <a:pt x="2713" y="715"/>
                    </a:lnTo>
                    <a:lnTo>
                      <a:pt x="2711" y="715"/>
                    </a:lnTo>
                    <a:lnTo>
                      <a:pt x="2710" y="716"/>
                    </a:lnTo>
                    <a:lnTo>
                      <a:pt x="2706" y="720"/>
                    </a:lnTo>
                    <a:lnTo>
                      <a:pt x="2708" y="721"/>
                    </a:lnTo>
                    <a:lnTo>
                      <a:pt x="2706" y="723"/>
                    </a:lnTo>
                    <a:lnTo>
                      <a:pt x="2703" y="723"/>
                    </a:lnTo>
                    <a:lnTo>
                      <a:pt x="2696" y="718"/>
                    </a:lnTo>
                    <a:lnTo>
                      <a:pt x="2693" y="718"/>
                    </a:lnTo>
                    <a:lnTo>
                      <a:pt x="2698" y="723"/>
                    </a:lnTo>
                    <a:lnTo>
                      <a:pt x="2693" y="725"/>
                    </a:lnTo>
                    <a:lnTo>
                      <a:pt x="2693" y="726"/>
                    </a:lnTo>
                    <a:lnTo>
                      <a:pt x="2690" y="730"/>
                    </a:lnTo>
                    <a:lnTo>
                      <a:pt x="2683" y="731"/>
                    </a:lnTo>
                    <a:lnTo>
                      <a:pt x="2681" y="735"/>
                    </a:lnTo>
                    <a:lnTo>
                      <a:pt x="2675" y="726"/>
                    </a:lnTo>
                    <a:lnTo>
                      <a:pt x="2671" y="726"/>
                    </a:lnTo>
                    <a:lnTo>
                      <a:pt x="2668" y="725"/>
                    </a:lnTo>
                    <a:lnTo>
                      <a:pt x="2670" y="723"/>
                    </a:lnTo>
                    <a:lnTo>
                      <a:pt x="2675" y="723"/>
                    </a:lnTo>
                    <a:lnTo>
                      <a:pt x="2673" y="718"/>
                    </a:lnTo>
                    <a:lnTo>
                      <a:pt x="2675" y="716"/>
                    </a:lnTo>
                    <a:lnTo>
                      <a:pt x="2683" y="716"/>
                    </a:lnTo>
                    <a:lnTo>
                      <a:pt x="2691" y="710"/>
                    </a:lnTo>
                    <a:lnTo>
                      <a:pt x="2690" y="708"/>
                    </a:lnTo>
                    <a:lnTo>
                      <a:pt x="2686" y="706"/>
                    </a:lnTo>
                    <a:lnTo>
                      <a:pt x="2681" y="711"/>
                    </a:lnTo>
                    <a:lnTo>
                      <a:pt x="2676" y="710"/>
                    </a:lnTo>
                    <a:lnTo>
                      <a:pt x="2675" y="708"/>
                    </a:lnTo>
                    <a:lnTo>
                      <a:pt x="2671" y="705"/>
                    </a:lnTo>
                    <a:lnTo>
                      <a:pt x="2666" y="705"/>
                    </a:lnTo>
                    <a:lnTo>
                      <a:pt x="2660" y="703"/>
                    </a:lnTo>
                    <a:lnTo>
                      <a:pt x="2653" y="703"/>
                    </a:lnTo>
                    <a:lnTo>
                      <a:pt x="2655" y="706"/>
                    </a:lnTo>
                    <a:lnTo>
                      <a:pt x="2651" y="706"/>
                    </a:lnTo>
                    <a:lnTo>
                      <a:pt x="2648" y="705"/>
                    </a:lnTo>
                    <a:lnTo>
                      <a:pt x="2648" y="703"/>
                    </a:lnTo>
                    <a:lnTo>
                      <a:pt x="2642" y="703"/>
                    </a:lnTo>
                    <a:lnTo>
                      <a:pt x="2633" y="701"/>
                    </a:lnTo>
                    <a:lnTo>
                      <a:pt x="2630" y="703"/>
                    </a:lnTo>
                    <a:lnTo>
                      <a:pt x="2627" y="701"/>
                    </a:lnTo>
                    <a:lnTo>
                      <a:pt x="2620" y="700"/>
                    </a:lnTo>
                    <a:lnTo>
                      <a:pt x="2613" y="708"/>
                    </a:lnTo>
                    <a:lnTo>
                      <a:pt x="2610" y="708"/>
                    </a:lnTo>
                    <a:lnTo>
                      <a:pt x="2610" y="710"/>
                    </a:lnTo>
                    <a:lnTo>
                      <a:pt x="2617" y="715"/>
                    </a:lnTo>
                    <a:lnTo>
                      <a:pt x="2608" y="716"/>
                    </a:lnTo>
                    <a:lnTo>
                      <a:pt x="2608" y="713"/>
                    </a:lnTo>
                    <a:lnTo>
                      <a:pt x="2605" y="718"/>
                    </a:lnTo>
                    <a:lnTo>
                      <a:pt x="2610" y="721"/>
                    </a:lnTo>
                    <a:lnTo>
                      <a:pt x="2612" y="720"/>
                    </a:lnTo>
                    <a:lnTo>
                      <a:pt x="2615" y="721"/>
                    </a:lnTo>
                    <a:lnTo>
                      <a:pt x="2615" y="725"/>
                    </a:lnTo>
                    <a:lnTo>
                      <a:pt x="2605" y="728"/>
                    </a:lnTo>
                    <a:lnTo>
                      <a:pt x="2602" y="725"/>
                    </a:lnTo>
                    <a:lnTo>
                      <a:pt x="2595" y="725"/>
                    </a:lnTo>
                    <a:lnTo>
                      <a:pt x="2592" y="726"/>
                    </a:lnTo>
                    <a:lnTo>
                      <a:pt x="2593" y="730"/>
                    </a:lnTo>
                    <a:lnTo>
                      <a:pt x="2588" y="730"/>
                    </a:lnTo>
                    <a:lnTo>
                      <a:pt x="2587" y="731"/>
                    </a:lnTo>
                    <a:lnTo>
                      <a:pt x="2583" y="731"/>
                    </a:lnTo>
                    <a:lnTo>
                      <a:pt x="2582" y="728"/>
                    </a:lnTo>
                    <a:lnTo>
                      <a:pt x="2572" y="728"/>
                    </a:lnTo>
                    <a:lnTo>
                      <a:pt x="2568" y="730"/>
                    </a:lnTo>
                    <a:lnTo>
                      <a:pt x="2558" y="730"/>
                    </a:lnTo>
                    <a:lnTo>
                      <a:pt x="2553" y="731"/>
                    </a:lnTo>
                    <a:lnTo>
                      <a:pt x="2553" y="735"/>
                    </a:lnTo>
                    <a:lnTo>
                      <a:pt x="2560" y="738"/>
                    </a:lnTo>
                    <a:lnTo>
                      <a:pt x="2557" y="741"/>
                    </a:lnTo>
                    <a:lnTo>
                      <a:pt x="2555" y="746"/>
                    </a:lnTo>
                    <a:lnTo>
                      <a:pt x="2550" y="743"/>
                    </a:lnTo>
                    <a:lnTo>
                      <a:pt x="2547" y="741"/>
                    </a:lnTo>
                    <a:lnTo>
                      <a:pt x="2548" y="736"/>
                    </a:lnTo>
                    <a:lnTo>
                      <a:pt x="2544" y="733"/>
                    </a:lnTo>
                    <a:lnTo>
                      <a:pt x="2542" y="736"/>
                    </a:lnTo>
                    <a:lnTo>
                      <a:pt x="2539" y="738"/>
                    </a:lnTo>
                    <a:lnTo>
                      <a:pt x="2534" y="738"/>
                    </a:lnTo>
                    <a:lnTo>
                      <a:pt x="2529" y="741"/>
                    </a:lnTo>
                    <a:lnTo>
                      <a:pt x="2524" y="740"/>
                    </a:lnTo>
                    <a:lnTo>
                      <a:pt x="2517" y="745"/>
                    </a:lnTo>
                    <a:lnTo>
                      <a:pt x="2509" y="745"/>
                    </a:lnTo>
                    <a:lnTo>
                      <a:pt x="2500" y="751"/>
                    </a:lnTo>
                    <a:lnTo>
                      <a:pt x="2495" y="751"/>
                    </a:lnTo>
                    <a:lnTo>
                      <a:pt x="2492" y="748"/>
                    </a:lnTo>
                    <a:lnTo>
                      <a:pt x="2489" y="748"/>
                    </a:lnTo>
                    <a:lnTo>
                      <a:pt x="2489" y="753"/>
                    </a:lnTo>
                    <a:lnTo>
                      <a:pt x="2479" y="760"/>
                    </a:lnTo>
                    <a:lnTo>
                      <a:pt x="2479" y="763"/>
                    </a:lnTo>
                    <a:lnTo>
                      <a:pt x="2474" y="768"/>
                    </a:lnTo>
                    <a:lnTo>
                      <a:pt x="2472" y="773"/>
                    </a:lnTo>
                    <a:lnTo>
                      <a:pt x="2479" y="781"/>
                    </a:lnTo>
                    <a:lnTo>
                      <a:pt x="2477" y="789"/>
                    </a:lnTo>
                    <a:lnTo>
                      <a:pt x="2470" y="796"/>
                    </a:lnTo>
                    <a:lnTo>
                      <a:pt x="2467" y="804"/>
                    </a:lnTo>
                    <a:lnTo>
                      <a:pt x="2469" y="809"/>
                    </a:lnTo>
                    <a:lnTo>
                      <a:pt x="2467" y="818"/>
                    </a:lnTo>
                    <a:lnTo>
                      <a:pt x="2470" y="821"/>
                    </a:lnTo>
                    <a:lnTo>
                      <a:pt x="2470" y="826"/>
                    </a:lnTo>
                    <a:lnTo>
                      <a:pt x="2467" y="826"/>
                    </a:lnTo>
                    <a:lnTo>
                      <a:pt x="2465" y="828"/>
                    </a:lnTo>
                    <a:lnTo>
                      <a:pt x="2464" y="833"/>
                    </a:lnTo>
                    <a:lnTo>
                      <a:pt x="2462" y="834"/>
                    </a:lnTo>
                    <a:lnTo>
                      <a:pt x="2465" y="841"/>
                    </a:lnTo>
                    <a:lnTo>
                      <a:pt x="2460" y="844"/>
                    </a:lnTo>
                    <a:lnTo>
                      <a:pt x="2459" y="851"/>
                    </a:lnTo>
                    <a:lnTo>
                      <a:pt x="2452" y="858"/>
                    </a:lnTo>
                    <a:lnTo>
                      <a:pt x="2454" y="863"/>
                    </a:lnTo>
                    <a:lnTo>
                      <a:pt x="2450" y="864"/>
                    </a:lnTo>
                    <a:lnTo>
                      <a:pt x="2449" y="872"/>
                    </a:lnTo>
                    <a:lnTo>
                      <a:pt x="2447" y="872"/>
                    </a:lnTo>
                    <a:lnTo>
                      <a:pt x="2444" y="882"/>
                    </a:lnTo>
                    <a:lnTo>
                      <a:pt x="2444" y="891"/>
                    </a:lnTo>
                    <a:lnTo>
                      <a:pt x="2442" y="894"/>
                    </a:lnTo>
                    <a:lnTo>
                      <a:pt x="2446" y="899"/>
                    </a:lnTo>
                    <a:lnTo>
                      <a:pt x="2442" y="904"/>
                    </a:lnTo>
                    <a:lnTo>
                      <a:pt x="2441" y="909"/>
                    </a:lnTo>
                    <a:lnTo>
                      <a:pt x="2436" y="916"/>
                    </a:lnTo>
                    <a:lnTo>
                      <a:pt x="2436" y="917"/>
                    </a:lnTo>
                    <a:lnTo>
                      <a:pt x="2434" y="917"/>
                    </a:lnTo>
                    <a:lnTo>
                      <a:pt x="2434" y="924"/>
                    </a:lnTo>
                    <a:lnTo>
                      <a:pt x="2427" y="929"/>
                    </a:lnTo>
                    <a:lnTo>
                      <a:pt x="2426" y="937"/>
                    </a:lnTo>
                    <a:lnTo>
                      <a:pt x="2419" y="942"/>
                    </a:lnTo>
                    <a:lnTo>
                      <a:pt x="2419" y="946"/>
                    </a:lnTo>
                    <a:lnTo>
                      <a:pt x="2414" y="952"/>
                    </a:lnTo>
                    <a:lnTo>
                      <a:pt x="2414" y="957"/>
                    </a:lnTo>
                    <a:lnTo>
                      <a:pt x="2411" y="961"/>
                    </a:lnTo>
                    <a:lnTo>
                      <a:pt x="2414" y="964"/>
                    </a:lnTo>
                    <a:lnTo>
                      <a:pt x="2417" y="967"/>
                    </a:lnTo>
                    <a:lnTo>
                      <a:pt x="2422" y="965"/>
                    </a:lnTo>
                    <a:lnTo>
                      <a:pt x="2427" y="969"/>
                    </a:lnTo>
                    <a:lnTo>
                      <a:pt x="2431" y="969"/>
                    </a:lnTo>
                    <a:lnTo>
                      <a:pt x="2437" y="965"/>
                    </a:lnTo>
                    <a:lnTo>
                      <a:pt x="2441" y="964"/>
                    </a:lnTo>
                    <a:lnTo>
                      <a:pt x="2446" y="962"/>
                    </a:lnTo>
                    <a:lnTo>
                      <a:pt x="2447" y="962"/>
                    </a:lnTo>
                    <a:lnTo>
                      <a:pt x="2452" y="961"/>
                    </a:lnTo>
                    <a:lnTo>
                      <a:pt x="2452" y="972"/>
                    </a:lnTo>
                    <a:lnTo>
                      <a:pt x="2459" y="979"/>
                    </a:lnTo>
                    <a:lnTo>
                      <a:pt x="2460" y="985"/>
                    </a:lnTo>
                    <a:lnTo>
                      <a:pt x="2459" y="992"/>
                    </a:lnTo>
                    <a:lnTo>
                      <a:pt x="2465" y="995"/>
                    </a:lnTo>
                    <a:lnTo>
                      <a:pt x="2469" y="992"/>
                    </a:lnTo>
                    <a:lnTo>
                      <a:pt x="2470" y="992"/>
                    </a:lnTo>
                    <a:lnTo>
                      <a:pt x="2474" y="990"/>
                    </a:lnTo>
                    <a:lnTo>
                      <a:pt x="2475" y="987"/>
                    </a:lnTo>
                    <a:lnTo>
                      <a:pt x="2479" y="985"/>
                    </a:lnTo>
                    <a:lnTo>
                      <a:pt x="2480" y="989"/>
                    </a:lnTo>
                    <a:lnTo>
                      <a:pt x="2484" y="985"/>
                    </a:lnTo>
                    <a:lnTo>
                      <a:pt x="2489" y="985"/>
                    </a:lnTo>
                    <a:lnTo>
                      <a:pt x="2487" y="989"/>
                    </a:lnTo>
                    <a:lnTo>
                      <a:pt x="2484" y="992"/>
                    </a:lnTo>
                    <a:lnTo>
                      <a:pt x="2485" y="997"/>
                    </a:lnTo>
                    <a:lnTo>
                      <a:pt x="2482" y="997"/>
                    </a:lnTo>
                    <a:lnTo>
                      <a:pt x="2479" y="1000"/>
                    </a:lnTo>
                    <a:lnTo>
                      <a:pt x="2480" y="1002"/>
                    </a:lnTo>
                    <a:lnTo>
                      <a:pt x="2490" y="1002"/>
                    </a:lnTo>
                    <a:lnTo>
                      <a:pt x="2495" y="999"/>
                    </a:lnTo>
                    <a:lnTo>
                      <a:pt x="2499" y="992"/>
                    </a:lnTo>
                    <a:lnTo>
                      <a:pt x="2497" y="987"/>
                    </a:lnTo>
                    <a:lnTo>
                      <a:pt x="2499" y="984"/>
                    </a:lnTo>
                    <a:lnTo>
                      <a:pt x="2502" y="990"/>
                    </a:lnTo>
                    <a:lnTo>
                      <a:pt x="2500" y="995"/>
                    </a:lnTo>
                    <a:lnTo>
                      <a:pt x="2502" y="1000"/>
                    </a:lnTo>
                    <a:lnTo>
                      <a:pt x="2505" y="999"/>
                    </a:lnTo>
                    <a:lnTo>
                      <a:pt x="2507" y="994"/>
                    </a:lnTo>
                    <a:lnTo>
                      <a:pt x="2504" y="985"/>
                    </a:lnTo>
                    <a:lnTo>
                      <a:pt x="2505" y="982"/>
                    </a:lnTo>
                    <a:lnTo>
                      <a:pt x="2502" y="979"/>
                    </a:lnTo>
                    <a:lnTo>
                      <a:pt x="2499" y="970"/>
                    </a:lnTo>
                    <a:lnTo>
                      <a:pt x="2504" y="970"/>
                    </a:lnTo>
                    <a:lnTo>
                      <a:pt x="2509" y="972"/>
                    </a:lnTo>
                    <a:lnTo>
                      <a:pt x="2509" y="975"/>
                    </a:lnTo>
                    <a:lnTo>
                      <a:pt x="2510" y="977"/>
                    </a:lnTo>
                    <a:lnTo>
                      <a:pt x="2512" y="977"/>
                    </a:lnTo>
                    <a:lnTo>
                      <a:pt x="2515" y="974"/>
                    </a:lnTo>
                    <a:lnTo>
                      <a:pt x="2519" y="974"/>
                    </a:lnTo>
                    <a:lnTo>
                      <a:pt x="2525" y="970"/>
                    </a:lnTo>
                    <a:lnTo>
                      <a:pt x="2530" y="974"/>
                    </a:lnTo>
                    <a:lnTo>
                      <a:pt x="2535" y="974"/>
                    </a:lnTo>
                    <a:lnTo>
                      <a:pt x="2540" y="977"/>
                    </a:lnTo>
                    <a:lnTo>
                      <a:pt x="2542" y="982"/>
                    </a:lnTo>
                    <a:lnTo>
                      <a:pt x="2545" y="984"/>
                    </a:lnTo>
                    <a:lnTo>
                      <a:pt x="2552" y="985"/>
                    </a:lnTo>
                    <a:lnTo>
                      <a:pt x="2555" y="989"/>
                    </a:lnTo>
                    <a:lnTo>
                      <a:pt x="2565" y="992"/>
                    </a:lnTo>
                    <a:lnTo>
                      <a:pt x="2567" y="994"/>
                    </a:lnTo>
                    <a:lnTo>
                      <a:pt x="2570" y="995"/>
                    </a:lnTo>
                    <a:lnTo>
                      <a:pt x="2573" y="999"/>
                    </a:lnTo>
                    <a:lnTo>
                      <a:pt x="2577" y="999"/>
                    </a:lnTo>
                    <a:lnTo>
                      <a:pt x="2580" y="1005"/>
                    </a:lnTo>
                    <a:lnTo>
                      <a:pt x="2578" y="1009"/>
                    </a:lnTo>
                    <a:lnTo>
                      <a:pt x="2577" y="1012"/>
                    </a:lnTo>
                    <a:lnTo>
                      <a:pt x="2573" y="1014"/>
                    </a:lnTo>
                    <a:lnTo>
                      <a:pt x="2578" y="1019"/>
                    </a:lnTo>
                    <a:lnTo>
                      <a:pt x="2582" y="1019"/>
                    </a:lnTo>
                    <a:lnTo>
                      <a:pt x="2588" y="1027"/>
                    </a:lnTo>
                    <a:lnTo>
                      <a:pt x="2588" y="1030"/>
                    </a:lnTo>
                    <a:lnTo>
                      <a:pt x="2587" y="1034"/>
                    </a:lnTo>
                    <a:lnTo>
                      <a:pt x="2587" y="1039"/>
                    </a:lnTo>
                    <a:lnTo>
                      <a:pt x="2592" y="1042"/>
                    </a:lnTo>
                    <a:lnTo>
                      <a:pt x="2595" y="1044"/>
                    </a:lnTo>
                    <a:lnTo>
                      <a:pt x="2598" y="1040"/>
                    </a:lnTo>
                    <a:lnTo>
                      <a:pt x="2598" y="1044"/>
                    </a:lnTo>
                    <a:lnTo>
                      <a:pt x="2597" y="1047"/>
                    </a:lnTo>
                    <a:lnTo>
                      <a:pt x="2598" y="1052"/>
                    </a:lnTo>
                    <a:lnTo>
                      <a:pt x="2602" y="1055"/>
                    </a:lnTo>
                    <a:lnTo>
                      <a:pt x="2598" y="1057"/>
                    </a:lnTo>
                    <a:lnTo>
                      <a:pt x="2598" y="1060"/>
                    </a:lnTo>
                    <a:lnTo>
                      <a:pt x="2600" y="1065"/>
                    </a:lnTo>
                    <a:lnTo>
                      <a:pt x="2598" y="1068"/>
                    </a:lnTo>
                    <a:lnTo>
                      <a:pt x="2600" y="1070"/>
                    </a:lnTo>
                    <a:lnTo>
                      <a:pt x="2600" y="1073"/>
                    </a:lnTo>
                    <a:lnTo>
                      <a:pt x="2598" y="1075"/>
                    </a:lnTo>
                    <a:lnTo>
                      <a:pt x="2600" y="1077"/>
                    </a:lnTo>
                    <a:lnTo>
                      <a:pt x="2598" y="1080"/>
                    </a:lnTo>
                    <a:lnTo>
                      <a:pt x="2602" y="1090"/>
                    </a:lnTo>
                    <a:lnTo>
                      <a:pt x="2600" y="1093"/>
                    </a:lnTo>
                    <a:lnTo>
                      <a:pt x="2602" y="1102"/>
                    </a:lnTo>
                    <a:lnTo>
                      <a:pt x="2602" y="1105"/>
                    </a:lnTo>
                    <a:lnTo>
                      <a:pt x="2602" y="1108"/>
                    </a:lnTo>
                    <a:lnTo>
                      <a:pt x="2607" y="1123"/>
                    </a:lnTo>
                    <a:lnTo>
                      <a:pt x="2610" y="1123"/>
                    </a:lnTo>
                    <a:lnTo>
                      <a:pt x="2615" y="1120"/>
                    </a:lnTo>
                    <a:lnTo>
                      <a:pt x="2615" y="1123"/>
                    </a:lnTo>
                    <a:lnTo>
                      <a:pt x="2612" y="1128"/>
                    </a:lnTo>
                    <a:lnTo>
                      <a:pt x="2610" y="1130"/>
                    </a:lnTo>
                    <a:lnTo>
                      <a:pt x="2612" y="1135"/>
                    </a:lnTo>
                    <a:lnTo>
                      <a:pt x="2613" y="1135"/>
                    </a:lnTo>
                    <a:lnTo>
                      <a:pt x="2622" y="1142"/>
                    </a:lnTo>
                    <a:lnTo>
                      <a:pt x="2620" y="1150"/>
                    </a:lnTo>
                    <a:lnTo>
                      <a:pt x="2622" y="1152"/>
                    </a:lnTo>
                    <a:lnTo>
                      <a:pt x="2622" y="1155"/>
                    </a:lnTo>
                    <a:lnTo>
                      <a:pt x="2623" y="1165"/>
                    </a:lnTo>
                    <a:lnTo>
                      <a:pt x="2627" y="1165"/>
                    </a:lnTo>
                    <a:lnTo>
                      <a:pt x="2627" y="1170"/>
                    </a:lnTo>
                    <a:lnTo>
                      <a:pt x="2625" y="1171"/>
                    </a:lnTo>
                    <a:lnTo>
                      <a:pt x="2625" y="1178"/>
                    </a:lnTo>
                    <a:lnTo>
                      <a:pt x="2628" y="1183"/>
                    </a:lnTo>
                    <a:lnTo>
                      <a:pt x="2628" y="1188"/>
                    </a:lnTo>
                    <a:lnTo>
                      <a:pt x="2622" y="1195"/>
                    </a:lnTo>
                    <a:lnTo>
                      <a:pt x="2620" y="1201"/>
                    </a:lnTo>
                    <a:lnTo>
                      <a:pt x="2617" y="1208"/>
                    </a:lnTo>
                    <a:lnTo>
                      <a:pt x="2618" y="1216"/>
                    </a:lnTo>
                    <a:lnTo>
                      <a:pt x="2620" y="1216"/>
                    </a:lnTo>
                    <a:lnTo>
                      <a:pt x="2618" y="1223"/>
                    </a:lnTo>
                    <a:lnTo>
                      <a:pt x="2615" y="1226"/>
                    </a:lnTo>
                    <a:lnTo>
                      <a:pt x="2615" y="1233"/>
                    </a:lnTo>
                    <a:lnTo>
                      <a:pt x="2612" y="1240"/>
                    </a:lnTo>
                    <a:lnTo>
                      <a:pt x="2613" y="1240"/>
                    </a:lnTo>
                    <a:lnTo>
                      <a:pt x="2613" y="1243"/>
                    </a:lnTo>
                    <a:lnTo>
                      <a:pt x="2610" y="1248"/>
                    </a:lnTo>
                    <a:lnTo>
                      <a:pt x="2612" y="1258"/>
                    </a:lnTo>
                    <a:lnTo>
                      <a:pt x="2607" y="1263"/>
                    </a:lnTo>
                    <a:lnTo>
                      <a:pt x="2608" y="1268"/>
                    </a:lnTo>
                    <a:lnTo>
                      <a:pt x="2610" y="1269"/>
                    </a:lnTo>
                    <a:lnTo>
                      <a:pt x="2610" y="1273"/>
                    </a:lnTo>
                    <a:lnTo>
                      <a:pt x="2605" y="1279"/>
                    </a:lnTo>
                    <a:lnTo>
                      <a:pt x="2603" y="1284"/>
                    </a:lnTo>
                    <a:lnTo>
                      <a:pt x="2598" y="1289"/>
                    </a:lnTo>
                    <a:lnTo>
                      <a:pt x="2598" y="1293"/>
                    </a:lnTo>
                    <a:lnTo>
                      <a:pt x="2593" y="1299"/>
                    </a:lnTo>
                    <a:lnTo>
                      <a:pt x="2588" y="1318"/>
                    </a:lnTo>
                    <a:lnTo>
                      <a:pt x="2585" y="1319"/>
                    </a:lnTo>
                    <a:lnTo>
                      <a:pt x="2585" y="1324"/>
                    </a:lnTo>
                    <a:lnTo>
                      <a:pt x="2587" y="1326"/>
                    </a:lnTo>
                    <a:lnTo>
                      <a:pt x="2587" y="1328"/>
                    </a:lnTo>
                    <a:lnTo>
                      <a:pt x="2580" y="1331"/>
                    </a:lnTo>
                    <a:lnTo>
                      <a:pt x="2580" y="1336"/>
                    </a:lnTo>
                    <a:lnTo>
                      <a:pt x="2575" y="1338"/>
                    </a:lnTo>
                    <a:lnTo>
                      <a:pt x="2575" y="1346"/>
                    </a:lnTo>
                    <a:lnTo>
                      <a:pt x="2573" y="1346"/>
                    </a:lnTo>
                    <a:lnTo>
                      <a:pt x="2575" y="1349"/>
                    </a:lnTo>
                    <a:lnTo>
                      <a:pt x="2570" y="1357"/>
                    </a:lnTo>
                    <a:lnTo>
                      <a:pt x="2568" y="1356"/>
                    </a:lnTo>
                    <a:lnTo>
                      <a:pt x="2565" y="1356"/>
                    </a:lnTo>
                    <a:lnTo>
                      <a:pt x="2567" y="1359"/>
                    </a:lnTo>
                    <a:lnTo>
                      <a:pt x="2567" y="1364"/>
                    </a:lnTo>
                    <a:lnTo>
                      <a:pt x="2562" y="1367"/>
                    </a:lnTo>
                    <a:lnTo>
                      <a:pt x="2563" y="1369"/>
                    </a:lnTo>
                    <a:lnTo>
                      <a:pt x="2555" y="1379"/>
                    </a:lnTo>
                    <a:lnTo>
                      <a:pt x="2552" y="1384"/>
                    </a:lnTo>
                    <a:lnTo>
                      <a:pt x="2548" y="1384"/>
                    </a:lnTo>
                    <a:lnTo>
                      <a:pt x="2547" y="1387"/>
                    </a:lnTo>
                    <a:lnTo>
                      <a:pt x="2540" y="1387"/>
                    </a:lnTo>
                    <a:lnTo>
                      <a:pt x="2535" y="1394"/>
                    </a:lnTo>
                    <a:lnTo>
                      <a:pt x="2532" y="1391"/>
                    </a:lnTo>
                    <a:lnTo>
                      <a:pt x="2529" y="1392"/>
                    </a:lnTo>
                    <a:lnTo>
                      <a:pt x="2522" y="1389"/>
                    </a:lnTo>
                    <a:lnTo>
                      <a:pt x="2514" y="1387"/>
                    </a:lnTo>
                    <a:lnTo>
                      <a:pt x="2514" y="1379"/>
                    </a:lnTo>
                    <a:lnTo>
                      <a:pt x="2510" y="1377"/>
                    </a:lnTo>
                    <a:lnTo>
                      <a:pt x="2505" y="1379"/>
                    </a:lnTo>
                    <a:lnTo>
                      <a:pt x="2500" y="1376"/>
                    </a:lnTo>
                    <a:lnTo>
                      <a:pt x="2499" y="1379"/>
                    </a:lnTo>
                    <a:lnTo>
                      <a:pt x="2499" y="1382"/>
                    </a:lnTo>
                    <a:lnTo>
                      <a:pt x="2494" y="1386"/>
                    </a:lnTo>
                    <a:lnTo>
                      <a:pt x="2494" y="1394"/>
                    </a:lnTo>
                    <a:lnTo>
                      <a:pt x="2490" y="1396"/>
                    </a:lnTo>
                    <a:lnTo>
                      <a:pt x="2489" y="1402"/>
                    </a:lnTo>
                    <a:lnTo>
                      <a:pt x="2487" y="1401"/>
                    </a:lnTo>
                    <a:lnTo>
                      <a:pt x="2480" y="1402"/>
                    </a:lnTo>
                    <a:lnTo>
                      <a:pt x="2479" y="1409"/>
                    </a:lnTo>
                    <a:lnTo>
                      <a:pt x="2477" y="1409"/>
                    </a:lnTo>
                    <a:lnTo>
                      <a:pt x="2477" y="1409"/>
                    </a:lnTo>
                    <a:close/>
                    <a:moveTo>
                      <a:pt x="804" y="1424"/>
                    </a:moveTo>
                    <a:lnTo>
                      <a:pt x="799" y="1419"/>
                    </a:lnTo>
                    <a:lnTo>
                      <a:pt x="769" y="1424"/>
                    </a:lnTo>
                    <a:lnTo>
                      <a:pt x="804" y="1424"/>
                    </a:lnTo>
                    <a:lnTo>
                      <a:pt x="804" y="1424"/>
                    </a:lnTo>
                    <a:close/>
                    <a:moveTo>
                      <a:pt x="2834" y="1331"/>
                    </a:moveTo>
                    <a:lnTo>
                      <a:pt x="2836" y="1331"/>
                    </a:lnTo>
                    <a:lnTo>
                      <a:pt x="2841" y="1329"/>
                    </a:lnTo>
                    <a:lnTo>
                      <a:pt x="2841" y="1326"/>
                    </a:lnTo>
                    <a:lnTo>
                      <a:pt x="2838" y="1328"/>
                    </a:lnTo>
                    <a:lnTo>
                      <a:pt x="2834" y="1331"/>
                    </a:lnTo>
                    <a:lnTo>
                      <a:pt x="2834" y="1331"/>
                    </a:lnTo>
                    <a:close/>
                    <a:moveTo>
                      <a:pt x="2475" y="85"/>
                    </a:moveTo>
                    <a:lnTo>
                      <a:pt x="2477" y="83"/>
                    </a:lnTo>
                    <a:lnTo>
                      <a:pt x="2479" y="82"/>
                    </a:lnTo>
                    <a:lnTo>
                      <a:pt x="2475" y="78"/>
                    </a:lnTo>
                    <a:lnTo>
                      <a:pt x="2474" y="82"/>
                    </a:lnTo>
                    <a:lnTo>
                      <a:pt x="2475" y="85"/>
                    </a:lnTo>
                    <a:lnTo>
                      <a:pt x="2475" y="85"/>
                    </a:lnTo>
                    <a:close/>
                    <a:moveTo>
                      <a:pt x="2457" y="80"/>
                    </a:moveTo>
                    <a:lnTo>
                      <a:pt x="2460" y="80"/>
                    </a:lnTo>
                    <a:lnTo>
                      <a:pt x="2462" y="78"/>
                    </a:lnTo>
                    <a:lnTo>
                      <a:pt x="2455" y="77"/>
                    </a:lnTo>
                    <a:lnTo>
                      <a:pt x="2454" y="78"/>
                    </a:lnTo>
                    <a:lnTo>
                      <a:pt x="2457" y="80"/>
                    </a:lnTo>
                    <a:lnTo>
                      <a:pt x="2457" y="80"/>
                    </a:lnTo>
                    <a:close/>
                    <a:moveTo>
                      <a:pt x="2439" y="87"/>
                    </a:moveTo>
                    <a:lnTo>
                      <a:pt x="2441" y="87"/>
                    </a:lnTo>
                    <a:lnTo>
                      <a:pt x="2442" y="85"/>
                    </a:lnTo>
                    <a:lnTo>
                      <a:pt x="2441" y="82"/>
                    </a:lnTo>
                    <a:lnTo>
                      <a:pt x="2437" y="80"/>
                    </a:lnTo>
                    <a:lnTo>
                      <a:pt x="2436" y="83"/>
                    </a:lnTo>
                    <a:lnTo>
                      <a:pt x="2439" y="87"/>
                    </a:lnTo>
                    <a:lnTo>
                      <a:pt x="2439" y="87"/>
                    </a:lnTo>
                    <a:close/>
                    <a:moveTo>
                      <a:pt x="2859" y="552"/>
                    </a:moveTo>
                    <a:lnTo>
                      <a:pt x="2857" y="552"/>
                    </a:lnTo>
                    <a:lnTo>
                      <a:pt x="2859" y="557"/>
                    </a:lnTo>
                    <a:lnTo>
                      <a:pt x="2861" y="555"/>
                    </a:lnTo>
                    <a:lnTo>
                      <a:pt x="2861" y="552"/>
                    </a:lnTo>
                    <a:lnTo>
                      <a:pt x="2859" y="550"/>
                    </a:lnTo>
                    <a:lnTo>
                      <a:pt x="2859" y="552"/>
                    </a:lnTo>
                    <a:lnTo>
                      <a:pt x="2859" y="552"/>
                    </a:lnTo>
                    <a:close/>
                    <a:moveTo>
                      <a:pt x="2852" y="544"/>
                    </a:moveTo>
                    <a:lnTo>
                      <a:pt x="2857" y="547"/>
                    </a:lnTo>
                    <a:lnTo>
                      <a:pt x="2859" y="547"/>
                    </a:lnTo>
                    <a:lnTo>
                      <a:pt x="2859" y="545"/>
                    </a:lnTo>
                    <a:lnTo>
                      <a:pt x="2856" y="540"/>
                    </a:lnTo>
                    <a:lnTo>
                      <a:pt x="2852" y="540"/>
                    </a:lnTo>
                    <a:lnTo>
                      <a:pt x="2852" y="544"/>
                    </a:lnTo>
                    <a:lnTo>
                      <a:pt x="2852" y="544"/>
                    </a:lnTo>
                    <a:close/>
                    <a:moveTo>
                      <a:pt x="456" y="278"/>
                    </a:moveTo>
                    <a:lnTo>
                      <a:pt x="457" y="276"/>
                    </a:lnTo>
                    <a:lnTo>
                      <a:pt x="459" y="274"/>
                    </a:lnTo>
                    <a:lnTo>
                      <a:pt x="465" y="271"/>
                    </a:lnTo>
                    <a:lnTo>
                      <a:pt x="465" y="268"/>
                    </a:lnTo>
                    <a:lnTo>
                      <a:pt x="464" y="268"/>
                    </a:lnTo>
                    <a:lnTo>
                      <a:pt x="459" y="271"/>
                    </a:lnTo>
                    <a:lnTo>
                      <a:pt x="456" y="271"/>
                    </a:lnTo>
                    <a:lnTo>
                      <a:pt x="454" y="274"/>
                    </a:lnTo>
                    <a:lnTo>
                      <a:pt x="456" y="278"/>
                    </a:lnTo>
                    <a:lnTo>
                      <a:pt x="456" y="278"/>
                    </a:lnTo>
                    <a:close/>
                    <a:moveTo>
                      <a:pt x="426" y="417"/>
                    </a:moveTo>
                    <a:lnTo>
                      <a:pt x="432" y="417"/>
                    </a:lnTo>
                    <a:lnTo>
                      <a:pt x="441" y="414"/>
                    </a:lnTo>
                    <a:lnTo>
                      <a:pt x="446" y="412"/>
                    </a:lnTo>
                    <a:lnTo>
                      <a:pt x="451" y="414"/>
                    </a:lnTo>
                    <a:lnTo>
                      <a:pt x="452" y="416"/>
                    </a:lnTo>
                    <a:lnTo>
                      <a:pt x="457" y="417"/>
                    </a:lnTo>
                    <a:lnTo>
                      <a:pt x="462" y="416"/>
                    </a:lnTo>
                    <a:lnTo>
                      <a:pt x="459" y="412"/>
                    </a:lnTo>
                    <a:lnTo>
                      <a:pt x="459" y="409"/>
                    </a:lnTo>
                    <a:lnTo>
                      <a:pt x="462" y="411"/>
                    </a:lnTo>
                    <a:lnTo>
                      <a:pt x="464" y="414"/>
                    </a:lnTo>
                    <a:lnTo>
                      <a:pt x="469" y="416"/>
                    </a:lnTo>
                    <a:lnTo>
                      <a:pt x="475" y="416"/>
                    </a:lnTo>
                    <a:lnTo>
                      <a:pt x="475" y="414"/>
                    </a:lnTo>
                    <a:lnTo>
                      <a:pt x="480" y="414"/>
                    </a:lnTo>
                    <a:lnTo>
                      <a:pt x="482" y="407"/>
                    </a:lnTo>
                    <a:lnTo>
                      <a:pt x="482" y="402"/>
                    </a:lnTo>
                    <a:lnTo>
                      <a:pt x="485" y="399"/>
                    </a:lnTo>
                    <a:lnTo>
                      <a:pt x="485" y="394"/>
                    </a:lnTo>
                    <a:lnTo>
                      <a:pt x="482" y="392"/>
                    </a:lnTo>
                    <a:lnTo>
                      <a:pt x="480" y="386"/>
                    </a:lnTo>
                    <a:lnTo>
                      <a:pt x="475" y="386"/>
                    </a:lnTo>
                    <a:lnTo>
                      <a:pt x="472" y="386"/>
                    </a:lnTo>
                    <a:lnTo>
                      <a:pt x="470" y="384"/>
                    </a:lnTo>
                    <a:lnTo>
                      <a:pt x="474" y="382"/>
                    </a:lnTo>
                    <a:lnTo>
                      <a:pt x="477" y="382"/>
                    </a:lnTo>
                    <a:lnTo>
                      <a:pt x="480" y="382"/>
                    </a:lnTo>
                    <a:lnTo>
                      <a:pt x="482" y="386"/>
                    </a:lnTo>
                    <a:lnTo>
                      <a:pt x="482" y="389"/>
                    </a:lnTo>
                    <a:lnTo>
                      <a:pt x="485" y="389"/>
                    </a:lnTo>
                    <a:lnTo>
                      <a:pt x="487" y="387"/>
                    </a:lnTo>
                    <a:lnTo>
                      <a:pt x="485" y="381"/>
                    </a:lnTo>
                    <a:lnTo>
                      <a:pt x="480" y="374"/>
                    </a:lnTo>
                    <a:lnTo>
                      <a:pt x="475" y="368"/>
                    </a:lnTo>
                    <a:lnTo>
                      <a:pt x="477" y="366"/>
                    </a:lnTo>
                    <a:lnTo>
                      <a:pt x="480" y="369"/>
                    </a:lnTo>
                    <a:lnTo>
                      <a:pt x="480" y="372"/>
                    </a:lnTo>
                    <a:lnTo>
                      <a:pt x="485" y="374"/>
                    </a:lnTo>
                    <a:lnTo>
                      <a:pt x="490" y="376"/>
                    </a:lnTo>
                    <a:lnTo>
                      <a:pt x="490" y="372"/>
                    </a:lnTo>
                    <a:lnTo>
                      <a:pt x="490" y="369"/>
                    </a:lnTo>
                    <a:lnTo>
                      <a:pt x="489" y="368"/>
                    </a:lnTo>
                    <a:lnTo>
                      <a:pt x="489" y="366"/>
                    </a:lnTo>
                    <a:lnTo>
                      <a:pt x="492" y="361"/>
                    </a:lnTo>
                    <a:lnTo>
                      <a:pt x="492" y="358"/>
                    </a:lnTo>
                    <a:lnTo>
                      <a:pt x="487" y="353"/>
                    </a:lnTo>
                    <a:lnTo>
                      <a:pt x="482" y="348"/>
                    </a:lnTo>
                    <a:lnTo>
                      <a:pt x="485" y="348"/>
                    </a:lnTo>
                    <a:lnTo>
                      <a:pt x="490" y="349"/>
                    </a:lnTo>
                    <a:lnTo>
                      <a:pt x="494" y="349"/>
                    </a:lnTo>
                    <a:lnTo>
                      <a:pt x="495" y="344"/>
                    </a:lnTo>
                    <a:lnTo>
                      <a:pt x="494" y="343"/>
                    </a:lnTo>
                    <a:lnTo>
                      <a:pt x="490" y="343"/>
                    </a:lnTo>
                    <a:lnTo>
                      <a:pt x="490" y="338"/>
                    </a:lnTo>
                    <a:lnTo>
                      <a:pt x="494" y="336"/>
                    </a:lnTo>
                    <a:lnTo>
                      <a:pt x="499" y="339"/>
                    </a:lnTo>
                    <a:lnTo>
                      <a:pt x="504" y="341"/>
                    </a:lnTo>
                    <a:lnTo>
                      <a:pt x="507" y="339"/>
                    </a:lnTo>
                    <a:lnTo>
                      <a:pt x="504" y="338"/>
                    </a:lnTo>
                    <a:lnTo>
                      <a:pt x="502" y="334"/>
                    </a:lnTo>
                    <a:lnTo>
                      <a:pt x="507" y="334"/>
                    </a:lnTo>
                    <a:lnTo>
                      <a:pt x="509" y="336"/>
                    </a:lnTo>
                    <a:lnTo>
                      <a:pt x="512" y="333"/>
                    </a:lnTo>
                    <a:lnTo>
                      <a:pt x="514" y="329"/>
                    </a:lnTo>
                    <a:lnTo>
                      <a:pt x="512" y="328"/>
                    </a:lnTo>
                    <a:lnTo>
                      <a:pt x="512" y="326"/>
                    </a:lnTo>
                    <a:lnTo>
                      <a:pt x="519" y="323"/>
                    </a:lnTo>
                    <a:lnTo>
                      <a:pt x="520" y="319"/>
                    </a:lnTo>
                    <a:lnTo>
                      <a:pt x="515" y="318"/>
                    </a:lnTo>
                    <a:lnTo>
                      <a:pt x="514" y="314"/>
                    </a:lnTo>
                    <a:lnTo>
                      <a:pt x="517" y="311"/>
                    </a:lnTo>
                    <a:lnTo>
                      <a:pt x="519" y="314"/>
                    </a:lnTo>
                    <a:lnTo>
                      <a:pt x="522" y="313"/>
                    </a:lnTo>
                    <a:lnTo>
                      <a:pt x="529" y="304"/>
                    </a:lnTo>
                    <a:lnTo>
                      <a:pt x="530" y="299"/>
                    </a:lnTo>
                    <a:lnTo>
                      <a:pt x="534" y="296"/>
                    </a:lnTo>
                    <a:lnTo>
                      <a:pt x="534" y="291"/>
                    </a:lnTo>
                    <a:lnTo>
                      <a:pt x="540" y="288"/>
                    </a:lnTo>
                    <a:lnTo>
                      <a:pt x="544" y="281"/>
                    </a:lnTo>
                    <a:lnTo>
                      <a:pt x="547" y="273"/>
                    </a:lnTo>
                    <a:lnTo>
                      <a:pt x="550" y="273"/>
                    </a:lnTo>
                    <a:lnTo>
                      <a:pt x="560" y="268"/>
                    </a:lnTo>
                    <a:lnTo>
                      <a:pt x="570" y="256"/>
                    </a:lnTo>
                    <a:lnTo>
                      <a:pt x="577" y="251"/>
                    </a:lnTo>
                    <a:lnTo>
                      <a:pt x="580" y="251"/>
                    </a:lnTo>
                    <a:lnTo>
                      <a:pt x="587" y="246"/>
                    </a:lnTo>
                    <a:lnTo>
                      <a:pt x="595" y="245"/>
                    </a:lnTo>
                    <a:lnTo>
                      <a:pt x="598" y="241"/>
                    </a:lnTo>
                    <a:lnTo>
                      <a:pt x="605" y="233"/>
                    </a:lnTo>
                    <a:lnTo>
                      <a:pt x="610" y="231"/>
                    </a:lnTo>
                    <a:lnTo>
                      <a:pt x="612" y="231"/>
                    </a:lnTo>
                    <a:lnTo>
                      <a:pt x="617" y="230"/>
                    </a:lnTo>
                    <a:lnTo>
                      <a:pt x="617" y="226"/>
                    </a:lnTo>
                    <a:lnTo>
                      <a:pt x="615" y="225"/>
                    </a:lnTo>
                    <a:lnTo>
                      <a:pt x="617" y="221"/>
                    </a:lnTo>
                    <a:lnTo>
                      <a:pt x="617" y="216"/>
                    </a:lnTo>
                    <a:lnTo>
                      <a:pt x="617" y="211"/>
                    </a:lnTo>
                    <a:lnTo>
                      <a:pt x="615" y="210"/>
                    </a:lnTo>
                    <a:lnTo>
                      <a:pt x="612" y="210"/>
                    </a:lnTo>
                    <a:lnTo>
                      <a:pt x="612" y="205"/>
                    </a:lnTo>
                    <a:lnTo>
                      <a:pt x="613" y="198"/>
                    </a:lnTo>
                    <a:lnTo>
                      <a:pt x="612" y="196"/>
                    </a:lnTo>
                    <a:lnTo>
                      <a:pt x="607" y="196"/>
                    </a:lnTo>
                    <a:lnTo>
                      <a:pt x="605" y="193"/>
                    </a:lnTo>
                    <a:lnTo>
                      <a:pt x="600" y="193"/>
                    </a:lnTo>
                    <a:lnTo>
                      <a:pt x="598" y="190"/>
                    </a:lnTo>
                    <a:lnTo>
                      <a:pt x="597" y="186"/>
                    </a:lnTo>
                    <a:lnTo>
                      <a:pt x="595" y="185"/>
                    </a:lnTo>
                    <a:lnTo>
                      <a:pt x="590" y="186"/>
                    </a:lnTo>
                    <a:lnTo>
                      <a:pt x="588" y="190"/>
                    </a:lnTo>
                    <a:lnTo>
                      <a:pt x="587" y="188"/>
                    </a:lnTo>
                    <a:lnTo>
                      <a:pt x="582" y="186"/>
                    </a:lnTo>
                    <a:lnTo>
                      <a:pt x="578" y="188"/>
                    </a:lnTo>
                    <a:lnTo>
                      <a:pt x="572" y="191"/>
                    </a:lnTo>
                    <a:lnTo>
                      <a:pt x="572" y="195"/>
                    </a:lnTo>
                    <a:lnTo>
                      <a:pt x="568" y="198"/>
                    </a:lnTo>
                    <a:lnTo>
                      <a:pt x="565" y="198"/>
                    </a:lnTo>
                    <a:lnTo>
                      <a:pt x="562" y="201"/>
                    </a:lnTo>
                    <a:lnTo>
                      <a:pt x="562" y="203"/>
                    </a:lnTo>
                    <a:lnTo>
                      <a:pt x="559" y="208"/>
                    </a:lnTo>
                    <a:lnTo>
                      <a:pt x="557" y="210"/>
                    </a:lnTo>
                    <a:lnTo>
                      <a:pt x="560" y="215"/>
                    </a:lnTo>
                    <a:lnTo>
                      <a:pt x="560" y="216"/>
                    </a:lnTo>
                    <a:lnTo>
                      <a:pt x="557" y="216"/>
                    </a:lnTo>
                    <a:lnTo>
                      <a:pt x="554" y="220"/>
                    </a:lnTo>
                    <a:lnTo>
                      <a:pt x="554" y="223"/>
                    </a:lnTo>
                    <a:lnTo>
                      <a:pt x="552" y="223"/>
                    </a:lnTo>
                    <a:lnTo>
                      <a:pt x="549" y="226"/>
                    </a:lnTo>
                    <a:lnTo>
                      <a:pt x="540" y="231"/>
                    </a:lnTo>
                    <a:lnTo>
                      <a:pt x="539" y="235"/>
                    </a:lnTo>
                    <a:lnTo>
                      <a:pt x="535" y="233"/>
                    </a:lnTo>
                    <a:lnTo>
                      <a:pt x="532" y="233"/>
                    </a:lnTo>
                    <a:lnTo>
                      <a:pt x="529" y="236"/>
                    </a:lnTo>
                    <a:lnTo>
                      <a:pt x="524" y="241"/>
                    </a:lnTo>
                    <a:lnTo>
                      <a:pt x="520" y="243"/>
                    </a:lnTo>
                    <a:lnTo>
                      <a:pt x="519" y="243"/>
                    </a:lnTo>
                    <a:lnTo>
                      <a:pt x="517" y="240"/>
                    </a:lnTo>
                    <a:lnTo>
                      <a:pt x="515" y="240"/>
                    </a:lnTo>
                    <a:lnTo>
                      <a:pt x="515" y="241"/>
                    </a:lnTo>
                    <a:lnTo>
                      <a:pt x="515" y="246"/>
                    </a:lnTo>
                    <a:lnTo>
                      <a:pt x="514" y="248"/>
                    </a:lnTo>
                    <a:lnTo>
                      <a:pt x="512" y="245"/>
                    </a:lnTo>
                    <a:lnTo>
                      <a:pt x="510" y="241"/>
                    </a:lnTo>
                    <a:lnTo>
                      <a:pt x="502" y="241"/>
                    </a:lnTo>
                    <a:lnTo>
                      <a:pt x="494" y="243"/>
                    </a:lnTo>
                    <a:lnTo>
                      <a:pt x="492" y="245"/>
                    </a:lnTo>
                    <a:lnTo>
                      <a:pt x="489" y="246"/>
                    </a:lnTo>
                    <a:lnTo>
                      <a:pt x="487" y="248"/>
                    </a:lnTo>
                    <a:lnTo>
                      <a:pt x="489" y="253"/>
                    </a:lnTo>
                    <a:lnTo>
                      <a:pt x="492" y="256"/>
                    </a:lnTo>
                    <a:lnTo>
                      <a:pt x="490" y="258"/>
                    </a:lnTo>
                    <a:lnTo>
                      <a:pt x="489" y="258"/>
                    </a:lnTo>
                    <a:lnTo>
                      <a:pt x="485" y="261"/>
                    </a:lnTo>
                    <a:lnTo>
                      <a:pt x="484" y="261"/>
                    </a:lnTo>
                    <a:lnTo>
                      <a:pt x="484" y="260"/>
                    </a:lnTo>
                    <a:lnTo>
                      <a:pt x="485" y="258"/>
                    </a:lnTo>
                    <a:lnTo>
                      <a:pt x="485" y="255"/>
                    </a:lnTo>
                    <a:lnTo>
                      <a:pt x="482" y="255"/>
                    </a:lnTo>
                    <a:lnTo>
                      <a:pt x="479" y="260"/>
                    </a:lnTo>
                    <a:lnTo>
                      <a:pt x="475" y="261"/>
                    </a:lnTo>
                    <a:lnTo>
                      <a:pt x="475" y="265"/>
                    </a:lnTo>
                    <a:lnTo>
                      <a:pt x="479" y="266"/>
                    </a:lnTo>
                    <a:lnTo>
                      <a:pt x="475" y="268"/>
                    </a:lnTo>
                    <a:lnTo>
                      <a:pt x="474" y="271"/>
                    </a:lnTo>
                    <a:lnTo>
                      <a:pt x="469" y="271"/>
                    </a:lnTo>
                    <a:lnTo>
                      <a:pt x="465" y="273"/>
                    </a:lnTo>
                    <a:lnTo>
                      <a:pt x="465" y="276"/>
                    </a:lnTo>
                    <a:lnTo>
                      <a:pt x="461" y="278"/>
                    </a:lnTo>
                    <a:lnTo>
                      <a:pt x="459" y="279"/>
                    </a:lnTo>
                    <a:lnTo>
                      <a:pt x="457" y="286"/>
                    </a:lnTo>
                    <a:lnTo>
                      <a:pt x="459" y="288"/>
                    </a:lnTo>
                    <a:lnTo>
                      <a:pt x="461" y="288"/>
                    </a:lnTo>
                    <a:lnTo>
                      <a:pt x="457" y="291"/>
                    </a:lnTo>
                    <a:lnTo>
                      <a:pt x="451" y="291"/>
                    </a:lnTo>
                    <a:lnTo>
                      <a:pt x="447" y="293"/>
                    </a:lnTo>
                    <a:lnTo>
                      <a:pt x="447" y="298"/>
                    </a:lnTo>
                    <a:lnTo>
                      <a:pt x="447" y="301"/>
                    </a:lnTo>
                    <a:lnTo>
                      <a:pt x="451" y="303"/>
                    </a:lnTo>
                    <a:lnTo>
                      <a:pt x="454" y="301"/>
                    </a:lnTo>
                    <a:lnTo>
                      <a:pt x="456" y="303"/>
                    </a:lnTo>
                    <a:lnTo>
                      <a:pt x="454" y="306"/>
                    </a:lnTo>
                    <a:lnTo>
                      <a:pt x="456" y="309"/>
                    </a:lnTo>
                    <a:lnTo>
                      <a:pt x="452" y="311"/>
                    </a:lnTo>
                    <a:lnTo>
                      <a:pt x="449" y="311"/>
                    </a:lnTo>
                    <a:lnTo>
                      <a:pt x="442" y="309"/>
                    </a:lnTo>
                    <a:lnTo>
                      <a:pt x="437" y="311"/>
                    </a:lnTo>
                    <a:lnTo>
                      <a:pt x="436" y="314"/>
                    </a:lnTo>
                    <a:lnTo>
                      <a:pt x="437" y="318"/>
                    </a:lnTo>
                    <a:lnTo>
                      <a:pt x="434" y="321"/>
                    </a:lnTo>
                    <a:lnTo>
                      <a:pt x="431" y="324"/>
                    </a:lnTo>
                    <a:lnTo>
                      <a:pt x="427" y="323"/>
                    </a:lnTo>
                    <a:lnTo>
                      <a:pt x="424" y="321"/>
                    </a:lnTo>
                    <a:lnTo>
                      <a:pt x="422" y="318"/>
                    </a:lnTo>
                    <a:lnTo>
                      <a:pt x="421" y="318"/>
                    </a:lnTo>
                    <a:lnTo>
                      <a:pt x="419" y="324"/>
                    </a:lnTo>
                    <a:lnTo>
                      <a:pt x="421" y="328"/>
                    </a:lnTo>
                    <a:lnTo>
                      <a:pt x="426" y="331"/>
                    </a:lnTo>
                    <a:lnTo>
                      <a:pt x="427" y="331"/>
                    </a:lnTo>
                    <a:lnTo>
                      <a:pt x="429" y="331"/>
                    </a:lnTo>
                    <a:lnTo>
                      <a:pt x="429" y="334"/>
                    </a:lnTo>
                    <a:lnTo>
                      <a:pt x="427" y="339"/>
                    </a:lnTo>
                    <a:lnTo>
                      <a:pt x="429" y="341"/>
                    </a:lnTo>
                    <a:lnTo>
                      <a:pt x="431" y="343"/>
                    </a:lnTo>
                    <a:lnTo>
                      <a:pt x="434" y="339"/>
                    </a:lnTo>
                    <a:lnTo>
                      <a:pt x="436" y="339"/>
                    </a:lnTo>
                    <a:lnTo>
                      <a:pt x="437" y="341"/>
                    </a:lnTo>
                    <a:lnTo>
                      <a:pt x="442" y="341"/>
                    </a:lnTo>
                    <a:lnTo>
                      <a:pt x="446" y="339"/>
                    </a:lnTo>
                    <a:lnTo>
                      <a:pt x="447" y="341"/>
                    </a:lnTo>
                    <a:lnTo>
                      <a:pt x="446" y="343"/>
                    </a:lnTo>
                    <a:lnTo>
                      <a:pt x="442" y="344"/>
                    </a:lnTo>
                    <a:lnTo>
                      <a:pt x="436" y="344"/>
                    </a:lnTo>
                    <a:lnTo>
                      <a:pt x="434" y="346"/>
                    </a:lnTo>
                    <a:lnTo>
                      <a:pt x="431" y="346"/>
                    </a:lnTo>
                    <a:lnTo>
                      <a:pt x="429" y="348"/>
                    </a:lnTo>
                    <a:lnTo>
                      <a:pt x="431" y="353"/>
                    </a:lnTo>
                    <a:lnTo>
                      <a:pt x="434" y="354"/>
                    </a:lnTo>
                    <a:lnTo>
                      <a:pt x="437" y="356"/>
                    </a:lnTo>
                    <a:lnTo>
                      <a:pt x="441" y="354"/>
                    </a:lnTo>
                    <a:lnTo>
                      <a:pt x="442" y="356"/>
                    </a:lnTo>
                    <a:lnTo>
                      <a:pt x="441" y="358"/>
                    </a:lnTo>
                    <a:lnTo>
                      <a:pt x="436" y="359"/>
                    </a:lnTo>
                    <a:lnTo>
                      <a:pt x="431" y="359"/>
                    </a:lnTo>
                    <a:lnTo>
                      <a:pt x="427" y="361"/>
                    </a:lnTo>
                    <a:lnTo>
                      <a:pt x="427" y="363"/>
                    </a:lnTo>
                    <a:lnTo>
                      <a:pt x="429" y="364"/>
                    </a:lnTo>
                    <a:lnTo>
                      <a:pt x="434" y="364"/>
                    </a:lnTo>
                    <a:lnTo>
                      <a:pt x="437" y="364"/>
                    </a:lnTo>
                    <a:lnTo>
                      <a:pt x="437" y="366"/>
                    </a:lnTo>
                    <a:lnTo>
                      <a:pt x="436" y="368"/>
                    </a:lnTo>
                    <a:lnTo>
                      <a:pt x="431" y="368"/>
                    </a:lnTo>
                    <a:lnTo>
                      <a:pt x="431" y="371"/>
                    </a:lnTo>
                    <a:lnTo>
                      <a:pt x="432" y="371"/>
                    </a:lnTo>
                    <a:lnTo>
                      <a:pt x="437" y="371"/>
                    </a:lnTo>
                    <a:lnTo>
                      <a:pt x="446" y="376"/>
                    </a:lnTo>
                    <a:lnTo>
                      <a:pt x="449" y="377"/>
                    </a:lnTo>
                    <a:lnTo>
                      <a:pt x="449" y="377"/>
                    </a:lnTo>
                    <a:lnTo>
                      <a:pt x="449" y="381"/>
                    </a:lnTo>
                    <a:lnTo>
                      <a:pt x="446" y="377"/>
                    </a:lnTo>
                    <a:lnTo>
                      <a:pt x="441" y="376"/>
                    </a:lnTo>
                    <a:lnTo>
                      <a:pt x="437" y="376"/>
                    </a:lnTo>
                    <a:lnTo>
                      <a:pt x="432" y="372"/>
                    </a:lnTo>
                    <a:lnTo>
                      <a:pt x="429" y="372"/>
                    </a:lnTo>
                    <a:lnTo>
                      <a:pt x="426" y="376"/>
                    </a:lnTo>
                    <a:lnTo>
                      <a:pt x="426" y="379"/>
                    </a:lnTo>
                    <a:lnTo>
                      <a:pt x="422" y="381"/>
                    </a:lnTo>
                    <a:lnTo>
                      <a:pt x="424" y="382"/>
                    </a:lnTo>
                    <a:lnTo>
                      <a:pt x="426" y="384"/>
                    </a:lnTo>
                    <a:lnTo>
                      <a:pt x="424" y="386"/>
                    </a:lnTo>
                    <a:lnTo>
                      <a:pt x="422" y="387"/>
                    </a:lnTo>
                    <a:lnTo>
                      <a:pt x="421" y="387"/>
                    </a:lnTo>
                    <a:lnTo>
                      <a:pt x="417" y="389"/>
                    </a:lnTo>
                    <a:lnTo>
                      <a:pt x="416" y="394"/>
                    </a:lnTo>
                    <a:lnTo>
                      <a:pt x="416" y="396"/>
                    </a:lnTo>
                    <a:lnTo>
                      <a:pt x="416" y="397"/>
                    </a:lnTo>
                    <a:lnTo>
                      <a:pt x="411" y="397"/>
                    </a:lnTo>
                    <a:lnTo>
                      <a:pt x="411" y="399"/>
                    </a:lnTo>
                    <a:lnTo>
                      <a:pt x="416" y="404"/>
                    </a:lnTo>
                    <a:lnTo>
                      <a:pt x="421" y="406"/>
                    </a:lnTo>
                    <a:lnTo>
                      <a:pt x="422" y="404"/>
                    </a:lnTo>
                    <a:lnTo>
                      <a:pt x="424" y="402"/>
                    </a:lnTo>
                    <a:lnTo>
                      <a:pt x="427" y="401"/>
                    </a:lnTo>
                    <a:lnTo>
                      <a:pt x="434" y="396"/>
                    </a:lnTo>
                    <a:lnTo>
                      <a:pt x="439" y="394"/>
                    </a:lnTo>
                    <a:lnTo>
                      <a:pt x="444" y="396"/>
                    </a:lnTo>
                    <a:lnTo>
                      <a:pt x="446" y="397"/>
                    </a:lnTo>
                    <a:lnTo>
                      <a:pt x="446" y="399"/>
                    </a:lnTo>
                    <a:lnTo>
                      <a:pt x="444" y="399"/>
                    </a:lnTo>
                    <a:lnTo>
                      <a:pt x="441" y="397"/>
                    </a:lnTo>
                    <a:lnTo>
                      <a:pt x="437" y="397"/>
                    </a:lnTo>
                    <a:lnTo>
                      <a:pt x="436" y="399"/>
                    </a:lnTo>
                    <a:lnTo>
                      <a:pt x="429" y="402"/>
                    </a:lnTo>
                    <a:lnTo>
                      <a:pt x="427" y="406"/>
                    </a:lnTo>
                    <a:lnTo>
                      <a:pt x="426" y="411"/>
                    </a:lnTo>
                    <a:lnTo>
                      <a:pt x="427" y="414"/>
                    </a:lnTo>
                    <a:lnTo>
                      <a:pt x="426" y="416"/>
                    </a:lnTo>
                    <a:lnTo>
                      <a:pt x="426" y="416"/>
                    </a:lnTo>
                    <a:lnTo>
                      <a:pt x="426" y="417"/>
                    </a:lnTo>
                    <a:lnTo>
                      <a:pt x="426" y="417"/>
                    </a:lnTo>
                    <a:close/>
                    <a:moveTo>
                      <a:pt x="447" y="537"/>
                    </a:moveTo>
                    <a:lnTo>
                      <a:pt x="449" y="537"/>
                    </a:lnTo>
                    <a:lnTo>
                      <a:pt x="451" y="535"/>
                    </a:lnTo>
                    <a:lnTo>
                      <a:pt x="447" y="532"/>
                    </a:lnTo>
                    <a:lnTo>
                      <a:pt x="451" y="529"/>
                    </a:lnTo>
                    <a:lnTo>
                      <a:pt x="449" y="525"/>
                    </a:lnTo>
                    <a:lnTo>
                      <a:pt x="442" y="524"/>
                    </a:lnTo>
                    <a:lnTo>
                      <a:pt x="442" y="520"/>
                    </a:lnTo>
                    <a:lnTo>
                      <a:pt x="439" y="519"/>
                    </a:lnTo>
                    <a:lnTo>
                      <a:pt x="432" y="520"/>
                    </a:lnTo>
                    <a:lnTo>
                      <a:pt x="429" y="522"/>
                    </a:lnTo>
                    <a:lnTo>
                      <a:pt x="431" y="525"/>
                    </a:lnTo>
                    <a:lnTo>
                      <a:pt x="434" y="527"/>
                    </a:lnTo>
                    <a:lnTo>
                      <a:pt x="436" y="525"/>
                    </a:lnTo>
                    <a:lnTo>
                      <a:pt x="439" y="527"/>
                    </a:lnTo>
                    <a:lnTo>
                      <a:pt x="441" y="530"/>
                    </a:lnTo>
                    <a:lnTo>
                      <a:pt x="444" y="532"/>
                    </a:lnTo>
                    <a:lnTo>
                      <a:pt x="447" y="537"/>
                    </a:lnTo>
                    <a:lnTo>
                      <a:pt x="447" y="537"/>
                    </a:lnTo>
                    <a:close/>
                    <a:moveTo>
                      <a:pt x="534" y="535"/>
                    </a:moveTo>
                    <a:lnTo>
                      <a:pt x="529" y="532"/>
                    </a:lnTo>
                    <a:lnTo>
                      <a:pt x="527" y="534"/>
                    </a:lnTo>
                    <a:lnTo>
                      <a:pt x="522" y="532"/>
                    </a:lnTo>
                    <a:lnTo>
                      <a:pt x="519" y="527"/>
                    </a:lnTo>
                    <a:lnTo>
                      <a:pt x="514" y="527"/>
                    </a:lnTo>
                    <a:lnTo>
                      <a:pt x="505" y="522"/>
                    </a:lnTo>
                    <a:lnTo>
                      <a:pt x="504" y="517"/>
                    </a:lnTo>
                    <a:lnTo>
                      <a:pt x="499" y="517"/>
                    </a:lnTo>
                    <a:lnTo>
                      <a:pt x="492" y="507"/>
                    </a:lnTo>
                    <a:lnTo>
                      <a:pt x="484" y="499"/>
                    </a:lnTo>
                    <a:lnTo>
                      <a:pt x="480" y="489"/>
                    </a:lnTo>
                    <a:lnTo>
                      <a:pt x="475" y="482"/>
                    </a:lnTo>
                    <a:lnTo>
                      <a:pt x="475" y="470"/>
                    </a:lnTo>
                    <a:lnTo>
                      <a:pt x="472" y="466"/>
                    </a:lnTo>
                    <a:lnTo>
                      <a:pt x="470" y="452"/>
                    </a:lnTo>
                    <a:lnTo>
                      <a:pt x="469" y="451"/>
                    </a:lnTo>
                    <a:lnTo>
                      <a:pt x="470" y="446"/>
                    </a:lnTo>
                    <a:lnTo>
                      <a:pt x="470" y="444"/>
                    </a:lnTo>
                    <a:lnTo>
                      <a:pt x="467" y="442"/>
                    </a:lnTo>
                    <a:lnTo>
                      <a:pt x="462" y="444"/>
                    </a:lnTo>
                    <a:lnTo>
                      <a:pt x="461" y="442"/>
                    </a:lnTo>
                    <a:lnTo>
                      <a:pt x="461" y="441"/>
                    </a:lnTo>
                    <a:lnTo>
                      <a:pt x="467" y="441"/>
                    </a:lnTo>
                    <a:lnTo>
                      <a:pt x="472" y="439"/>
                    </a:lnTo>
                    <a:lnTo>
                      <a:pt x="474" y="431"/>
                    </a:lnTo>
                    <a:lnTo>
                      <a:pt x="472" y="426"/>
                    </a:lnTo>
                    <a:lnTo>
                      <a:pt x="469" y="427"/>
                    </a:lnTo>
                    <a:lnTo>
                      <a:pt x="464" y="427"/>
                    </a:lnTo>
                    <a:lnTo>
                      <a:pt x="465" y="426"/>
                    </a:lnTo>
                    <a:lnTo>
                      <a:pt x="472" y="424"/>
                    </a:lnTo>
                    <a:lnTo>
                      <a:pt x="474" y="421"/>
                    </a:lnTo>
                    <a:lnTo>
                      <a:pt x="472" y="419"/>
                    </a:lnTo>
                    <a:lnTo>
                      <a:pt x="462" y="419"/>
                    </a:lnTo>
                    <a:lnTo>
                      <a:pt x="451" y="417"/>
                    </a:lnTo>
                    <a:lnTo>
                      <a:pt x="447" y="416"/>
                    </a:lnTo>
                    <a:lnTo>
                      <a:pt x="442" y="416"/>
                    </a:lnTo>
                    <a:lnTo>
                      <a:pt x="434" y="421"/>
                    </a:lnTo>
                    <a:lnTo>
                      <a:pt x="426" y="421"/>
                    </a:lnTo>
                    <a:lnTo>
                      <a:pt x="422" y="422"/>
                    </a:lnTo>
                    <a:lnTo>
                      <a:pt x="417" y="426"/>
                    </a:lnTo>
                    <a:lnTo>
                      <a:pt x="416" y="431"/>
                    </a:lnTo>
                    <a:lnTo>
                      <a:pt x="414" y="434"/>
                    </a:lnTo>
                    <a:lnTo>
                      <a:pt x="416" y="439"/>
                    </a:lnTo>
                    <a:lnTo>
                      <a:pt x="421" y="439"/>
                    </a:lnTo>
                    <a:lnTo>
                      <a:pt x="422" y="441"/>
                    </a:lnTo>
                    <a:lnTo>
                      <a:pt x="421" y="442"/>
                    </a:lnTo>
                    <a:lnTo>
                      <a:pt x="416" y="442"/>
                    </a:lnTo>
                    <a:lnTo>
                      <a:pt x="411" y="444"/>
                    </a:lnTo>
                    <a:lnTo>
                      <a:pt x="407" y="451"/>
                    </a:lnTo>
                    <a:lnTo>
                      <a:pt x="407" y="456"/>
                    </a:lnTo>
                    <a:lnTo>
                      <a:pt x="409" y="457"/>
                    </a:lnTo>
                    <a:lnTo>
                      <a:pt x="412" y="457"/>
                    </a:lnTo>
                    <a:lnTo>
                      <a:pt x="419" y="454"/>
                    </a:lnTo>
                    <a:lnTo>
                      <a:pt x="421" y="456"/>
                    </a:lnTo>
                    <a:lnTo>
                      <a:pt x="416" y="459"/>
                    </a:lnTo>
                    <a:lnTo>
                      <a:pt x="416" y="462"/>
                    </a:lnTo>
                    <a:lnTo>
                      <a:pt x="417" y="462"/>
                    </a:lnTo>
                    <a:lnTo>
                      <a:pt x="421" y="459"/>
                    </a:lnTo>
                    <a:lnTo>
                      <a:pt x="424" y="459"/>
                    </a:lnTo>
                    <a:lnTo>
                      <a:pt x="426" y="461"/>
                    </a:lnTo>
                    <a:lnTo>
                      <a:pt x="421" y="464"/>
                    </a:lnTo>
                    <a:lnTo>
                      <a:pt x="421" y="467"/>
                    </a:lnTo>
                    <a:lnTo>
                      <a:pt x="424" y="470"/>
                    </a:lnTo>
                    <a:lnTo>
                      <a:pt x="429" y="470"/>
                    </a:lnTo>
                    <a:lnTo>
                      <a:pt x="426" y="472"/>
                    </a:lnTo>
                    <a:lnTo>
                      <a:pt x="422" y="472"/>
                    </a:lnTo>
                    <a:lnTo>
                      <a:pt x="419" y="474"/>
                    </a:lnTo>
                    <a:lnTo>
                      <a:pt x="419" y="477"/>
                    </a:lnTo>
                    <a:lnTo>
                      <a:pt x="422" y="482"/>
                    </a:lnTo>
                    <a:lnTo>
                      <a:pt x="421" y="484"/>
                    </a:lnTo>
                    <a:lnTo>
                      <a:pt x="417" y="482"/>
                    </a:lnTo>
                    <a:lnTo>
                      <a:pt x="414" y="484"/>
                    </a:lnTo>
                    <a:lnTo>
                      <a:pt x="409" y="482"/>
                    </a:lnTo>
                    <a:lnTo>
                      <a:pt x="407" y="482"/>
                    </a:lnTo>
                    <a:lnTo>
                      <a:pt x="402" y="487"/>
                    </a:lnTo>
                    <a:lnTo>
                      <a:pt x="402" y="490"/>
                    </a:lnTo>
                    <a:lnTo>
                      <a:pt x="404" y="497"/>
                    </a:lnTo>
                    <a:lnTo>
                      <a:pt x="402" y="502"/>
                    </a:lnTo>
                    <a:lnTo>
                      <a:pt x="404" y="505"/>
                    </a:lnTo>
                    <a:lnTo>
                      <a:pt x="411" y="510"/>
                    </a:lnTo>
                    <a:lnTo>
                      <a:pt x="411" y="514"/>
                    </a:lnTo>
                    <a:lnTo>
                      <a:pt x="417" y="517"/>
                    </a:lnTo>
                    <a:lnTo>
                      <a:pt x="422" y="519"/>
                    </a:lnTo>
                    <a:lnTo>
                      <a:pt x="424" y="517"/>
                    </a:lnTo>
                    <a:lnTo>
                      <a:pt x="427" y="517"/>
                    </a:lnTo>
                    <a:lnTo>
                      <a:pt x="432" y="512"/>
                    </a:lnTo>
                    <a:lnTo>
                      <a:pt x="431" y="505"/>
                    </a:lnTo>
                    <a:lnTo>
                      <a:pt x="431" y="502"/>
                    </a:lnTo>
                    <a:lnTo>
                      <a:pt x="434" y="497"/>
                    </a:lnTo>
                    <a:lnTo>
                      <a:pt x="432" y="502"/>
                    </a:lnTo>
                    <a:lnTo>
                      <a:pt x="432" y="505"/>
                    </a:lnTo>
                    <a:lnTo>
                      <a:pt x="434" y="509"/>
                    </a:lnTo>
                    <a:lnTo>
                      <a:pt x="436" y="514"/>
                    </a:lnTo>
                    <a:lnTo>
                      <a:pt x="439" y="515"/>
                    </a:lnTo>
                    <a:lnTo>
                      <a:pt x="442" y="514"/>
                    </a:lnTo>
                    <a:lnTo>
                      <a:pt x="442" y="510"/>
                    </a:lnTo>
                    <a:lnTo>
                      <a:pt x="444" y="505"/>
                    </a:lnTo>
                    <a:lnTo>
                      <a:pt x="446" y="507"/>
                    </a:lnTo>
                    <a:lnTo>
                      <a:pt x="446" y="510"/>
                    </a:lnTo>
                    <a:lnTo>
                      <a:pt x="446" y="514"/>
                    </a:lnTo>
                    <a:lnTo>
                      <a:pt x="451" y="520"/>
                    </a:lnTo>
                    <a:lnTo>
                      <a:pt x="456" y="524"/>
                    </a:lnTo>
                    <a:lnTo>
                      <a:pt x="459" y="524"/>
                    </a:lnTo>
                    <a:lnTo>
                      <a:pt x="462" y="520"/>
                    </a:lnTo>
                    <a:lnTo>
                      <a:pt x="465" y="522"/>
                    </a:lnTo>
                    <a:lnTo>
                      <a:pt x="464" y="524"/>
                    </a:lnTo>
                    <a:lnTo>
                      <a:pt x="461" y="524"/>
                    </a:lnTo>
                    <a:lnTo>
                      <a:pt x="459" y="527"/>
                    </a:lnTo>
                    <a:lnTo>
                      <a:pt x="456" y="529"/>
                    </a:lnTo>
                    <a:lnTo>
                      <a:pt x="456" y="530"/>
                    </a:lnTo>
                    <a:lnTo>
                      <a:pt x="459" y="534"/>
                    </a:lnTo>
                    <a:lnTo>
                      <a:pt x="461" y="537"/>
                    </a:lnTo>
                    <a:lnTo>
                      <a:pt x="457" y="537"/>
                    </a:lnTo>
                    <a:lnTo>
                      <a:pt x="454" y="537"/>
                    </a:lnTo>
                    <a:lnTo>
                      <a:pt x="454" y="540"/>
                    </a:lnTo>
                    <a:lnTo>
                      <a:pt x="457" y="542"/>
                    </a:lnTo>
                    <a:lnTo>
                      <a:pt x="464" y="542"/>
                    </a:lnTo>
                    <a:lnTo>
                      <a:pt x="469" y="545"/>
                    </a:lnTo>
                    <a:lnTo>
                      <a:pt x="474" y="544"/>
                    </a:lnTo>
                    <a:lnTo>
                      <a:pt x="480" y="545"/>
                    </a:lnTo>
                    <a:lnTo>
                      <a:pt x="480" y="542"/>
                    </a:lnTo>
                    <a:lnTo>
                      <a:pt x="482" y="542"/>
                    </a:lnTo>
                    <a:lnTo>
                      <a:pt x="484" y="545"/>
                    </a:lnTo>
                    <a:lnTo>
                      <a:pt x="485" y="552"/>
                    </a:lnTo>
                    <a:lnTo>
                      <a:pt x="490" y="554"/>
                    </a:lnTo>
                    <a:lnTo>
                      <a:pt x="494" y="554"/>
                    </a:lnTo>
                    <a:lnTo>
                      <a:pt x="497" y="550"/>
                    </a:lnTo>
                    <a:lnTo>
                      <a:pt x="495" y="545"/>
                    </a:lnTo>
                    <a:lnTo>
                      <a:pt x="489" y="544"/>
                    </a:lnTo>
                    <a:lnTo>
                      <a:pt x="487" y="542"/>
                    </a:lnTo>
                    <a:lnTo>
                      <a:pt x="489" y="540"/>
                    </a:lnTo>
                    <a:lnTo>
                      <a:pt x="492" y="542"/>
                    </a:lnTo>
                    <a:lnTo>
                      <a:pt x="497" y="544"/>
                    </a:lnTo>
                    <a:lnTo>
                      <a:pt x="499" y="547"/>
                    </a:lnTo>
                    <a:lnTo>
                      <a:pt x="502" y="552"/>
                    </a:lnTo>
                    <a:lnTo>
                      <a:pt x="504" y="552"/>
                    </a:lnTo>
                    <a:lnTo>
                      <a:pt x="504" y="549"/>
                    </a:lnTo>
                    <a:lnTo>
                      <a:pt x="507" y="547"/>
                    </a:lnTo>
                    <a:lnTo>
                      <a:pt x="509" y="550"/>
                    </a:lnTo>
                    <a:lnTo>
                      <a:pt x="515" y="554"/>
                    </a:lnTo>
                    <a:lnTo>
                      <a:pt x="519" y="552"/>
                    </a:lnTo>
                    <a:lnTo>
                      <a:pt x="519" y="550"/>
                    </a:lnTo>
                    <a:lnTo>
                      <a:pt x="514" y="547"/>
                    </a:lnTo>
                    <a:lnTo>
                      <a:pt x="514" y="545"/>
                    </a:lnTo>
                    <a:lnTo>
                      <a:pt x="515" y="545"/>
                    </a:lnTo>
                    <a:lnTo>
                      <a:pt x="520" y="547"/>
                    </a:lnTo>
                    <a:lnTo>
                      <a:pt x="522" y="549"/>
                    </a:lnTo>
                    <a:lnTo>
                      <a:pt x="524" y="549"/>
                    </a:lnTo>
                    <a:lnTo>
                      <a:pt x="525" y="554"/>
                    </a:lnTo>
                    <a:lnTo>
                      <a:pt x="529" y="555"/>
                    </a:lnTo>
                    <a:lnTo>
                      <a:pt x="530" y="554"/>
                    </a:lnTo>
                    <a:lnTo>
                      <a:pt x="532" y="550"/>
                    </a:lnTo>
                    <a:lnTo>
                      <a:pt x="530" y="547"/>
                    </a:lnTo>
                    <a:lnTo>
                      <a:pt x="527" y="547"/>
                    </a:lnTo>
                    <a:lnTo>
                      <a:pt x="524" y="545"/>
                    </a:lnTo>
                    <a:lnTo>
                      <a:pt x="525" y="544"/>
                    </a:lnTo>
                    <a:lnTo>
                      <a:pt x="527" y="545"/>
                    </a:lnTo>
                    <a:lnTo>
                      <a:pt x="530" y="545"/>
                    </a:lnTo>
                    <a:lnTo>
                      <a:pt x="534" y="540"/>
                    </a:lnTo>
                    <a:lnTo>
                      <a:pt x="535" y="539"/>
                    </a:lnTo>
                    <a:lnTo>
                      <a:pt x="534" y="535"/>
                    </a:lnTo>
                    <a:lnTo>
                      <a:pt x="534" y="535"/>
                    </a:lnTo>
                    <a:close/>
                    <a:moveTo>
                      <a:pt x="170" y="809"/>
                    </a:moveTo>
                    <a:lnTo>
                      <a:pt x="168" y="806"/>
                    </a:lnTo>
                    <a:lnTo>
                      <a:pt x="170" y="804"/>
                    </a:lnTo>
                    <a:lnTo>
                      <a:pt x="170" y="801"/>
                    </a:lnTo>
                    <a:lnTo>
                      <a:pt x="167" y="801"/>
                    </a:lnTo>
                    <a:lnTo>
                      <a:pt x="163" y="804"/>
                    </a:lnTo>
                    <a:lnTo>
                      <a:pt x="163" y="808"/>
                    </a:lnTo>
                    <a:lnTo>
                      <a:pt x="167" y="809"/>
                    </a:lnTo>
                    <a:lnTo>
                      <a:pt x="168" y="811"/>
                    </a:lnTo>
                    <a:lnTo>
                      <a:pt x="170" y="811"/>
                    </a:lnTo>
                    <a:lnTo>
                      <a:pt x="170" y="809"/>
                    </a:lnTo>
                    <a:lnTo>
                      <a:pt x="170" y="809"/>
                    </a:lnTo>
                    <a:close/>
                    <a:moveTo>
                      <a:pt x="296" y="738"/>
                    </a:moveTo>
                    <a:lnTo>
                      <a:pt x="298" y="738"/>
                    </a:lnTo>
                    <a:lnTo>
                      <a:pt x="298" y="735"/>
                    </a:lnTo>
                    <a:lnTo>
                      <a:pt x="294" y="733"/>
                    </a:lnTo>
                    <a:lnTo>
                      <a:pt x="293" y="733"/>
                    </a:lnTo>
                    <a:lnTo>
                      <a:pt x="293" y="735"/>
                    </a:lnTo>
                    <a:lnTo>
                      <a:pt x="296" y="738"/>
                    </a:lnTo>
                    <a:lnTo>
                      <a:pt x="296" y="738"/>
                    </a:lnTo>
                    <a:close/>
                    <a:moveTo>
                      <a:pt x="392" y="643"/>
                    </a:moveTo>
                    <a:lnTo>
                      <a:pt x="399" y="642"/>
                    </a:lnTo>
                    <a:lnTo>
                      <a:pt x="404" y="637"/>
                    </a:lnTo>
                    <a:lnTo>
                      <a:pt x="409" y="633"/>
                    </a:lnTo>
                    <a:lnTo>
                      <a:pt x="409" y="625"/>
                    </a:lnTo>
                    <a:lnTo>
                      <a:pt x="412" y="622"/>
                    </a:lnTo>
                    <a:lnTo>
                      <a:pt x="414" y="627"/>
                    </a:lnTo>
                    <a:lnTo>
                      <a:pt x="412" y="632"/>
                    </a:lnTo>
                    <a:lnTo>
                      <a:pt x="416" y="627"/>
                    </a:lnTo>
                    <a:lnTo>
                      <a:pt x="416" y="622"/>
                    </a:lnTo>
                    <a:lnTo>
                      <a:pt x="411" y="617"/>
                    </a:lnTo>
                    <a:lnTo>
                      <a:pt x="394" y="610"/>
                    </a:lnTo>
                    <a:lnTo>
                      <a:pt x="386" y="608"/>
                    </a:lnTo>
                    <a:lnTo>
                      <a:pt x="381" y="612"/>
                    </a:lnTo>
                    <a:lnTo>
                      <a:pt x="377" y="620"/>
                    </a:lnTo>
                    <a:lnTo>
                      <a:pt x="377" y="632"/>
                    </a:lnTo>
                    <a:lnTo>
                      <a:pt x="381" y="637"/>
                    </a:lnTo>
                    <a:lnTo>
                      <a:pt x="382" y="642"/>
                    </a:lnTo>
                    <a:lnTo>
                      <a:pt x="384" y="640"/>
                    </a:lnTo>
                    <a:lnTo>
                      <a:pt x="387" y="643"/>
                    </a:lnTo>
                    <a:lnTo>
                      <a:pt x="386" y="645"/>
                    </a:lnTo>
                    <a:lnTo>
                      <a:pt x="389" y="645"/>
                    </a:lnTo>
                    <a:lnTo>
                      <a:pt x="392" y="643"/>
                    </a:lnTo>
                    <a:lnTo>
                      <a:pt x="392" y="643"/>
                    </a:lnTo>
                    <a:close/>
                    <a:moveTo>
                      <a:pt x="437" y="652"/>
                    </a:moveTo>
                    <a:lnTo>
                      <a:pt x="439" y="652"/>
                    </a:lnTo>
                    <a:lnTo>
                      <a:pt x="439" y="650"/>
                    </a:lnTo>
                    <a:lnTo>
                      <a:pt x="446" y="648"/>
                    </a:lnTo>
                    <a:lnTo>
                      <a:pt x="447" y="647"/>
                    </a:lnTo>
                    <a:lnTo>
                      <a:pt x="442" y="647"/>
                    </a:lnTo>
                    <a:lnTo>
                      <a:pt x="437" y="648"/>
                    </a:lnTo>
                    <a:lnTo>
                      <a:pt x="437" y="652"/>
                    </a:lnTo>
                    <a:lnTo>
                      <a:pt x="437" y="652"/>
                    </a:lnTo>
                    <a:close/>
                    <a:moveTo>
                      <a:pt x="507" y="650"/>
                    </a:moveTo>
                    <a:lnTo>
                      <a:pt x="509" y="652"/>
                    </a:lnTo>
                    <a:lnTo>
                      <a:pt x="512" y="647"/>
                    </a:lnTo>
                    <a:lnTo>
                      <a:pt x="512" y="643"/>
                    </a:lnTo>
                    <a:lnTo>
                      <a:pt x="509" y="645"/>
                    </a:lnTo>
                    <a:lnTo>
                      <a:pt x="507" y="647"/>
                    </a:lnTo>
                    <a:lnTo>
                      <a:pt x="507" y="650"/>
                    </a:lnTo>
                    <a:lnTo>
                      <a:pt x="507" y="650"/>
                    </a:lnTo>
                    <a:close/>
                    <a:moveTo>
                      <a:pt x="497" y="650"/>
                    </a:moveTo>
                    <a:lnTo>
                      <a:pt x="500" y="652"/>
                    </a:lnTo>
                    <a:lnTo>
                      <a:pt x="502" y="648"/>
                    </a:lnTo>
                    <a:lnTo>
                      <a:pt x="500" y="647"/>
                    </a:lnTo>
                    <a:lnTo>
                      <a:pt x="499" y="647"/>
                    </a:lnTo>
                    <a:lnTo>
                      <a:pt x="497" y="650"/>
                    </a:lnTo>
                    <a:lnTo>
                      <a:pt x="497" y="650"/>
                    </a:lnTo>
                    <a:close/>
                    <a:moveTo>
                      <a:pt x="555" y="628"/>
                    </a:moveTo>
                    <a:lnTo>
                      <a:pt x="557" y="628"/>
                    </a:lnTo>
                    <a:lnTo>
                      <a:pt x="560" y="627"/>
                    </a:lnTo>
                    <a:lnTo>
                      <a:pt x="567" y="625"/>
                    </a:lnTo>
                    <a:lnTo>
                      <a:pt x="568" y="623"/>
                    </a:lnTo>
                    <a:lnTo>
                      <a:pt x="564" y="622"/>
                    </a:lnTo>
                    <a:lnTo>
                      <a:pt x="557" y="625"/>
                    </a:lnTo>
                    <a:lnTo>
                      <a:pt x="555" y="628"/>
                    </a:lnTo>
                    <a:lnTo>
                      <a:pt x="555" y="628"/>
                    </a:lnTo>
                    <a:close/>
                    <a:moveTo>
                      <a:pt x="532" y="623"/>
                    </a:moveTo>
                    <a:lnTo>
                      <a:pt x="534" y="627"/>
                    </a:lnTo>
                    <a:lnTo>
                      <a:pt x="537" y="627"/>
                    </a:lnTo>
                    <a:lnTo>
                      <a:pt x="537" y="623"/>
                    </a:lnTo>
                    <a:lnTo>
                      <a:pt x="534" y="622"/>
                    </a:lnTo>
                    <a:lnTo>
                      <a:pt x="532" y="623"/>
                    </a:lnTo>
                    <a:lnTo>
                      <a:pt x="532" y="623"/>
                    </a:lnTo>
                    <a:close/>
                    <a:moveTo>
                      <a:pt x="517" y="623"/>
                    </a:moveTo>
                    <a:lnTo>
                      <a:pt x="520" y="623"/>
                    </a:lnTo>
                    <a:lnTo>
                      <a:pt x="522" y="625"/>
                    </a:lnTo>
                    <a:lnTo>
                      <a:pt x="527" y="627"/>
                    </a:lnTo>
                    <a:lnTo>
                      <a:pt x="525" y="622"/>
                    </a:lnTo>
                    <a:lnTo>
                      <a:pt x="520" y="620"/>
                    </a:lnTo>
                    <a:lnTo>
                      <a:pt x="517" y="623"/>
                    </a:lnTo>
                    <a:lnTo>
                      <a:pt x="517" y="623"/>
                    </a:lnTo>
                    <a:close/>
                    <a:moveTo>
                      <a:pt x="510" y="623"/>
                    </a:moveTo>
                    <a:lnTo>
                      <a:pt x="510" y="625"/>
                    </a:lnTo>
                    <a:lnTo>
                      <a:pt x="514" y="625"/>
                    </a:lnTo>
                    <a:lnTo>
                      <a:pt x="515" y="622"/>
                    </a:lnTo>
                    <a:lnTo>
                      <a:pt x="514" y="622"/>
                    </a:lnTo>
                    <a:lnTo>
                      <a:pt x="510" y="623"/>
                    </a:lnTo>
                    <a:lnTo>
                      <a:pt x="510" y="623"/>
                    </a:lnTo>
                    <a:close/>
                    <a:moveTo>
                      <a:pt x="1027" y="480"/>
                    </a:moveTo>
                    <a:lnTo>
                      <a:pt x="1027" y="485"/>
                    </a:lnTo>
                    <a:lnTo>
                      <a:pt x="1030" y="489"/>
                    </a:lnTo>
                    <a:lnTo>
                      <a:pt x="1030" y="484"/>
                    </a:lnTo>
                    <a:lnTo>
                      <a:pt x="1029" y="480"/>
                    </a:lnTo>
                    <a:lnTo>
                      <a:pt x="1027" y="480"/>
                    </a:lnTo>
                    <a:lnTo>
                      <a:pt x="1027" y="480"/>
                    </a:lnTo>
                    <a:close/>
                    <a:moveTo>
                      <a:pt x="1019" y="467"/>
                    </a:moveTo>
                    <a:lnTo>
                      <a:pt x="1019" y="475"/>
                    </a:lnTo>
                    <a:lnTo>
                      <a:pt x="1020" y="480"/>
                    </a:lnTo>
                    <a:lnTo>
                      <a:pt x="1020" y="487"/>
                    </a:lnTo>
                    <a:lnTo>
                      <a:pt x="1022" y="489"/>
                    </a:lnTo>
                    <a:lnTo>
                      <a:pt x="1024" y="485"/>
                    </a:lnTo>
                    <a:lnTo>
                      <a:pt x="1022" y="472"/>
                    </a:lnTo>
                    <a:lnTo>
                      <a:pt x="1020" y="467"/>
                    </a:lnTo>
                    <a:lnTo>
                      <a:pt x="1019" y="467"/>
                    </a:lnTo>
                    <a:lnTo>
                      <a:pt x="1019" y="467"/>
                    </a:lnTo>
                    <a:close/>
                    <a:moveTo>
                      <a:pt x="1012" y="459"/>
                    </a:moveTo>
                    <a:lnTo>
                      <a:pt x="1014" y="464"/>
                    </a:lnTo>
                    <a:lnTo>
                      <a:pt x="1017" y="466"/>
                    </a:lnTo>
                    <a:lnTo>
                      <a:pt x="1017" y="462"/>
                    </a:lnTo>
                    <a:lnTo>
                      <a:pt x="1014" y="459"/>
                    </a:lnTo>
                    <a:lnTo>
                      <a:pt x="1012" y="459"/>
                    </a:lnTo>
                    <a:lnTo>
                      <a:pt x="1012" y="459"/>
                    </a:lnTo>
                    <a:close/>
                    <a:moveTo>
                      <a:pt x="570" y="592"/>
                    </a:moveTo>
                    <a:lnTo>
                      <a:pt x="572" y="590"/>
                    </a:lnTo>
                    <a:lnTo>
                      <a:pt x="573" y="587"/>
                    </a:lnTo>
                    <a:lnTo>
                      <a:pt x="570" y="585"/>
                    </a:lnTo>
                    <a:lnTo>
                      <a:pt x="570" y="592"/>
                    </a:lnTo>
                    <a:lnTo>
                      <a:pt x="570" y="592"/>
                    </a:lnTo>
                    <a:close/>
                    <a:moveTo>
                      <a:pt x="593" y="608"/>
                    </a:moveTo>
                    <a:lnTo>
                      <a:pt x="593" y="608"/>
                    </a:lnTo>
                    <a:lnTo>
                      <a:pt x="597" y="605"/>
                    </a:lnTo>
                    <a:lnTo>
                      <a:pt x="593" y="607"/>
                    </a:lnTo>
                    <a:lnTo>
                      <a:pt x="593" y="608"/>
                    </a:lnTo>
                    <a:lnTo>
                      <a:pt x="593" y="608"/>
                    </a:lnTo>
                    <a:close/>
                    <a:moveTo>
                      <a:pt x="590" y="602"/>
                    </a:moveTo>
                    <a:lnTo>
                      <a:pt x="588" y="597"/>
                    </a:lnTo>
                    <a:lnTo>
                      <a:pt x="582" y="593"/>
                    </a:lnTo>
                    <a:lnTo>
                      <a:pt x="578" y="590"/>
                    </a:lnTo>
                    <a:lnTo>
                      <a:pt x="577" y="593"/>
                    </a:lnTo>
                    <a:lnTo>
                      <a:pt x="582" y="597"/>
                    </a:lnTo>
                    <a:lnTo>
                      <a:pt x="590" y="602"/>
                    </a:lnTo>
                    <a:lnTo>
                      <a:pt x="590" y="602"/>
                    </a:lnTo>
                    <a:close/>
                    <a:moveTo>
                      <a:pt x="602" y="582"/>
                    </a:moveTo>
                    <a:lnTo>
                      <a:pt x="605" y="577"/>
                    </a:lnTo>
                    <a:lnTo>
                      <a:pt x="603" y="570"/>
                    </a:lnTo>
                    <a:lnTo>
                      <a:pt x="595" y="565"/>
                    </a:lnTo>
                    <a:lnTo>
                      <a:pt x="588" y="559"/>
                    </a:lnTo>
                    <a:lnTo>
                      <a:pt x="583" y="559"/>
                    </a:lnTo>
                    <a:lnTo>
                      <a:pt x="578" y="554"/>
                    </a:lnTo>
                    <a:lnTo>
                      <a:pt x="573" y="552"/>
                    </a:lnTo>
                    <a:lnTo>
                      <a:pt x="572" y="549"/>
                    </a:lnTo>
                    <a:lnTo>
                      <a:pt x="567" y="544"/>
                    </a:lnTo>
                    <a:lnTo>
                      <a:pt x="564" y="544"/>
                    </a:lnTo>
                    <a:lnTo>
                      <a:pt x="560" y="545"/>
                    </a:lnTo>
                    <a:lnTo>
                      <a:pt x="560" y="549"/>
                    </a:lnTo>
                    <a:lnTo>
                      <a:pt x="557" y="550"/>
                    </a:lnTo>
                    <a:lnTo>
                      <a:pt x="560" y="555"/>
                    </a:lnTo>
                    <a:lnTo>
                      <a:pt x="564" y="555"/>
                    </a:lnTo>
                    <a:lnTo>
                      <a:pt x="564" y="557"/>
                    </a:lnTo>
                    <a:lnTo>
                      <a:pt x="560" y="559"/>
                    </a:lnTo>
                    <a:lnTo>
                      <a:pt x="557" y="555"/>
                    </a:lnTo>
                    <a:lnTo>
                      <a:pt x="555" y="555"/>
                    </a:lnTo>
                    <a:lnTo>
                      <a:pt x="557" y="559"/>
                    </a:lnTo>
                    <a:lnTo>
                      <a:pt x="565" y="568"/>
                    </a:lnTo>
                    <a:lnTo>
                      <a:pt x="570" y="570"/>
                    </a:lnTo>
                    <a:lnTo>
                      <a:pt x="573" y="573"/>
                    </a:lnTo>
                    <a:lnTo>
                      <a:pt x="575" y="575"/>
                    </a:lnTo>
                    <a:lnTo>
                      <a:pt x="575" y="570"/>
                    </a:lnTo>
                    <a:lnTo>
                      <a:pt x="580" y="572"/>
                    </a:lnTo>
                    <a:lnTo>
                      <a:pt x="583" y="570"/>
                    </a:lnTo>
                    <a:lnTo>
                      <a:pt x="585" y="572"/>
                    </a:lnTo>
                    <a:lnTo>
                      <a:pt x="587" y="577"/>
                    </a:lnTo>
                    <a:lnTo>
                      <a:pt x="585" y="580"/>
                    </a:lnTo>
                    <a:lnTo>
                      <a:pt x="588" y="582"/>
                    </a:lnTo>
                    <a:lnTo>
                      <a:pt x="595" y="583"/>
                    </a:lnTo>
                    <a:lnTo>
                      <a:pt x="597" y="580"/>
                    </a:lnTo>
                    <a:lnTo>
                      <a:pt x="602" y="582"/>
                    </a:lnTo>
                    <a:lnTo>
                      <a:pt x="602" y="582"/>
                    </a:lnTo>
                    <a:close/>
                    <a:moveTo>
                      <a:pt x="718" y="396"/>
                    </a:moveTo>
                    <a:lnTo>
                      <a:pt x="720" y="396"/>
                    </a:lnTo>
                    <a:lnTo>
                      <a:pt x="718" y="392"/>
                    </a:lnTo>
                    <a:lnTo>
                      <a:pt x="718" y="391"/>
                    </a:lnTo>
                    <a:lnTo>
                      <a:pt x="721" y="391"/>
                    </a:lnTo>
                    <a:lnTo>
                      <a:pt x="723" y="394"/>
                    </a:lnTo>
                    <a:lnTo>
                      <a:pt x="726" y="394"/>
                    </a:lnTo>
                    <a:lnTo>
                      <a:pt x="728" y="394"/>
                    </a:lnTo>
                    <a:lnTo>
                      <a:pt x="731" y="394"/>
                    </a:lnTo>
                    <a:lnTo>
                      <a:pt x="733" y="389"/>
                    </a:lnTo>
                    <a:lnTo>
                      <a:pt x="738" y="386"/>
                    </a:lnTo>
                    <a:lnTo>
                      <a:pt x="743" y="384"/>
                    </a:lnTo>
                    <a:lnTo>
                      <a:pt x="743" y="382"/>
                    </a:lnTo>
                    <a:lnTo>
                      <a:pt x="741" y="377"/>
                    </a:lnTo>
                    <a:lnTo>
                      <a:pt x="735" y="374"/>
                    </a:lnTo>
                    <a:lnTo>
                      <a:pt x="733" y="371"/>
                    </a:lnTo>
                    <a:lnTo>
                      <a:pt x="730" y="368"/>
                    </a:lnTo>
                    <a:lnTo>
                      <a:pt x="726" y="366"/>
                    </a:lnTo>
                    <a:lnTo>
                      <a:pt x="723" y="366"/>
                    </a:lnTo>
                    <a:lnTo>
                      <a:pt x="718" y="371"/>
                    </a:lnTo>
                    <a:lnTo>
                      <a:pt x="715" y="371"/>
                    </a:lnTo>
                    <a:lnTo>
                      <a:pt x="710" y="374"/>
                    </a:lnTo>
                    <a:lnTo>
                      <a:pt x="710" y="377"/>
                    </a:lnTo>
                    <a:lnTo>
                      <a:pt x="713" y="382"/>
                    </a:lnTo>
                    <a:lnTo>
                      <a:pt x="715" y="386"/>
                    </a:lnTo>
                    <a:lnTo>
                      <a:pt x="713" y="392"/>
                    </a:lnTo>
                    <a:lnTo>
                      <a:pt x="718" y="396"/>
                    </a:lnTo>
                    <a:lnTo>
                      <a:pt x="718" y="396"/>
                    </a:lnTo>
                    <a:close/>
                    <a:moveTo>
                      <a:pt x="731" y="580"/>
                    </a:moveTo>
                    <a:lnTo>
                      <a:pt x="731" y="580"/>
                    </a:lnTo>
                    <a:lnTo>
                      <a:pt x="733" y="582"/>
                    </a:lnTo>
                    <a:lnTo>
                      <a:pt x="736" y="582"/>
                    </a:lnTo>
                    <a:lnTo>
                      <a:pt x="740" y="580"/>
                    </a:lnTo>
                    <a:lnTo>
                      <a:pt x="738" y="577"/>
                    </a:lnTo>
                    <a:lnTo>
                      <a:pt x="736" y="573"/>
                    </a:lnTo>
                    <a:lnTo>
                      <a:pt x="733" y="575"/>
                    </a:lnTo>
                    <a:lnTo>
                      <a:pt x="733" y="577"/>
                    </a:lnTo>
                    <a:lnTo>
                      <a:pt x="731" y="580"/>
                    </a:lnTo>
                    <a:lnTo>
                      <a:pt x="731" y="580"/>
                    </a:lnTo>
                    <a:close/>
                    <a:moveTo>
                      <a:pt x="823" y="683"/>
                    </a:moveTo>
                    <a:lnTo>
                      <a:pt x="823" y="685"/>
                    </a:lnTo>
                    <a:lnTo>
                      <a:pt x="826" y="686"/>
                    </a:lnTo>
                    <a:lnTo>
                      <a:pt x="826" y="690"/>
                    </a:lnTo>
                    <a:lnTo>
                      <a:pt x="833" y="691"/>
                    </a:lnTo>
                    <a:lnTo>
                      <a:pt x="838" y="691"/>
                    </a:lnTo>
                    <a:lnTo>
                      <a:pt x="839" y="688"/>
                    </a:lnTo>
                    <a:lnTo>
                      <a:pt x="838" y="685"/>
                    </a:lnTo>
                    <a:lnTo>
                      <a:pt x="833" y="683"/>
                    </a:lnTo>
                    <a:lnTo>
                      <a:pt x="829" y="685"/>
                    </a:lnTo>
                    <a:lnTo>
                      <a:pt x="826" y="683"/>
                    </a:lnTo>
                    <a:lnTo>
                      <a:pt x="823" y="683"/>
                    </a:lnTo>
                    <a:lnTo>
                      <a:pt x="823" y="683"/>
                    </a:lnTo>
                    <a:close/>
                    <a:moveTo>
                      <a:pt x="806" y="392"/>
                    </a:moveTo>
                    <a:lnTo>
                      <a:pt x="806" y="389"/>
                    </a:lnTo>
                    <a:lnTo>
                      <a:pt x="803" y="386"/>
                    </a:lnTo>
                    <a:lnTo>
                      <a:pt x="803" y="382"/>
                    </a:lnTo>
                    <a:lnTo>
                      <a:pt x="806" y="381"/>
                    </a:lnTo>
                    <a:lnTo>
                      <a:pt x="804" y="377"/>
                    </a:lnTo>
                    <a:lnTo>
                      <a:pt x="799" y="377"/>
                    </a:lnTo>
                    <a:lnTo>
                      <a:pt x="796" y="379"/>
                    </a:lnTo>
                    <a:lnTo>
                      <a:pt x="794" y="386"/>
                    </a:lnTo>
                    <a:lnTo>
                      <a:pt x="796" y="389"/>
                    </a:lnTo>
                    <a:lnTo>
                      <a:pt x="799" y="389"/>
                    </a:lnTo>
                    <a:lnTo>
                      <a:pt x="803" y="392"/>
                    </a:lnTo>
                    <a:lnTo>
                      <a:pt x="806" y="392"/>
                    </a:lnTo>
                    <a:lnTo>
                      <a:pt x="806" y="392"/>
                    </a:lnTo>
                    <a:close/>
                    <a:moveTo>
                      <a:pt x="798" y="361"/>
                    </a:moveTo>
                    <a:lnTo>
                      <a:pt x="803" y="358"/>
                    </a:lnTo>
                    <a:lnTo>
                      <a:pt x="806" y="358"/>
                    </a:lnTo>
                    <a:lnTo>
                      <a:pt x="809" y="356"/>
                    </a:lnTo>
                    <a:lnTo>
                      <a:pt x="809" y="353"/>
                    </a:lnTo>
                    <a:lnTo>
                      <a:pt x="809" y="351"/>
                    </a:lnTo>
                    <a:lnTo>
                      <a:pt x="813" y="349"/>
                    </a:lnTo>
                    <a:lnTo>
                      <a:pt x="811" y="348"/>
                    </a:lnTo>
                    <a:lnTo>
                      <a:pt x="808" y="348"/>
                    </a:lnTo>
                    <a:lnTo>
                      <a:pt x="801" y="353"/>
                    </a:lnTo>
                    <a:lnTo>
                      <a:pt x="798" y="358"/>
                    </a:lnTo>
                    <a:lnTo>
                      <a:pt x="798" y="361"/>
                    </a:lnTo>
                    <a:lnTo>
                      <a:pt x="798" y="361"/>
                    </a:lnTo>
                    <a:close/>
                    <a:moveTo>
                      <a:pt x="819" y="366"/>
                    </a:moveTo>
                    <a:lnTo>
                      <a:pt x="824" y="369"/>
                    </a:lnTo>
                    <a:lnTo>
                      <a:pt x="831" y="371"/>
                    </a:lnTo>
                    <a:lnTo>
                      <a:pt x="834" y="371"/>
                    </a:lnTo>
                    <a:lnTo>
                      <a:pt x="834" y="368"/>
                    </a:lnTo>
                    <a:lnTo>
                      <a:pt x="826" y="366"/>
                    </a:lnTo>
                    <a:lnTo>
                      <a:pt x="823" y="364"/>
                    </a:lnTo>
                    <a:lnTo>
                      <a:pt x="819" y="366"/>
                    </a:lnTo>
                    <a:lnTo>
                      <a:pt x="819" y="366"/>
                    </a:lnTo>
                    <a:close/>
                    <a:moveTo>
                      <a:pt x="866" y="397"/>
                    </a:moveTo>
                    <a:lnTo>
                      <a:pt x="866" y="401"/>
                    </a:lnTo>
                    <a:lnTo>
                      <a:pt x="864" y="406"/>
                    </a:lnTo>
                    <a:lnTo>
                      <a:pt x="861" y="407"/>
                    </a:lnTo>
                    <a:lnTo>
                      <a:pt x="859" y="411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9" y="411"/>
                    </a:lnTo>
                    <a:lnTo>
                      <a:pt x="872" y="409"/>
                    </a:lnTo>
                    <a:lnTo>
                      <a:pt x="876" y="404"/>
                    </a:lnTo>
                    <a:lnTo>
                      <a:pt x="879" y="402"/>
                    </a:lnTo>
                    <a:lnTo>
                      <a:pt x="884" y="397"/>
                    </a:lnTo>
                    <a:lnTo>
                      <a:pt x="884" y="394"/>
                    </a:lnTo>
                    <a:lnTo>
                      <a:pt x="881" y="392"/>
                    </a:lnTo>
                    <a:lnTo>
                      <a:pt x="876" y="392"/>
                    </a:lnTo>
                    <a:lnTo>
                      <a:pt x="869" y="394"/>
                    </a:lnTo>
                    <a:lnTo>
                      <a:pt x="866" y="397"/>
                    </a:lnTo>
                    <a:lnTo>
                      <a:pt x="866" y="397"/>
                    </a:lnTo>
                    <a:close/>
                    <a:moveTo>
                      <a:pt x="884" y="358"/>
                    </a:moveTo>
                    <a:lnTo>
                      <a:pt x="879" y="363"/>
                    </a:lnTo>
                    <a:lnTo>
                      <a:pt x="877" y="369"/>
                    </a:lnTo>
                    <a:lnTo>
                      <a:pt x="876" y="374"/>
                    </a:lnTo>
                    <a:lnTo>
                      <a:pt x="876" y="377"/>
                    </a:lnTo>
                    <a:lnTo>
                      <a:pt x="881" y="379"/>
                    </a:lnTo>
                    <a:lnTo>
                      <a:pt x="882" y="381"/>
                    </a:lnTo>
                    <a:lnTo>
                      <a:pt x="887" y="381"/>
                    </a:lnTo>
                    <a:lnTo>
                      <a:pt x="892" y="382"/>
                    </a:lnTo>
                    <a:lnTo>
                      <a:pt x="896" y="382"/>
                    </a:lnTo>
                    <a:lnTo>
                      <a:pt x="896" y="379"/>
                    </a:lnTo>
                    <a:lnTo>
                      <a:pt x="892" y="372"/>
                    </a:lnTo>
                    <a:lnTo>
                      <a:pt x="891" y="366"/>
                    </a:lnTo>
                    <a:lnTo>
                      <a:pt x="886" y="363"/>
                    </a:lnTo>
                    <a:lnTo>
                      <a:pt x="884" y="358"/>
                    </a:lnTo>
                    <a:lnTo>
                      <a:pt x="884" y="358"/>
                    </a:lnTo>
                    <a:close/>
                    <a:moveTo>
                      <a:pt x="912" y="304"/>
                    </a:moveTo>
                    <a:lnTo>
                      <a:pt x="917" y="299"/>
                    </a:lnTo>
                    <a:lnTo>
                      <a:pt x="914" y="298"/>
                    </a:lnTo>
                    <a:lnTo>
                      <a:pt x="911" y="298"/>
                    </a:lnTo>
                    <a:lnTo>
                      <a:pt x="907" y="301"/>
                    </a:lnTo>
                    <a:lnTo>
                      <a:pt x="909" y="304"/>
                    </a:lnTo>
                    <a:lnTo>
                      <a:pt x="912" y="304"/>
                    </a:lnTo>
                    <a:lnTo>
                      <a:pt x="912" y="304"/>
                    </a:lnTo>
                    <a:close/>
                    <a:moveTo>
                      <a:pt x="927" y="301"/>
                    </a:moveTo>
                    <a:lnTo>
                      <a:pt x="931" y="298"/>
                    </a:lnTo>
                    <a:lnTo>
                      <a:pt x="931" y="296"/>
                    </a:lnTo>
                    <a:lnTo>
                      <a:pt x="926" y="294"/>
                    </a:lnTo>
                    <a:lnTo>
                      <a:pt x="924" y="296"/>
                    </a:lnTo>
                    <a:lnTo>
                      <a:pt x="921" y="298"/>
                    </a:lnTo>
                    <a:lnTo>
                      <a:pt x="922" y="299"/>
                    </a:lnTo>
                    <a:lnTo>
                      <a:pt x="927" y="301"/>
                    </a:lnTo>
                    <a:lnTo>
                      <a:pt x="927" y="301"/>
                    </a:lnTo>
                    <a:close/>
                    <a:moveTo>
                      <a:pt x="949" y="304"/>
                    </a:moveTo>
                    <a:lnTo>
                      <a:pt x="951" y="303"/>
                    </a:lnTo>
                    <a:lnTo>
                      <a:pt x="946" y="299"/>
                    </a:lnTo>
                    <a:lnTo>
                      <a:pt x="941" y="303"/>
                    </a:lnTo>
                    <a:lnTo>
                      <a:pt x="942" y="303"/>
                    </a:lnTo>
                    <a:lnTo>
                      <a:pt x="949" y="304"/>
                    </a:lnTo>
                    <a:lnTo>
                      <a:pt x="949" y="304"/>
                    </a:lnTo>
                    <a:close/>
                    <a:moveTo>
                      <a:pt x="984" y="294"/>
                    </a:moveTo>
                    <a:lnTo>
                      <a:pt x="985" y="299"/>
                    </a:lnTo>
                    <a:lnTo>
                      <a:pt x="989" y="301"/>
                    </a:lnTo>
                    <a:lnTo>
                      <a:pt x="990" y="298"/>
                    </a:lnTo>
                    <a:lnTo>
                      <a:pt x="987" y="294"/>
                    </a:lnTo>
                    <a:lnTo>
                      <a:pt x="984" y="294"/>
                    </a:lnTo>
                    <a:lnTo>
                      <a:pt x="984" y="294"/>
                    </a:lnTo>
                    <a:close/>
                    <a:moveTo>
                      <a:pt x="964" y="291"/>
                    </a:moveTo>
                    <a:lnTo>
                      <a:pt x="969" y="291"/>
                    </a:lnTo>
                    <a:lnTo>
                      <a:pt x="970" y="288"/>
                    </a:lnTo>
                    <a:lnTo>
                      <a:pt x="967" y="286"/>
                    </a:lnTo>
                    <a:lnTo>
                      <a:pt x="964" y="286"/>
                    </a:lnTo>
                    <a:lnTo>
                      <a:pt x="964" y="288"/>
                    </a:lnTo>
                    <a:lnTo>
                      <a:pt x="964" y="291"/>
                    </a:lnTo>
                    <a:lnTo>
                      <a:pt x="964" y="291"/>
                    </a:lnTo>
                    <a:close/>
                    <a:moveTo>
                      <a:pt x="947" y="273"/>
                    </a:moveTo>
                    <a:lnTo>
                      <a:pt x="947" y="270"/>
                    </a:lnTo>
                    <a:lnTo>
                      <a:pt x="946" y="270"/>
                    </a:lnTo>
                    <a:lnTo>
                      <a:pt x="939" y="274"/>
                    </a:lnTo>
                    <a:lnTo>
                      <a:pt x="939" y="276"/>
                    </a:lnTo>
                    <a:lnTo>
                      <a:pt x="944" y="278"/>
                    </a:lnTo>
                    <a:lnTo>
                      <a:pt x="946" y="276"/>
                    </a:lnTo>
                    <a:lnTo>
                      <a:pt x="944" y="274"/>
                    </a:lnTo>
                    <a:lnTo>
                      <a:pt x="944" y="274"/>
                    </a:lnTo>
                    <a:lnTo>
                      <a:pt x="947" y="273"/>
                    </a:lnTo>
                    <a:lnTo>
                      <a:pt x="947" y="273"/>
                    </a:lnTo>
                    <a:close/>
                    <a:moveTo>
                      <a:pt x="961" y="270"/>
                    </a:moveTo>
                    <a:lnTo>
                      <a:pt x="959" y="266"/>
                    </a:lnTo>
                    <a:lnTo>
                      <a:pt x="954" y="266"/>
                    </a:lnTo>
                    <a:lnTo>
                      <a:pt x="952" y="268"/>
                    </a:lnTo>
                    <a:lnTo>
                      <a:pt x="954" y="271"/>
                    </a:lnTo>
                    <a:lnTo>
                      <a:pt x="957" y="271"/>
                    </a:lnTo>
                    <a:lnTo>
                      <a:pt x="961" y="271"/>
                    </a:lnTo>
                    <a:lnTo>
                      <a:pt x="961" y="270"/>
                    </a:lnTo>
                    <a:lnTo>
                      <a:pt x="961" y="270"/>
                    </a:lnTo>
                    <a:close/>
                    <a:moveTo>
                      <a:pt x="962" y="271"/>
                    </a:moveTo>
                    <a:lnTo>
                      <a:pt x="964" y="273"/>
                    </a:lnTo>
                    <a:lnTo>
                      <a:pt x="965" y="271"/>
                    </a:lnTo>
                    <a:lnTo>
                      <a:pt x="970" y="268"/>
                    </a:lnTo>
                    <a:lnTo>
                      <a:pt x="970" y="265"/>
                    </a:lnTo>
                    <a:lnTo>
                      <a:pt x="967" y="263"/>
                    </a:lnTo>
                    <a:lnTo>
                      <a:pt x="964" y="263"/>
                    </a:lnTo>
                    <a:lnTo>
                      <a:pt x="962" y="266"/>
                    </a:lnTo>
                    <a:lnTo>
                      <a:pt x="964" y="268"/>
                    </a:lnTo>
                    <a:lnTo>
                      <a:pt x="962" y="271"/>
                    </a:lnTo>
                    <a:lnTo>
                      <a:pt x="962" y="271"/>
                    </a:lnTo>
                    <a:close/>
                    <a:moveTo>
                      <a:pt x="947" y="258"/>
                    </a:moveTo>
                    <a:lnTo>
                      <a:pt x="951" y="255"/>
                    </a:lnTo>
                    <a:lnTo>
                      <a:pt x="951" y="251"/>
                    </a:lnTo>
                    <a:lnTo>
                      <a:pt x="947" y="251"/>
                    </a:lnTo>
                    <a:lnTo>
                      <a:pt x="944" y="253"/>
                    </a:lnTo>
                    <a:lnTo>
                      <a:pt x="939" y="253"/>
                    </a:lnTo>
                    <a:lnTo>
                      <a:pt x="939" y="255"/>
                    </a:lnTo>
                    <a:lnTo>
                      <a:pt x="946" y="256"/>
                    </a:lnTo>
                    <a:lnTo>
                      <a:pt x="947" y="258"/>
                    </a:lnTo>
                    <a:lnTo>
                      <a:pt x="947" y="258"/>
                    </a:lnTo>
                    <a:close/>
                    <a:moveTo>
                      <a:pt x="970" y="248"/>
                    </a:moveTo>
                    <a:lnTo>
                      <a:pt x="972" y="246"/>
                    </a:lnTo>
                    <a:lnTo>
                      <a:pt x="972" y="245"/>
                    </a:lnTo>
                    <a:lnTo>
                      <a:pt x="970" y="243"/>
                    </a:lnTo>
                    <a:lnTo>
                      <a:pt x="974" y="243"/>
                    </a:lnTo>
                    <a:lnTo>
                      <a:pt x="974" y="240"/>
                    </a:lnTo>
                    <a:lnTo>
                      <a:pt x="970" y="238"/>
                    </a:lnTo>
                    <a:lnTo>
                      <a:pt x="965" y="236"/>
                    </a:lnTo>
                    <a:lnTo>
                      <a:pt x="962" y="238"/>
                    </a:lnTo>
                    <a:lnTo>
                      <a:pt x="964" y="241"/>
                    </a:lnTo>
                    <a:lnTo>
                      <a:pt x="962" y="241"/>
                    </a:lnTo>
                    <a:lnTo>
                      <a:pt x="959" y="240"/>
                    </a:lnTo>
                    <a:lnTo>
                      <a:pt x="957" y="240"/>
                    </a:lnTo>
                    <a:lnTo>
                      <a:pt x="959" y="245"/>
                    </a:lnTo>
                    <a:lnTo>
                      <a:pt x="962" y="245"/>
                    </a:lnTo>
                    <a:lnTo>
                      <a:pt x="967" y="246"/>
                    </a:lnTo>
                    <a:lnTo>
                      <a:pt x="970" y="248"/>
                    </a:lnTo>
                    <a:lnTo>
                      <a:pt x="970" y="248"/>
                    </a:lnTo>
                    <a:close/>
                    <a:moveTo>
                      <a:pt x="1072" y="135"/>
                    </a:moveTo>
                    <a:lnTo>
                      <a:pt x="1077" y="135"/>
                    </a:lnTo>
                    <a:lnTo>
                      <a:pt x="1078" y="137"/>
                    </a:lnTo>
                    <a:lnTo>
                      <a:pt x="1083" y="137"/>
                    </a:lnTo>
                    <a:lnTo>
                      <a:pt x="1087" y="137"/>
                    </a:lnTo>
                    <a:lnTo>
                      <a:pt x="1092" y="137"/>
                    </a:lnTo>
                    <a:lnTo>
                      <a:pt x="1095" y="137"/>
                    </a:lnTo>
                    <a:lnTo>
                      <a:pt x="1097" y="133"/>
                    </a:lnTo>
                    <a:lnTo>
                      <a:pt x="1097" y="132"/>
                    </a:lnTo>
                    <a:lnTo>
                      <a:pt x="1095" y="132"/>
                    </a:lnTo>
                    <a:lnTo>
                      <a:pt x="1097" y="128"/>
                    </a:lnTo>
                    <a:lnTo>
                      <a:pt x="1095" y="125"/>
                    </a:lnTo>
                    <a:lnTo>
                      <a:pt x="1090" y="125"/>
                    </a:lnTo>
                    <a:lnTo>
                      <a:pt x="1088" y="127"/>
                    </a:lnTo>
                    <a:lnTo>
                      <a:pt x="1088" y="130"/>
                    </a:lnTo>
                    <a:lnTo>
                      <a:pt x="1087" y="130"/>
                    </a:lnTo>
                    <a:lnTo>
                      <a:pt x="1085" y="130"/>
                    </a:lnTo>
                    <a:lnTo>
                      <a:pt x="1083" y="128"/>
                    </a:lnTo>
                    <a:lnTo>
                      <a:pt x="1082" y="128"/>
                    </a:lnTo>
                    <a:lnTo>
                      <a:pt x="1080" y="130"/>
                    </a:lnTo>
                    <a:lnTo>
                      <a:pt x="1077" y="132"/>
                    </a:lnTo>
                    <a:lnTo>
                      <a:pt x="1073" y="132"/>
                    </a:lnTo>
                    <a:lnTo>
                      <a:pt x="1072" y="133"/>
                    </a:lnTo>
                    <a:lnTo>
                      <a:pt x="1072" y="135"/>
                    </a:lnTo>
                    <a:lnTo>
                      <a:pt x="1072" y="135"/>
                    </a:lnTo>
                    <a:close/>
                    <a:moveTo>
                      <a:pt x="1218" y="7"/>
                    </a:moveTo>
                    <a:lnTo>
                      <a:pt x="1218" y="10"/>
                    </a:lnTo>
                    <a:lnTo>
                      <a:pt x="1223" y="15"/>
                    </a:lnTo>
                    <a:lnTo>
                      <a:pt x="1221" y="17"/>
                    </a:lnTo>
                    <a:lnTo>
                      <a:pt x="1221" y="20"/>
                    </a:lnTo>
                    <a:lnTo>
                      <a:pt x="1226" y="19"/>
                    </a:lnTo>
                    <a:lnTo>
                      <a:pt x="1228" y="14"/>
                    </a:lnTo>
                    <a:lnTo>
                      <a:pt x="1225" y="7"/>
                    </a:lnTo>
                    <a:lnTo>
                      <a:pt x="1220" y="7"/>
                    </a:lnTo>
                    <a:lnTo>
                      <a:pt x="1218" y="7"/>
                    </a:lnTo>
                    <a:lnTo>
                      <a:pt x="1218" y="7"/>
                    </a:lnTo>
                    <a:close/>
                    <a:moveTo>
                      <a:pt x="1670" y="140"/>
                    </a:moveTo>
                    <a:lnTo>
                      <a:pt x="1671" y="138"/>
                    </a:lnTo>
                    <a:lnTo>
                      <a:pt x="1673" y="133"/>
                    </a:lnTo>
                    <a:lnTo>
                      <a:pt x="1671" y="130"/>
                    </a:lnTo>
                    <a:lnTo>
                      <a:pt x="1666" y="133"/>
                    </a:lnTo>
                    <a:lnTo>
                      <a:pt x="1665" y="135"/>
                    </a:lnTo>
                    <a:lnTo>
                      <a:pt x="1665" y="138"/>
                    </a:lnTo>
                    <a:lnTo>
                      <a:pt x="1668" y="138"/>
                    </a:lnTo>
                    <a:lnTo>
                      <a:pt x="1670" y="140"/>
                    </a:lnTo>
                    <a:lnTo>
                      <a:pt x="1670" y="140"/>
                    </a:lnTo>
                    <a:close/>
                    <a:moveTo>
                      <a:pt x="1608" y="201"/>
                    </a:moveTo>
                    <a:lnTo>
                      <a:pt x="1615" y="201"/>
                    </a:lnTo>
                    <a:lnTo>
                      <a:pt x="1617" y="200"/>
                    </a:lnTo>
                    <a:lnTo>
                      <a:pt x="1620" y="200"/>
                    </a:lnTo>
                    <a:lnTo>
                      <a:pt x="1620" y="198"/>
                    </a:lnTo>
                    <a:lnTo>
                      <a:pt x="1617" y="195"/>
                    </a:lnTo>
                    <a:lnTo>
                      <a:pt x="1612" y="191"/>
                    </a:lnTo>
                    <a:lnTo>
                      <a:pt x="1608" y="191"/>
                    </a:lnTo>
                    <a:lnTo>
                      <a:pt x="1605" y="193"/>
                    </a:lnTo>
                    <a:lnTo>
                      <a:pt x="1605" y="195"/>
                    </a:lnTo>
                    <a:lnTo>
                      <a:pt x="1608" y="198"/>
                    </a:lnTo>
                    <a:lnTo>
                      <a:pt x="1608" y="198"/>
                    </a:lnTo>
                    <a:lnTo>
                      <a:pt x="1608" y="201"/>
                    </a:lnTo>
                    <a:lnTo>
                      <a:pt x="1608" y="201"/>
                    </a:lnTo>
                    <a:close/>
                    <a:moveTo>
                      <a:pt x="1441" y="173"/>
                    </a:moveTo>
                    <a:lnTo>
                      <a:pt x="1446" y="175"/>
                    </a:lnTo>
                    <a:lnTo>
                      <a:pt x="1449" y="176"/>
                    </a:lnTo>
                    <a:lnTo>
                      <a:pt x="1452" y="175"/>
                    </a:lnTo>
                    <a:lnTo>
                      <a:pt x="1454" y="172"/>
                    </a:lnTo>
                    <a:lnTo>
                      <a:pt x="1456" y="168"/>
                    </a:lnTo>
                    <a:lnTo>
                      <a:pt x="1456" y="167"/>
                    </a:lnTo>
                    <a:lnTo>
                      <a:pt x="1454" y="163"/>
                    </a:lnTo>
                    <a:lnTo>
                      <a:pt x="1452" y="157"/>
                    </a:lnTo>
                    <a:lnTo>
                      <a:pt x="1451" y="153"/>
                    </a:lnTo>
                    <a:lnTo>
                      <a:pt x="1447" y="148"/>
                    </a:lnTo>
                    <a:lnTo>
                      <a:pt x="1447" y="147"/>
                    </a:lnTo>
                    <a:lnTo>
                      <a:pt x="1444" y="145"/>
                    </a:lnTo>
                    <a:lnTo>
                      <a:pt x="1436" y="148"/>
                    </a:lnTo>
                    <a:lnTo>
                      <a:pt x="1426" y="153"/>
                    </a:lnTo>
                    <a:lnTo>
                      <a:pt x="1422" y="153"/>
                    </a:lnTo>
                    <a:lnTo>
                      <a:pt x="1421" y="155"/>
                    </a:lnTo>
                    <a:lnTo>
                      <a:pt x="1422" y="160"/>
                    </a:lnTo>
                    <a:lnTo>
                      <a:pt x="1426" y="162"/>
                    </a:lnTo>
                    <a:lnTo>
                      <a:pt x="1427" y="165"/>
                    </a:lnTo>
                    <a:lnTo>
                      <a:pt x="1426" y="167"/>
                    </a:lnTo>
                    <a:lnTo>
                      <a:pt x="1421" y="167"/>
                    </a:lnTo>
                    <a:lnTo>
                      <a:pt x="1419" y="168"/>
                    </a:lnTo>
                    <a:lnTo>
                      <a:pt x="1422" y="172"/>
                    </a:lnTo>
                    <a:lnTo>
                      <a:pt x="1429" y="172"/>
                    </a:lnTo>
                    <a:lnTo>
                      <a:pt x="1441" y="173"/>
                    </a:lnTo>
                    <a:lnTo>
                      <a:pt x="1441" y="173"/>
                    </a:lnTo>
                    <a:close/>
                    <a:moveTo>
                      <a:pt x="1987" y="190"/>
                    </a:moveTo>
                    <a:lnTo>
                      <a:pt x="1990" y="195"/>
                    </a:lnTo>
                    <a:lnTo>
                      <a:pt x="1995" y="196"/>
                    </a:lnTo>
                    <a:lnTo>
                      <a:pt x="1995" y="195"/>
                    </a:lnTo>
                    <a:lnTo>
                      <a:pt x="2002" y="193"/>
                    </a:lnTo>
                    <a:lnTo>
                      <a:pt x="2004" y="191"/>
                    </a:lnTo>
                    <a:lnTo>
                      <a:pt x="2002" y="188"/>
                    </a:lnTo>
                    <a:lnTo>
                      <a:pt x="2000" y="183"/>
                    </a:lnTo>
                    <a:lnTo>
                      <a:pt x="1997" y="183"/>
                    </a:lnTo>
                    <a:lnTo>
                      <a:pt x="1997" y="186"/>
                    </a:lnTo>
                    <a:lnTo>
                      <a:pt x="1992" y="190"/>
                    </a:lnTo>
                    <a:lnTo>
                      <a:pt x="1992" y="190"/>
                    </a:lnTo>
                    <a:lnTo>
                      <a:pt x="1987" y="190"/>
                    </a:lnTo>
                    <a:lnTo>
                      <a:pt x="1987" y="190"/>
                    </a:lnTo>
                    <a:close/>
                    <a:moveTo>
                      <a:pt x="2527" y="152"/>
                    </a:moveTo>
                    <a:lnTo>
                      <a:pt x="2530" y="152"/>
                    </a:lnTo>
                    <a:lnTo>
                      <a:pt x="2530" y="148"/>
                    </a:lnTo>
                    <a:lnTo>
                      <a:pt x="2529" y="145"/>
                    </a:lnTo>
                    <a:lnTo>
                      <a:pt x="2527" y="145"/>
                    </a:lnTo>
                    <a:lnTo>
                      <a:pt x="2525" y="147"/>
                    </a:lnTo>
                    <a:lnTo>
                      <a:pt x="2527" y="152"/>
                    </a:lnTo>
                    <a:lnTo>
                      <a:pt x="2527" y="152"/>
                    </a:lnTo>
                    <a:close/>
                    <a:moveTo>
                      <a:pt x="2524" y="157"/>
                    </a:moveTo>
                    <a:lnTo>
                      <a:pt x="2527" y="157"/>
                    </a:lnTo>
                    <a:lnTo>
                      <a:pt x="2527" y="153"/>
                    </a:lnTo>
                    <a:lnTo>
                      <a:pt x="2524" y="150"/>
                    </a:lnTo>
                    <a:lnTo>
                      <a:pt x="2520" y="150"/>
                    </a:lnTo>
                    <a:lnTo>
                      <a:pt x="2520" y="152"/>
                    </a:lnTo>
                    <a:lnTo>
                      <a:pt x="2524" y="157"/>
                    </a:lnTo>
                    <a:lnTo>
                      <a:pt x="2524" y="157"/>
                    </a:lnTo>
                    <a:close/>
                    <a:moveTo>
                      <a:pt x="2520" y="158"/>
                    </a:moveTo>
                    <a:lnTo>
                      <a:pt x="2524" y="163"/>
                    </a:lnTo>
                    <a:lnTo>
                      <a:pt x="2527" y="167"/>
                    </a:lnTo>
                    <a:lnTo>
                      <a:pt x="2527" y="165"/>
                    </a:lnTo>
                    <a:lnTo>
                      <a:pt x="2525" y="160"/>
                    </a:lnTo>
                    <a:lnTo>
                      <a:pt x="2522" y="157"/>
                    </a:lnTo>
                    <a:lnTo>
                      <a:pt x="2520" y="157"/>
                    </a:lnTo>
                    <a:lnTo>
                      <a:pt x="2520" y="158"/>
                    </a:lnTo>
                    <a:lnTo>
                      <a:pt x="2520" y="158"/>
                    </a:lnTo>
                    <a:close/>
                    <a:moveTo>
                      <a:pt x="2507" y="155"/>
                    </a:moveTo>
                    <a:lnTo>
                      <a:pt x="2510" y="160"/>
                    </a:lnTo>
                    <a:lnTo>
                      <a:pt x="2514" y="162"/>
                    </a:lnTo>
                    <a:lnTo>
                      <a:pt x="2515" y="160"/>
                    </a:lnTo>
                    <a:lnTo>
                      <a:pt x="2517" y="158"/>
                    </a:lnTo>
                    <a:lnTo>
                      <a:pt x="2515" y="155"/>
                    </a:lnTo>
                    <a:lnTo>
                      <a:pt x="2512" y="153"/>
                    </a:lnTo>
                    <a:lnTo>
                      <a:pt x="2512" y="155"/>
                    </a:lnTo>
                    <a:lnTo>
                      <a:pt x="2507" y="155"/>
                    </a:lnTo>
                    <a:lnTo>
                      <a:pt x="2507" y="155"/>
                    </a:lnTo>
                    <a:close/>
                    <a:moveTo>
                      <a:pt x="2643" y="105"/>
                    </a:moveTo>
                    <a:lnTo>
                      <a:pt x="2648" y="108"/>
                    </a:lnTo>
                    <a:lnTo>
                      <a:pt x="2653" y="107"/>
                    </a:lnTo>
                    <a:lnTo>
                      <a:pt x="2656" y="102"/>
                    </a:lnTo>
                    <a:lnTo>
                      <a:pt x="2655" y="97"/>
                    </a:lnTo>
                    <a:lnTo>
                      <a:pt x="2651" y="93"/>
                    </a:lnTo>
                    <a:lnTo>
                      <a:pt x="2653" y="92"/>
                    </a:lnTo>
                    <a:lnTo>
                      <a:pt x="2651" y="88"/>
                    </a:lnTo>
                    <a:lnTo>
                      <a:pt x="2647" y="85"/>
                    </a:lnTo>
                    <a:lnTo>
                      <a:pt x="2645" y="87"/>
                    </a:lnTo>
                    <a:lnTo>
                      <a:pt x="2642" y="87"/>
                    </a:lnTo>
                    <a:lnTo>
                      <a:pt x="2637" y="83"/>
                    </a:lnTo>
                    <a:lnTo>
                      <a:pt x="2632" y="83"/>
                    </a:lnTo>
                    <a:lnTo>
                      <a:pt x="2632" y="85"/>
                    </a:lnTo>
                    <a:lnTo>
                      <a:pt x="2628" y="87"/>
                    </a:lnTo>
                    <a:lnTo>
                      <a:pt x="2628" y="88"/>
                    </a:lnTo>
                    <a:lnTo>
                      <a:pt x="2625" y="88"/>
                    </a:lnTo>
                    <a:lnTo>
                      <a:pt x="2623" y="92"/>
                    </a:lnTo>
                    <a:lnTo>
                      <a:pt x="2623" y="100"/>
                    </a:lnTo>
                    <a:lnTo>
                      <a:pt x="2627" y="100"/>
                    </a:lnTo>
                    <a:lnTo>
                      <a:pt x="2630" y="100"/>
                    </a:lnTo>
                    <a:lnTo>
                      <a:pt x="2637" y="102"/>
                    </a:lnTo>
                    <a:lnTo>
                      <a:pt x="2643" y="105"/>
                    </a:lnTo>
                    <a:lnTo>
                      <a:pt x="2643" y="105"/>
                    </a:lnTo>
                    <a:close/>
                    <a:moveTo>
                      <a:pt x="2673" y="95"/>
                    </a:moveTo>
                    <a:lnTo>
                      <a:pt x="2675" y="92"/>
                    </a:lnTo>
                    <a:lnTo>
                      <a:pt x="2676" y="90"/>
                    </a:lnTo>
                    <a:lnTo>
                      <a:pt x="2671" y="90"/>
                    </a:lnTo>
                    <a:lnTo>
                      <a:pt x="2670" y="92"/>
                    </a:lnTo>
                    <a:lnTo>
                      <a:pt x="2673" y="95"/>
                    </a:lnTo>
                    <a:lnTo>
                      <a:pt x="2673" y="95"/>
                    </a:lnTo>
                    <a:close/>
                    <a:moveTo>
                      <a:pt x="2706" y="1269"/>
                    </a:moveTo>
                    <a:lnTo>
                      <a:pt x="2705" y="1264"/>
                    </a:lnTo>
                    <a:lnTo>
                      <a:pt x="2706" y="1259"/>
                    </a:lnTo>
                    <a:lnTo>
                      <a:pt x="2705" y="1256"/>
                    </a:lnTo>
                    <a:lnTo>
                      <a:pt x="2703" y="1251"/>
                    </a:lnTo>
                    <a:lnTo>
                      <a:pt x="2703" y="1245"/>
                    </a:lnTo>
                    <a:lnTo>
                      <a:pt x="2708" y="1240"/>
                    </a:lnTo>
                    <a:lnTo>
                      <a:pt x="2710" y="1241"/>
                    </a:lnTo>
                    <a:lnTo>
                      <a:pt x="2710" y="1245"/>
                    </a:lnTo>
                    <a:lnTo>
                      <a:pt x="2713" y="1246"/>
                    </a:lnTo>
                    <a:lnTo>
                      <a:pt x="2723" y="1245"/>
                    </a:lnTo>
                    <a:lnTo>
                      <a:pt x="2723" y="1243"/>
                    </a:lnTo>
                    <a:lnTo>
                      <a:pt x="2726" y="1243"/>
                    </a:lnTo>
                    <a:lnTo>
                      <a:pt x="2728" y="1245"/>
                    </a:lnTo>
                    <a:lnTo>
                      <a:pt x="2726" y="1246"/>
                    </a:lnTo>
                    <a:lnTo>
                      <a:pt x="2726" y="1250"/>
                    </a:lnTo>
                    <a:lnTo>
                      <a:pt x="2731" y="1255"/>
                    </a:lnTo>
                    <a:lnTo>
                      <a:pt x="2731" y="1259"/>
                    </a:lnTo>
                    <a:lnTo>
                      <a:pt x="2735" y="1261"/>
                    </a:lnTo>
                    <a:lnTo>
                      <a:pt x="2735" y="1258"/>
                    </a:lnTo>
                    <a:lnTo>
                      <a:pt x="2735" y="1256"/>
                    </a:lnTo>
                    <a:lnTo>
                      <a:pt x="2735" y="1251"/>
                    </a:lnTo>
                    <a:lnTo>
                      <a:pt x="2735" y="1246"/>
                    </a:lnTo>
                    <a:lnTo>
                      <a:pt x="2730" y="1243"/>
                    </a:lnTo>
                    <a:lnTo>
                      <a:pt x="2728" y="1238"/>
                    </a:lnTo>
                    <a:lnTo>
                      <a:pt x="2726" y="1233"/>
                    </a:lnTo>
                    <a:lnTo>
                      <a:pt x="2723" y="1235"/>
                    </a:lnTo>
                    <a:lnTo>
                      <a:pt x="2720" y="1235"/>
                    </a:lnTo>
                    <a:lnTo>
                      <a:pt x="2713" y="1231"/>
                    </a:lnTo>
                    <a:lnTo>
                      <a:pt x="2713" y="1225"/>
                    </a:lnTo>
                    <a:lnTo>
                      <a:pt x="2710" y="1220"/>
                    </a:lnTo>
                    <a:lnTo>
                      <a:pt x="2703" y="1215"/>
                    </a:lnTo>
                    <a:lnTo>
                      <a:pt x="2700" y="1215"/>
                    </a:lnTo>
                    <a:lnTo>
                      <a:pt x="2696" y="1210"/>
                    </a:lnTo>
                    <a:lnTo>
                      <a:pt x="2693" y="1203"/>
                    </a:lnTo>
                    <a:lnTo>
                      <a:pt x="2690" y="1196"/>
                    </a:lnTo>
                    <a:lnTo>
                      <a:pt x="2688" y="1191"/>
                    </a:lnTo>
                    <a:lnTo>
                      <a:pt x="2688" y="1185"/>
                    </a:lnTo>
                    <a:lnTo>
                      <a:pt x="2688" y="1176"/>
                    </a:lnTo>
                    <a:lnTo>
                      <a:pt x="2685" y="1171"/>
                    </a:lnTo>
                    <a:lnTo>
                      <a:pt x="2686" y="1163"/>
                    </a:lnTo>
                    <a:lnTo>
                      <a:pt x="2685" y="1160"/>
                    </a:lnTo>
                    <a:lnTo>
                      <a:pt x="2681" y="1155"/>
                    </a:lnTo>
                    <a:lnTo>
                      <a:pt x="2685" y="1152"/>
                    </a:lnTo>
                    <a:lnTo>
                      <a:pt x="2685" y="1148"/>
                    </a:lnTo>
                    <a:lnTo>
                      <a:pt x="2685" y="1145"/>
                    </a:lnTo>
                    <a:lnTo>
                      <a:pt x="2688" y="1145"/>
                    </a:lnTo>
                    <a:lnTo>
                      <a:pt x="2690" y="1145"/>
                    </a:lnTo>
                    <a:lnTo>
                      <a:pt x="2696" y="1145"/>
                    </a:lnTo>
                    <a:lnTo>
                      <a:pt x="2701" y="1145"/>
                    </a:lnTo>
                    <a:lnTo>
                      <a:pt x="2706" y="1148"/>
                    </a:lnTo>
                    <a:lnTo>
                      <a:pt x="2710" y="1155"/>
                    </a:lnTo>
                    <a:lnTo>
                      <a:pt x="2715" y="1157"/>
                    </a:lnTo>
                    <a:lnTo>
                      <a:pt x="2720" y="1158"/>
                    </a:lnTo>
                    <a:lnTo>
                      <a:pt x="2725" y="1165"/>
                    </a:lnTo>
                    <a:lnTo>
                      <a:pt x="2726" y="1166"/>
                    </a:lnTo>
                    <a:lnTo>
                      <a:pt x="2725" y="1160"/>
                    </a:lnTo>
                    <a:lnTo>
                      <a:pt x="2720" y="1155"/>
                    </a:lnTo>
                    <a:lnTo>
                      <a:pt x="2713" y="1150"/>
                    </a:lnTo>
                    <a:lnTo>
                      <a:pt x="2708" y="1145"/>
                    </a:lnTo>
                    <a:lnTo>
                      <a:pt x="2705" y="1138"/>
                    </a:lnTo>
                    <a:lnTo>
                      <a:pt x="2705" y="1137"/>
                    </a:lnTo>
                    <a:lnTo>
                      <a:pt x="2701" y="1133"/>
                    </a:lnTo>
                    <a:lnTo>
                      <a:pt x="2696" y="1127"/>
                    </a:lnTo>
                    <a:lnTo>
                      <a:pt x="2695" y="1122"/>
                    </a:lnTo>
                    <a:lnTo>
                      <a:pt x="2691" y="1120"/>
                    </a:lnTo>
                    <a:lnTo>
                      <a:pt x="2691" y="1115"/>
                    </a:lnTo>
                    <a:lnTo>
                      <a:pt x="2683" y="1108"/>
                    </a:lnTo>
                    <a:lnTo>
                      <a:pt x="2676" y="1097"/>
                    </a:lnTo>
                    <a:lnTo>
                      <a:pt x="2675" y="1092"/>
                    </a:lnTo>
                    <a:lnTo>
                      <a:pt x="2666" y="1082"/>
                    </a:lnTo>
                    <a:lnTo>
                      <a:pt x="2663" y="1073"/>
                    </a:lnTo>
                    <a:lnTo>
                      <a:pt x="2660" y="1072"/>
                    </a:lnTo>
                    <a:lnTo>
                      <a:pt x="2660" y="1067"/>
                    </a:lnTo>
                    <a:lnTo>
                      <a:pt x="2656" y="1063"/>
                    </a:lnTo>
                    <a:lnTo>
                      <a:pt x="2653" y="1062"/>
                    </a:lnTo>
                    <a:lnTo>
                      <a:pt x="2653" y="1063"/>
                    </a:lnTo>
                    <a:lnTo>
                      <a:pt x="2650" y="1063"/>
                    </a:lnTo>
                    <a:lnTo>
                      <a:pt x="2648" y="1062"/>
                    </a:lnTo>
                    <a:lnTo>
                      <a:pt x="2650" y="1059"/>
                    </a:lnTo>
                    <a:lnTo>
                      <a:pt x="2648" y="1055"/>
                    </a:lnTo>
                    <a:lnTo>
                      <a:pt x="2645" y="1052"/>
                    </a:lnTo>
                    <a:lnTo>
                      <a:pt x="2640" y="1047"/>
                    </a:lnTo>
                    <a:lnTo>
                      <a:pt x="2637" y="1042"/>
                    </a:lnTo>
                    <a:lnTo>
                      <a:pt x="2635" y="1039"/>
                    </a:lnTo>
                    <a:lnTo>
                      <a:pt x="2635" y="1034"/>
                    </a:lnTo>
                    <a:lnTo>
                      <a:pt x="2635" y="1030"/>
                    </a:lnTo>
                    <a:lnTo>
                      <a:pt x="2637" y="1030"/>
                    </a:lnTo>
                    <a:lnTo>
                      <a:pt x="2635" y="1024"/>
                    </a:lnTo>
                    <a:lnTo>
                      <a:pt x="2635" y="1017"/>
                    </a:lnTo>
                    <a:lnTo>
                      <a:pt x="2633" y="1012"/>
                    </a:lnTo>
                    <a:lnTo>
                      <a:pt x="2628" y="1010"/>
                    </a:lnTo>
                    <a:lnTo>
                      <a:pt x="2623" y="1005"/>
                    </a:lnTo>
                    <a:lnTo>
                      <a:pt x="2623" y="1002"/>
                    </a:lnTo>
                    <a:lnTo>
                      <a:pt x="2620" y="1000"/>
                    </a:lnTo>
                    <a:lnTo>
                      <a:pt x="2620" y="999"/>
                    </a:lnTo>
                    <a:lnTo>
                      <a:pt x="2622" y="997"/>
                    </a:lnTo>
                    <a:lnTo>
                      <a:pt x="2627" y="1002"/>
                    </a:lnTo>
                    <a:lnTo>
                      <a:pt x="2632" y="1007"/>
                    </a:lnTo>
                    <a:lnTo>
                      <a:pt x="2628" y="1002"/>
                    </a:lnTo>
                    <a:lnTo>
                      <a:pt x="2623" y="995"/>
                    </a:lnTo>
                    <a:lnTo>
                      <a:pt x="2618" y="989"/>
                    </a:lnTo>
                    <a:lnTo>
                      <a:pt x="2615" y="989"/>
                    </a:lnTo>
                    <a:lnTo>
                      <a:pt x="2615" y="985"/>
                    </a:lnTo>
                    <a:lnTo>
                      <a:pt x="2605" y="979"/>
                    </a:lnTo>
                    <a:lnTo>
                      <a:pt x="2602" y="974"/>
                    </a:lnTo>
                    <a:lnTo>
                      <a:pt x="2602" y="965"/>
                    </a:lnTo>
                    <a:lnTo>
                      <a:pt x="2598" y="964"/>
                    </a:lnTo>
                    <a:lnTo>
                      <a:pt x="2592" y="961"/>
                    </a:lnTo>
                    <a:lnTo>
                      <a:pt x="2588" y="956"/>
                    </a:lnTo>
                    <a:lnTo>
                      <a:pt x="2587" y="952"/>
                    </a:lnTo>
                    <a:lnTo>
                      <a:pt x="2585" y="956"/>
                    </a:lnTo>
                    <a:lnTo>
                      <a:pt x="2587" y="957"/>
                    </a:lnTo>
                    <a:lnTo>
                      <a:pt x="2587" y="961"/>
                    </a:lnTo>
                    <a:lnTo>
                      <a:pt x="2583" y="961"/>
                    </a:lnTo>
                    <a:lnTo>
                      <a:pt x="2580" y="959"/>
                    </a:lnTo>
                    <a:lnTo>
                      <a:pt x="2577" y="959"/>
                    </a:lnTo>
                    <a:lnTo>
                      <a:pt x="2582" y="965"/>
                    </a:lnTo>
                    <a:lnTo>
                      <a:pt x="2590" y="969"/>
                    </a:lnTo>
                    <a:lnTo>
                      <a:pt x="2593" y="974"/>
                    </a:lnTo>
                    <a:lnTo>
                      <a:pt x="2593" y="977"/>
                    </a:lnTo>
                    <a:lnTo>
                      <a:pt x="2595" y="975"/>
                    </a:lnTo>
                    <a:lnTo>
                      <a:pt x="2598" y="975"/>
                    </a:lnTo>
                    <a:lnTo>
                      <a:pt x="2598" y="979"/>
                    </a:lnTo>
                    <a:lnTo>
                      <a:pt x="2597" y="980"/>
                    </a:lnTo>
                    <a:lnTo>
                      <a:pt x="2593" y="982"/>
                    </a:lnTo>
                    <a:lnTo>
                      <a:pt x="2595" y="985"/>
                    </a:lnTo>
                    <a:lnTo>
                      <a:pt x="2598" y="985"/>
                    </a:lnTo>
                    <a:lnTo>
                      <a:pt x="2600" y="989"/>
                    </a:lnTo>
                    <a:lnTo>
                      <a:pt x="2595" y="992"/>
                    </a:lnTo>
                    <a:lnTo>
                      <a:pt x="2592" y="990"/>
                    </a:lnTo>
                    <a:lnTo>
                      <a:pt x="2588" y="987"/>
                    </a:lnTo>
                    <a:lnTo>
                      <a:pt x="2585" y="990"/>
                    </a:lnTo>
                    <a:lnTo>
                      <a:pt x="2583" y="995"/>
                    </a:lnTo>
                    <a:lnTo>
                      <a:pt x="2587" y="1000"/>
                    </a:lnTo>
                    <a:lnTo>
                      <a:pt x="2588" y="1005"/>
                    </a:lnTo>
                    <a:lnTo>
                      <a:pt x="2593" y="1010"/>
                    </a:lnTo>
                    <a:lnTo>
                      <a:pt x="2598" y="1017"/>
                    </a:lnTo>
                    <a:lnTo>
                      <a:pt x="2598" y="1027"/>
                    </a:lnTo>
                    <a:lnTo>
                      <a:pt x="2600" y="1029"/>
                    </a:lnTo>
                    <a:lnTo>
                      <a:pt x="2602" y="1035"/>
                    </a:lnTo>
                    <a:lnTo>
                      <a:pt x="2605" y="1047"/>
                    </a:lnTo>
                    <a:lnTo>
                      <a:pt x="2608" y="1054"/>
                    </a:lnTo>
                    <a:lnTo>
                      <a:pt x="2613" y="1055"/>
                    </a:lnTo>
                    <a:lnTo>
                      <a:pt x="2613" y="1059"/>
                    </a:lnTo>
                    <a:lnTo>
                      <a:pt x="2612" y="1059"/>
                    </a:lnTo>
                    <a:lnTo>
                      <a:pt x="2623" y="1070"/>
                    </a:lnTo>
                    <a:lnTo>
                      <a:pt x="2628" y="1072"/>
                    </a:lnTo>
                    <a:lnTo>
                      <a:pt x="2633" y="1078"/>
                    </a:lnTo>
                    <a:lnTo>
                      <a:pt x="2635" y="1085"/>
                    </a:lnTo>
                    <a:lnTo>
                      <a:pt x="2635" y="1092"/>
                    </a:lnTo>
                    <a:lnTo>
                      <a:pt x="2638" y="1097"/>
                    </a:lnTo>
                    <a:lnTo>
                      <a:pt x="2638" y="1102"/>
                    </a:lnTo>
                    <a:lnTo>
                      <a:pt x="2642" y="1105"/>
                    </a:lnTo>
                    <a:lnTo>
                      <a:pt x="2647" y="1108"/>
                    </a:lnTo>
                    <a:lnTo>
                      <a:pt x="2645" y="1110"/>
                    </a:lnTo>
                    <a:lnTo>
                      <a:pt x="2647" y="1113"/>
                    </a:lnTo>
                    <a:lnTo>
                      <a:pt x="2651" y="1122"/>
                    </a:lnTo>
                    <a:lnTo>
                      <a:pt x="2653" y="1127"/>
                    </a:lnTo>
                    <a:lnTo>
                      <a:pt x="2655" y="1132"/>
                    </a:lnTo>
                    <a:lnTo>
                      <a:pt x="2655" y="1140"/>
                    </a:lnTo>
                    <a:lnTo>
                      <a:pt x="2658" y="1143"/>
                    </a:lnTo>
                    <a:lnTo>
                      <a:pt x="2656" y="1147"/>
                    </a:lnTo>
                    <a:lnTo>
                      <a:pt x="2658" y="1155"/>
                    </a:lnTo>
                    <a:lnTo>
                      <a:pt x="2661" y="1163"/>
                    </a:lnTo>
                    <a:lnTo>
                      <a:pt x="2660" y="1166"/>
                    </a:lnTo>
                    <a:lnTo>
                      <a:pt x="2661" y="1171"/>
                    </a:lnTo>
                    <a:lnTo>
                      <a:pt x="2666" y="1176"/>
                    </a:lnTo>
                    <a:lnTo>
                      <a:pt x="2675" y="1186"/>
                    </a:lnTo>
                    <a:lnTo>
                      <a:pt x="2675" y="1190"/>
                    </a:lnTo>
                    <a:lnTo>
                      <a:pt x="2678" y="1196"/>
                    </a:lnTo>
                    <a:lnTo>
                      <a:pt x="2678" y="1205"/>
                    </a:lnTo>
                    <a:lnTo>
                      <a:pt x="2678" y="1213"/>
                    </a:lnTo>
                    <a:lnTo>
                      <a:pt x="2683" y="1220"/>
                    </a:lnTo>
                    <a:lnTo>
                      <a:pt x="2685" y="1225"/>
                    </a:lnTo>
                    <a:lnTo>
                      <a:pt x="2690" y="1231"/>
                    </a:lnTo>
                    <a:lnTo>
                      <a:pt x="2691" y="1235"/>
                    </a:lnTo>
                    <a:lnTo>
                      <a:pt x="2690" y="1241"/>
                    </a:lnTo>
                    <a:lnTo>
                      <a:pt x="2690" y="1251"/>
                    </a:lnTo>
                    <a:lnTo>
                      <a:pt x="2691" y="1256"/>
                    </a:lnTo>
                    <a:lnTo>
                      <a:pt x="2696" y="1259"/>
                    </a:lnTo>
                    <a:lnTo>
                      <a:pt x="2700" y="1266"/>
                    </a:lnTo>
                    <a:lnTo>
                      <a:pt x="2706" y="1269"/>
                    </a:lnTo>
                    <a:lnTo>
                      <a:pt x="2706" y="1269"/>
                    </a:lnTo>
                    <a:close/>
                    <a:moveTo>
                      <a:pt x="2459" y="959"/>
                    </a:moveTo>
                    <a:lnTo>
                      <a:pt x="2460" y="959"/>
                    </a:lnTo>
                    <a:lnTo>
                      <a:pt x="2460" y="957"/>
                    </a:lnTo>
                    <a:lnTo>
                      <a:pt x="2462" y="956"/>
                    </a:lnTo>
                    <a:lnTo>
                      <a:pt x="2464" y="956"/>
                    </a:lnTo>
                    <a:lnTo>
                      <a:pt x="2467" y="959"/>
                    </a:lnTo>
                    <a:lnTo>
                      <a:pt x="2472" y="961"/>
                    </a:lnTo>
                    <a:lnTo>
                      <a:pt x="2474" y="957"/>
                    </a:lnTo>
                    <a:lnTo>
                      <a:pt x="2475" y="956"/>
                    </a:lnTo>
                    <a:lnTo>
                      <a:pt x="2474" y="952"/>
                    </a:lnTo>
                    <a:lnTo>
                      <a:pt x="2474" y="951"/>
                    </a:lnTo>
                    <a:lnTo>
                      <a:pt x="2477" y="947"/>
                    </a:lnTo>
                    <a:lnTo>
                      <a:pt x="2477" y="946"/>
                    </a:lnTo>
                    <a:lnTo>
                      <a:pt x="2474" y="946"/>
                    </a:lnTo>
                    <a:lnTo>
                      <a:pt x="2474" y="947"/>
                    </a:lnTo>
                    <a:lnTo>
                      <a:pt x="2470" y="949"/>
                    </a:lnTo>
                    <a:lnTo>
                      <a:pt x="2469" y="947"/>
                    </a:lnTo>
                    <a:lnTo>
                      <a:pt x="2472" y="946"/>
                    </a:lnTo>
                    <a:lnTo>
                      <a:pt x="2472" y="944"/>
                    </a:lnTo>
                    <a:lnTo>
                      <a:pt x="2470" y="942"/>
                    </a:lnTo>
                    <a:lnTo>
                      <a:pt x="2465" y="944"/>
                    </a:lnTo>
                    <a:lnTo>
                      <a:pt x="2462" y="942"/>
                    </a:lnTo>
                    <a:lnTo>
                      <a:pt x="2459" y="944"/>
                    </a:lnTo>
                    <a:lnTo>
                      <a:pt x="2457" y="949"/>
                    </a:lnTo>
                    <a:lnTo>
                      <a:pt x="2455" y="951"/>
                    </a:lnTo>
                    <a:lnTo>
                      <a:pt x="2455" y="954"/>
                    </a:lnTo>
                    <a:lnTo>
                      <a:pt x="2459" y="959"/>
                    </a:lnTo>
                    <a:lnTo>
                      <a:pt x="2459" y="959"/>
                    </a:lnTo>
                    <a:close/>
                    <a:moveTo>
                      <a:pt x="2442" y="956"/>
                    </a:moveTo>
                    <a:lnTo>
                      <a:pt x="2444" y="956"/>
                    </a:lnTo>
                    <a:lnTo>
                      <a:pt x="2444" y="954"/>
                    </a:lnTo>
                    <a:lnTo>
                      <a:pt x="2446" y="952"/>
                    </a:lnTo>
                    <a:lnTo>
                      <a:pt x="2449" y="954"/>
                    </a:lnTo>
                    <a:lnTo>
                      <a:pt x="2450" y="954"/>
                    </a:lnTo>
                    <a:lnTo>
                      <a:pt x="2449" y="951"/>
                    </a:lnTo>
                    <a:lnTo>
                      <a:pt x="2450" y="947"/>
                    </a:lnTo>
                    <a:lnTo>
                      <a:pt x="2450" y="946"/>
                    </a:lnTo>
                    <a:lnTo>
                      <a:pt x="2449" y="946"/>
                    </a:lnTo>
                    <a:lnTo>
                      <a:pt x="2446" y="949"/>
                    </a:lnTo>
                    <a:lnTo>
                      <a:pt x="2441" y="951"/>
                    </a:lnTo>
                    <a:lnTo>
                      <a:pt x="2441" y="954"/>
                    </a:lnTo>
                    <a:lnTo>
                      <a:pt x="2442" y="956"/>
                    </a:lnTo>
                    <a:lnTo>
                      <a:pt x="2442" y="956"/>
                    </a:lnTo>
                    <a:close/>
                    <a:moveTo>
                      <a:pt x="2475" y="970"/>
                    </a:moveTo>
                    <a:lnTo>
                      <a:pt x="2477" y="972"/>
                    </a:lnTo>
                    <a:lnTo>
                      <a:pt x="2480" y="970"/>
                    </a:lnTo>
                    <a:lnTo>
                      <a:pt x="2480" y="967"/>
                    </a:lnTo>
                    <a:lnTo>
                      <a:pt x="2479" y="965"/>
                    </a:lnTo>
                    <a:lnTo>
                      <a:pt x="2477" y="967"/>
                    </a:lnTo>
                    <a:lnTo>
                      <a:pt x="2477" y="967"/>
                    </a:lnTo>
                    <a:lnTo>
                      <a:pt x="2475" y="970"/>
                    </a:lnTo>
                    <a:lnTo>
                      <a:pt x="2475" y="970"/>
                    </a:lnTo>
                    <a:close/>
                    <a:moveTo>
                      <a:pt x="2470" y="965"/>
                    </a:moveTo>
                    <a:lnTo>
                      <a:pt x="2470" y="969"/>
                    </a:lnTo>
                    <a:lnTo>
                      <a:pt x="2472" y="970"/>
                    </a:lnTo>
                    <a:lnTo>
                      <a:pt x="2474" y="969"/>
                    </a:lnTo>
                    <a:lnTo>
                      <a:pt x="2474" y="965"/>
                    </a:lnTo>
                    <a:lnTo>
                      <a:pt x="2472" y="964"/>
                    </a:lnTo>
                    <a:lnTo>
                      <a:pt x="2470" y="965"/>
                    </a:lnTo>
                    <a:lnTo>
                      <a:pt x="2470" y="965"/>
                    </a:lnTo>
                    <a:close/>
                    <a:moveTo>
                      <a:pt x="2472" y="985"/>
                    </a:moveTo>
                    <a:lnTo>
                      <a:pt x="2475" y="982"/>
                    </a:lnTo>
                    <a:lnTo>
                      <a:pt x="2477" y="980"/>
                    </a:lnTo>
                    <a:lnTo>
                      <a:pt x="2479" y="977"/>
                    </a:lnTo>
                    <a:lnTo>
                      <a:pt x="2479" y="977"/>
                    </a:lnTo>
                    <a:lnTo>
                      <a:pt x="2479" y="974"/>
                    </a:lnTo>
                    <a:lnTo>
                      <a:pt x="2472" y="975"/>
                    </a:lnTo>
                    <a:lnTo>
                      <a:pt x="2469" y="980"/>
                    </a:lnTo>
                    <a:lnTo>
                      <a:pt x="2469" y="984"/>
                    </a:lnTo>
                    <a:lnTo>
                      <a:pt x="2472" y="985"/>
                    </a:lnTo>
                    <a:lnTo>
                      <a:pt x="2472" y="985"/>
                    </a:lnTo>
                    <a:close/>
                    <a:moveTo>
                      <a:pt x="2658" y="730"/>
                    </a:moveTo>
                    <a:lnTo>
                      <a:pt x="2660" y="730"/>
                    </a:lnTo>
                    <a:lnTo>
                      <a:pt x="2663" y="726"/>
                    </a:lnTo>
                    <a:lnTo>
                      <a:pt x="2663" y="723"/>
                    </a:lnTo>
                    <a:lnTo>
                      <a:pt x="2660" y="723"/>
                    </a:lnTo>
                    <a:lnTo>
                      <a:pt x="2658" y="726"/>
                    </a:lnTo>
                    <a:lnTo>
                      <a:pt x="2658" y="730"/>
                    </a:lnTo>
                    <a:lnTo>
                      <a:pt x="2658" y="730"/>
                    </a:lnTo>
                    <a:close/>
                    <a:moveTo>
                      <a:pt x="2954" y="701"/>
                    </a:moveTo>
                    <a:lnTo>
                      <a:pt x="2955" y="703"/>
                    </a:lnTo>
                    <a:lnTo>
                      <a:pt x="2955" y="698"/>
                    </a:lnTo>
                    <a:lnTo>
                      <a:pt x="2952" y="693"/>
                    </a:lnTo>
                    <a:lnTo>
                      <a:pt x="2954" y="691"/>
                    </a:lnTo>
                    <a:lnTo>
                      <a:pt x="2954" y="688"/>
                    </a:lnTo>
                    <a:lnTo>
                      <a:pt x="2957" y="683"/>
                    </a:lnTo>
                    <a:lnTo>
                      <a:pt x="2960" y="680"/>
                    </a:lnTo>
                    <a:lnTo>
                      <a:pt x="2965" y="675"/>
                    </a:lnTo>
                    <a:lnTo>
                      <a:pt x="2969" y="675"/>
                    </a:lnTo>
                    <a:lnTo>
                      <a:pt x="2967" y="670"/>
                    </a:lnTo>
                    <a:lnTo>
                      <a:pt x="2965" y="663"/>
                    </a:lnTo>
                    <a:lnTo>
                      <a:pt x="2959" y="658"/>
                    </a:lnTo>
                    <a:lnTo>
                      <a:pt x="2957" y="658"/>
                    </a:lnTo>
                    <a:lnTo>
                      <a:pt x="2954" y="660"/>
                    </a:lnTo>
                    <a:lnTo>
                      <a:pt x="2954" y="662"/>
                    </a:lnTo>
                    <a:lnTo>
                      <a:pt x="2950" y="663"/>
                    </a:lnTo>
                    <a:lnTo>
                      <a:pt x="2945" y="670"/>
                    </a:lnTo>
                    <a:lnTo>
                      <a:pt x="2942" y="670"/>
                    </a:lnTo>
                    <a:lnTo>
                      <a:pt x="2941" y="675"/>
                    </a:lnTo>
                    <a:lnTo>
                      <a:pt x="2942" y="675"/>
                    </a:lnTo>
                    <a:lnTo>
                      <a:pt x="2947" y="673"/>
                    </a:lnTo>
                    <a:lnTo>
                      <a:pt x="2947" y="673"/>
                    </a:lnTo>
                    <a:lnTo>
                      <a:pt x="2945" y="678"/>
                    </a:lnTo>
                    <a:lnTo>
                      <a:pt x="2947" y="685"/>
                    </a:lnTo>
                    <a:lnTo>
                      <a:pt x="2950" y="688"/>
                    </a:lnTo>
                    <a:lnTo>
                      <a:pt x="2950" y="693"/>
                    </a:lnTo>
                    <a:lnTo>
                      <a:pt x="2949" y="695"/>
                    </a:lnTo>
                    <a:lnTo>
                      <a:pt x="2949" y="698"/>
                    </a:lnTo>
                    <a:lnTo>
                      <a:pt x="2954" y="701"/>
                    </a:lnTo>
                    <a:lnTo>
                      <a:pt x="2954" y="701"/>
                    </a:lnTo>
                    <a:close/>
                    <a:moveTo>
                      <a:pt x="2959" y="1055"/>
                    </a:moveTo>
                    <a:lnTo>
                      <a:pt x="2960" y="1055"/>
                    </a:lnTo>
                    <a:lnTo>
                      <a:pt x="2962" y="1054"/>
                    </a:lnTo>
                    <a:lnTo>
                      <a:pt x="2962" y="1050"/>
                    </a:lnTo>
                    <a:lnTo>
                      <a:pt x="2959" y="1047"/>
                    </a:lnTo>
                    <a:lnTo>
                      <a:pt x="2955" y="1050"/>
                    </a:lnTo>
                    <a:lnTo>
                      <a:pt x="2955" y="1052"/>
                    </a:lnTo>
                    <a:lnTo>
                      <a:pt x="2959" y="1055"/>
                    </a:lnTo>
                    <a:lnTo>
                      <a:pt x="2959" y="1055"/>
                    </a:lnTo>
                    <a:close/>
                    <a:moveTo>
                      <a:pt x="2934" y="1050"/>
                    </a:moveTo>
                    <a:lnTo>
                      <a:pt x="2932" y="1054"/>
                    </a:lnTo>
                    <a:lnTo>
                      <a:pt x="2936" y="1055"/>
                    </a:lnTo>
                    <a:lnTo>
                      <a:pt x="2941" y="1055"/>
                    </a:lnTo>
                    <a:lnTo>
                      <a:pt x="2941" y="1052"/>
                    </a:lnTo>
                    <a:lnTo>
                      <a:pt x="2936" y="1049"/>
                    </a:lnTo>
                    <a:lnTo>
                      <a:pt x="2934" y="1050"/>
                    </a:lnTo>
                    <a:lnTo>
                      <a:pt x="2934" y="1050"/>
                    </a:lnTo>
                    <a:close/>
                    <a:moveTo>
                      <a:pt x="2947" y="1087"/>
                    </a:moveTo>
                    <a:lnTo>
                      <a:pt x="2949" y="1087"/>
                    </a:lnTo>
                    <a:lnTo>
                      <a:pt x="2949" y="1082"/>
                    </a:lnTo>
                    <a:lnTo>
                      <a:pt x="2949" y="1078"/>
                    </a:lnTo>
                    <a:lnTo>
                      <a:pt x="2954" y="1077"/>
                    </a:lnTo>
                    <a:lnTo>
                      <a:pt x="2955" y="1072"/>
                    </a:lnTo>
                    <a:lnTo>
                      <a:pt x="2955" y="1068"/>
                    </a:lnTo>
                    <a:lnTo>
                      <a:pt x="2957" y="1065"/>
                    </a:lnTo>
                    <a:lnTo>
                      <a:pt x="2959" y="1062"/>
                    </a:lnTo>
                    <a:lnTo>
                      <a:pt x="2957" y="1059"/>
                    </a:lnTo>
                    <a:lnTo>
                      <a:pt x="2950" y="1052"/>
                    </a:lnTo>
                    <a:lnTo>
                      <a:pt x="2949" y="1055"/>
                    </a:lnTo>
                    <a:lnTo>
                      <a:pt x="2949" y="1063"/>
                    </a:lnTo>
                    <a:lnTo>
                      <a:pt x="2949" y="1067"/>
                    </a:lnTo>
                    <a:lnTo>
                      <a:pt x="2945" y="1068"/>
                    </a:lnTo>
                    <a:lnTo>
                      <a:pt x="2942" y="1073"/>
                    </a:lnTo>
                    <a:lnTo>
                      <a:pt x="2939" y="1073"/>
                    </a:lnTo>
                    <a:lnTo>
                      <a:pt x="2939" y="1075"/>
                    </a:lnTo>
                    <a:lnTo>
                      <a:pt x="2942" y="1078"/>
                    </a:lnTo>
                    <a:lnTo>
                      <a:pt x="2942" y="1082"/>
                    </a:lnTo>
                    <a:lnTo>
                      <a:pt x="2939" y="1083"/>
                    </a:lnTo>
                    <a:lnTo>
                      <a:pt x="2941" y="1085"/>
                    </a:lnTo>
                    <a:lnTo>
                      <a:pt x="2945" y="1083"/>
                    </a:lnTo>
                    <a:lnTo>
                      <a:pt x="2947" y="1087"/>
                    </a:lnTo>
                    <a:lnTo>
                      <a:pt x="2947" y="1087"/>
                    </a:lnTo>
                    <a:close/>
                    <a:moveTo>
                      <a:pt x="2942" y="1113"/>
                    </a:moveTo>
                    <a:lnTo>
                      <a:pt x="2942" y="1113"/>
                    </a:lnTo>
                    <a:lnTo>
                      <a:pt x="2944" y="1110"/>
                    </a:lnTo>
                    <a:lnTo>
                      <a:pt x="2942" y="1107"/>
                    </a:lnTo>
                    <a:lnTo>
                      <a:pt x="2942" y="1103"/>
                    </a:lnTo>
                    <a:lnTo>
                      <a:pt x="2941" y="1102"/>
                    </a:lnTo>
                    <a:lnTo>
                      <a:pt x="2941" y="1107"/>
                    </a:lnTo>
                    <a:lnTo>
                      <a:pt x="2939" y="1110"/>
                    </a:lnTo>
                    <a:lnTo>
                      <a:pt x="2942" y="1113"/>
                    </a:lnTo>
                    <a:lnTo>
                      <a:pt x="2942" y="1113"/>
                    </a:lnTo>
                    <a:close/>
                    <a:moveTo>
                      <a:pt x="2944" y="1122"/>
                    </a:moveTo>
                    <a:lnTo>
                      <a:pt x="2945" y="1122"/>
                    </a:lnTo>
                    <a:lnTo>
                      <a:pt x="2945" y="1118"/>
                    </a:lnTo>
                    <a:lnTo>
                      <a:pt x="2941" y="1117"/>
                    </a:lnTo>
                    <a:lnTo>
                      <a:pt x="2941" y="1118"/>
                    </a:lnTo>
                    <a:lnTo>
                      <a:pt x="2941" y="1120"/>
                    </a:lnTo>
                    <a:lnTo>
                      <a:pt x="2944" y="1122"/>
                    </a:lnTo>
                    <a:lnTo>
                      <a:pt x="2944" y="1122"/>
                    </a:lnTo>
                    <a:close/>
                    <a:moveTo>
                      <a:pt x="2934" y="1128"/>
                    </a:moveTo>
                    <a:lnTo>
                      <a:pt x="2936" y="1128"/>
                    </a:lnTo>
                    <a:lnTo>
                      <a:pt x="2936" y="1127"/>
                    </a:lnTo>
                    <a:lnTo>
                      <a:pt x="2934" y="1125"/>
                    </a:lnTo>
                    <a:lnTo>
                      <a:pt x="2932" y="1127"/>
                    </a:lnTo>
                    <a:lnTo>
                      <a:pt x="2934" y="1128"/>
                    </a:lnTo>
                    <a:lnTo>
                      <a:pt x="2934" y="1128"/>
                    </a:lnTo>
                    <a:close/>
                    <a:moveTo>
                      <a:pt x="2937" y="1138"/>
                    </a:moveTo>
                    <a:lnTo>
                      <a:pt x="2939" y="1137"/>
                    </a:lnTo>
                    <a:lnTo>
                      <a:pt x="2942" y="1135"/>
                    </a:lnTo>
                    <a:lnTo>
                      <a:pt x="2942" y="1132"/>
                    </a:lnTo>
                    <a:lnTo>
                      <a:pt x="2941" y="1130"/>
                    </a:lnTo>
                    <a:lnTo>
                      <a:pt x="2939" y="1133"/>
                    </a:lnTo>
                    <a:lnTo>
                      <a:pt x="2937" y="1138"/>
                    </a:lnTo>
                    <a:lnTo>
                      <a:pt x="2937" y="1138"/>
                    </a:lnTo>
                    <a:close/>
                    <a:moveTo>
                      <a:pt x="2932" y="1165"/>
                    </a:moveTo>
                    <a:lnTo>
                      <a:pt x="2934" y="1163"/>
                    </a:lnTo>
                    <a:lnTo>
                      <a:pt x="2931" y="1163"/>
                    </a:lnTo>
                    <a:lnTo>
                      <a:pt x="2929" y="1163"/>
                    </a:lnTo>
                    <a:lnTo>
                      <a:pt x="2932" y="1165"/>
                    </a:lnTo>
                    <a:lnTo>
                      <a:pt x="2932" y="1165"/>
                    </a:lnTo>
                    <a:close/>
                    <a:moveTo>
                      <a:pt x="2931" y="1180"/>
                    </a:moveTo>
                    <a:lnTo>
                      <a:pt x="2932" y="1176"/>
                    </a:lnTo>
                    <a:lnTo>
                      <a:pt x="2931" y="1175"/>
                    </a:lnTo>
                    <a:lnTo>
                      <a:pt x="2929" y="1176"/>
                    </a:lnTo>
                    <a:lnTo>
                      <a:pt x="2931" y="1180"/>
                    </a:lnTo>
                    <a:lnTo>
                      <a:pt x="2931" y="1180"/>
                    </a:lnTo>
                    <a:close/>
                    <a:moveTo>
                      <a:pt x="2929" y="1183"/>
                    </a:moveTo>
                    <a:lnTo>
                      <a:pt x="2931" y="1186"/>
                    </a:lnTo>
                    <a:lnTo>
                      <a:pt x="2931" y="1185"/>
                    </a:lnTo>
                    <a:lnTo>
                      <a:pt x="2929" y="1183"/>
                    </a:lnTo>
                    <a:lnTo>
                      <a:pt x="2929" y="1183"/>
                    </a:lnTo>
                    <a:close/>
                    <a:moveTo>
                      <a:pt x="2924" y="1191"/>
                    </a:moveTo>
                    <a:lnTo>
                      <a:pt x="2926" y="1193"/>
                    </a:lnTo>
                    <a:lnTo>
                      <a:pt x="2927" y="1193"/>
                    </a:lnTo>
                    <a:lnTo>
                      <a:pt x="2927" y="1191"/>
                    </a:lnTo>
                    <a:lnTo>
                      <a:pt x="2926" y="1190"/>
                    </a:lnTo>
                    <a:lnTo>
                      <a:pt x="2924" y="1191"/>
                    </a:lnTo>
                    <a:lnTo>
                      <a:pt x="2924" y="1191"/>
                    </a:lnTo>
                    <a:close/>
                    <a:moveTo>
                      <a:pt x="2921" y="1210"/>
                    </a:moveTo>
                    <a:lnTo>
                      <a:pt x="2922" y="1208"/>
                    </a:lnTo>
                    <a:lnTo>
                      <a:pt x="2924" y="1200"/>
                    </a:lnTo>
                    <a:lnTo>
                      <a:pt x="2921" y="1200"/>
                    </a:lnTo>
                    <a:lnTo>
                      <a:pt x="2921" y="1203"/>
                    </a:lnTo>
                    <a:lnTo>
                      <a:pt x="2919" y="1210"/>
                    </a:lnTo>
                    <a:lnTo>
                      <a:pt x="2921" y="1210"/>
                    </a:lnTo>
                    <a:lnTo>
                      <a:pt x="2921" y="1210"/>
                    </a:lnTo>
                    <a:close/>
                    <a:moveTo>
                      <a:pt x="2879" y="1259"/>
                    </a:moveTo>
                    <a:lnTo>
                      <a:pt x="2881" y="1261"/>
                    </a:lnTo>
                    <a:lnTo>
                      <a:pt x="2886" y="1256"/>
                    </a:lnTo>
                    <a:lnTo>
                      <a:pt x="2889" y="1251"/>
                    </a:lnTo>
                    <a:lnTo>
                      <a:pt x="2892" y="1248"/>
                    </a:lnTo>
                    <a:lnTo>
                      <a:pt x="2892" y="1245"/>
                    </a:lnTo>
                    <a:lnTo>
                      <a:pt x="2894" y="1240"/>
                    </a:lnTo>
                    <a:lnTo>
                      <a:pt x="2899" y="1233"/>
                    </a:lnTo>
                    <a:lnTo>
                      <a:pt x="2897" y="1235"/>
                    </a:lnTo>
                    <a:lnTo>
                      <a:pt x="2892" y="1235"/>
                    </a:lnTo>
                    <a:lnTo>
                      <a:pt x="2889" y="1240"/>
                    </a:lnTo>
                    <a:lnTo>
                      <a:pt x="2887" y="1241"/>
                    </a:lnTo>
                    <a:lnTo>
                      <a:pt x="2886" y="1245"/>
                    </a:lnTo>
                    <a:lnTo>
                      <a:pt x="2884" y="1248"/>
                    </a:lnTo>
                    <a:lnTo>
                      <a:pt x="2884" y="1250"/>
                    </a:lnTo>
                    <a:lnTo>
                      <a:pt x="2881" y="1253"/>
                    </a:lnTo>
                    <a:lnTo>
                      <a:pt x="2879" y="1259"/>
                    </a:lnTo>
                    <a:lnTo>
                      <a:pt x="2879" y="1259"/>
                    </a:lnTo>
                    <a:close/>
                    <a:moveTo>
                      <a:pt x="2834" y="1308"/>
                    </a:moveTo>
                    <a:lnTo>
                      <a:pt x="2836" y="1308"/>
                    </a:lnTo>
                    <a:lnTo>
                      <a:pt x="2838" y="1303"/>
                    </a:lnTo>
                    <a:lnTo>
                      <a:pt x="2841" y="1299"/>
                    </a:lnTo>
                    <a:lnTo>
                      <a:pt x="2839" y="1294"/>
                    </a:lnTo>
                    <a:lnTo>
                      <a:pt x="2843" y="1293"/>
                    </a:lnTo>
                    <a:lnTo>
                      <a:pt x="2843" y="1289"/>
                    </a:lnTo>
                    <a:lnTo>
                      <a:pt x="2844" y="1288"/>
                    </a:lnTo>
                    <a:lnTo>
                      <a:pt x="2847" y="1289"/>
                    </a:lnTo>
                    <a:lnTo>
                      <a:pt x="2851" y="1286"/>
                    </a:lnTo>
                    <a:lnTo>
                      <a:pt x="2854" y="1279"/>
                    </a:lnTo>
                    <a:lnTo>
                      <a:pt x="2859" y="1274"/>
                    </a:lnTo>
                    <a:lnTo>
                      <a:pt x="2864" y="1274"/>
                    </a:lnTo>
                    <a:lnTo>
                      <a:pt x="2867" y="1271"/>
                    </a:lnTo>
                    <a:lnTo>
                      <a:pt x="2867" y="1268"/>
                    </a:lnTo>
                    <a:lnTo>
                      <a:pt x="2866" y="1263"/>
                    </a:lnTo>
                    <a:lnTo>
                      <a:pt x="2862" y="1264"/>
                    </a:lnTo>
                    <a:lnTo>
                      <a:pt x="2857" y="1269"/>
                    </a:lnTo>
                    <a:lnTo>
                      <a:pt x="2857" y="1273"/>
                    </a:lnTo>
                    <a:lnTo>
                      <a:pt x="2854" y="1273"/>
                    </a:lnTo>
                    <a:lnTo>
                      <a:pt x="2851" y="1274"/>
                    </a:lnTo>
                    <a:lnTo>
                      <a:pt x="2847" y="1274"/>
                    </a:lnTo>
                    <a:lnTo>
                      <a:pt x="2846" y="1271"/>
                    </a:lnTo>
                    <a:lnTo>
                      <a:pt x="2844" y="1271"/>
                    </a:lnTo>
                    <a:lnTo>
                      <a:pt x="2843" y="1274"/>
                    </a:lnTo>
                    <a:lnTo>
                      <a:pt x="2844" y="1278"/>
                    </a:lnTo>
                    <a:lnTo>
                      <a:pt x="2843" y="1281"/>
                    </a:lnTo>
                    <a:lnTo>
                      <a:pt x="2841" y="1284"/>
                    </a:lnTo>
                    <a:lnTo>
                      <a:pt x="2838" y="1284"/>
                    </a:lnTo>
                    <a:lnTo>
                      <a:pt x="2838" y="1288"/>
                    </a:lnTo>
                    <a:lnTo>
                      <a:pt x="2838" y="1291"/>
                    </a:lnTo>
                    <a:lnTo>
                      <a:pt x="2833" y="1293"/>
                    </a:lnTo>
                    <a:lnTo>
                      <a:pt x="2833" y="1296"/>
                    </a:lnTo>
                    <a:lnTo>
                      <a:pt x="2834" y="1298"/>
                    </a:lnTo>
                    <a:lnTo>
                      <a:pt x="2833" y="1299"/>
                    </a:lnTo>
                    <a:lnTo>
                      <a:pt x="2833" y="1303"/>
                    </a:lnTo>
                    <a:lnTo>
                      <a:pt x="2834" y="1308"/>
                    </a:lnTo>
                    <a:lnTo>
                      <a:pt x="2834" y="1308"/>
                    </a:lnTo>
                    <a:close/>
                    <a:moveTo>
                      <a:pt x="2813" y="1338"/>
                    </a:moveTo>
                    <a:lnTo>
                      <a:pt x="2813" y="1338"/>
                    </a:lnTo>
                    <a:lnTo>
                      <a:pt x="2814" y="1331"/>
                    </a:lnTo>
                    <a:lnTo>
                      <a:pt x="2816" y="1321"/>
                    </a:lnTo>
                    <a:lnTo>
                      <a:pt x="2818" y="1319"/>
                    </a:lnTo>
                    <a:lnTo>
                      <a:pt x="2824" y="1314"/>
                    </a:lnTo>
                    <a:lnTo>
                      <a:pt x="2824" y="1309"/>
                    </a:lnTo>
                    <a:lnTo>
                      <a:pt x="2823" y="1309"/>
                    </a:lnTo>
                    <a:lnTo>
                      <a:pt x="2819" y="1311"/>
                    </a:lnTo>
                    <a:lnTo>
                      <a:pt x="2818" y="1309"/>
                    </a:lnTo>
                    <a:lnTo>
                      <a:pt x="2814" y="1308"/>
                    </a:lnTo>
                    <a:lnTo>
                      <a:pt x="2813" y="1309"/>
                    </a:lnTo>
                    <a:lnTo>
                      <a:pt x="2813" y="1314"/>
                    </a:lnTo>
                    <a:lnTo>
                      <a:pt x="2811" y="1319"/>
                    </a:lnTo>
                    <a:lnTo>
                      <a:pt x="2811" y="1326"/>
                    </a:lnTo>
                    <a:lnTo>
                      <a:pt x="2808" y="1329"/>
                    </a:lnTo>
                    <a:lnTo>
                      <a:pt x="2809" y="1333"/>
                    </a:lnTo>
                    <a:lnTo>
                      <a:pt x="2813" y="1338"/>
                    </a:lnTo>
                    <a:lnTo>
                      <a:pt x="2813" y="1338"/>
                    </a:lnTo>
                    <a:close/>
                    <a:moveTo>
                      <a:pt x="50" y="985"/>
                    </a:moveTo>
                    <a:lnTo>
                      <a:pt x="50" y="985"/>
                    </a:lnTo>
                    <a:lnTo>
                      <a:pt x="49" y="989"/>
                    </a:lnTo>
                    <a:lnTo>
                      <a:pt x="54" y="992"/>
                    </a:lnTo>
                    <a:lnTo>
                      <a:pt x="55" y="989"/>
                    </a:lnTo>
                    <a:lnTo>
                      <a:pt x="50" y="98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8" name="Freeform 32">
                <a:extLst>
                  <a:ext uri="{FF2B5EF4-FFF2-40B4-BE49-F238E27FC236}">
                    <a16:creationId xmlns:a16="http://schemas.microsoft.com/office/drawing/2014/main" id="{08492575-8158-204F-BC8D-5443E545C9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01704" y="2523688"/>
                <a:ext cx="82409" cy="56030"/>
              </a:xfrm>
              <a:custGeom>
                <a:avLst/>
                <a:gdLst/>
                <a:ahLst/>
                <a:cxnLst>
                  <a:cxn ang="0">
                    <a:pos x="120" y="104"/>
                  </a:cxn>
                  <a:cxn ang="0">
                    <a:pos x="121" y="96"/>
                  </a:cxn>
                  <a:cxn ang="0">
                    <a:pos x="111" y="96"/>
                  </a:cxn>
                  <a:cxn ang="0">
                    <a:pos x="111" y="103"/>
                  </a:cxn>
                  <a:cxn ang="0">
                    <a:pos x="144" y="81"/>
                  </a:cxn>
                  <a:cxn ang="0">
                    <a:pos x="149" y="78"/>
                  </a:cxn>
                  <a:cxn ang="0">
                    <a:pos x="96" y="70"/>
                  </a:cxn>
                  <a:cxn ang="0">
                    <a:pos x="86" y="86"/>
                  </a:cxn>
                  <a:cxn ang="0">
                    <a:pos x="81" y="79"/>
                  </a:cxn>
                  <a:cxn ang="0">
                    <a:pos x="70" y="71"/>
                  </a:cxn>
                  <a:cxn ang="0">
                    <a:pos x="73" y="61"/>
                  </a:cxn>
                  <a:cxn ang="0">
                    <a:pos x="81" y="68"/>
                  </a:cxn>
                  <a:cxn ang="0">
                    <a:pos x="81" y="63"/>
                  </a:cxn>
                  <a:cxn ang="0">
                    <a:pos x="95" y="55"/>
                  </a:cxn>
                  <a:cxn ang="0">
                    <a:pos x="90" y="71"/>
                  </a:cxn>
                  <a:cxn ang="0">
                    <a:pos x="93" y="79"/>
                  </a:cxn>
                  <a:cxn ang="0">
                    <a:pos x="86" y="86"/>
                  </a:cxn>
                  <a:cxn ang="0">
                    <a:pos x="95" y="86"/>
                  </a:cxn>
                  <a:cxn ang="0">
                    <a:pos x="88" y="88"/>
                  </a:cxn>
                  <a:cxn ang="0">
                    <a:pos x="80" y="93"/>
                  </a:cxn>
                  <a:cxn ang="0">
                    <a:pos x="88" y="91"/>
                  </a:cxn>
                  <a:cxn ang="0">
                    <a:pos x="83" y="94"/>
                  </a:cxn>
                  <a:cxn ang="0">
                    <a:pos x="65" y="93"/>
                  </a:cxn>
                  <a:cxn ang="0">
                    <a:pos x="70" y="88"/>
                  </a:cxn>
                  <a:cxn ang="0">
                    <a:pos x="55" y="56"/>
                  </a:cxn>
                  <a:cxn ang="0">
                    <a:pos x="53" y="66"/>
                  </a:cxn>
                  <a:cxn ang="0">
                    <a:pos x="50" y="89"/>
                  </a:cxn>
                  <a:cxn ang="0">
                    <a:pos x="58" y="91"/>
                  </a:cxn>
                  <a:cxn ang="0">
                    <a:pos x="65" y="84"/>
                  </a:cxn>
                  <a:cxn ang="0">
                    <a:pos x="46" y="70"/>
                  </a:cxn>
                  <a:cxn ang="0">
                    <a:pos x="60" y="81"/>
                  </a:cxn>
                  <a:cxn ang="0">
                    <a:pos x="45" y="84"/>
                  </a:cxn>
                  <a:cxn ang="0">
                    <a:pos x="40" y="71"/>
                  </a:cxn>
                  <a:cxn ang="0">
                    <a:pos x="63" y="16"/>
                  </a:cxn>
                  <a:cxn ang="0">
                    <a:pos x="15" y="31"/>
                  </a:cxn>
                  <a:cxn ang="0">
                    <a:pos x="18" y="35"/>
                  </a:cxn>
                  <a:cxn ang="0">
                    <a:pos x="13" y="33"/>
                  </a:cxn>
                  <a:cxn ang="0">
                    <a:pos x="27" y="25"/>
                  </a:cxn>
                  <a:cxn ang="0">
                    <a:pos x="45" y="26"/>
                  </a:cxn>
                  <a:cxn ang="0">
                    <a:pos x="51" y="11"/>
                  </a:cxn>
                  <a:cxn ang="0">
                    <a:pos x="46" y="6"/>
                  </a:cxn>
                  <a:cxn ang="0">
                    <a:pos x="32" y="18"/>
                  </a:cxn>
                  <a:cxn ang="0">
                    <a:pos x="13" y="25"/>
                  </a:cxn>
                  <a:cxn ang="0">
                    <a:pos x="7" y="35"/>
                  </a:cxn>
                  <a:cxn ang="0">
                    <a:pos x="35" y="91"/>
                  </a:cxn>
                  <a:cxn ang="0">
                    <a:pos x="32" y="84"/>
                  </a:cxn>
                  <a:cxn ang="0">
                    <a:pos x="32" y="75"/>
                  </a:cxn>
                  <a:cxn ang="0">
                    <a:pos x="43" y="63"/>
                  </a:cxn>
                  <a:cxn ang="0">
                    <a:pos x="48" y="53"/>
                  </a:cxn>
                  <a:cxn ang="0">
                    <a:pos x="60" y="51"/>
                  </a:cxn>
                  <a:cxn ang="0">
                    <a:pos x="60" y="41"/>
                  </a:cxn>
                  <a:cxn ang="0">
                    <a:pos x="46" y="36"/>
                  </a:cxn>
                  <a:cxn ang="0">
                    <a:pos x="41" y="26"/>
                  </a:cxn>
                  <a:cxn ang="0">
                    <a:pos x="25" y="30"/>
                  </a:cxn>
                  <a:cxn ang="0">
                    <a:pos x="32" y="43"/>
                  </a:cxn>
                  <a:cxn ang="0">
                    <a:pos x="27" y="38"/>
                  </a:cxn>
                  <a:cxn ang="0">
                    <a:pos x="20" y="41"/>
                  </a:cxn>
                  <a:cxn ang="0">
                    <a:pos x="7" y="40"/>
                  </a:cxn>
                  <a:cxn ang="0">
                    <a:pos x="5" y="48"/>
                  </a:cxn>
                  <a:cxn ang="0">
                    <a:pos x="7" y="61"/>
                  </a:cxn>
                  <a:cxn ang="0">
                    <a:pos x="3" y="75"/>
                  </a:cxn>
                  <a:cxn ang="0">
                    <a:pos x="12" y="84"/>
                  </a:cxn>
                  <a:cxn ang="0">
                    <a:pos x="32" y="91"/>
                  </a:cxn>
                </a:cxnLst>
                <a:rect l="0" t="0" r="r" b="b"/>
                <a:pathLst>
                  <a:path w="153" h="108">
                    <a:moveTo>
                      <a:pt x="110" y="106"/>
                    </a:moveTo>
                    <a:lnTo>
                      <a:pt x="111" y="106"/>
                    </a:lnTo>
                    <a:lnTo>
                      <a:pt x="116" y="108"/>
                    </a:lnTo>
                    <a:lnTo>
                      <a:pt x="120" y="104"/>
                    </a:lnTo>
                    <a:lnTo>
                      <a:pt x="123" y="106"/>
                    </a:lnTo>
                    <a:lnTo>
                      <a:pt x="123" y="103"/>
                    </a:lnTo>
                    <a:lnTo>
                      <a:pt x="121" y="99"/>
                    </a:lnTo>
                    <a:lnTo>
                      <a:pt x="121" y="96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5" y="96"/>
                    </a:lnTo>
                    <a:lnTo>
                      <a:pt x="111" y="96"/>
                    </a:lnTo>
                    <a:lnTo>
                      <a:pt x="111" y="99"/>
                    </a:lnTo>
                    <a:lnTo>
                      <a:pt x="115" y="99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0" y="106"/>
                    </a:lnTo>
                    <a:lnTo>
                      <a:pt x="110" y="106"/>
                    </a:lnTo>
                    <a:close/>
                    <a:moveTo>
                      <a:pt x="144" y="75"/>
                    </a:moveTo>
                    <a:lnTo>
                      <a:pt x="144" y="81"/>
                    </a:lnTo>
                    <a:lnTo>
                      <a:pt x="144" y="84"/>
                    </a:lnTo>
                    <a:lnTo>
                      <a:pt x="153" y="88"/>
                    </a:lnTo>
                    <a:lnTo>
                      <a:pt x="153" y="83"/>
                    </a:lnTo>
                    <a:lnTo>
                      <a:pt x="149" y="78"/>
                    </a:lnTo>
                    <a:lnTo>
                      <a:pt x="144" y="75"/>
                    </a:lnTo>
                    <a:lnTo>
                      <a:pt x="144" y="75"/>
                    </a:lnTo>
                    <a:close/>
                    <a:moveTo>
                      <a:pt x="98" y="65"/>
                    </a:moveTo>
                    <a:lnTo>
                      <a:pt x="96" y="70"/>
                    </a:lnTo>
                    <a:lnTo>
                      <a:pt x="100" y="71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86" y="86"/>
                    </a:moveTo>
                    <a:lnTo>
                      <a:pt x="81" y="86"/>
                    </a:lnTo>
                    <a:lnTo>
                      <a:pt x="80" y="84"/>
                    </a:lnTo>
                    <a:lnTo>
                      <a:pt x="81" y="83"/>
                    </a:lnTo>
                    <a:lnTo>
                      <a:pt x="81" y="79"/>
                    </a:lnTo>
                    <a:lnTo>
                      <a:pt x="76" y="79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70" y="71"/>
                    </a:lnTo>
                    <a:lnTo>
                      <a:pt x="68" y="68"/>
                    </a:lnTo>
                    <a:lnTo>
                      <a:pt x="68" y="66"/>
                    </a:lnTo>
                    <a:lnTo>
                      <a:pt x="70" y="65"/>
                    </a:lnTo>
                    <a:lnTo>
                      <a:pt x="73" y="61"/>
                    </a:lnTo>
                    <a:lnTo>
                      <a:pt x="75" y="60"/>
                    </a:lnTo>
                    <a:lnTo>
                      <a:pt x="76" y="63"/>
                    </a:lnTo>
                    <a:lnTo>
                      <a:pt x="76" y="65"/>
                    </a:lnTo>
                    <a:lnTo>
                      <a:pt x="81" y="68"/>
                    </a:lnTo>
                    <a:lnTo>
                      <a:pt x="83" y="66"/>
                    </a:lnTo>
                    <a:lnTo>
                      <a:pt x="85" y="66"/>
                    </a:lnTo>
                    <a:lnTo>
                      <a:pt x="85" y="65"/>
                    </a:lnTo>
                    <a:lnTo>
                      <a:pt x="81" y="63"/>
                    </a:lnTo>
                    <a:lnTo>
                      <a:pt x="80" y="60"/>
                    </a:lnTo>
                    <a:lnTo>
                      <a:pt x="83" y="56"/>
                    </a:lnTo>
                    <a:lnTo>
                      <a:pt x="88" y="55"/>
                    </a:lnTo>
                    <a:lnTo>
                      <a:pt x="95" y="55"/>
                    </a:lnTo>
                    <a:lnTo>
                      <a:pt x="96" y="58"/>
                    </a:lnTo>
                    <a:lnTo>
                      <a:pt x="96" y="63"/>
                    </a:lnTo>
                    <a:lnTo>
                      <a:pt x="95" y="68"/>
                    </a:lnTo>
                    <a:lnTo>
                      <a:pt x="90" y="71"/>
                    </a:lnTo>
                    <a:lnTo>
                      <a:pt x="90" y="73"/>
                    </a:lnTo>
                    <a:lnTo>
                      <a:pt x="95" y="75"/>
                    </a:lnTo>
                    <a:lnTo>
                      <a:pt x="95" y="78"/>
                    </a:lnTo>
                    <a:lnTo>
                      <a:pt x="93" y="79"/>
                    </a:lnTo>
                    <a:lnTo>
                      <a:pt x="88" y="81"/>
                    </a:lnTo>
                    <a:lnTo>
                      <a:pt x="88" y="84"/>
                    </a:lnTo>
                    <a:lnTo>
                      <a:pt x="86" y="86"/>
                    </a:lnTo>
                    <a:lnTo>
                      <a:pt x="86" y="86"/>
                    </a:lnTo>
                    <a:close/>
                    <a:moveTo>
                      <a:pt x="88" y="88"/>
                    </a:moveTo>
                    <a:lnTo>
                      <a:pt x="90" y="89"/>
                    </a:lnTo>
                    <a:lnTo>
                      <a:pt x="91" y="86"/>
                    </a:lnTo>
                    <a:lnTo>
                      <a:pt x="95" y="86"/>
                    </a:lnTo>
                    <a:lnTo>
                      <a:pt x="95" y="84"/>
                    </a:lnTo>
                    <a:lnTo>
                      <a:pt x="90" y="84"/>
                    </a:lnTo>
                    <a:lnTo>
                      <a:pt x="88" y="88"/>
                    </a:lnTo>
                    <a:lnTo>
                      <a:pt x="88" y="88"/>
                    </a:lnTo>
                    <a:close/>
                    <a:moveTo>
                      <a:pt x="70" y="88"/>
                    </a:moveTo>
                    <a:lnTo>
                      <a:pt x="75" y="93"/>
                    </a:lnTo>
                    <a:lnTo>
                      <a:pt x="78" y="93"/>
                    </a:lnTo>
                    <a:lnTo>
                      <a:pt x="80" y="93"/>
                    </a:lnTo>
                    <a:lnTo>
                      <a:pt x="81" y="89"/>
                    </a:lnTo>
                    <a:lnTo>
                      <a:pt x="86" y="89"/>
                    </a:lnTo>
                    <a:lnTo>
                      <a:pt x="86" y="88"/>
                    </a:lnTo>
                    <a:lnTo>
                      <a:pt x="88" y="91"/>
                    </a:lnTo>
                    <a:lnTo>
                      <a:pt x="85" y="94"/>
                    </a:lnTo>
                    <a:lnTo>
                      <a:pt x="85" y="99"/>
                    </a:lnTo>
                    <a:lnTo>
                      <a:pt x="85" y="98"/>
                    </a:lnTo>
                    <a:lnTo>
                      <a:pt x="83" y="94"/>
                    </a:lnTo>
                    <a:lnTo>
                      <a:pt x="81" y="98"/>
                    </a:lnTo>
                    <a:lnTo>
                      <a:pt x="73" y="98"/>
                    </a:lnTo>
                    <a:lnTo>
                      <a:pt x="66" y="96"/>
                    </a:lnTo>
                    <a:lnTo>
                      <a:pt x="65" y="93"/>
                    </a:lnTo>
                    <a:lnTo>
                      <a:pt x="68" y="93"/>
                    </a:lnTo>
                    <a:lnTo>
                      <a:pt x="66" y="91"/>
                    </a:lnTo>
                    <a:lnTo>
                      <a:pt x="68" y="88"/>
                    </a:lnTo>
                    <a:lnTo>
                      <a:pt x="70" y="88"/>
                    </a:lnTo>
                    <a:lnTo>
                      <a:pt x="70" y="88"/>
                    </a:lnTo>
                    <a:close/>
                    <a:moveTo>
                      <a:pt x="53" y="66"/>
                    </a:moveTo>
                    <a:lnTo>
                      <a:pt x="55" y="61"/>
                    </a:lnTo>
                    <a:lnTo>
                      <a:pt x="55" y="56"/>
                    </a:lnTo>
                    <a:lnTo>
                      <a:pt x="56" y="61"/>
                    </a:lnTo>
                    <a:lnTo>
                      <a:pt x="56" y="65"/>
                    </a:lnTo>
                    <a:lnTo>
                      <a:pt x="53" y="66"/>
                    </a:lnTo>
                    <a:lnTo>
                      <a:pt x="53" y="66"/>
                    </a:lnTo>
                    <a:close/>
                    <a:moveTo>
                      <a:pt x="50" y="89"/>
                    </a:moveTo>
                    <a:lnTo>
                      <a:pt x="55" y="93"/>
                    </a:lnTo>
                    <a:lnTo>
                      <a:pt x="56" y="91"/>
                    </a:lnTo>
                    <a:lnTo>
                      <a:pt x="50" y="89"/>
                    </a:lnTo>
                    <a:lnTo>
                      <a:pt x="50" y="89"/>
                    </a:lnTo>
                    <a:close/>
                    <a:moveTo>
                      <a:pt x="61" y="81"/>
                    </a:moveTo>
                    <a:lnTo>
                      <a:pt x="60" y="88"/>
                    </a:lnTo>
                    <a:lnTo>
                      <a:pt x="58" y="91"/>
                    </a:lnTo>
                    <a:lnTo>
                      <a:pt x="60" y="93"/>
                    </a:lnTo>
                    <a:lnTo>
                      <a:pt x="61" y="89"/>
                    </a:lnTo>
                    <a:lnTo>
                      <a:pt x="65" y="84"/>
                    </a:lnTo>
                    <a:lnTo>
                      <a:pt x="65" y="84"/>
                    </a:lnTo>
                    <a:lnTo>
                      <a:pt x="61" y="81"/>
                    </a:lnTo>
                    <a:lnTo>
                      <a:pt x="61" y="81"/>
                    </a:lnTo>
                    <a:close/>
                    <a:moveTo>
                      <a:pt x="40" y="71"/>
                    </a:moveTo>
                    <a:lnTo>
                      <a:pt x="46" y="70"/>
                    </a:lnTo>
                    <a:lnTo>
                      <a:pt x="51" y="71"/>
                    </a:lnTo>
                    <a:lnTo>
                      <a:pt x="55" y="71"/>
                    </a:lnTo>
                    <a:lnTo>
                      <a:pt x="58" y="78"/>
                    </a:lnTo>
                    <a:lnTo>
                      <a:pt x="60" y="81"/>
                    </a:lnTo>
                    <a:lnTo>
                      <a:pt x="56" y="86"/>
                    </a:lnTo>
                    <a:lnTo>
                      <a:pt x="51" y="88"/>
                    </a:lnTo>
                    <a:lnTo>
                      <a:pt x="50" y="86"/>
                    </a:lnTo>
                    <a:lnTo>
                      <a:pt x="45" y="84"/>
                    </a:lnTo>
                    <a:lnTo>
                      <a:pt x="41" y="81"/>
                    </a:lnTo>
                    <a:lnTo>
                      <a:pt x="38" y="76"/>
                    </a:lnTo>
                    <a:lnTo>
                      <a:pt x="40" y="71"/>
                    </a:lnTo>
                    <a:lnTo>
                      <a:pt x="40" y="71"/>
                    </a:lnTo>
                    <a:close/>
                    <a:moveTo>
                      <a:pt x="58" y="16"/>
                    </a:moveTo>
                    <a:lnTo>
                      <a:pt x="61" y="13"/>
                    </a:lnTo>
                    <a:lnTo>
                      <a:pt x="66" y="13"/>
                    </a:lnTo>
                    <a:lnTo>
                      <a:pt x="63" y="16"/>
                    </a:lnTo>
                    <a:lnTo>
                      <a:pt x="58" y="16"/>
                    </a:lnTo>
                    <a:lnTo>
                      <a:pt x="58" y="16"/>
                    </a:lnTo>
                    <a:close/>
                    <a:moveTo>
                      <a:pt x="15" y="36"/>
                    </a:moveTo>
                    <a:lnTo>
                      <a:pt x="15" y="31"/>
                    </a:lnTo>
                    <a:lnTo>
                      <a:pt x="18" y="28"/>
                    </a:lnTo>
                    <a:lnTo>
                      <a:pt x="23" y="28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15" y="36"/>
                    </a:lnTo>
                    <a:lnTo>
                      <a:pt x="15" y="36"/>
                    </a:lnTo>
                    <a:close/>
                    <a:moveTo>
                      <a:pt x="15" y="38"/>
                    </a:moveTo>
                    <a:lnTo>
                      <a:pt x="13" y="33"/>
                    </a:lnTo>
                    <a:lnTo>
                      <a:pt x="15" y="30"/>
                    </a:lnTo>
                    <a:lnTo>
                      <a:pt x="22" y="25"/>
                    </a:lnTo>
                    <a:lnTo>
                      <a:pt x="23" y="26"/>
                    </a:lnTo>
                    <a:lnTo>
                      <a:pt x="27" y="25"/>
                    </a:lnTo>
                    <a:lnTo>
                      <a:pt x="33" y="26"/>
                    </a:lnTo>
                    <a:lnTo>
                      <a:pt x="37" y="25"/>
                    </a:lnTo>
                    <a:lnTo>
                      <a:pt x="41" y="25"/>
                    </a:lnTo>
                    <a:lnTo>
                      <a:pt x="45" y="26"/>
                    </a:lnTo>
                    <a:lnTo>
                      <a:pt x="48" y="26"/>
                    </a:lnTo>
                    <a:lnTo>
                      <a:pt x="51" y="18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1" y="8"/>
                    </a:lnTo>
                    <a:lnTo>
                      <a:pt x="55" y="1"/>
                    </a:lnTo>
                    <a:lnTo>
                      <a:pt x="53" y="0"/>
                    </a:lnTo>
                    <a:lnTo>
                      <a:pt x="46" y="6"/>
                    </a:lnTo>
                    <a:lnTo>
                      <a:pt x="41" y="8"/>
                    </a:lnTo>
                    <a:lnTo>
                      <a:pt x="37" y="10"/>
                    </a:lnTo>
                    <a:lnTo>
                      <a:pt x="33" y="13"/>
                    </a:lnTo>
                    <a:lnTo>
                      <a:pt x="32" y="18"/>
                    </a:lnTo>
                    <a:lnTo>
                      <a:pt x="27" y="21"/>
                    </a:lnTo>
                    <a:lnTo>
                      <a:pt x="22" y="21"/>
                    </a:lnTo>
                    <a:lnTo>
                      <a:pt x="15" y="26"/>
                    </a:lnTo>
                    <a:lnTo>
                      <a:pt x="13" y="25"/>
                    </a:lnTo>
                    <a:lnTo>
                      <a:pt x="10" y="25"/>
                    </a:lnTo>
                    <a:lnTo>
                      <a:pt x="8" y="30"/>
                    </a:lnTo>
                    <a:lnTo>
                      <a:pt x="5" y="33"/>
                    </a:lnTo>
                    <a:lnTo>
                      <a:pt x="7" y="35"/>
                    </a:lnTo>
                    <a:lnTo>
                      <a:pt x="8" y="33"/>
                    </a:lnTo>
                    <a:lnTo>
                      <a:pt x="15" y="38"/>
                    </a:lnTo>
                    <a:lnTo>
                      <a:pt x="15" y="38"/>
                    </a:lnTo>
                    <a:close/>
                    <a:moveTo>
                      <a:pt x="35" y="91"/>
                    </a:moveTo>
                    <a:lnTo>
                      <a:pt x="35" y="89"/>
                    </a:lnTo>
                    <a:lnTo>
                      <a:pt x="37" y="88"/>
                    </a:lnTo>
                    <a:lnTo>
                      <a:pt x="33" y="84"/>
                    </a:lnTo>
                    <a:lnTo>
                      <a:pt x="32" y="84"/>
                    </a:lnTo>
                    <a:lnTo>
                      <a:pt x="32" y="81"/>
                    </a:lnTo>
                    <a:lnTo>
                      <a:pt x="33" y="79"/>
                    </a:lnTo>
                    <a:lnTo>
                      <a:pt x="35" y="76"/>
                    </a:lnTo>
                    <a:lnTo>
                      <a:pt x="32" y="75"/>
                    </a:lnTo>
                    <a:lnTo>
                      <a:pt x="32" y="73"/>
                    </a:lnTo>
                    <a:lnTo>
                      <a:pt x="41" y="68"/>
                    </a:lnTo>
                    <a:lnTo>
                      <a:pt x="40" y="66"/>
                    </a:lnTo>
                    <a:lnTo>
                      <a:pt x="43" y="63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0" y="56"/>
                    </a:lnTo>
                    <a:lnTo>
                      <a:pt x="48" y="53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8" y="53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3" y="50"/>
                    </a:lnTo>
                    <a:lnTo>
                      <a:pt x="65" y="46"/>
                    </a:lnTo>
                    <a:lnTo>
                      <a:pt x="60" y="41"/>
                    </a:lnTo>
                    <a:lnTo>
                      <a:pt x="58" y="43"/>
                    </a:lnTo>
                    <a:lnTo>
                      <a:pt x="51" y="43"/>
                    </a:lnTo>
                    <a:lnTo>
                      <a:pt x="50" y="41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6" y="35"/>
                    </a:lnTo>
                    <a:lnTo>
                      <a:pt x="46" y="30"/>
                    </a:lnTo>
                    <a:lnTo>
                      <a:pt x="41" y="26"/>
                    </a:lnTo>
                    <a:lnTo>
                      <a:pt x="35" y="28"/>
                    </a:lnTo>
                    <a:lnTo>
                      <a:pt x="32" y="30"/>
                    </a:lnTo>
                    <a:lnTo>
                      <a:pt x="27" y="28"/>
                    </a:lnTo>
                    <a:lnTo>
                      <a:pt x="25" y="30"/>
                    </a:lnTo>
                    <a:lnTo>
                      <a:pt x="30" y="35"/>
                    </a:lnTo>
                    <a:lnTo>
                      <a:pt x="28" y="36"/>
                    </a:lnTo>
                    <a:lnTo>
                      <a:pt x="32" y="41"/>
                    </a:lnTo>
                    <a:lnTo>
                      <a:pt x="32" y="43"/>
                    </a:lnTo>
                    <a:lnTo>
                      <a:pt x="28" y="41"/>
                    </a:lnTo>
                    <a:lnTo>
                      <a:pt x="23" y="41"/>
                    </a:lnTo>
                    <a:lnTo>
                      <a:pt x="23" y="40"/>
                    </a:lnTo>
                    <a:lnTo>
                      <a:pt x="27" y="38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5" y="43"/>
                    </a:lnTo>
                    <a:lnTo>
                      <a:pt x="13" y="41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3" y="43"/>
                    </a:lnTo>
                    <a:lnTo>
                      <a:pt x="8" y="46"/>
                    </a:lnTo>
                    <a:lnTo>
                      <a:pt x="8" y="50"/>
                    </a:lnTo>
                    <a:lnTo>
                      <a:pt x="5" y="48"/>
                    </a:lnTo>
                    <a:lnTo>
                      <a:pt x="3" y="48"/>
                    </a:lnTo>
                    <a:lnTo>
                      <a:pt x="3" y="55"/>
                    </a:lnTo>
                    <a:lnTo>
                      <a:pt x="7" y="56"/>
                    </a:lnTo>
                    <a:lnTo>
                      <a:pt x="7" y="61"/>
                    </a:lnTo>
                    <a:lnTo>
                      <a:pt x="10" y="63"/>
                    </a:lnTo>
                    <a:lnTo>
                      <a:pt x="3" y="66"/>
                    </a:lnTo>
                    <a:lnTo>
                      <a:pt x="0" y="73"/>
                    </a:lnTo>
                    <a:lnTo>
                      <a:pt x="3" y="75"/>
                    </a:lnTo>
                    <a:lnTo>
                      <a:pt x="7" y="73"/>
                    </a:lnTo>
                    <a:lnTo>
                      <a:pt x="13" y="76"/>
                    </a:lnTo>
                    <a:lnTo>
                      <a:pt x="13" y="83"/>
                    </a:lnTo>
                    <a:lnTo>
                      <a:pt x="12" y="84"/>
                    </a:lnTo>
                    <a:lnTo>
                      <a:pt x="13" y="88"/>
                    </a:lnTo>
                    <a:lnTo>
                      <a:pt x="20" y="88"/>
                    </a:lnTo>
                    <a:lnTo>
                      <a:pt x="28" y="89"/>
                    </a:lnTo>
                    <a:lnTo>
                      <a:pt x="32" y="91"/>
                    </a:lnTo>
                    <a:lnTo>
                      <a:pt x="35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9" name="Freeform 33">
                <a:extLst>
                  <a:ext uri="{FF2B5EF4-FFF2-40B4-BE49-F238E27FC236}">
                    <a16:creationId xmlns:a16="http://schemas.microsoft.com/office/drawing/2014/main" id="{6DD04511-63DA-3146-A78E-BFFAE72C75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1035" y="2255991"/>
                <a:ext cx="264351" cy="266660"/>
              </a:xfrm>
              <a:custGeom>
                <a:avLst/>
                <a:gdLst/>
                <a:ahLst/>
                <a:cxnLst>
                  <a:cxn ang="0">
                    <a:pos x="473" y="63"/>
                  </a:cxn>
                  <a:cxn ang="0">
                    <a:pos x="488" y="35"/>
                  </a:cxn>
                  <a:cxn ang="0">
                    <a:pos x="451" y="23"/>
                  </a:cxn>
                  <a:cxn ang="0">
                    <a:pos x="431" y="23"/>
                  </a:cxn>
                  <a:cxn ang="0">
                    <a:pos x="416" y="0"/>
                  </a:cxn>
                  <a:cxn ang="0">
                    <a:pos x="400" y="32"/>
                  </a:cxn>
                  <a:cxn ang="0">
                    <a:pos x="370" y="47"/>
                  </a:cxn>
                  <a:cxn ang="0">
                    <a:pos x="353" y="17"/>
                  </a:cxn>
                  <a:cxn ang="0">
                    <a:pos x="340" y="53"/>
                  </a:cxn>
                  <a:cxn ang="0">
                    <a:pos x="312" y="58"/>
                  </a:cxn>
                  <a:cxn ang="0">
                    <a:pos x="280" y="87"/>
                  </a:cxn>
                  <a:cxn ang="0">
                    <a:pos x="269" y="95"/>
                  </a:cxn>
                  <a:cxn ang="0">
                    <a:pos x="240" y="95"/>
                  </a:cxn>
                  <a:cxn ang="0">
                    <a:pos x="217" y="125"/>
                  </a:cxn>
                  <a:cxn ang="0">
                    <a:pos x="214" y="140"/>
                  </a:cxn>
                  <a:cxn ang="0">
                    <a:pos x="191" y="156"/>
                  </a:cxn>
                  <a:cxn ang="0">
                    <a:pos x="194" y="175"/>
                  </a:cxn>
                  <a:cxn ang="0">
                    <a:pos x="169" y="198"/>
                  </a:cxn>
                  <a:cxn ang="0">
                    <a:pos x="166" y="218"/>
                  </a:cxn>
                  <a:cxn ang="0">
                    <a:pos x="156" y="246"/>
                  </a:cxn>
                  <a:cxn ang="0">
                    <a:pos x="129" y="276"/>
                  </a:cxn>
                  <a:cxn ang="0">
                    <a:pos x="98" y="311"/>
                  </a:cxn>
                  <a:cxn ang="0">
                    <a:pos x="134" y="307"/>
                  </a:cxn>
                  <a:cxn ang="0">
                    <a:pos x="89" y="321"/>
                  </a:cxn>
                  <a:cxn ang="0">
                    <a:pos x="76" y="341"/>
                  </a:cxn>
                  <a:cxn ang="0">
                    <a:pos x="56" y="346"/>
                  </a:cxn>
                  <a:cxn ang="0">
                    <a:pos x="46" y="364"/>
                  </a:cxn>
                  <a:cxn ang="0">
                    <a:pos x="8" y="369"/>
                  </a:cxn>
                  <a:cxn ang="0">
                    <a:pos x="15" y="391"/>
                  </a:cxn>
                  <a:cxn ang="0">
                    <a:pos x="38" y="399"/>
                  </a:cxn>
                  <a:cxn ang="0">
                    <a:pos x="46" y="407"/>
                  </a:cxn>
                  <a:cxn ang="0">
                    <a:pos x="13" y="419"/>
                  </a:cxn>
                  <a:cxn ang="0">
                    <a:pos x="44" y="427"/>
                  </a:cxn>
                  <a:cxn ang="0">
                    <a:pos x="19" y="457"/>
                  </a:cxn>
                  <a:cxn ang="0">
                    <a:pos x="34" y="480"/>
                  </a:cxn>
                  <a:cxn ang="0">
                    <a:pos x="58" y="513"/>
                  </a:cxn>
                  <a:cxn ang="0">
                    <a:pos x="103" y="475"/>
                  </a:cxn>
                  <a:cxn ang="0">
                    <a:pos x="121" y="462"/>
                  </a:cxn>
                  <a:cxn ang="0">
                    <a:pos x="151" y="477"/>
                  </a:cxn>
                  <a:cxn ang="0">
                    <a:pos x="154" y="361"/>
                  </a:cxn>
                  <a:cxn ang="0">
                    <a:pos x="187" y="216"/>
                  </a:cxn>
                  <a:cxn ang="0">
                    <a:pos x="249" y="133"/>
                  </a:cxn>
                  <a:cxn ang="0">
                    <a:pos x="292" y="98"/>
                  </a:cxn>
                  <a:cxn ang="0">
                    <a:pos x="377" y="108"/>
                  </a:cxn>
                  <a:cxn ang="0">
                    <a:pos x="433" y="52"/>
                  </a:cxn>
                  <a:cxn ang="0">
                    <a:pos x="11" y="447"/>
                  </a:cxn>
                  <a:cxn ang="0">
                    <a:pos x="5" y="424"/>
                  </a:cxn>
                  <a:cxn ang="0">
                    <a:pos x="3" y="381"/>
                  </a:cxn>
                  <a:cxn ang="0">
                    <a:pos x="69" y="326"/>
                  </a:cxn>
                  <a:cxn ang="0">
                    <a:pos x="81" y="316"/>
                  </a:cxn>
                  <a:cxn ang="0">
                    <a:pos x="129" y="271"/>
                  </a:cxn>
                  <a:cxn ang="0">
                    <a:pos x="177" y="178"/>
                  </a:cxn>
                  <a:cxn ang="0">
                    <a:pos x="162" y="138"/>
                  </a:cxn>
                  <a:cxn ang="0">
                    <a:pos x="191" y="103"/>
                  </a:cxn>
                  <a:cxn ang="0">
                    <a:pos x="209" y="92"/>
                  </a:cxn>
                  <a:cxn ang="0">
                    <a:pos x="201" y="118"/>
                  </a:cxn>
                  <a:cxn ang="0">
                    <a:pos x="242" y="92"/>
                  </a:cxn>
                  <a:cxn ang="0">
                    <a:pos x="242" y="73"/>
                  </a:cxn>
                  <a:cxn ang="0">
                    <a:pos x="259" y="53"/>
                  </a:cxn>
                  <a:cxn ang="0">
                    <a:pos x="270" y="53"/>
                  </a:cxn>
                  <a:cxn ang="0">
                    <a:pos x="322" y="37"/>
                  </a:cxn>
                  <a:cxn ang="0">
                    <a:pos x="335" y="18"/>
                  </a:cxn>
                  <a:cxn ang="0">
                    <a:pos x="360" y="5"/>
                  </a:cxn>
                </a:cxnLst>
                <a:rect l="0" t="0" r="r" b="b"/>
                <a:pathLst>
                  <a:path w="493" h="513">
                    <a:moveTo>
                      <a:pt x="456" y="92"/>
                    </a:moveTo>
                    <a:lnTo>
                      <a:pt x="460" y="92"/>
                    </a:lnTo>
                    <a:lnTo>
                      <a:pt x="460" y="83"/>
                    </a:lnTo>
                    <a:lnTo>
                      <a:pt x="466" y="78"/>
                    </a:lnTo>
                    <a:lnTo>
                      <a:pt x="473" y="78"/>
                    </a:lnTo>
                    <a:lnTo>
                      <a:pt x="476" y="73"/>
                    </a:lnTo>
                    <a:lnTo>
                      <a:pt x="476" y="67"/>
                    </a:lnTo>
                    <a:lnTo>
                      <a:pt x="480" y="67"/>
                    </a:lnTo>
                    <a:lnTo>
                      <a:pt x="485" y="68"/>
                    </a:lnTo>
                    <a:lnTo>
                      <a:pt x="488" y="65"/>
                    </a:lnTo>
                    <a:lnTo>
                      <a:pt x="488" y="60"/>
                    </a:lnTo>
                    <a:lnTo>
                      <a:pt x="486" y="60"/>
                    </a:lnTo>
                    <a:lnTo>
                      <a:pt x="483" y="58"/>
                    </a:lnTo>
                    <a:lnTo>
                      <a:pt x="481" y="58"/>
                    </a:lnTo>
                    <a:lnTo>
                      <a:pt x="480" y="58"/>
                    </a:lnTo>
                    <a:lnTo>
                      <a:pt x="478" y="62"/>
                    </a:lnTo>
                    <a:lnTo>
                      <a:pt x="476" y="60"/>
                    </a:lnTo>
                    <a:lnTo>
                      <a:pt x="476" y="57"/>
                    </a:lnTo>
                    <a:lnTo>
                      <a:pt x="473" y="57"/>
                    </a:lnTo>
                    <a:lnTo>
                      <a:pt x="473" y="60"/>
                    </a:lnTo>
                    <a:lnTo>
                      <a:pt x="473" y="63"/>
                    </a:lnTo>
                    <a:lnTo>
                      <a:pt x="471" y="63"/>
                    </a:lnTo>
                    <a:lnTo>
                      <a:pt x="470" y="60"/>
                    </a:lnTo>
                    <a:lnTo>
                      <a:pt x="465" y="62"/>
                    </a:lnTo>
                    <a:lnTo>
                      <a:pt x="465" y="65"/>
                    </a:lnTo>
                    <a:lnTo>
                      <a:pt x="463" y="60"/>
                    </a:lnTo>
                    <a:lnTo>
                      <a:pt x="461" y="57"/>
                    </a:lnTo>
                    <a:lnTo>
                      <a:pt x="460" y="57"/>
                    </a:lnTo>
                    <a:lnTo>
                      <a:pt x="458" y="52"/>
                    </a:lnTo>
                    <a:lnTo>
                      <a:pt x="456" y="50"/>
                    </a:lnTo>
                    <a:lnTo>
                      <a:pt x="451" y="50"/>
                    </a:lnTo>
                    <a:lnTo>
                      <a:pt x="448" y="50"/>
                    </a:lnTo>
                    <a:lnTo>
                      <a:pt x="443" y="48"/>
                    </a:lnTo>
                    <a:lnTo>
                      <a:pt x="440" y="45"/>
                    </a:lnTo>
                    <a:lnTo>
                      <a:pt x="441" y="45"/>
                    </a:lnTo>
                    <a:lnTo>
                      <a:pt x="448" y="47"/>
                    </a:lnTo>
                    <a:lnTo>
                      <a:pt x="455" y="45"/>
                    </a:lnTo>
                    <a:lnTo>
                      <a:pt x="460" y="47"/>
                    </a:lnTo>
                    <a:lnTo>
                      <a:pt x="468" y="47"/>
                    </a:lnTo>
                    <a:lnTo>
                      <a:pt x="475" y="45"/>
                    </a:lnTo>
                    <a:lnTo>
                      <a:pt x="480" y="38"/>
                    </a:lnTo>
                    <a:lnTo>
                      <a:pt x="488" y="35"/>
                    </a:lnTo>
                    <a:lnTo>
                      <a:pt x="493" y="32"/>
                    </a:lnTo>
                    <a:lnTo>
                      <a:pt x="493" y="32"/>
                    </a:lnTo>
                    <a:lnTo>
                      <a:pt x="490" y="30"/>
                    </a:lnTo>
                    <a:lnTo>
                      <a:pt x="490" y="28"/>
                    </a:lnTo>
                    <a:lnTo>
                      <a:pt x="486" y="28"/>
                    </a:lnTo>
                    <a:lnTo>
                      <a:pt x="481" y="28"/>
                    </a:lnTo>
                    <a:lnTo>
                      <a:pt x="475" y="23"/>
                    </a:lnTo>
                    <a:lnTo>
                      <a:pt x="471" y="23"/>
                    </a:lnTo>
                    <a:lnTo>
                      <a:pt x="468" y="28"/>
                    </a:lnTo>
                    <a:lnTo>
                      <a:pt x="466" y="28"/>
                    </a:lnTo>
                    <a:lnTo>
                      <a:pt x="465" y="27"/>
                    </a:lnTo>
                    <a:lnTo>
                      <a:pt x="470" y="23"/>
                    </a:lnTo>
                    <a:lnTo>
                      <a:pt x="470" y="22"/>
                    </a:lnTo>
                    <a:lnTo>
                      <a:pt x="465" y="20"/>
                    </a:lnTo>
                    <a:lnTo>
                      <a:pt x="465" y="18"/>
                    </a:lnTo>
                    <a:lnTo>
                      <a:pt x="461" y="18"/>
                    </a:lnTo>
                    <a:lnTo>
                      <a:pt x="458" y="23"/>
                    </a:lnTo>
                    <a:lnTo>
                      <a:pt x="456" y="23"/>
                    </a:lnTo>
                    <a:lnTo>
                      <a:pt x="456" y="20"/>
                    </a:lnTo>
                    <a:lnTo>
                      <a:pt x="455" y="20"/>
                    </a:lnTo>
                    <a:lnTo>
                      <a:pt x="451" y="23"/>
                    </a:lnTo>
                    <a:lnTo>
                      <a:pt x="450" y="22"/>
                    </a:lnTo>
                    <a:lnTo>
                      <a:pt x="450" y="20"/>
                    </a:lnTo>
                    <a:lnTo>
                      <a:pt x="453" y="18"/>
                    </a:lnTo>
                    <a:lnTo>
                      <a:pt x="453" y="15"/>
                    </a:lnTo>
                    <a:lnTo>
                      <a:pt x="448" y="13"/>
                    </a:lnTo>
                    <a:lnTo>
                      <a:pt x="443" y="13"/>
                    </a:lnTo>
                    <a:lnTo>
                      <a:pt x="440" y="15"/>
                    </a:lnTo>
                    <a:lnTo>
                      <a:pt x="440" y="20"/>
                    </a:lnTo>
                    <a:lnTo>
                      <a:pt x="436" y="22"/>
                    </a:lnTo>
                    <a:lnTo>
                      <a:pt x="436" y="23"/>
                    </a:lnTo>
                    <a:lnTo>
                      <a:pt x="438" y="30"/>
                    </a:lnTo>
                    <a:lnTo>
                      <a:pt x="438" y="33"/>
                    </a:lnTo>
                    <a:lnTo>
                      <a:pt x="436" y="35"/>
                    </a:lnTo>
                    <a:lnTo>
                      <a:pt x="435" y="32"/>
                    </a:lnTo>
                    <a:lnTo>
                      <a:pt x="431" y="32"/>
                    </a:lnTo>
                    <a:lnTo>
                      <a:pt x="430" y="32"/>
                    </a:lnTo>
                    <a:lnTo>
                      <a:pt x="426" y="32"/>
                    </a:lnTo>
                    <a:lnTo>
                      <a:pt x="420" y="33"/>
                    </a:lnTo>
                    <a:lnTo>
                      <a:pt x="425" y="28"/>
                    </a:lnTo>
                    <a:lnTo>
                      <a:pt x="428" y="27"/>
                    </a:lnTo>
                    <a:lnTo>
                      <a:pt x="431" y="23"/>
                    </a:lnTo>
                    <a:lnTo>
                      <a:pt x="430" y="22"/>
                    </a:lnTo>
                    <a:lnTo>
                      <a:pt x="428" y="22"/>
                    </a:lnTo>
                    <a:lnTo>
                      <a:pt x="423" y="25"/>
                    </a:lnTo>
                    <a:lnTo>
                      <a:pt x="421" y="23"/>
                    </a:lnTo>
                    <a:lnTo>
                      <a:pt x="421" y="22"/>
                    </a:lnTo>
                    <a:lnTo>
                      <a:pt x="425" y="20"/>
                    </a:lnTo>
                    <a:lnTo>
                      <a:pt x="425" y="18"/>
                    </a:lnTo>
                    <a:lnTo>
                      <a:pt x="421" y="17"/>
                    </a:lnTo>
                    <a:lnTo>
                      <a:pt x="420" y="15"/>
                    </a:lnTo>
                    <a:lnTo>
                      <a:pt x="423" y="15"/>
                    </a:lnTo>
                    <a:lnTo>
                      <a:pt x="425" y="15"/>
                    </a:lnTo>
                    <a:lnTo>
                      <a:pt x="430" y="15"/>
                    </a:lnTo>
                    <a:lnTo>
                      <a:pt x="433" y="8"/>
                    </a:lnTo>
                    <a:lnTo>
                      <a:pt x="431" y="7"/>
                    </a:lnTo>
                    <a:lnTo>
                      <a:pt x="428" y="7"/>
                    </a:lnTo>
                    <a:lnTo>
                      <a:pt x="425" y="5"/>
                    </a:lnTo>
                    <a:lnTo>
                      <a:pt x="426" y="3"/>
                    </a:lnTo>
                    <a:lnTo>
                      <a:pt x="425" y="0"/>
                    </a:lnTo>
                    <a:lnTo>
                      <a:pt x="421" y="2"/>
                    </a:lnTo>
                    <a:lnTo>
                      <a:pt x="420" y="2"/>
                    </a:lnTo>
                    <a:lnTo>
                      <a:pt x="416" y="0"/>
                    </a:lnTo>
                    <a:lnTo>
                      <a:pt x="413" y="3"/>
                    </a:lnTo>
                    <a:lnTo>
                      <a:pt x="413" y="5"/>
                    </a:lnTo>
                    <a:lnTo>
                      <a:pt x="416" y="8"/>
                    </a:lnTo>
                    <a:lnTo>
                      <a:pt x="415" y="10"/>
                    </a:lnTo>
                    <a:lnTo>
                      <a:pt x="412" y="10"/>
                    </a:lnTo>
                    <a:lnTo>
                      <a:pt x="408" y="7"/>
                    </a:lnTo>
                    <a:lnTo>
                      <a:pt x="407" y="8"/>
                    </a:lnTo>
                    <a:lnTo>
                      <a:pt x="405" y="12"/>
                    </a:lnTo>
                    <a:lnTo>
                      <a:pt x="407" y="13"/>
                    </a:lnTo>
                    <a:lnTo>
                      <a:pt x="410" y="13"/>
                    </a:lnTo>
                    <a:lnTo>
                      <a:pt x="412" y="15"/>
                    </a:lnTo>
                    <a:lnTo>
                      <a:pt x="412" y="17"/>
                    </a:lnTo>
                    <a:lnTo>
                      <a:pt x="408" y="18"/>
                    </a:lnTo>
                    <a:lnTo>
                      <a:pt x="408" y="22"/>
                    </a:lnTo>
                    <a:lnTo>
                      <a:pt x="405" y="22"/>
                    </a:lnTo>
                    <a:lnTo>
                      <a:pt x="405" y="25"/>
                    </a:lnTo>
                    <a:lnTo>
                      <a:pt x="407" y="27"/>
                    </a:lnTo>
                    <a:lnTo>
                      <a:pt x="403" y="28"/>
                    </a:lnTo>
                    <a:lnTo>
                      <a:pt x="405" y="32"/>
                    </a:lnTo>
                    <a:lnTo>
                      <a:pt x="403" y="33"/>
                    </a:lnTo>
                    <a:lnTo>
                      <a:pt x="400" y="32"/>
                    </a:lnTo>
                    <a:lnTo>
                      <a:pt x="398" y="33"/>
                    </a:lnTo>
                    <a:lnTo>
                      <a:pt x="397" y="35"/>
                    </a:lnTo>
                    <a:lnTo>
                      <a:pt x="393" y="38"/>
                    </a:lnTo>
                    <a:lnTo>
                      <a:pt x="393" y="33"/>
                    </a:lnTo>
                    <a:lnTo>
                      <a:pt x="398" y="25"/>
                    </a:lnTo>
                    <a:lnTo>
                      <a:pt x="393" y="25"/>
                    </a:lnTo>
                    <a:lnTo>
                      <a:pt x="395" y="22"/>
                    </a:lnTo>
                    <a:lnTo>
                      <a:pt x="397" y="20"/>
                    </a:lnTo>
                    <a:lnTo>
                      <a:pt x="397" y="13"/>
                    </a:lnTo>
                    <a:lnTo>
                      <a:pt x="395" y="12"/>
                    </a:lnTo>
                    <a:lnTo>
                      <a:pt x="393" y="12"/>
                    </a:lnTo>
                    <a:lnTo>
                      <a:pt x="387" y="20"/>
                    </a:lnTo>
                    <a:lnTo>
                      <a:pt x="387" y="25"/>
                    </a:lnTo>
                    <a:lnTo>
                      <a:pt x="382" y="33"/>
                    </a:lnTo>
                    <a:lnTo>
                      <a:pt x="380" y="38"/>
                    </a:lnTo>
                    <a:lnTo>
                      <a:pt x="380" y="40"/>
                    </a:lnTo>
                    <a:lnTo>
                      <a:pt x="380" y="45"/>
                    </a:lnTo>
                    <a:lnTo>
                      <a:pt x="373" y="52"/>
                    </a:lnTo>
                    <a:lnTo>
                      <a:pt x="370" y="53"/>
                    </a:lnTo>
                    <a:lnTo>
                      <a:pt x="370" y="48"/>
                    </a:lnTo>
                    <a:lnTo>
                      <a:pt x="370" y="47"/>
                    </a:lnTo>
                    <a:lnTo>
                      <a:pt x="373" y="40"/>
                    </a:lnTo>
                    <a:lnTo>
                      <a:pt x="372" y="37"/>
                    </a:lnTo>
                    <a:lnTo>
                      <a:pt x="373" y="33"/>
                    </a:lnTo>
                    <a:lnTo>
                      <a:pt x="372" y="30"/>
                    </a:lnTo>
                    <a:lnTo>
                      <a:pt x="380" y="23"/>
                    </a:lnTo>
                    <a:lnTo>
                      <a:pt x="380" y="18"/>
                    </a:lnTo>
                    <a:lnTo>
                      <a:pt x="382" y="18"/>
                    </a:lnTo>
                    <a:lnTo>
                      <a:pt x="382" y="15"/>
                    </a:lnTo>
                    <a:lnTo>
                      <a:pt x="377" y="15"/>
                    </a:lnTo>
                    <a:lnTo>
                      <a:pt x="373" y="12"/>
                    </a:lnTo>
                    <a:lnTo>
                      <a:pt x="372" y="12"/>
                    </a:lnTo>
                    <a:lnTo>
                      <a:pt x="372" y="17"/>
                    </a:lnTo>
                    <a:lnTo>
                      <a:pt x="370" y="18"/>
                    </a:lnTo>
                    <a:lnTo>
                      <a:pt x="370" y="15"/>
                    </a:lnTo>
                    <a:lnTo>
                      <a:pt x="367" y="12"/>
                    </a:lnTo>
                    <a:lnTo>
                      <a:pt x="362" y="12"/>
                    </a:lnTo>
                    <a:lnTo>
                      <a:pt x="358" y="13"/>
                    </a:lnTo>
                    <a:lnTo>
                      <a:pt x="360" y="18"/>
                    </a:lnTo>
                    <a:lnTo>
                      <a:pt x="358" y="20"/>
                    </a:lnTo>
                    <a:lnTo>
                      <a:pt x="357" y="18"/>
                    </a:lnTo>
                    <a:lnTo>
                      <a:pt x="353" y="17"/>
                    </a:lnTo>
                    <a:lnTo>
                      <a:pt x="352" y="18"/>
                    </a:lnTo>
                    <a:lnTo>
                      <a:pt x="352" y="20"/>
                    </a:lnTo>
                    <a:lnTo>
                      <a:pt x="358" y="23"/>
                    </a:lnTo>
                    <a:lnTo>
                      <a:pt x="358" y="28"/>
                    </a:lnTo>
                    <a:lnTo>
                      <a:pt x="358" y="28"/>
                    </a:lnTo>
                    <a:lnTo>
                      <a:pt x="355" y="27"/>
                    </a:lnTo>
                    <a:lnTo>
                      <a:pt x="352" y="28"/>
                    </a:lnTo>
                    <a:lnTo>
                      <a:pt x="352" y="32"/>
                    </a:lnTo>
                    <a:lnTo>
                      <a:pt x="353" y="33"/>
                    </a:lnTo>
                    <a:lnTo>
                      <a:pt x="352" y="35"/>
                    </a:lnTo>
                    <a:lnTo>
                      <a:pt x="348" y="32"/>
                    </a:lnTo>
                    <a:lnTo>
                      <a:pt x="345" y="32"/>
                    </a:lnTo>
                    <a:lnTo>
                      <a:pt x="343" y="37"/>
                    </a:lnTo>
                    <a:lnTo>
                      <a:pt x="340" y="38"/>
                    </a:lnTo>
                    <a:lnTo>
                      <a:pt x="340" y="40"/>
                    </a:lnTo>
                    <a:lnTo>
                      <a:pt x="342" y="40"/>
                    </a:lnTo>
                    <a:lnTo>
                      <a:pt x="337" y="43"/>
                    </a:lnTo>
                    <a:lnTo>
                      <a:pt x="337" y="47"/>
                    </a:lnTo>
                    <a:lnTo>
                      <a:pt x="340" y="50"/>
                    </a:lnTo>
                    <a:lnTo>
                      <a:pt x="337" y="53"/>
                    </a:lnTo>
                    <a:lnTo>
                      <a:pt x="340" y="53"/>
                    </a:lnTo>
                    <a:lnTo>
                      <a:pt x="342" y="55"/>
                    </a:lnTo>
                    <a:lnTo>
                      <a:pt x="340" y="58"/>
                    </a:lnTo>
                    <a:lnTo>
                      <a:pt x="335" y="57"/>
                    </a:lnTo>
                    <a:lnTo>
                      <a:pt x="333" y="52"/>
                    </a:lnTo>
                    <a:lnTo>
                      <a:pt x="330" y="50"/>
                    </a:lnTo>
                    <a:lnTo>
                      <a:pt x="333" y="48"/>
                    </a:lnTo>
                    <a:lnTo>
                      <a:pt x="328" y="47"/>
                    </a:lnTo>
                    <a:lnTo>
                      <a:pt x="325" y="47"/>
                    </a:lnTo>
                    <a:lnTo>
                      <a:pt x="320" y="47"/>
                    </a:lnTo>
                    <a:lnTo>
                      <a:pt x="312" y="42"/>
                    </a:lnTo>
                    <a:lnTo>
                      <a:pt x="310" y="42"/>
                    </a:lnTo>
                    <a:lnTo>
                      <a:pt x="307" y="43"/>
                    </a:lnTo>
                    <a:lnTo>
                      <a:pt x="305" y="40"/>
                    </a:lnTo>
                    <a:lnTo>
                      <a:pt x="302" y="43"/>
                    </a:lnTo>
                    <a:lnTo>
                      <a:pt x="299" y="45"/>
                    </a:lnTo>
                    <a:lnTo>
                      <a:pt x="297" y="47"/>
                    </a:lnTo>
                    <a:lnTo>
                      <a:pt x="304" y="52"/>
                    </a:lnTo>
                    <a:lnTo>
                      <a:pt x="307" y="52"/>
                    </a:lnTo>
                    <a:lnTo>
                      <a:pt x="309" y="55"/>
                    </a:lnTo>
                    <a:lnTo>
                      <a:pt x="314" y="55"/>
                    </a:lnTo>
                    <a:lnTo>
                      <a:pt x="312" y="58"/>
                    </a:lnTo>
                    <a:lnTo>
                      <a:pt x="312" y="62"/>
                    </a:lnTo>
                    <a:lnTo>
                      <a:pt x="315" y="67"/>
                    </a:lnTo>
                    <a:lnTo>
                      <a:pt x="315" y="70"/>
                    </a:lnTo>
                    <a:lnTo>
                      <a:pt x="312" y="68"/>
                    </a:lnTo>
                    <a:lnTo>
                      <a:pt x="309" y="63"/>
                    </a:lnTo>
                    <a:lnTo>
                      <a:pt x="305" y="62"/>
                    </a:lnTo>
                    <a:lnTo>
                      <a:pt x="302" y="58"/>
                    </a:lnTo>
                    <a:lnTo>
                      <a:pt x="300" y="62"/>
                    </a:lnTo>
                    <a:lnTo>
                      <a:pt x="297" y="65"/>
                    </a:lnTo>
                    <a:lnTo>
                      <a:pt x="297" y="60"/>
                    </a:lnTo>
                    <a:lnTo>
                      <a:pt x="294" y="63"/>
                    </a:lnTo>
                    <a:lnTo>
                      <a:pt x="294" y="65"/>
                    </a:lnTo>
                    <a:lnTo>
                      <a:pt x="289" y="68"/>
                    </a:lnTo>
                    <a:lnTo>
                      <a:pt x="289" y="72"/>
                    </a:lnTo>
                    <a:lnTo>
                      <a:pt x="294" y="73"/>
                    </a:lnTo>
                    <a:lnTo>
                      <a:pt x="295" y="78"/>
                    </a:lnTo>
                    <a:lnTo>
                      <a:pt x="292" y="77"/>
                    </a:lnTo>
                    <a:lnTo>
                      <a:pt x="290" y="75"/>
                    </a:lnTo>
                    <a:lnTo>
                      <a:pt x="287" y="80"/>
                    </a:lnTo>
                    <a:lnTo>
                      <a:pt x="285" y="83"/>
                    </a:lnTo>
                    <a:lnTo>
                      <a:pt x="280" y="87"/>
                    </a:lnTo>
                    <a:lnTo>
                      <a:pt x="280" y="85"/>
                    </a:lnTo>
                    <a:lnTo>
                      <a:pt x="284" y="82"/>
                    </a:lnTo>
                    <a:lnTo>
                      <a:pt x="282" y="80"/>
                    </a:lnTo>
                    <a:lnTo>
                      <a:pt x="285" y="73"/>
                    </a:lnTo>
                    <a:lnTo>
                      <a:pt x="284" y="60"/>
                    </a:lnTo>
                    <a:lnTo>
                      <a:pt x="280" y="63"/>
                    </a:lnTo>
                    <a:lnTo>
                      <a:pt x="274" y="70"/>
                    </a:lnTo>
                    <a:lnTo>
                      <a:pt x="274" y="77"/>
                    </a:lnTo>
                    <a:lnTo>
                      <a:pt x="275" y="78"/>
                    </a:lnTo>
                    <a:lnTo>
                      <a:pt x="272" y="82"/>
                    </a:lnTo>
                    <a:lnTo>
                      <a:pt x="270" y="78"/>
                    </a:lnTo>
                    <a:lnTo>
                      <a:pt x="274" y="73"/>
                    </a:lnTo>
                    <a:lnTo>
                      <a:pt x="272" y="68"/>
                    </a:lnTo>
                    <a:lnTo>
                      <a:pt x="269" y="67"/>
                    </a:lnTo>
                    <a:lnTo>
                      <a:pt x="264" y="70"/>
                    </a:lnTo>
                    <a:lnTo>
                      <a:pt x="262" y="75"/>
                    </a:lnTo>
                    <a:lnTo>
                      <a:pt x="264" y="80"/>
                    </a:lnTo>
                    <a:lnTo>
                      <a:pt x="264" y="83"/>
                    </a:lnTo>
                    <a:lnTo>
                      <a:pt x="270" y="88"/>
                    </a:lnTo>
                    <a:lnTo>
                      <a:pt x="272" y="90"/>
                    </a:lnTo>
                    <a:lnTo>
                      <a:pt x="269" y="95"/>
                    </a:lnTo>
                    <a:lnTo>
                      <a:pt x="267" y="90"/>
                    </a:lnTo>
                    <a:lnTo>
                      <a:pt x="262" y="88"/>
                    </a:lnTo>
                    <a:lnTo>
                      <a:pt x="259" y="80"/>
                    </a:lnTo>
                    <a:lnTo>
                      <a:pt x="257" y="78"/>
                    </a:lnTo>
                    <a:lnTo>
                      <a:pt x="250" y="82"/>
                    </a:lnTo>
                    <a:lnTo>
                      <a:pt x="250" y="83"/>
                    </a:lnTo>
                    <a:lnTo>
                      <a:pt x="257" y="88"/>
                    </a:lnTo>
                    <a:lnTo>
                      <a:pt x="259" y="88"/>
                    </a:lnTo>
                    <a:lnTo>
                      <a:pt x="260" y="90"/>
                    </a:lnTo>
                    <a:lnTo>
                      <a:pt x="257" y="90"/>
                    </a:lnTo>
                    <a:lnTo>
                      <a:pt x="252" y="90"/>
                    </a:lnTo>
                    <a:lnTo>
                      <a:pt x="255" y="95"/>
                    </a:lnTo>
                    <a:lnTo>
                      <a:pt x="250" y="92"/>
                    </a:lnTo>
                    <a:lnTo>
                      <a:pt x="250" y="87"/>
                    </a:lnTo>
                    <a:lnTo>
                      <a:pt x="249" y="87"/>
                    </a:lnTo>
                    <a:lnTo>
                      <a:pt x="247" y="82"/>
                    </a:lnTo>
                    <a:lnTo>
                      <a:pt x="245" y="85"/>
                    </a:lnTo>
                    <a:lnTo>
                      <a:pt x="244" y="90"/>
                    </a:lnTo>
                    <a:lnTo>
                      <a:pt x="245" y="92"/>
                    </a:lnTo>
                    <a:lnTo>
                      <a:pt x="245" y="97"/>
                    </a:lnTo>
                    <a:lnTo>
                      <a:pt x="240" y="95"/>
                    </a:lnTo>
                    <a:lnTo>
                      <a:pt x="237" y="97"/>
                    </a:lnTo>
                    <a:lnTo>
                      <a:pt x="234" y="101"/>
                    </a:lnTo>
                    <a:lnTo>
                      <a:pt x="234" y="101"/>
                    </a:lnTo>
                    <a:lnTo>
                      <a:pt x="237" y="101"/>
                    </a:lnTo>
                    <a:lnTo>
                      <a:pt x="240" y="105"/>
                    </a:lnTo>
                    <a:lnTo>
                      <a:pt x="237" y="105"/>
                    </a:lnTo>
                    <a:lnTo>
                      <a:pt x="234" y="106"/>
                    </a:lnTo>
                    <a:lnTo>
                      <a:pt x="235" y="108"/>
                    </a:lnTo>
                    <a:lnTo>
                      <a:pt x="234" y="110"/>
                    </a:lnTo>
                    <a:lnTo>
                      <a:pt x="230" y="110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29" y="115"/>
                    </a:lnTo>
                    <a:lnTo>
                      <a:pt x="227" y="111"/>
                    </a:lnTo>
                    <a:lnTo>
                      <a:pt x="224" y="113"/>
                    </a:lnTo>
                    <a:lnTo>
                      <a:pt x="220" y="116"/>
                    </a:lnTo>
                    <a:lnTo>
                      <a:pt x="222" y="118"/>
                    </a:lnTo>
                    <a:lnTo>
                      <a:pt x="220" y="120"/>
                    </a:lnTo>
                    <a:lnTo>
                      <a:pt x="216" y="120"/>
                    </a:lnTo>
                    <a:lnTo>
                      <a:pt x="214" y="125"/>
                    </a:lnTo>
                    <a:lnTo>
                      <a:pt x="217" y="125"/>
                    </a:lnTo>
                    <a:lnTo>
                      <a:pt x="227" y="123"/>
                    </a:lnTo>
                    <a:lnTo>
                      <a:pt x="230" y="125"/>
                    </a:lnTo>
                    <a:lnTo>
                      <a:pt x="235" y="121"/>
                    </a:lnTo>
                    <a:lnTo>
                      <a:pt x="237" y="121"/>
                    </a:lnTo>
                    <a:lnTo>
                      <a:pt x="237" y="125"/>
                    </a:lnTo>
                    <a:lnTo>
                      <a:pt x="234" y="128"/>
                    </a:lnTo>
                    <a:lnTo>
                      <a:pt x="234" y="133"/>
                    </a:lnTo>
                    <a:lnTo>
                      <a:pt x="232" y="135"/>
                    </a:lnTo>
                    <a:lnTo>
                      <a:pt x="230" y="133"/>
                    </a:lnTo>
                    <a:lnTo>
                      <a:pt x="230" y="130"/>
                    </a:lnTo>
                    <a:lnTo>
                      <a:pt x="225" y="131"/>
                    </a:lnTo>
                    <a:lnTo>
                      <a:pt x="224" y="130"/>
                    </a:lnTo>
                    <a:lnTo>
                      <a:pt x="219" y="130"/>
                    </a:lnTo>
                    <a:lnTo>
                      <a:pt x="220" y="130"/>
                    </a:lnTo>
                    <a:lnTo>
                      <a:pt x="219" y="133"/>
                    </a:lnTo>
                    <a:lnTo>
                      <a:pt x="216" y="131"/>
                    </a:lnTo>
                    <a:lnTo>
                      <a:pt x="214" y="131"/>
                    </a:lnTo>
                    <a:lnTo>
                      <a:pt x="217" y="133"/>
                    </a:lnTo>
                    <a:lnTo>
                      <a:pt x="219" y="136"/>
                    </a:lnTo>
                    <a:lnTo>
                      <a:pt x="216" y="138"/>
                    </a:lnTo>
                    <a:lnTo>
                      <a:pt x="214" y="140"/>
                    </a:lnTo>
                    <a:lnTo>
                      <a:pt x="216" y="143"/>
                    </a:lnTo>
                    <a:lnTo>
                      <a:pt x="214" y="145"/>
                    </a:lnTo>
                    <a:lnTo>
                      <a:pt x="212" y="141"/>
                    </a:lnTo>
                    <a:lnTo>
                      <a:pt x="212" y="138"/>
                    </a:lnTo>
                    <a:lnTo>
                      <a:pt x="209" y="135"/>
                    </a:lnTo>
                    <a:lnTo>
                      <a:pt x="206" y="138"/>
                    </a:lnTo>
                    <a:lnTo>
                      <a:pt x="202" y="138"/>
                    </a:lnTo>
                    <a:lnTo>
                      <a:pt x="201" y="136"/>
                    </a:lnTo>
                    <a:lnTo>
                      <a:pt x="202" y="135"/>
                    </a:lnTo>
                    <a:lnTo>
                      <a:pt x="199" y="133"/>
                    </a:lnTo>
                    <a:lnTo>
                      <a:pt x="196" y="138"/>
                    </a:lnTo>
                    <a:lnTo>
                      <a:pt x="199" y="141"/>
                    </a:lnTo>
                    <a:lnTo>
                      <a:pt x="204" y="140"/>
                    </a:lnTo>
                    <a:lnTo>
                      <a:pt x="209" y="143"/>
                    </a:lnTo>
                    <a:lnTo>
                      <a:pt x="206" y="146"/>
                    </a:lnTo>
                    <a:lnTo>
                      <a:pt x="197" y="148"/>
                    </a:lnTo>
                    <a:lnTo>
                      <a:pt x="196" y="146"/>
                    </a:lnTo>
                    <a:lnTo>
                      <a:pt x="192" y="146"/>
                    </a:lnTo>
                    <a:lnTo>
                      <a:pt x="191" y="150"/>
                    </a:lnTo>
                    <a:lnTo>
                      <a:pt x="192" y="153"/>
                    </a:lnTo>
                    <a:lnTo>
                      <a:pt x="191" y="156"/>
                    </a:lnTo>
                    <a:lnTo>
                      <a:pt x="194" y="155"/>
                    </a:lnTo>
                    <a:lnTo>
                      <a:pt x="197" y="151"/>
                    </a:lnTo>
                    <a:lnTo>
                      <a:pt x="202" y="151"/>
                    </a:lnTo>
                    <a:lnTo>
                      <a:pt x="204" y="153"/>
                    </a:lnTo>
                    <a:lnTo>
                      <a:pt x="197" y="155"/>
                    </a:lnTo>
                    <a:lnTo>
                      <a:pt x="197" y="158"/>
                    </a:lnTo>
                    <a:lnTo>
                      <a:pt x="199" y="161"/>
                    </a:lnTo>
                    <a:lnTo>
                      <a:pt x="204" y="165"/>
                    </a:lnTo>
                    <a:lnTo>
                      <a:pt x="204" y="168"/>
                    </a:lnTo>
                    <a:lnTo>
                      <a:pt x="201" y="165"/>
                    </a:lnTo>
                    <a:lnTo>
                      <a:pt x="197" y="166"/>
                    </a:lnTo>
                    <a:lnTo>
                      <a:pt x="194" y="161"/>
                    </a:lnTo>
                    <a:lnTo>
                      <a:pt x="192" y="161"/>
                    </a:lnTo>
                    <a:lnTo>
                      <a:pt x="189" y="165"/>
                    </a:lnTo>
                    <a:lnTo>
                      <a:pt x="192" y="166"/>
                    </a:lnTo>
                    <a:lnTo>
                      <a:pt x="187" y="168"/>
                    </a:lnTo>
                    <a:lnTo>
                      <a:pt x="184" y="170"/>
                    </a:lnTo>
                    <a:lnTo>
                      <a:pt x="184" y="173"/>
                    </a:lnTo>
                    <a:lnTo>
                      <a:pt x="187" y="175"/>
                    </a:lnTo>
                    <a:lnTo>
                      <a:pt x="192" y="173"/>
                    </a:lnTo>
                    <a:lnTo>
                      <a:pt x="194" y="175"/>
                    </a:lnTo>
                    <a:lnTo>
                      <a:pt x="199" y="173"/>
                    </a:lnTo>
                    <a:lnTo>
                      <a:pt x="199" y="176"/>
                    </a:lnTo>
                    <a:lnTo>
                      <a:pt x="202" y="178"/>
                    </a:lnTo>
                    <a:lnTo>
                      <a:pt x="202" y="181"/>
                    </a:lnTo>
                    <a:lnTo>
                      <a:pt x="196" y="178"/>
                    </a:lnTo>
                    <a:lnTo>
                      <a:pt x="191" y="178"/>
                    </a:lnTo>
                    <a:lnTo>
                      <a:pt x="189" y="178"/>
                    </a:lnTo>
                    <a:lnTo>
                      <a:pt x="182" y="180"/>
                    </a:lnTo>
                    <a:lnTo>
                      <a:pt x="182" y="183"/>
                    </a:lnTo>
                    <a:lnTo>
                      <a:pt x="179" y="185"/>
                    </a:lnTo>
                    <a:lnTo>
                      <a:pt x="177" y="183"/>
                    </a:lnTo>
                    <a:lnTo>
                      <a:pt x="171" y="186"/>
                    </a:lnTo>
                    <a:lnTo>
                      <a:pt x="167" y="186"/>
                    </a:lnTo>
                    <a:lnTo>
                      <a:pt x="167" y="188"/>
                    </a:lnTo>
                    <a:lnTo>
                      <a:pt x="171" y="190"/>
                    </a:lnTo>
                    <a:lnTo>
                      <a:pt x="174" y="193"/>
                    </a:lnTo>
                    <a:lnTo>
                      <a:pt x="171" y="195"/>
                    </a:lnTo>
                    <a:lnTo>
                      <a:pt x="169" y="193"/>
                    </a:lnTo>
                    <a:lnTo>
                      <a:pt x="167" y="195"/>
                    </a:lnTo>
                    <a:lnTo>
                      <a:pt x="171" y="196"/>
                    </a:lnTo>
                    <a:lnTo>
                      <a:pt x="169" y="198"/>
                    </a:lnTo>
                    <a:lnTo>
                      <a:pt x="164" y="198"/>
                    </a:lnTo>
                    <a:lnTo>
                      <a:pt x="164" y="196"/>
                    </a:lnTo>
                    <a:lnTo>
                      <a:pt x="162" y="198"/>
                    </a:lnTo>
                    <a:lnTo>
                      <a:pt x="166" y="199"/>
                    </a:lnTo>
                    <a:lnTo>
                      <a:pt x="164" y="201"/>
                    </a:lnTo>
                    <a:lnTo>
                      <a:pt x="164" y="204"/>
                    </a:lnTo>
                    <a:lnTo>
                      <a:pt x="167" y="204"/>
                    </a:lnTo>
                    <a:lnTo>
                      <a:pt x="164" y="206"/>
                    </a:lnTo>
                    <a:lnTo>
                      <a:pt x="161" y="206"/>
                    </a:lnTo>
                    <a:lnTo>
                      <a:pt x="159" y="204"/>
                    </a:lnTo>
                    <a:lnTo>
                      <a:pt x="159" y="208"/>
                    </a:lnTo>
                    <a:lnTo>
                      <a:pt x="157" y="209"/>
                    </a:lnTo>
                    <a:lnTo>
                      <a:pt x="161" y="209"/>
                    </a:lnTo>
                    <a:lnTo>
                      <a:pt x="167" y="213"/>
                    </a:lnTo>
                    <a:lnTo>
                      <a:pt x="167" y="214"/>
                    </a:lnTo>
                    <a:lnTo>
                      <a:pt x="171" y="216"/>
                    </a:lnTo>
                    <a:lnTo>
                      <a:pt x="174" y="214"/>
                    </a:lnTo>
                    <a:lnTo>
                      <a:pt x="171" y="216"/>
                    </a:lnTo>
                    <a:lnTo>
                      <a:pt x="171" y="218"/>
                    </a:lnTo>
                    <a:lnTo>
                      <a:pt x="167" y="218"/>
                    </a:lnTo>
                    <a:lnTo>
                      <a:pt x="166" y="218"/>
                    </a:lnTo>
                    <a:lnTo>
                      <a:pt x="159" y="218"/>
                    </a:lnTo>
                    <a:lnTo>
                      <a:pt x="154" y="221"/>
                    </a:lnTo>
                    <a:lnTo>
                      <a:pt x="156" y="223"/>
                    </a:lnTo>
                    <a:lnTo>
                      <a:pt x="161" y="223"/>
                    </a:lnTo>
                    <a:lnTo>
                      <a:pt x="161" y="224"/>
                    </a:lnTo>
                    <a:lnTo>
                      <a:pt x="164" y="228"/>
                    </a:lnTo>
                    <a:lnTo>
                      <a:pt x="162" y="231"/>
                    </a:lnTo>
                    <a:lnTo>
                      <a:pt x="161" y="228"/>
                    </a:lnTo>
                    <a:lnTo>
                      <a:pt x="157" y="228"/>
                    </a:lnTo>
                    <a:lnTo>
                      <a:pt x="156" y="231"/>
                    </a:lnTo>
                    <a:lnTo>
                      <a:pt x="156" y="233"/>
                    </a:lnTo>
                    <a:lnTo>
                      <a:pt x="154" y="234"/>
                    </a:lnTo>
                    <a:lnTo>
                      <a:pt x="157" y="236"/>
                    </a:lnTo>
                    <a:lnTo>
                      <a:pt x="157" y="239"/>
                    </a:lnTo>
                    <a:lnTo>
                      <a:pt x="156" y="239"/>
                    </a:lnTo>
                    <a:lnTo>
                      <a:pt x="152" y="236"/>
                    </a:lnTo>
                    <a:lnTo>
                      <a:pt x="151" y="238"/>
                    </a:lnTo>
                    <a:lnTo>
                      <a:pt x="151" y="241"/>
                    </a:lnTo>
                    <a:lnTo>
                      <a:pt x="156" y="243"/>
                    </a:lnTo>
                    <a:lnTo>
                      <a:pt x="156" y="244"/>
                    </a:lnTo>
                    <a:lnTo>
                      <a:pt x="156" y="246"/>
                    </a:lnTo>
                    <a:lnTo>
                      <a:pt x="151" y="243"/>
                    </a:lnTo>
                    <a:lnTo>
                      <a:pt x="149" y="244"/>
                    </a:lnTo>
                    <a:lnTo>
                      <a:pt x="147" y="248"/>
                    </a:lnTo>
                    <a:lnTo>
                      <a:pt x="149" y="248"/>
                    </a:lnTo>
                    <a:lnTo>
                      <a:pt x="149" y="253"/>
                    </a:lnTo>
                    <a:lnTo>
                      <a:pt x="151" y="256"/>
                    </a:lnTo>
                    <a:lnTo>
                      <a:pt x="154" y="256"/>
                    </a:lnTo>
                    <a:lnTo>
                      <a:pt x="156" y="253"/>
                    </a:lnTo>
                    <a:lnTo>
                      <a:pt x="159" y="253"/>
                    </a:lnTo>
                    <a:lnTo>
                      <a:pt x="156" y="258"/>
                    </a:lnTo>
                    <a:lnTo>
                      <a:pt x="154" y="258"/>
                    </a:lnTo>
                    <a:lnTo>
                      <a:pt x="149" y="263"/>
                    </a:lnTo>
                    <a:lnTo>
                      <a:pt x="146" y="263"/>
                    </a:lnTo>
                    <a:lnTo>
                      <a:pt x="142" y="263"/>
                    </a:lnTo>
                    <a:lnTo>
                      <a:pt x="142" y="264"/>
                    </a:lnTo>
                    <a:lnTo>
                      <a:pt x="139" y="266"/>
                    </a:lnTo>
                    <a:lnTo>
                      <a:pt x="136" y="269"/>
                    </a:lnTo>
                    <a:lnTo>
                      <a:pt x="139" y="271"/>
                    </a:lnTo>
                    <a:lnTo>
                      <a:pt x="137" y="273"/>
                    </a:lnTo>
                    <a:lnTo>
                      <a:pt x="132" y="273"/>
                    </a:lnTo>
                    <a:lnTo>
                      <a:pt x="129" y="276"/>
                    </a:lnTo>
                    <a:lnTo>
                      <a:pt x="129" y="278"/>
                    </a:lnTo>
                    <a:lnTo>
                      <a:pt x="134" y="279"/>
                    </a:lnTo>
                    <a:lnTo>
                      <a:pt x="131" y="281"/>
                    </a:lnTo>
                    <a:lnTo>
                      <a:pt x="129" y="284"/>
                    </a:lnTo>
                    <a:lnTo>
                      <a:pt x="126" y="284"/>
                    </a:lnTo>
                    <a:lnTo>
                      <a:pt x="124" y="281"/>
                    </a:lnTo>
                    <a:lnTo>
                      <a:pt x="122" y="279"/>
                    </a:lnTo>
                    <a:lnTo>
                      <a:pt x="121" y="283"/>
                    </a:lnTo>
                    <a:lnTo>
                      <a:pt x="117" y="283"/>
                    </a:lnTo>
                    <a:lnTo>
                      <a:pt x="119" y="284"/>
                    </a:lnTo>
                    <a:lnTo>
                      <a:pt x="116" y="286"/>
                    </a:lnTo>
                    <a:lnTo>
                      <a:pt x="116" y="289"/>
                    </a:lnTo>
                    <a:lnTo>
                      <a:pt x="117" y="291"/>
                    </a:lnTo>
                    <a:lnTo>
                      <a:pt x="111" y="291"/>
                    </a:lnTo>
                    <a:lnTo>
                      <a:pt x="109" y="293"/>
                    </a:lnTo>
                    <a:lnTo>
                      <a:pt x="109" y="296"/>
                    </a:lnTo>
                    <a:lnTo>
                      <a:pt x="106" y="299"/>
                    </a:lnTo>
                    <a:lnTo>
                      <a:pt x="106" y="301"/>
                    </a:lnTo>
                    <a:lnTo>
                      <a:pt x="106" y="306"/>
                    </a:lnTo>
                    <a:lnTo>
                      <a:pt x="103" y="307"/>
                    </a:lnTo>
                    <a:lnTo>
                      <a:pt x="98" y="311"/>
                    </a:lnTo>
                    <a:lnTo>
                      <a:pt x="99" y="312"/>
                    </a:lnTo>
                    <a:lnTo>
                      <a:pt x="104" y="309"/>
                    </a:lnTo>
                    <a:lnTo>
                      <a:pt x="106" y="311"/>
                    </a:lnTo>
                    <a:lnTo>
                      <a:pt x="106" y="312"/>
                    </a:lnTo>
                    <a:lnTo>
                      <a:pt x="103" y="314"/>
                    </a:lnTo>
                    <a:lnTo>
                      <a:pt x="103" y="317"/>
                    </a:lnTo>
                    <a:lnTo>
                      <a:pt x="106" y="321"/>
                    </a:lnTo>
                    <a:lnTo>
                      <a:pt x="111" y="319"/>
                    </a:lnTo>
                    <a:lnTo>
                      <a:pt x="116" y="317"/>
                    </a:lnTo>
                    <a:lnTo>
                      <a:pt x="122" y="311"/>
                    </a:lnTo>
                    <a:lnTo>
                      <a:pt x="122" y="309"/>
                    </a:lnTo>
                    <a:lnTo>
                      <a:pt x="119" y="309"/>
                    </a:lnTo>
                    <a:lnTo>
                      <a:pt x="122" y="306"/>
                    </a:lnTo>
                    <a:lnTo>
                      <a:pt x="124" y="301"/>
                    </a:lnTo>
                    <a:lnTo>
                      <a:pt x="126" y="301"/>
                    </a:lnTo>
                    <a:lnTo>
                      <a:pt x="127" y="299"/>
                    </a:lnTo>
                    <a:lnTo>
                      <a:pt x="132" y="299"/>
                    </a:lnTo>
                    <a:lnTo>
                      <a:pt x="134" y="299"/>
                    </a:lnTo>
                    <a:lnTo>
                      <a:pt x="127" y="302"/>
                    </a:lnTo>
                    <a:lnTo>
                      <a:pt x="127" y="306"/>
                    </a:lnTo>
                    <a:lnTo>
                      <a:pt x="134" y="307"/>
                    </a:lnTo>
                    <a:lnTo>
                      <a:pt x="132" y="311"/>
                    </a:lnTo>
                    <a:lnTo>
                      <a:pt x="127" y="311"/>
                    </a:lnTo>
                    <a:lnTo>
                      <a:pt x="121" y="317"/>
                    </a:lnTo>
                    <a:lnTo>
                      <a:pt x="126" y="319"/>
                    </a:lnTo>
                    <a:lnTo>
                      <a:pt x="122" y="322"/>
                    </a:lnTo>
                    <a:lnTo>
                      <a:pt x="124" y="326"/>
                    </a:lnTo>
                    <a:lnTo>
                      <a:pt x="119" y="326"/>
                    </a:lnTo>
                    <a:lnTo>
                      <a:pt x="116" y="322"/>
                    </a:lnTo>
                    <a:lnTo>
                      <a:pt x="111" y="322"/>
                    </a:lnTo>
                    <a:lnTo>
                      <a:pt x="108" y="324"/>
                    </a:lnTo>
                    <a:lnTo>
                      <a:pt x="108" y="329"/>
                    </a:lnTo>
                    <a:lnTo>
                      <a:pt x="104" y="331"/>
                    </a:lnTo>
                    <a:lnTo>
                      <a:pt x="101" y="332"/>
                    </a:lnTo>
                    <a:lnTo>
                      <a:pt x="103" y="329"/>
                    </a:lnTo>
                    <a:lnTo>
                      <a:pt x="104" y="327"/>
                    </a:lnTo>
                    <a:lnTo>
                      <a:pt x="103" y="324"/>
                    </a:lnTo>
                    <a:lnTo>
                      <a:pt x="103" y="321"/>
                    </a:lnTo>
                    <a:lnTo>
                      <a:pt x="99" y="316"/>
                    </a:lnTo>
                    <a:lnTo>
                      <a:pt x="96" y="316"/>
                    </a:lnTo>
                    <a:lnTo>
                      <a:pt x="94" y="319"/>
                    </a:lnTo>
                    <a:lnTo>
                      <a:pt x="89" y="321"/>
                    </a:lnTo>
                    <a:lnTo>
                      <a:pt x="89" y="322"/>
                    </a:lnTo>
                    <a:lnTo>
                      <a:pt x="94" y="322"/>
                    </a:lnTo>
                    <a:lnTo>
                      <a:pt x="89" y="327"/>
                    </a:lnTo>
                    <a:lnTo>
                      <a:pt x="84" y="326"/>
                    </a:lnTo>
                    <a:lnTo>
                      <a:pt x="81" y="326"/>
                    </a:lnTo>
                    <a:lnTo>
                      <a:pt x="76" y="329"/>
                    </a:lnTo>
                    <a:lnTo>
                      <a:pt x="79" y="331"/>
                    </a:lnTo>
                    <a:lnTo>
                      <a:pt x="81" y="329"/>
                    </a:lnTo>
                    <a:lnTo>
                      <a:pt x="83" y="331"/>
                    </a:lnTo>
                    <a:lnTo>
                      <a:pt x="78" y="332"/>
                    </a:lnTo>
                    <a:lnTo>
                      <a:pt x="76" y="336"/>
                    </a:lnTo>
                    <a:lnTo>
                      <a:pt x="74" y="334"/>
                    </a:lnTo>
                    <a:lnTo>
                      <a:pt x="71" y="334"/>
                    </a:lnTo>
                    <a:lnTo>
                      <a:pt x="69" y="336"/>
                    </a:lnTo>
                    <a:lnTo>
                      <a:pt x="74" y="339"/>
                    </a:lnTo>
                    <a:lnTo>
                      <a:pt x="81" y="339"/>
                    </a:lnTo>
                    <a:lnTo>
                      <a:pt x="79" y="341"/>
                    </a:lnTo>
                    <a:lnTo>
                      <a:pt x="83" y="342"/>
                    </a:lnTo>
                    <a:lnTo>
                      <a:pt x="83" y="346"/>
                    </a:lnTo>
                    <a:lnTo>
                      <a:pt x="78" y="344"/>
                    </a:lnTo>
                    <a:lnTo>
                      <a:pt x="76" y="341"/>
                    </a:lnTo>
                    <a:lnTo>
                      <a:pt x="73" y="341"/>
                    </a:lnTo>
                    <a:lnTo>
                      <a:pt x="68" y="337"/>
                    </a:lnTo>
                    <a:lnTo>
                      <a:pt x="68" y="334"/>
                    </a:lnTo>
                    <a:lnTo>
                      <a:pt x="64" y="334"/>
                    </a:lnTo>
                    <a:lnTo>
                      <a:pt x="64" y="337"/>
                    </a:lnTo>
                    <a:lnTo>
                      <a:pt x="69" y="342"/>
                    </a:lnTo>
                    <a:lnTo>
                      <a:pt x="73" y="346"/>
                    </a:lnTo>
                    <a:lnTo>
                      <a:pt x="78" y="347"/>
                    </a:lnTo>
                    <a:lnTo>
                      <a:pt x="79" y="349"/>
                    </a:lnTo>
                    <a:lnTo>
                      <a:pt x="74" y="349"/>
                    </a:lnTo>
                    <a:lnTo>
                      <a:pt x="68" y="346"/>
                    </a:lnTo>
                    <a:lnTo>
                      <a:pt x="63" y="341"/>
                    </a:lnTo>
                    <a:lnTo>
                      <a:pt x="59" y="342"/>
                    </a:lnTo>
                    <a:lnTo>
                      <a:pt x="56" y="339"/>
                    </a:lnTo>
                    <a:lnTo>
                      <a:pt x="51" y="339"/>
                    </a:lnTo>
                    <a:lnTo>
                      <a:pt x="48" y="337"/>
                    </a:lnTo>
                    <a:lnTo>
                      <a:pt x="46" y="339"/>
                    </a:lnTo>
                    <a:lnTo>
                      <a:pt x="48" y="342"/>
                    </a:lnTo>
                    <a:lnTo>
                      <a:pt x="44" y="344"/>
                    </a:lnTo>
                    <a:lnTo>
                      <a:pt x="48" y="349"/>
                    </a:lnTo>
                    <a:lnTo>
                      <a:pt x="56" y="346"/>
                    </a:lnTo>
                    <a:lnTo>
                      <a:pt x="58" y="347"/>
                    </a:lnTo>
                    <a:lnTo>
                      <a:pt x="54" y="349"/>
                    </a:lnTo>
                    <a:lnTo>
                      <a:pt x="56" y="351"/>
                    </a:lnTo>
                    <a:lnTo>
                      <a:pt x="61" y="347"/>
                    </a:lnTo>
                    <a:lnTo>
                      <a:pt x="64" y="347"/>
                    </a:lnTo>
                    <a:lnTo>
                      <a:pt x="63" y="351"/>
                    </a:lnTo>
                    <a:lnTo>
                      <a:pt x="56" y="352"/>
                    </a:lnTo>
                    <a:lnTo>
                      <a:pt x="53" y="357"/>
                    </a:lnTo>
                    <a:lnTo>
                      <a:pt x="48" y="356"/>
                    </a:lnTo>
                    <a:lnTo>
                      <a:pt x="44" y="351"/>
                    </a:lnTo>
                    <a:lnTo>
                      <a:pt x="43" y="351"/>
                    </a:lnTo>
                    <a:lnTo>
                      <a:pt x="39" y="352"/>
                    </a:lnTo>
                    <a:lnTo>
                      <a:pt x="36" y="349"/>
                    </a:lnTo>
                    <a:lnTo>
                      <a:pt x="34" y="351"/>
                    </a:lnTo>
                    <a:lnTo>
                      <a:pt x="31" y="351"/>
                    </a:lnTo>
                    <a:lnTo>
                      <a:pt x="28" y="352"/>
                    </a:lnTo>
                    <a:lnTo>
                      <a:pt x="29" y="354"/>
                    </a:lnTo>
                    <a:lnTo>
                      <a:pt x="36" y="356"/>
                    </a:lnTo>
                    <a:lnTo>
                      <a:pt x="41" y="357"/>
                    </a:lnTo>
                    <a:lnTo>
                      <a:pt x="48" y="361"/>
                    </a:lnTo>
                    <a:lnTo>
                      <a:pt x="46" y="364"/>
                    </a:lnTo>
                    <a:lnTo>
                      <a:pt x="48" y="367"/>
                    </a:lnTo>
                    <a:lnTo>
                      <a:pt x="44" y="369"/>
                    </a:lnTo>
                    <a:lnTo>
                      <a:pt x="43" y="367"/>
                    </a:lnTo>
                    <a:lnTo>
                      <a:pt x="43" y="361"/>
                    </a:lnTo>
                    <a:lnTo>
                      <a:pt x="38" y="361"/>
                    </a:lnTo>
                    <a:lnTo>
                      <a:pt x="34" y="361"/>
                    </a:lnTo>
                    <a:lnTo>
                      <a:pt x="36" y="364"/>
                    </a:lnTo>
                    <a:lnTo>
                      <a:pt x="34" y="366"/>
                    </a:lnTo>
                    <a:lnTo>
                      <a:pt x="29" y="362"/>
                    </a:lnTo>
                    <a:lnTo>
                      <a:pt x="24" y="367"/>
                    </a:lnTo>
                    <a:lnTo>
                      <a:pt x="29" y="369"/>
                    </a:lnTo>
                    <a:lnTo>
                      <a:pt x="26" y="371"/>
                    </a:lnTo>
                    <a:lnTo>
                      <a:pt x="23" y="371"/>
                    </a:lnTo>
                    <a:lnTo>
                      <a:pt x="23" y="367"/>
                    </a:lnTo>
                    <a:lnTo>
                      <a:pt x="15" y="367"/>
                    </a:lnTo>
                    <a:lnTo>
                      <a:pt x="18" y="371"/>
                    </a:lnTo>
                    <a:lnTo>
                      <a:pt x="15" y="372"/>
                    </a:lnTo>
                    <a:lnTo>
                      <a:pt x="13" y="369"/>
                    </a:lnTo>
                    <a:lnTo>
                      <a:pt x="10" y="366"/>
                    </a:lnTo>
                    <a:lnTo>
                      <a:pt x="6" y="366"/>
                    </a:lnTo>
                    <a:lnTo>
                      <a:pt x="8" y="369"/>
                    </a:lnTo>
                    <a:lnTo>
                      <a:pt x="13" y="372"/>
                    </a:lnTo>
                    <a:lnTo>
                      <a:pt x="10" y="374"/>
                    </a:lnTo>
                    <a:lnTo>
                      <a:pt x="13" y="377"/>
                    </a:lnTo>
                    <a:lnTo>
                      <a:pt x="18" y="376"/>
                    </a:lnTo>
                    <a:lnTo>
                      <a:pt x="24" y="376"/>
                    </a:lnTo>
                    <a:lnTo>
                      <a:pt x="29" y="379"/>
                    </a:lnTo>
                    <a:lnTo>
                      <a:pt x="36" y="379"/>
                    </a:lnTo>
                    <a:lnTo>
                      <a:pt x="38" y="377"/>
                    </a:lnTo>
                    <a:lnTo>
                      <a:pt x="41" y="377"/>
                    </a:lnTo>
                    <a:lnTo>
                      <a:pt x="38" y="382"/>
                    </a:lnTo>
                    <a:lnTo>
                      <a:pt x="31" y="381"/>
                    </a:lnTo>
                    <a:lnTo>
                      <a:pt x="28" y="382"/>
                    </a:lnTo>
                    <a:lnTo>
                      <a:pt x="21" y="379"/>
                    </a:lnTo>
                    <a:lnTo>
                      <a:pt x="16" y="379"/>
                    </a:lnTo>
                    <a:lnTo>
                      <a:pt x="15" y="379"/>
                    </a:lnTo>
                    <a:lnTo>
                      <a:pt x="11" y="382"/>
                    </a:lnTo>
                    <a:lnTo>
                      <a:pt x="5" y="382"/>
                    </a:lnTo>
                    <a:lnTo>
                      <a:pt x="5" y="384"/>
                    </a:lnTo>
                    <a:lnTo>
                      <a:pt x="13" y="387"/>
                    </a:lnTo>
                    <a:lnTo>
                      <a:pt x="10" y="391"/>
                    </a:lnTo>
                    <a:lnTo>
                      <a:pt x="15" y="391"/>
                    </a:lnTo>
                    <a:lnTo>
                      <a:pt x="16" y="389"/>
                    </a:lnTo>
                    <a:lnTo>
                      <a:pt x="23" y="389"/>
                    </a:lnTo>
                    <a:lnTo>
                      <a:pt x="18" y="392"/>
                    </a:lnTo>
                    <a:lnTo>
                      <a:pt x="11" y="392"/>
                    </a:lnTo>
                    <a:lnTo>
                      <a:pt x="10" y="394"/>
                    </a:lnTo>
                    <a:lnTo>
                      <a:pt x="8" y="392"/>
                    </a:lnTo>
                    <a:lnTo>
                      <a:pt x="8" y="394"/>
                    </a:lnTo>
                    <a:lnTo>
                      <a:pt x="11" y="396"/>
                    </a:lnTo>
                    <a:lnTo>
                      <a:pt x="13" y="396"/>
                    </a:lnTo>
                    <a:lnTo>
                      <a:pt x="10" y="397"/>
                    </a:lnTo>
                    <a:lnTo>
                      <a:pt x="8" y="397"/>
                    </a:lnTo>
                    <a:lnTo>
                      <a:pt x="8" y="400"/>
                    </a:lnTo>
                    <a:lnTo>
                      <a:pt x="10" y="400"/>
                    </a:lnTo>
                    <a:lnTo>
                      <a:pt x="11" y="404"/>
                    </a:lnTo>
                    <a:lnTo>
                      <a:pt x="18" y="404"/>
                    </a:lnTo>
                    <a:lnTo>
                      <a:pt x="19" y="402"/>
                    </a:lnTo>
                    <a:lnTo>
                      <a:pt x="28" y="400"/>
                    </a:lnTo>
                    <a:lnTo>
                      <a:pt x="33" y="402"/>
                    </a:lnTo>
                    <a:lnTo>
                      <a:pt x="34" y="404"/>
                    </a:lnTo>
                    <a:lnTo>
                      <a:pt x="38" y="400"/>
                    </a:lnTo>
                    <a:lnTo>
                      <a:pt x="38" y="399"/>
                    </a:lnTo>
                    <a:lnTo>
                      <a:pt x="41" y="397"/>
                    </a:lnTo>
                    <a:lnTo>
                      <a:pt x="41" y="400"/>
                    </a:lnTo>
                    <a:lnTo>
                      <a:pt x="46" y="400"/>
                    </a:lnTo>
                    <a:lnTo>
                      <a:pt x="51" y="397"/>
                    </a:lnTo>
                    <a:lnTo>
                      <a:pt x="53" y="397"/>
                    </a:lnTo>
                    <a:lnTo>
                      <a:pt x="53" y="399"/>
                    </a:lnTo>
                    <a:lnTo>
                      <a:pt x="49" y="400"/>
                    </a:lnTo>
                    <a:lnTo>
                      <a:pt x="54" y="402"/>
                    </a:lnTo>
                    <a:lnTo>
                      <a:pt x="56" y="399"/>
                    </a:lnTo>
                    <a:lnTo>
                      <a:pt x="56" y="397"/>
                    </a:lnTo>
                    <a:lnTo>
                      <a:pt x="59" y="392"/>
                    </a:lnTo>
                    <a:lnTo>
                      <a:pt x="58" y="396"/>
                    </a:lnTo>
                    <a:lnTo>
                      <a:pt x="61" y="400"/>
                    </a:lnTo>
                    <a:lnTo>
                      <a:pt x="59" y="404"/>
                    </a:lnTo>
                    <a:lnTo>
                      <a:pt x="53" y="405"/>
                    </a:lnTo>
                    <a:lnTo>
                      <a:pt x="49" y="407"/>
                    </a:lnTo>
                    <a:lnTo>
                      <a:pt x="51" y="409"/>
                    </a:lnTo>
                    <a:lnTo>
                      <a:pt x="49" y="412"/>
                    </a:lnTo>
                    <a:lnTo>
                      <a:pt x="43" y="412"/>
                    </a:lnTo>
                    <a:lnTo>
                      <a:pt x="43" y="410"/>
                    </a:lnTo>
                    <a:lnTo>
                      <a:pt x="46" y="407"/>
                    </a:lnTo>
                    <a:lnTo>
                      <a:pt x="46" y="404"/>
                    </a:lnTo>
                    <a:lnTo>
                      <a:pt x="41" y="404"/>
                    </a:lnTo>
                    <a:lnTo>
                      <a:pt x="36" y="407"/>
                    </a:lnTo>
                    <a:lnTo>
                      <a:pt x="34" y="410"/>
                    </a:lnTo>
                    <a:lnTo>
                      <a:pt x="31" y="405"/>
                    </a:lnTo>
                    <a:lnTo>
                      <a:pt x="28" y="405"/>
                    </a:lnTo>
                    <a:lnTo>
                      <a:pt x="23" y="405"/>
                    </a:lnTo>
                    <a:lnTo>
                      <a:pt x="19" y="405"/>
                    </a:lnTo>
                    <a:lnTo>
                      <a:pt x="13" y="407"/>
                    </a:lnTo>
                    <a:lnTo>
                      <a:pt x="11" y="407"/>
                    </a:lnTo>
                    <a:lnTo>
                      <a:pt x="8" y="405"/>
                    </a:lnTo>
                    <a:lnTo>
                      <a:pt x="6" y="405"/>
                    </a:lnTo>
                    <a:lnTo>
                      <a:pt x="8" y="410"/>
                    </a:lnTo>
                    <a:lnTo>
                      <a:pt x="6" y="412"/>
                    </a:lnTo>
                    <a:lnTo>
                      <a:pt x="10" y="414"/>
                    </a:lnTo>
                    <a:lnTo>
                      <a:pt x="13" y="414"/>
                    </a:lnTo>
                    <a:lnTo>
                      <a:pt x="15" y="410"/>
                    </a:lnTo>
                    <a:lnTo>
                      <a:pt x="16" y="412"/>
                    </a:lnTo>
                    <a:lnTo>
                      <a:pt x="15" y="414"/>
                    </a:lnTo>
                    <a:lnTo>
                      <a:pt x="15" y="417"/>
                    </a:lnTo>
                    <a:lnTo>
                      <a:pt x="13" y="419"/>
                    </a:lnTo>
                    <a:lnTo>
                      <a:pt x="10" y="417"/>
                    </a:lnTo>
                    <a:lnTo>
                      <a:pt x="11" y="422"/>
                    </a:lnTo>
                    <a:lnTo>
                      <a:pt x="13" y="425"/>
                    </a:lnTo>
                    <a:lnTo>
                      <a:pt x="19" y="417"/>
                    </a:lnTo>
                    <a:lnTo>
                      <a:pt x="24" y="420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18" y="427"/>
                    </a:lnTo>
                    <a:lnTo>
                      <a:pt x="18" y="429"/>
                    </a:lnTo>
                    <a:lnTo>
                      <a:pt x="21" y="430"/>
                    </a:lnTo>
                    <a:lnTo>
                      <a:pt x="19" y="432"/>
                    </a:lnTo>
                    <a:lnTo>
                      <a:pt x="23" y="435"/>
                    </a:lnTo>
                    <a:lnTo>
                      <a:pt x="21" y="440"/>
                    </a:lnTo>
                    <a:lnTo>
                      <a:pt x="23" y="440"/>
                    </a:lnTo>
                    <a:lnTo>
                      <a:pt x="26" y="435"/>
                    </a:lnTo>
                    <a:lnTo>
                      <a:pt x="29" y="434"/>
                    </a:lnTo>
                    <a:lnTo>
                      <a:pt x="29" y="429"/>
                    </a:lnTo>
                    <a:lnTo>
                      <a:pt x="39" y="425"/>
                    </a:lnTo>
                    <a:lnTo>
                      <a:pt x="43" y="425"/>
                    </a:lnTo>
                    <a:lnTo>
                      <a:pt x="48" y="425"/>
                    </a:lnTo>
                    <a:lnTo>
                      <a:pt x="44" y="427"/>
                    </a:lnTo>
                    <a:lnTo>
                      <a:pt x="39" y="430"/>
                    </a:lnTo>
                    <a:lnTo>
                      <a:pt x="39" y="435"/>
                    </a:lnTo>
                    <a:lnTo>
                      <a:pt x="41" y="439"/>
                    </a:lnTo>
                    <a:lnTo>
                      <a:pt x="38" y="435"/>
                    </a:lnTo>
                    <a:lnTo>
                      <a:pt x="38" y="430"/>
                    </a:lnTo>
                    <a:lnTo>
                      <a:pt x="34" y="430"/>
                    </a:lnTo>
                    <a:lnTo>
                      <a:pt x="31" y="435"/>
                    </a:lnTo>
                    <a:lnTo>
                      <a:pt x="29" y="437"/>
                    </a:lnTo>
                    <a:lnTo>
                      <a:pt x="33" y="439"/>
                    </a:lnTo>
                    <a:lnTo>
                      <a:pt x="29" y="442"/>
                    </a:lnTo>
                    <a:lnTo>
                      <a:pt x="26" y="442"/>
                    </a:lnTo>
                    <a:lnTo>
                      <a:pt x="24" y="445"/>
                    </a:lnTo>
                    <a:lnTo>
                      <a:pt x="28" y="447"/>
                    </a:lnTo>
                    <a:lnTo>
                      <a:pt x="34" y="447"/>
                    </a:lnTo>
                    <a:lnTo>
                      <a:pt x="36" y="449"/>
                    </a:lnTo>
                    <a:lnTo>
                      <a:pt x="31" y="449"/>
                    </a:lnTo>
                    <a:lnTo>
                      <a:pt x="29" y="452"/>
                    </a:lnTo>
                    <a:lnTo>
                      <a:pt x="29" y="455"/>
                    </a:lnTo>
                    <a:lnTo>
                      <a:pt x="23" y="452"/>
                    </a:lnTo>
                    <a:lnTo>
                      <a:pt x="21" y="452"/>
                    </a:lnTo>
                    <a:lnTo>
                      <a:pt x="19" y="457"/>
                    </a:lnTo>
                    <a:lnTo>
                      <a:pt x="19" y="452"/>
                    </a:lnTo>
                    <a:lnTo>
                      <a:pt x="16" y="454"/>
                    </a:lnTo>
                    <a:lnTo>
                      <a:pt x="11" y="459"/>
                    </a:lnTo>
                    <a:lnTo>
                      <a:pt x="13" y="464"/>
                    </a:lnTo>
                    <a:lnTo>
                      <a:pt x="19" y="469"/>
                    </a:lnTo>
                    <a:lnTo>
                      <a:pt x="21" y="465"/>
                    </a:lnTo>
                    <a:lnTo>
                      <a:pt x="23" y="467"/>
                    </a:lnTo>
                    <a:lnTo>
                      <a:pt x="26" y="465"/>
                    </a:lnTo>
                    <a:lnTo>
                      <a:pt x="26" y="464"/>
                    </a:lnTo>
                    <a:lnTo>
                      <a:pt x="28" y="460"/>
                    </a:lnTo>
                    <a:lnTo>
                      <a:pt x="33" y="464"/>
                    </a:lnTo>
                    <a:lnTo>
                      <a:pt x="29" y="464"/>
                    </a:lnTo>
                    <a:lnTo>
                      <a:pt x="33" y="467"/>
                    </a:lnTo>
                    <a:lnTo>
                      <a:pt x="33" y="470"/>
                    </a:lnTo>
                    <a:lnTo>
                      <a:pt x="29" y="474"/>
                    </a:lnTo>
                    <a:lnTo>
                      <a:pt x="31" y="479"/>
                    </a:lnTo>
                    <a:lnTo>
                      <a:pt x="34" y="477"/>
                    </a:lnTo>
                    <a:lnTo>
                      <a:pt x="39" y="475"/>
                    </a:lnTo>
                    <a:lnTo>
                      <a:pt x="43" y="479"/>
                    </a:lnTo>
                    <a:lnTo>
                      <a:pt x="38" y="479"/>
                    </a:lnTo>
                    <a:lnTo>
                      <a:pt x="34" y="480"/>
                    </a:lnTo>
                    <a:lnTo>
                      <a:pt x="38" y="484"/>
                    </a:lnTo>
                    <a:lnTo>
                      <a:pt x="36" y="485"/>
                    </a:lnTo>
                    <a:lnTo>
                      <a:pt x="28" y="480"/>
                    </a:lnTo>
                    <a:lnTo>
                      <a:pt x="24" y="480"/>
                    </a:lnTo>
                    <a:lnTo>
                      <a:pt x="23" y="479"/>
                    </a:lnTo>
                    <a:lnTo>
                      <a:pt x="19" y="479"/>
                    </a:lnTo>
                    <a:lnTo>
                      <a:pt x="19" y="482"/>
                    </a:lnTo>
                    <a:lnTo>
                      <a:pt x="16" y="485"/>
                    </a:lnTo>
                    <a:lnTo>
                      <a:pt x="23" y="494"/>
                    </a:lnTo>
                    <a:lnTo>
                      <a:pt x="28" y="495"/>
                    </a:lnTo>
                    <a:lnTo>
                      <a:pt x="34" y="500"/>
                    </a:lnTo>
                    <a:lnTo>
                      <a:pt x="43" y="503"/>
                    </a:lnTo>
                    <a:lnTo>
                      <a:pt x="44" y="505"/>
                    </a:lnTo>
                    <a:lnTo>
                      <a:pt x="41" y="507"/>
                    </a:lnTo>
                    <a:lnTo>
                      <a:pt x="46" y="510"/>
                    </a:lnTo>
                    <a:lnTo>
                      <a:pt x="49" y="508"/>
                    </a:lnTo>
                    <a:lnTo>
                      <a:pt x="48" y="503"/>
                    </a:lnTo>
                    <a:lnTo>
                      <a:pt x="49" y="503"/>
                    </a:lnTo>
                    <a:lnTo>
                      <a:pt x="53" y="507"/>
                    </a:lnTo>
                    <a:lnTo>
                      <a:pt x="53" y="507"/>
                    </a:lnTo>
                    <a:lnTo>
                      <a:pt x="58" y="513"/>
                    </a:lnTo>
                    <a:lnTo>
                      <a:pt x="59" y="510"/>
                    </a:lnTo>
                    <a:lnTo>
                      <a:pt x="61" y="512"/>
                    </a:lnTo>
                    <a:lnTo>
                      <a:pt x="66" y="510"/>
                    </a:lnTo>
                    <a:lnTo>
                      <a:pt x="71" y="505"/>
                    </a:lnTo>
                    <a:lnTo>
                      <a:pt x="73" y="505"/>
                    </a:lnTo>
                    <a:lnTo>
                      <a:pt x="74" y="503"/>
                    </a:lnTo>
                    <a:lnTo>
                      <a:pt x="76" y="503"/>
                    </a:lnTo>
                    <a:lnTo>
                      <a:pt x="78" y="507"/>
                    </a:lnTo>
                    <a:lnTo>
                      <a:pt x="79" y="507"/>
                    </a:lnTo>
                    <a:lnTo>
                      <a:pt x="88" y="498"/>
                    </a:lnTo>
                    <a:lnTo>
                      <a:pt x="88" y="497"/>
                    </a:lnTo>
                    <a:lnTo>
                      <a:pt x="84" y="492"/>
                    </a:lnTo>
                    <a:lnTo>
                      <a:pt x="91" y="495"/>
                    </a:lnTo>
                    <a:lnTo>
                      <a:pt x="96" y="490"/>
                    </a:lnTo>
                    <a:lnTo>
                      <a:pt x="94" y="489"/>
                    </a:lnTo>
                    <a:lnTo>
                      <a:pt x="98" y="487"/>
                    </a:lnTo>
                    <a:lnTo>
                      <a:pt x="98" y="485"/>
                    </a:lnTo>
                    <a:lnTo>
                      <a:pt x="101" y="482"/>
                    </a:lnTo>
                    <a:lnTo>
                      <a:pt x="104" y="482"/>
                    </a:lnTo>
                    <a:lnTo>
                      <a:pt x="106" y="479"/>
                    </a:lnTo>
                    <a:lnTo>
                      <a:pt x="103" y="475"/>
                    </a:lnTo>
                    <a:lnTo>
                      <a:pt x="103" y="472"/>
                    </a:lnTo>
                    <a:lnTo>
                      <a:pt x="99" y="467"/>
                    </a:lnTo>
                    <a:lnTo>
                      <a:pt x="96" y="465"/>
                    </a:lnTo>
                    <a:lnTo>
                      <a:pt x="96" y="462"/>
                    </a:lnTo>
                    <a:lnTo>
                      <a:pt x="98" y="462"/>
                    </a:lnTo>
                    <a:lnTo>
                      <a:pt x="103" y="467"/>
                    </a:lnTo>
                    <a:lnTo>
                      <a:pt x="104" y="474"/>
                    </a:lnTo>
                    <a:lnTo>
                      <a:pt x="106" y="475"/>
                    </a:lnTo>
                    <a:lnTo>
                      <a:pt x="109" y="475"/>
                    </a:lnTo>
                    <a:lnTo>
                      <a:pt x="109" y="477"/>
                    </a:lnTo>
                    <a:lnTo>
                      <a:pt x="111" y="480"/>
                    </a:lnTo>
                    <a:lnTo>
                      <a:pt x="116" y="479"/>
                    </a:lnTo>
                    <a:lnTo>
                      <a:pt x="114" y="475"/>
                    </a:lnTo>
                    <a:lnTo>
                      <a:pt x="113" y="475"/>
                    </a:lnTo>
                    <a:lnTo>
                      <a:pt x="114" y="472"/>
                    </a:lnTo>
                    <a:lnTo>
                      <a:pt x="117" y="475"/>
                    </a:lnTo>
                    <a:lnTo>
                      <a:pt x="117" y="477"/>
                    </a:lnTo>
                    <a:lnTo>
                      <a:pt x="124" y="472"/>
                    </a:lnTo>
                    <a:lnTo>
                      <a:pt x="126" y="467"/>
                    </a:lnTo>
                    <a:lnTo>
                      <a:pt x="124" y="462"/>
                    </a:lnTo>
                    <a:lnTo>
                      <a:pt x="121" y="462"/>
                    </a:lnTo>
                    <a:lnTo>
                      <a:pt x="119" y="459"/>
                    </a:lnTo>
                    <a:lnTo>
                      <a:pt x="121" y="457"/>
                    </a:lnTo>
                    <a:lnTo>
                      <a:pt x="122" y="455"/>
                    </a:lnTo>
                    <a:lnTo>
                      <a:pt x="124" y="455"/>
                    </a:lnTo>
                    <a:lnTo>
                      <a:pt x="126" y="454"/>
                    </a:lnTo>
                    <a:lnTo>
                      <a:pt x="124" y="450"/>
                    </a:lnTo>
                    <a:lnTo>
                      <a:pt x="124" y="447"/>
                    </a:lnTo>
                    <a:lnTo>
                      <a:pt x="127" y="444"/>
                    </a:lnTo>
                    <a:lnTo>
                      <a:pt x="131" y="447"/>
                    </a:lnTo>
                    <a:lnTo>
                      <a:pt x="127" y="452"/>
                    </a:lnTo>
                    <a:lnTo>
                      <a:pt x="129" y="457"/>
                    </a:lnTo>
                    <a:lnTo>
                      <a:pt x="127" y="460"/>
                    </a:lnTo>
                    <a:lnTo>
                      <a:pt x="131" y="464"/>
                    </a:lnTo>
                    <a:lnTo>
                      <a:pt x="131" y="467"/>
                    </a:lnTo>
                    <a:lnTo>
                      <a:pt x="136" y="472"/>
                    </a:lnTo>
                    <a:lnTo>
                      <a:pt x="142" y="470"/>
                    </a:lnTo>
                    <a:lnTo>
                      <a:pt x="144" y="474"/>
                    </a:lnTo>
                    <a:lnTo>
                      <a:pt x="142" y="475"/>
                    </a:lnTo>
                    <a:lnTo>
                      <a:pt x="146" y="477"/>
                    </a:lnTo>
                    <a:lnTo>
                      <a:pt x="149" y="480"/>
                    </a:lnTo>
                    <a:lnTo>
                      <a:pt x="151" y="477"/>
                    </a:lnTo>
                    <a:lnTo>
                      <a:pt x="151" y="464"/>
                    </a:lnTo>
                    <a:lnTo>
                      <a:pt x="147" y="457"/>
                    </a:lnTo>
                    <a:lnTo>
                      <a:pt x="149" y="454"/>
                    </a:lnTo>
                    <a:lnTo>
                      <a:pt x="152" y="452"/>
                    </a:lnTo>
                    <a:lnTo>
                      <a:pt x="149" y="447"/>
                    </a:lnTo>
                    <a:lnTo>
                      <a:pt x="151" y="445"/>
                    </a:lnTo>
                    <a:lnTo>
                      <a:pt x="159" y="444"/>
                    </a:lnTo>
                    <a:lnTo>
                      <a:pt x="161" y="440"/>
                    </a:lnTo>
                    <a:lnTo>
                      <a:pt x="161" y="437"/>
                    </a:lnTo>
                    <a:lnTo>
                      <a:pt x="164" y="429"/>
                    </a:lnTo>
                    <a:lnTo>
                      <a:pt x="161" y="425"/>
                    </a:lnTo>
                    <a:lnTo>
                      <a:pt x="159" y="415"/>
                    </a:lnTo>
                    <a:lnTo>
                      <a:pt x="154" y="407"/>
                    </a:lnTo>
                    <a:lnTo>
                      <a:pt x="154" y="404"/>
                    </a:lnTo>
                    <a:lnTo>
                      <a:pt x="166" y="400"/>
                    </a:lnTo>
                    <a:lnTo>
                      <a:pt x="166" y="392"/>
                    </a:lnTo>
                    <a:lnTo>
                      <a:pt x="167" y="389"/>
                    </a:lnTo>
                    <a:lnTo>
                      <a:pt x="159" y="379"/>
                    </a:lnTo>
                    <a:lnTo>
                      <a:pt x="152" y="377"/>
                    </a:lnTo>
                    <a:lnTo>
                      <a:pt x="152" y="369"/>
                    </a:lnTo>
                    <a:lnTo>
                      <a:pt x="154" y="361"/>
                    </a:lnTo>
                    <a:lnTo>
                      <a:pt x="152" y="351"/>
                    </a:lnTo>
                    <a:lnTo>
                      <a:pt x="149" y="346"/>
                    </a:lnTo>
                    <a:lnTo>
                      <a:pt x="152" y="339"/>
                    </a:lnTo>
                    <a:lnTo>
                      <a:pt x="151" y="327"/>
                    </a:lnTo>
                    <a:lnTo>
                      <a:pt x="149" y="316"/>
                    </a:lnTo>
                    <a:lnTo>
                      <a:pt x="151" y="306"/>
                    </a:lnTo>
                    <a:lnTo>
                      <a:pt x="156" y="298"/>
                    </a:lnTo>
                    <a:lnTo>
                      <a:pt x="161" y="294"/>
                    </a:lnTo>
                    <a:lnTo>
                      <a:pt x="167" y="296"/>
                    </a:lnTo>
                    <a:lnTo>
                      <a:pt x="176" y="296"/>
                    </a:lnTo>
                    <a:lnTo>
                      <a:pt x="179" y="291"/>
                    </a:lnTo>
                    <a:lnTo>
                      <a:pt x="179" y="283"/>
                    </a:lnTo>
                    <a:lnTo>
                      <a:pt x="177" y="279"/>
                    </a:lnTo>
                    <a:lnTo>
                      <a:pt x="177" y="274"/>
                    </a:lnTo>
                    <a:lnTo>
                      <a:pt x="186" y="256"/>
                    </a:lnTo>
                    <a:lnTo>
                      <a:pt x="186" y="246"/>
                    </a:lnTo>
                    <a:lnTo>
                      <a:pt x="187" y="236"/>
                    </a:lnTo>
                    <a:lnTo>
                      <a:pt x="191" y="231"/>
                    </a:lnTo>
                    <a:lnTo>
                      <a:pt x="191" y="224"/>
                    </a:lnTo>
                    <a:lnTo>
                      <a:pt x="187" y="221"/>
                    </a:lnTo>
                    <a:lnTo>
                      <a:pt x="187" y="216"/>
                    </a:lnTo>
                    <a:lnTo>
                      <a:pt x="194" y="213"/>
                    </a:lnTo>
                    <a:lnTo>
                      <a:pt x="202" y="211"/>
                    </a:lnTo>
                    <a:lnTo>
                      <a:pt x="207" y="208"/>
                    </a:lnTo>
                    <a:lnTo>
                      <a:pt x="207" y="203"/>
                    </a:lnTo>
                    <a:lnTo>
                      <a:pt x="214" y="193"/>
                    </a:lnTo>
                    <a:lnTo>
                      <a:pt x="220" y="185"/>
                    </a:lnTo>
                    <a:lnTo>
                      <a:pt x="222" y="180"/>
                    </a:lnTo>
                    <a:lnTo>
                      <a:pt x="220" y="173"/>
                    </a:lnTo>
                    <a:lnTo>
                      <a:pt x="217" y="170"/>
                    </a:lnTo>
                    <a:lnTo>
                      <a:pt x="217" y="160"/>
                    </a:lnTo>
                    <a:lnTo>
                      <a:pt x="220" y="158"/>
                    </a:lnTo>
                    <a:lnTo>
                      <a:pt x="224" y="155"/>
                    </a:lnTo>
                    <a:lnTo>
                      <a:pt x="224" y="150"/>
                    </a:lnTo>
                    <a:lnTo>
                      <a:pt x="227" y="148"/>
                    </a:lnTo>
                    <a:lnTo>
                      <a:pt x="232" y="141"/>
                    </a:lnTo>
                    <a:lnTo>
                      <a:pt x="237" y="136"/>
                    </a:lnTo>
                    <a:lnTo>
                      <a:pt x="242" y="140"/>
                    </a:lnTo>
                    <a:lnTo>
                      <a:pt x="244" y="141"/>
                    </a:lnTo>
                    <a:lnTo>
                      <a:pt x="247" y="141"/>
                    </a:lnTo>
                    <a:lnTo>
                      <a:pt x="250" y="138"/>
                    </a:lnTo>
                    <a:lnTo>
                      <a:pt x="249" y="133"/>
                    </a:lnTo>
                    <a:lnTo>
                      <a:pt x="250" y="131"/>
                    </a:lnTo>
                    <a:lnTo>
                      <a:pt x="250" y="128"/>
                    </a:lnTo>
                    <a:lnTo>
                      <a:pt x="252" y="126"/>
                    </a:lnTo>
                    <a:lnTo>
                      <a:pt x="249" y="121"/>
                    </a:lnTo>
                    <a:lnTo>
                      <a:pt x="250" y="120"/>
                    </a:lnTo>
                    <a:lnTo>
                      <a:pt x="257" y="120"/>
                    </a:lnTo>
                    <a:lnTo>
                      <a:pt x="264" y="116"/>
                    </a:lnTo>
                    <a:lnTo>
                      <a:pt x="270" y="120"/>
                    </a:lnTo>
                    <a:lnTo>
                      <a:pt x="275" y="121"/>
                    </a:lnTo>
                    <a:lnTo>
                      <a:pt x="282" y="123"/>
                    </a:lnTo>
                    <a:lnTo>
                      <a:pt x="285" y="125"/>
                    </a:lnTo>
                    <a:lnTo>
                      <a:pt x="287" y="125"/>
                    </a:lnTo>
                    <a:lnTo>
                      <a:pt x="289" y="125"/>
                    </a:lnTo>
                    <a:lnTo>
                      <a:pt x="289" y="120"/>
                    </a:lnTo>
                    <a:lnTo>
                      <a:pt x="287" y="116"/>
                    </a:lnTo>
                    <a:lnTo>
                      <a:pt x="287" y="110"/>
                    </a:lnTo>
                    <a:lnTo>
                      <a:pt x="292" y="108"/>
                    </a:lnTo>
                    <a:lnTo>
                      <a:pt x="290" y="103"/>
                    </a:lnTo>
                    <a:lnTo>
                      <a:pt x="287" y="101"/>
                    </a:lnTo>
                    <a:lnTo>
                      <a:pt x="285" y="97"/>
                    </a:lnTo>
                    <a:lnTo>
                      <a:pt x="292" y="98"/>
                    </a:lnTo>
                    <a:lnTo>
                      <a:pt x="297" y="98"/>
                    </a:lnTo>
                    <a:lnTo>
                      <a:pt x="299" y="97"/>
                    </a:lnTo>
                    <a:lnTo>
                      <a:pt x="299" y="97"/>
                    </a:lnTo>
                    <a:lnTo>
                      <a:pt x="300" y="95"/>
                    </a:lnTo>
                    <a:lnTo>
                      <a:pt x="302" y="97"/>
                    </a:lnTo>
                    <a:lnTo>
                      <a:pt x="304" y="95"/>
                    </a:lnTo>
                    <a:lnTo>
                      <a:pt x="302" y="92"/>
                    </a:lnTo>
                    <a:lnTo>
                      <a:pt x="304" y="88"/>
                    </a:lnTo>
                    <a:lnTo>
                      <a:pt x="307" y="87"/>
                    </a:lnTo>
                    <a:lnTo>
                      <a:pt x="310" y="87"/>
                    </a:lnTo>
                    <a:lnTo>
                      <a:pt x="314" y="92"/>
                    </a:lnTo>
                    <a:lnTo>
                      <a:pt x="325" y="98"/>
                    </a:lnTo>
                    <a:lnTo>
                      <a:pt x="327" y="103"/>
                    </a:lnTo>
                    <a:lnTo>
                      <a:pt x="330" y="108"/>
                    </a:lnTo>
                    <a:lnTo>
                      <a:pt x="337" y="111"/>
                    </a:lnTo>
                    <a:lnTo>
                      <a:pt x="348" y="111"/>
                    </a:lnTo>
                    <a:lnTo>
                      <a:pt x="355" y="106"/>
                    </a:lnTo>
                    <a:lnTo>
                      <a:pt x="358" y="103"/>
                    </a:lnTo>
                    <a:lnTo>
                      <a:pt x="363" y="103"/>
                    </a:lnTo>
                    <a:lnTo>
                      <a:pt x="372" y="108"/>
                    </a:lnTo>
                    <a:lnTo>
                      <a:pt x="377" y="108"/>
                    </a:lnTo>
                    <a:lnTo>
                      <a:pt x="378" y="103"/>
                    </a:lnTo>
                    <a:lnTo>
                      <a:pt x="382" y="103"/>
                    </a:lnTo>
                    <a:lnTo>
                      <a:pt x="387" y="100"/>
                    </a:lnTo>
                    <a:lnTo>
                      <a:pt x="390" y="100"/>
                    </a:lnTo>
                    <a:lnTo>
                      <a:pt x="395" y="97"/>
                    </a:lnTo>
                    <a:lnTo>
                      <a:pt x="397" y="93"/>
                    </a:lnTo>
                    <a:lnTo>
                      <a:pt x="395" y="90"/>
                    </a:lnTo>
                    <a:lnTo>
                      <a:pt x="392" y="83"/>
                    </a:lnTo>
                    <a:lnTo>
                      <a:pt x="393" y="72"/>
                    </a:lnTo>
                    <a:lnTo>
                      <a:pt x="395" y="68"/>
                    </a:lnTo>
                    <a:lnTo>
                      <a:pt x="393" y="65"/>
                    </a:lnTo>
                    <a:lnTo>
                      <a:pt x="395" y="63"/>
                    </a:lnTo>
                    <a:lnTo>
                      <a:pt x="400" y="60"/>
                    </a:lnTo>
                    <a:lnTo>
                      <a:pt x="398" y="57"/>
                    </a:lnTo>
                    <a:lnTo>
                      <a:pt x="403" y="55"/>
                    </a:lnTo>
                    <a:lnTo>
                      <a:pt x="410" y="55"/>
                    </a:lnTo>
                    <a:lnTo>
                      <a:pt x="413" y="55"/>
                    </a:lnTo>
                    <a:lnTo>
                      <a:pt x="413" y="53"/>
                    </a:lnTo>
                    <a:lnTo>
                      <a:pt x="418" y="50"/>
                    </a:lnTo>
                    <a:lnTo>
                      <a:pt x="428" y="48"/>
                    </a:lnTo>
                    <a:lnTo>
                      <a:pt x="433" y="52"/>
                    </a:lnTo>
                    <a:lnTo>
                      <a:pt x="438" y="58"/>
                    </a:lnTo>
                    <a:lnTo>
                      <a:pt x="441" y="62"/>
                    </a:lnTo>
                    <a:lnTo>
                      <a:pt x="446" y="63"/>
                    </a:lnTo>
                    <a:lnTo>
                      <a:pt x="455" y="65"/>
                    </a:lnTo>
                    <a:lnTo>
                      <a:pt x="456" y="68"/>
                    </a:lnTo>
                    <a:lnTo>
                      <a:pt x="461" y="73"/>
                    </a:lnTo>
                    <a:lnTo>
                      <a:pt x="460" y="77"/>
                    </a:lnTo>
                    <a:lnTo>
                      <a:pt x="456" y="83"/>
                    </a:lnTo>
                    <a:lnTo>
                      <a:pt x="456" y="92"/>
                    </a:lnTo>
                    <a:lnTo>
                      <a:pt x="456" y="92"/>
                    </a:lnTo>
                    <a:close/>
                    <a:moveTo>
                      <a:pt x="21" y="472"/>
                    </a:moveTo>
                    <a:lnTo>
                      <a:pt x="24" y="475"/>
                    </a:lnTo>
                    <a:lnTo>
                      <a:pt x="21" y="475"/>
                    </a:lnTo>
                    <a:lnTo>
                      <a:pt x="21" y="472"/>
                    </a:lnTo>
                    <a:lnTo>
                      <a:pt x="21" y="472"/>
                    </a:lnTo>
                    <a:close/>
                    <a:moveTo>
                      <a:pt x="11" y="447"/>
                    </a:moveTo>
                    <a:lnTo>
                      <a:pt x="11" y="447"/>
                    </a:lnTo>
                    <a:lnTo>
                      <a:pt x="13" y="447"/>
                    </a:lnTo>
                    <a:lnTo>
                      <a:pt x="16" y="449"/>
                    </a:lnTo>
                    <a:lnTo>
                      <a:pt x="15" y="452"/>
                    </a:lnTo>
                    <a:lnTo>
                      <a:pt x="11" y="447"/>
                    </a:lnTo>
                    <a:lnTo>
                      <a:pt x="11" y="447"/>
                    </a:lnTo>
                    <a:close/>
                    <a:moveTo>
                      <a:pt x="19" y="439"/>
                    </a:moveTo>
                    <a:lnTo>
                      <a:pt x="18" y="442"/>
                    </a:lnTo>
                    <a:lnTo>
                      <a:pt x="16" y="442"/>
                    </a:lnTo>
                    <a:lnTo>
                      <a:pt x="19" y="439"/>
                    </a:lnTo>
                    <a:lnTo>
                      <a:pt x="19" y="439"/>
                    </a:lnTo>
                    <a:close/>
                    <a:moveTo>
                      <a:pt x="15" y="437"/>
                    </a:moveTo>
                    <a:lnTo>
                      <a:pt x="15" y="440"/>
                    </a:lnTo>
                    <a:lnTo>
                      <a:pt x="10" y="440"/>
                    </a:lnTo>
                    <a:lnTo>
                      <a:pt x="15" y="437"/>
                    </a:lnTo>
                    <a:lnTo>
                      <a:pt x="15" y="437"/>
                    </a:lnTo>
                    <a:close/>
                    <a:moveTo>
                      <a:pt x="6" y="420"/>
                    </a:moveTo>
                    <a:lnTo>
                      <a:pt x="3" y="419"/>
                    </a:lnTo>
                    <a:lnTo>
                      <a:pt x="6" y="415"/>
                    </a:lnTo>
                    <a:lnTo>
                      <a:pt x="6" y="415"/>
                    </a:lnTo>
                    <a:lnTo>
                      <a:pt x="6" y="420"/>
                    </a:lnTo>
                    <a:lnTo>
                      <a:pt x="6" y="420"/>
                    </a:lnTo>
                    <a:close/>
                    <a:moveTo>
                      <a:pt x="5" y="424"/>
                    </a:moveTo>
                    <a:lnTo>
                      <a:pt x="8" y="424"/>
                    </a:lnTo>
                    <a:lnTo>
                      <a:pt x="6" y="425"/>
                    </a:lnTo>
                    <a:lnTo>
                      <a:pt x="5" y="424"/>
                    </a:lnTo>
                    <a:lnTo>
                      <a:pt x="5" y="424"/>
                    </a:lnTo>
                    <a:close/>
                    <a:moveTo>
                      <a:pt x="13" y="427"/>
                    </a:moveTo>
                    <a:lnTo>
                      <a:pt x="13" y="427"/>
                    </a:lnTo>
                    <a:lnTo>
                      <a:pt x="18" y="432"/>
                    </a:lnTo>
                    <a:lnTo>
                      <a:pt x="16" y="435"/>
                    </a:lnTo>
                    <a:lnTo>
                      <a:pt x="13" y="427"/>
                    </a:lnTo>
                    <a:lnTo>
                      <a:pt x="13" y="427"/>
                    </a:lnTo>
                    <a:close/>
                    <a:moveTo>
                      <a:pt x="6" y="434"/>
                    </a:moveTo>
                    <a:lnTo>
                      <a:pt x="3" y="430"/>
                    </a:lnTo>
                    <a:lnTo>
                      <a:pt x="8" y="429"/>
                    </a:lnTo>
                    <a:lnTo>
                      <a:pt x="6" y="434"/>
                    </a:lnTo>
                    <a:lnTo>
                      <a:pt x="6" y="434"/>
                    </a:lnTo>
                    <a:close/>
                    <a:moveTo>
                      <a:pt x="3" y="407"/>
                    </a:moveTo>
                    <a:lnTo>
                      <a:pt x="0" y="410"/>
                    </a:lnTo>
                    <a:lnTo>
                      <a:pt x="1" y="412"/>
                    </a:lnTo>
                    <a:lnTo>
                      <a:pt x="5" y="410"/>
                    </a:lnTo>
                    <a:lnTo>
                      <a:pt x="3" y="407"/>
                    </a:lnTo>
                    <a:lnTo>
                      <a:pt x="3" y="407"/>
                    </a:lnTo>
                    <a:close/>
                    <a:moveTo>
                      <a:pt x="1" y="377"/>
                    </a:moveTo>
                    <a:lnTo>
                      <a:pt x="8" y="379"/>
                    </a:lnTo>
                    <a:lnTo>
                      <a:pt x="3" y="381"/>
                    </a:lnTo>
                    <a:lnTo>
                      <a:pt x="1" y="377"/>
                    </a:lnTo>
                    <a:lnTo>
                      <a:pt x="1" y="377"/>
                    </a:lnTo>
                    <a:close/>
                    <a:moveTo>
                      <a:pt x="3" y="369"/>
                    </a:moveTo>
                    <a:lnTo>
                      <a:pt x="8" y="372"/>
                    </a:lnTo>
                    <a:lnTo>
                      <a:pt x="6" y="376"/>
                    </a:lnTo>
                    <a:lnTo>
                      <a:pt x="3" y="369"/>
                    </a:lnTo>
                    <a:lnTo>
                      <a:pt x="3" y="369"/>
                    </a:lnTo>
                    <a:close/>
                    <a:moveTo>
                      <a:pt x="18" y="361"/>
                    </a:moveTo>
                    <a:lnTo>
                      <a:pt x="18" y="364"/>
                    </a:lnTo>
                    <a:lnTo>
                      <a:pt x="15" y="364"/>
                    </a:lnTo>
                    <a:lnTo>
                      <a:pt x="18" y="361"/>
                    </a:lnTo>
                    <a:lnTo>
                      <a:pt x="18" y="361"/>
                    </a:lnTo>
                    <a:close/>
                    <a:moveTo>
                      <a:pt x="21" y="357"/>
                    </a:moveTo>
                    <a:lnTo>
                      <a:pt x="24" y="359"/>
                    </a:lnTo>
                    <a:lnTo>
                      <a:pt x="26" y="362"/>
                    </a:lnTo>
                    <a:lnTo>
                      <a:pt x="21" y="364"/>
                    </a:lnTo>
                    <a:lnTo>
                      <a:pt x="21" y="357"/>
                    </a:lnTo>
                    <a:lnTo>
                      <a:pt x="21" y="357"/>
                    </a:lnTo>
                    <a:close/>
                    <a:moveTo>
                      <a:pt x="64" y="331"/>
                    </a:moveTo>
                    <a:lnTo>
                      <a:pt x="64" y="331"/>
                    </a:lnTo>
                    <a:lnTo>
                      <a:pt x="69" y="326"/>
                    </a:lnTo>
                    <a:lnTo>
                      <a:pt x="69" y="331"/>
                    </a:lnTo>
                    <a:lnTo>
                      <a:pt x="68" y="334"/>
                    </a:lnTo>
                    <a:lnTo>
                      <a:pt x="64" y="331"/>
                    </a:lnTo>
                    <a:lnTo>
                      <a:pt x="64" y="331"/>
                    </a:lnTo>
                    <a:close/>
                    <a:moveTo>
                      <a:pt x="66" y="324"/>
                    </a:moveTo>
                    <a:lnTo>
                      <a:pt x="66" y="324"/>
                    </a:lnTo>
                    <a:lnTo>
                      <a:pt x="64" y="326"/>
                    </a:lnTo>
                    <a:lnTo>
                      <a:pt x="59" y="321"/>
                    </a:lnTo>
                    <a:lnTo>
                      <a:pt x="64" y="321"/>
                    </a:lnTo>
                    <a:lnTo>
                      <a:pt x="66" y="324"/>
                    </a:lnTo>
                    <a:lnTo>
                      <a:pt x="66" y="324"/>
                    </a:lnTo>
                    <a:close/>
                    <a:moveTo>
                      <a:pt x="71" y="314"/>
                    </a:moveTo>
                    <a:lnTo>
                      <a:pt x="78" y="309"/>
                    </a:lnTo>
                    <a:lnTo>
                      <a:pt x="81" y="311"/>
                    </a:lnTo>
                    <a:lnTo>
                      <a:pt x="76" y="314"/>
                    </a:lnTo>
                    <a:lnTo>
                      <a:pt x="71" y="314"/>
                    </a:lnTo>
                    <a:lnTo>
                      <a:pt x="71" y="314"/>
                    </a:lnTo>
                    <a:close/>
                    <a:moveTo>
                      <a:pt x="71" y="322"/>
                    </a:moveTo>
                    <a:lnTo>
                      <a:pt x="74" y="317"/>
                    </a:lnTo>
                    <a:lnTo>
                      <a:pt x="79" y="317"/>
                    </a:lnTo>
                    <a:lnTo>
                      <a:pt x="81" y="316"/>
                    </a:lnTo>
                    <a:lnTo>
                      <a:pt x="84" y="316"/>
                    </a:lnTo>
                    <a:lnTo>
                      <a:pt x="88" y="317"/>
                    </a:lnTo>
                    <a:lnTo>
                      <a:pt x="84" y="322"/>
                    </a:lnTo>
                    <a:lnTo>
                      <a:pt x="78" y="321"/>
                    </a:lnTo>
                    <a:lnTo>
                      <a:pt x="74" y="322"/>
                    </a:lnTo>
                    <a:lnTo>
                      <a:pt x="71" y="322"/>
                    </a:lnTo>
                    <a:lnTo>
                      <a:pt x="71" y="322"/>
                    </a:lnTo>
                    <a:close/>
                    <a:moveTo>
                      <a:pt x="134" y="261"/>
                    </a:moveTo>
                    <a:lnTo>
                      <a:pt x="136" y="258"/>
                    </a:lnTo>
                    <a:lnTo>
                      <a:pt x="142" y="256"/>
                    </a:lnTo>
                    <a:lnTo>
                      <a:pt x="137" y="263"/>
                    </a:lnTo>
                    <a:lnTo>
                      <a:pt x="134" y="261"/>
                    </a:lnTo>
                    <a:lnTo>
                      <a:pt x="134" y="261"/>
                    </a:lnTo>
                    <a:close/>
                    <a:moveTo>
                      <a:pt x="129" y="271"/>
                    </a:moveTo>
                    <a:lnTo>
                      <a:pt x="127" y="268"/>
                    </a:lnTo>
                    <a:lnTo>
                      <a:pt x="124" y="269"/>
                    </a:lnTo>
                    <a:lnTo>
                      <a:pt x="127" y="264"/>
                    </a:lnTo>
                    <a:lnTo>
                      <a:pt x="134" y="264"/>
                    </a:lnTo>
                    <a:lnTo>
                      <a:pt x="137" y="263"/>
                    </a:lnTo>
                    <a:lnTo>
                      <a:pt x="132" y="269"/>
                    </a:lnTo>
                    <a:lnTo>
                      <a:pt x="129" y="271"/>
                    </a:lnTo>
                    <a:lnTo>
                      <a:pt x="129" y="271"/>
                    </a:lnTo>
                    <a:close/>
                    <a:moveTo>
                      <a:pt x="141" y="234"/>
                    </a:moveTo>
                    <a:lnTo>
                      <a:pt x="142" y="236"/>
                    </a:lnTo>
                    <a:lnTo>
                      <a:pt x="144" y="238"/>
                    </a:lnTo>
                    <a:lnTo>
                      <a:pt x="141" y="239"/>
                    </a:lnTo>
                    <a:lnTo>
                      <a:pt x="139" y="238"/>
                    </a:lnTo>
                    <a:lnTo>
                      <a:pt x="141" y="234"/>
                    </a:lnTo>
                    <a:lnTo>
                      <a:pt x="141" y="234"/>
                    </a:lnTo>
                    <a:close/>
                    <a:moveTo>
                      <a:pt x="151" y="226"/>
                    </a:moveTo>
                    <a:lnTo>
                      <a:pt x="152" y="224"/>
                    </a:lnTo>
                    <a:lnTo>
                      <a:pt x="157" y="224"/>
                    </a:lnTo>
                    <a:lnTo>
                      <a:pt x="151" y="229"/>
                    </a:lnTo>
                    <a:lnTo>
                      <a:pt x="151" y="226"/>
                    </a:lnTo>
                    <a:lnTo>
                      <a:pt x="151" y="226"/>
                    </a:lnTo>
                    <a:close/>
                    <a:moveTo>
                      <a:pt x="147" y="218"/>
                    </a:moveTo>
                    <a:lnTo>
                      <a:pt x="152" y="214"/>
                    </a:lnTo>
                    <a:lnTo>
                      <a:pt x="152" y="218"/>
                    </a:lnTo>
                    <a:lnTo>
                      <a:pt x="149" y="224"/>
                    </a:lnTo>
                    <a:lnTo>
                      <a:pt x="147" y="218"/>
                    </a:lnTo>
                    <a:lnTo>
                      <a:pt x="147" y="218"/>
                    </a:lnTo>
                    <a:close/>
                    <a:moveTo>
                      <a:pt x="177" y="178"/>
                    </a:moveTo>
                    <a:lnTo>
                      <a:pt x="179" y="176"/>
                    </a:lnTo>
                    <a:lnTo>
                      <a:pt x="182" y="176"/>
                    </a:lnTo>
                    <a:lnTo>
                      <a:pt x="179" y="181"/>
                    </a:lnTo>
                    <a:lnTo>
                      <a:pt x="177" y="178"/>
                    </a:lnTo>
                    <a:lnTo>
                      <a:pt x="177" y="178"/>
                    </a:lnTo>
                    <a:close/>
                    <a:moveTo>
                      <a:pt x="147" y="156"/>
                    </a:moveTo>
                    <a:lnTo>
                      <a:pt x="151" y="158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7" y="156"/>
                    </a:lnTo>
                    <a:lnTo>
                      <a:pt x="147" y="156"/>
                    </a:lnTo>
                    <a:close/>
                    <a:moveTo>
                      <a:pt x="156" y="145"/>
                    </a:moveTo>
                    <a:lnTo>
                      <a:pt x="151" y="150"/>
                    </a:lnTo>
                    <a:lnTo>
                      <a:pt x="151" y="146"/>
                    </a:lnTo>
                    <a:lnTo>
                      <a:pt x="156" y="140"/>
                    </a:lnTo>
                    <a:lnTo>
                      <a:pt x="156" y="145"/>
                    </a:lnTo>
                    <a:lnTo>
                      <a:pt x="156" y="145"/>
                    </a:lnTo>
                    <a:close/>
                    <a:moveTo>
                      <a:pt x="159" y="141"/>
                    </a:moveTo>
                    <a:lnTo>
                      <a:pt x="157" y="140"/>
                    </a:lnTo>
                    <a:lnTo>
                      <a:pt x="159" y="136"/>
                    </a:lnTo>
                    <a:lnTo>
                      <a:pt x="162" y="138"/>
                    </a:lnTo>
                    <a:lnTo>
                      <a:pt x="159" y="141"/>
                    </a:lnTo>
                    <a:lnTo>
                      <a:pt x="159" y="141"/>
                    </a:lnTo>
                    <a:close/>
                    <a:moveTo>
                      <a:pt x="174" y="131"/>
                    </a:moveTo>
                    <a:lnTo>
                      <a:pt x="174" y="136"/>
                    </a:lnTo>
                    <a:lnTo>
                      <a:pt x="164" y="141"/>
                    </a:lnTo>
                    <a:lnTo>
                      <a:pt x="166" y="135"/>
                    </a:lnTo>
                    <a:lnTo>
                      <a:pt x="174" y="131"/>
                    </a:lnTo>
                    <a:lnTo>
                      <a:pt x="174" y="131"/>
                    </a:lnTo>
                    <a:close/>
                    <a:moveTo>
                      <a:pt x="182" y="123"/>
                    </a:moveTo>
                    <a:lnTo>
                      <a:pt x="184" y="118"/>
                    </a:lnTo>
                    <a:lnTo>
                      <a:pt x="189" y="121"/>
                    </a:lnTo>
                    <a:lnTo>
                      <a:pt x="182" y="123"/>
                    </a:lnTo>
                    <a:lnTo>
                      <a:pt x="182" y="123"/>
                    </a:lnTo>
                    <a:close/>
                    <a:moveTo>
                      <a:pt x="187" y="125"/>
                    </a:moveTo>
                    <a:lnTo>
                      <a:pt x="187" y="133"/>
                    </a:lnTo>
                    <a:lnTo>
                      <a:pt x="182" y="131"/>
                    </a:lnTo>
                    <a:lnTo>
                      <a:pt x="176" y="135"/>
                    </a:lnTo>
                    <a:lnTo>
                      <a:pt x="177" y="130"/>
                    </a:lnTo>
                    <a:lnTo>
                      <a:pt x="187" y="125"/>
                    </a:lnTo>
                    <a:lnTo>
                      <a:pt x="187" y="125"/>
                    </a:lnTo>
                    <a:close/>
                    <a:moveTo>
                      <a:pt x="191" y="103"/>
                    </a:moveTo>
                    <a:lnTo>
                      <a:pt x="192" y="108"/>
                    </a:lnTo>
                    <a:lnTo>
                      <a:pt x="192" y="116"/>
                    </a:lnTo>
                    <a:lnTo>
                      <a:pt x="186" y="118"/>
                    </a:lnTo>
                    <a:lnTo>
                      <a:pt x="184" y="116"/>
                    </a:lnTo>
                    <a:lnTo>
                      <a:pt x="189" y="111"/>
                    </a:lnTo>
                    <a:lnTo>
                      <a:pt x="186" y="111"/>
                    </a:lnTo>
                    <a:lnTo>
                      <a:pt x="181" y="116"/>
                    </a:lnTo>
                    <a:lnTo>
                      <a:pt x="179" y="113"/>
                    </a:lnTo>
                    <a:lnTo>
                      <a:pt x="181" y="110"/>
                    </a:lnTo>
                    <a:lnTo>
                      <a:pt x="184" y="110"/>
                    </a:lnTo>
                    <a:lnTo>
                      <a:pt x="189" y="105"/>
                    </a:lnTo>
                    <a:lnTo>
                      <a:pt x="187" y="103"/>
                    </a:lnTo>
                    <a:lnTo>
                      <a:pt x="191" y="103"/>
                    </a:lnTo>
                    <a:lnTo>
                      <a:pt x="191" y="103"/>
                    </a:lnTo>
                    <a:close/>
                    <a:moveTo>
                      <a:pt x="196" y="105"/>
                    </a:moveTo>
                    <a:lnTo>
                      <a:pt x="194" y="103"/>
                    </a:lnTo>
                    <a:lnTo>
                      <a:pt x="194" y="98"/>
                    </a:lnTo>
                    <a:lnTo>
                      <a:pt x="201" y="93"/>
                    </a:lnTo>
                    <a:lnTo>
                      <a:pt x="201" y="88"/>
                    </a:lnTo>
                    <a:lnTo>
                      <a:pt x="207" y="87"/>
                    </a:lnTo>
                    <a:lnTo>
                      <a:pt x="209" y="92"/>
                    </a:lnTo>
                    <a:lnTo>
                      <a:pt x="204" y="95"/>
                    </a:lnTo>
                    <a:lnTo>
                      <a:pt x="202" y="98"/>
                    </a:lnTo>
                    <a:lnTo>
                      <a:pt x="196" y="105"/>
                    </a:lnTo>
                    <a:lnTo>
                      <a:pt x="196" y="105"/>
                    </a:lnTo>
                    <a:close/>
                    <a:moveTo>
                      <a:pt x="212" y="108"/>
                    </a:moveTo>
                    <a:lnTo>
                      <a:pt x="219" y="113"/>
                    </a:lnTo>
                    <a:lnTo>
                      <a:pt x="211" y="121"/>
                    </a:lnTo>
                    <a:lnTo>
                      <a:pt x="204" y="125"/>
                    </a:lnTo>
                    <a:lnTo>
                      <a:pt x="202" y="128"/>
                    </a:lnTo>
                    <a:lnTo>
                      <a:pt x="199" y="126"/>
                    </a:lnTo>
                    <a:lnTo>
                      <a:pt x="199" y="123"/>
                    </a:lnTo>
                    <a:lnTo>
                      <a:pt x="194" y="130"/>
                    </a:lnTo>
                    <a:lnTo>
                      <a:pt x="191" y="130"/>
                    </a:lnTo>
                    <a:lnTo>
                      <a:pt x="192" y="125"/>
                    </a:lnTo>
                    <a:lnTo>
                      <a:pt x="194" y="123"/>
                    </a:lnTo>
                    <a:lnTo>
                      <a:pt x="194" y="118"/>
                    </a:lnTo>
                    <a:lnTo>
                      <a:pt x="197" y="115"/>
                    </a:lnTo>
                    <a:lnTo>
                      <a:pt x="197" y="111"/>
                    </a:lnTo>
                    <a:lnTo>
                      <a:pt x="202" y="103"/>
                    </a:lnTo>
                    <a:lnTo>
                      <a:pt x="201" y="115"/>
                    </a:lnTo>
                    <a:lnTo>
                      <a:pt x="201" y="118"/>
                    </a:lnTo>
                    <a:lnTo>
                      <a:pt x="204" y="113"/>
                    </a:lnTo>
                    <a:lnTo>
                      <a:pt x="212" y="113"/>
                    </a:lnTo>
                    <a:lnTo>
                      <a:pt x="209" y="110"/>
                    </a:lnTo>
                    <a:lnTo>
                      <a:pt x="209" y="106"/>
                    </a:lnTo>
                    <a:lnTo>
                      <a:pt x="212" y="108"/>
                    </a:lnTo>
                    <a:lnTo>
                      <a:pt x="212" y="108"/>
                    </a:lnTo>
                    <a:close/>
                    <a:moveTo>
                      <a:pt x="212" y="103"/>
                    </a:moveTo>
                    <a:lnTo>
                      <a:pt x="211" y="101"/>
                    </a:lnTo>
                    <a:lnTo>
                      <a:pt x="214" y="100"/>
                    </a:lnTo>
                    <a:lnTo>
                      <a:pt x="219" y="103"/>
                    </a:lnTo>
                    <a:lnTo>
                      <a:pt x="219" y="106"/>
                    </a:lnTo>
                    <a:lnTo>
                      <a:pt x="212" y="103"/>
                    </a:lnTo>
                    <a:lnTo>
                      <a:pt x="212" y="103"/>
                    </a:lnTo>
                    <a:close/>
                    <a:moveTo>
                      <a:pt x="225" y="110"/>
                    </a:moveTo>
                    <a:lnTo>
                      <a:pt x="225" y="105"/>
                    </a:lnTo>
                    <a:lnTo>
                      <a:pt x="229" y="108"/>
                    </a:lnTo>
                    <a:lnTo>
                      <a:pt x="225" y="110"/>
                    </a:lnTo>
                    <a:lnTo>
                      <a:pt x="225" y="110"/>
                    </a:lnTo>
                    <a:close/>
                    <a:moveTo>
                      <a:pt x="240" y="87"/>
                    </a:moveTo>
                    <a:lnTo>
                      <a:pt x="240" y="88"/>
                    </a:lnTo>
                    <a:lnTo>
                      <a:pt x="242" y="92"/>
                    </a:lnTo>
                    <a:lnTo>
                      <a:pt x="235" y="93"/>
                    </a:lnTo>
                    <a:lnTo>
                      <a:pt x="234" y="95"/>
                    </a:lnTo>
                    <a:lnTo>
                      <a:pt x="229" y="95"/>
                    </a:lnTo>
                    <a:lnTo>
                      <a:pt x="227" y="100"/>
                    </a:lnTo>
                    <a:lnTo>
                      <a:pt x="225" y="100"/>
                    </a:lnTo>
                    <a:lnTo>
                      <a:pt x="225" y="97"/>
                    </a:lnTo>
                    <a:lnTo>
                      <a:pt x="220" y="97"/>
                    </a:lnTo>
                    <a:lnTo>
                      <a:pt x="225" y="92"/>
                    </a:lnTo>
                    <a:lnTo>
                      <a:pt x="220" y="92"/>
                    </a:lnTo>
                    <a:lnTo>
                      <a:pt x="222" y="87"/>
                    </a:lnTo>
                    <a:lnTo>
                      <a:pt x="229" y="85"/>
                    </a:lnTo>
                    <a:lnTo>
                      <a:pt x="222" y="83"/>
                    </a:lnTo>
                    <a:lnTo>
                      <a:pt x="225" y="78"/>
                    </a:lnTo>
                    <a:lnTo>
                      <a:pt x="229" y="80"/>
                    </a:lnTo>
                    <a:lnTo>
                      <a:pt x="229" y="77"/>
                    </a:lnTo>
                    <a:lnTo>
                      <a:pt x="235" y="77"/>
                    </a:lnTo>
                    <a:lnTo>
                      <a:pt x="237" y="80"/>
                    </a:lnTo>
                    <a:lnTo>
                      <a:pt x="240" y="82"/>
                    </a:lnTo>
                    <a:lnTo>
                      <a:pt x="240" y="87"/>
                    </a:lnTo>
                    <a:lnTo>
                      <a:pt x="240" y="87"/>
                    </a:lnTo>
                    <a:close/>
                    <a:moveTo>
                      <a:pt x="242" y="73"/>
                    </a:moveTo>
                    <a:lnTo>
                      <a:pt x="247" y="73"/>
                    </a:lnTo>
                    <a:lnTo>
                      <a:pt x="249" y="70"/>
                    </a:lnTo>
                    <a:lnTo>
                      <a:pt x="254" y="70"/>
                    </a:lnTo>
                    <a:lnTo>
                      <a:pt x="257" y="67"/>
                    </a:lnTo>
                    <a:lnTo>
                      <a:pt x="260" y="70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0" y="77"/>
                    </a:lnTo>
                    <a:lnTo>
                      <a:pt x="245" y="78"/>
                    </a:lnTo>
                    <a:lnTo>
                      <a:pt x="242" y="73"/>
                    </a:lnTo>
                    <a:lnTo>
                      <a:pt x="242" y="73"/>
                    </a:lnTo>
                    <a:close/>
                    <a:moveTo>
                      <a:pt x="260" y="48"/>
                    </a:moveTo>
                    <a:lnTo>
                      <a:pt x="260" y="47"/>
                    </a:lnTo>
                    <a:lnTo>
                      <a:pt x="264" y="45"/>
                    </a:lnTo>
                    <a:lnTo>
                      <a:pt x="260" y="48"/>
                    </a:lnTo>
                    <a:lnTo>
                      <a:pt x="260" y="48"/>
                    </a:lnTo>
                    <a:close/>
                    <a:moveTo>
                      <a:pt x="252" y="58"/>
                    </a:moveTo>
                    <a:lnTo>
                      <a:pt x="252" y="52"/>
                    </a:lnTo>
                    <a:lnTo>
                      <a:pt x="259" y="52"/>
                    </a:lnTo>
                    <a:lnTo>
                      <a:pt x="259" y="53"/>
                    </a:lnTo>
                    <a:lnTo>
                      <a:pt x="259" y="53"/>
                    </a:lnTo>
                    <a:lnTo>
                      <a:pt x="252" y="58"/>
                    </a:lnTo>
                    <a:lnTo>
                      <a:pt x="252" y="58"/>
                    </a:lnTo>
                    <a:close/>
                    <a:moveTo>
                      <a:pt x="269" y="65"/>
                    </a:moveTo>
                    <a:lnTo>
                      <a:pt x="270" y="60"/>
                    </a:lnTo>
                    <a:lnTo>
                      <a:pt x="272" y="63"/>
                    </a:lnTo>
                    <a:lnTo>
                      <a:pt x="269" y="65"/>
                    </a:lnTo>
                    <a:lnTo>
                      <a:pt x="269" y="65"/>
                    </a:lnTo>
                    <a:close/>
                    <a:moveTo>
                      <a:pt x="265" y="65"/>
                    </a:moveTo>
                    <a:lnTo>
                      <a:pt x="264" y="67"/>
                    </a:lnTo>
                    <a:lnTo>
                      <a:pt x="260" y="67"/>
                    </a:lnTo>
                    <a:lnTo>
                      <a:pt x="255" y="60"/>
                    </a:lnTo>
                    <a:lnTo>
                      <a:pt x="262" y="55"/>
                    </a:lnTo>
                    <a:lnTo>
                      <a:pt x="264" y="57"/>
                    </a:lnTo>
                    <a:lnTo>
                      <a:pt x="269" y="57"/>
                    </a:lnTo>
                    <a:lnTo>
                      <a:pt x="269" y="58"/>
                    </a:lnTo>
                    <a:lnTo>
                      <a:pt x="265" y="60"/>
                    </a:lnTo>
                    <a:lnTo>
                      <a:pt x="265" y="65"/>
                    </a:lnTo>
                    <a:lnTo>
                      <a:pt x="265" y="65"/>
                    </a:lnTo>
                    <a:close/>
                    <a:moveTo>
                      <a:pt x="279" y="53"/>
                    </a:moveTo>
                    <a:lnTo>
                      <a:pt x="277" y="55"/>
                    </a:lnTo>
                    <a:lnTo>
                      <a:pt x="270" y="53"/>
                    </a:lnTo>
                    <a:lnTo>
                      <a:pt x="270" y="50"/>
                    </a:lnTo>
                    <a:lnTo>
                      <a:pt x="269" y="43"/>
                    </a:lnTo>
                    <a:lnTo>
                      <a:pt x="272" y="42"/>
                    </a:lnTo>
                    <a:lnTo>
                      <a:pt x="272" y="48"/>
                    </a:lnTo>
                    <a:lnTo>
                      <a:pt x="277" y="52"/>
                    </a:lnTo>
                    <a:lnTo>
                      <a:pt x="279" y="53"/>
                    </a:lnTo>
                    <a:lnTo>
                      <a:pt x="279" y="53"/>
                    </a:lnTo>
                    <a:close/>
                    <a:moveTo>
                      <a:pt x="292" y="60"/>
                    </a:moveTo>
                    <a:lnTo>
                      <a:pt x="289" y="57"/>
                    </a:lnTo>
                    <a:lnTo>
                      <a:pt x="285" y="55"/>
                    </a:lnTo>
                    <a:lnTo>
                      <a:pt x="285" y="48"/>
                    </a:lnTo>
                    <a:lnTo>
                      <a:pt x="289" y="45"/>
                    </a:lnTo>
                    <a:lnTo>
                      <a:pt x="294" y="48"/>
                    </a:lnTo>
                    <a:lnTo>
                      <a:pt x="292" y="53"/>
                    </a:lnTo>
                    <a:lnTo>
                      <a:pt x="294" y="57"/>
                    </a:lnTo>
                    <a:lnTo>
                      <a:pt x="292" y="60"/>
                    </a:lnTo>
                    <a:lnTo>
                      <a:pt x="292" y="60"/>
                    </a:lnTo>
                    <a:close/>
                    <a:moveTo>
                      <a:pt x="328" y="43"/>
                    </a:moveTo>
                    <a:lnTo>
                      <a:pt x="323" y="42"/>
                    </a:lnTo>
                    <a:lnTo>
                      <a:pt x="318" y="40"/>
                    </a:lnTo>
                    <a:lnTo>
                      <a:pt x="322" y="37"/>
                    </a:lnTo>
                    <a:lnTo>
                      <a:pt x="327" y="37"/>
                    </a:lnTo>
                    <a:lnTo>
                      <a:pt x="328" y="40"/>
                    </a:lnTo>
                    <a:lnTo>
                      <a:pt x="328" y="43"/>
                    </a:lnTo>
                    <a:lnTo>
                      <a:pt x="328" y="43"/>
                    </a:lnTo>
                    <a:close/>
                    <a:moveTo>
                      <a:pt x="335" y="40"/>
                    </a:moveTo>
                    <a:lnTo>
                      <a:pt x="328" y="33"/>
                    </a:lnTo>
                    <a:lnTo>
                      <a:pt x="338" y="27"/>
                    </a:lnTo>
                    <a:lnTo>
                      <a:pt x="338" y="32"/>
                    </a:lnTo>
                    <a:lnTo>
                      <a:pt x="335" y="37"/>
                    </a:lnTo>
                    <a:lnTo>
                      <a:pt x="335" y="40"/>
                    </a:lnTo>
                    <a:lnTo>
                      <a:pt x="335" y="40"/>
                    </a:lnTo>
                    <a:close/>
                    <a:moveTo>
                      <a:pt x="323" y="32"/>
                    </a:moveTo>
                    <a:lnTo>
                      <a:pt x="320" y="33"/>
                    </a:lnTo>
                    <a:lnTo>
                      <a:pt x="314" y="30"/>
                    </a:lnTo>
                    <a:lnTo>
                      <a:pt x="312" y="27"/>
                    </a:lnTo>
                    <a:lnTo>
                      <a:pt x="315" y="27"/>
                    </a:lnTo>
                    <a:lnTo>
                      <a:pt x="320" y="23"/>
                    </a:lnTo>
                    <a:lnTo>
                      <a:pt x="322" y="27"/>
                    </a:lnTo>
                    <a:lnTo>
                      <a:pt x="325" y="23"/>
                    </a:lnTo>
                    <a:lnTo>
                      <a:pt x="328" y="23"/>
                    </a:lnTo>
                    <a:lnTo>
                      <a:pt x="335" y="18"/>
                    </a:lnTo>
                    <a:lnTo>
                      <a:pt x="337" y="20"/>
                    </a:lnTo>
                    <a:lnTo>
                      <a:pt x="323" y="32"/>
                    </a:lnTo>
                    <a:lnTo>
                      <a:pt x="323" y="32"/>
                    </a:lnTo>
                    <a:close/>
                    <a:moveTo>
                      <a:pt x="338" y="23"/>
                    </a:moveTo>
                    <a:lnTo>
                      <a:pt x="338" y="23"/>
                    </a:lnTo>
                    <a:lnTo>
                      <a:pt x="345" y="20"/>
                    </a:lnTo>
                    <a:lnTo>
                      <a:pt x="352" y="25"/>
                    </a:lnTo>
                    <a:lnTo>
                      <a:pt x="350" y="28"/>
                    </a:lnTo>
                    <a:lnTo>
                      <a:pt x="343" y="30"/>
                    </a:lnTo>
                    <a:lnTo>
                      <a:pt x="343" y="27"/>
                    </a:lnTo>
                    <a:lnTo>
                      <a:pt x="338" y="23"/>
                    </a:lnTo>
                    <a:lnTo>
                      <a:pt x="338" y="23"/>
                    </a:lnTo>
                    <a:close/>
                    <a:moveTo>
                      <a:pt x="352" y="12"/>
                    </a:moveTo>
                    <a:lnTo>
                      <a:pt x="350" y="15"/>
                    </a:lnTo>
                    <a:lnTo>
                      <a:pt x="348" y="15"/>
                    </a:lnTo>
                    <a:lnTo>
                      <a:pt x="345" y="10"/>
                    </a:lnTo>
                    <a:lnTo>
                      <a:pt x="350" y="10"/>
                    </a:lnTo>
                    <a:lnTo>
                      <a:pt x="352" y="12"/>
                    </a:lnTo>
                    <a:lnTo>
                      <a:pt x="352" y="12"/>
                    </a:lnTo>
                    <a:close/>
                    <a:moveTo>
                      <a:pt x="363" y="5"/>
                    </a:moveTo>
                    <a:lnTo>
                      <a:pt x="360" y="5"/>
                    </a:lnTo>
                    <a:lnTo>
                      <a:pt x="362" y="2"/>
                    </a:lnTo>
                    <a:lnTo>
                      <a:pt x="365" y="2"/>
                    </a:lnTo>
                    <a:lnTo>
                      <a:pt x="363" y="5"/>
                    </a:lnTo>
                    <a:lnTo>
                      <a:pt x="363" y="5"/>
                    </a:lnTo>
                    <a:close/>
                    <a:moveTo>
                      <a:pt x="370" y="8"/>
                    </a:moveTo>
                    <a:lnTo>
                      <a:pt x="370" y="5"/>
                    </a:lnTo>
                    <a:lnTo>
                      <a:pt x="372" y="3"/>
                    </a:lnTo>
                    <a:lnTo>
                      <a:pt x="375" y="5"/>
                    </a:lnTo>
                    <a:lnTo>
                      <a:pt x="377" y="3"/>
                    </a:lnTo>
                    <a:lnTo>
                      <a:pt x="377" y="0"/>
                    </a:lnTo>
                    <a:lnTo>
                      <a:pt x="380" y="2"/>
                    </a:lnTo>
                    <a:lnTo>
                      <a:pt x="385" y="3"/>
                    </a:lnTo>
                    <a:lnTo>
                      <a:pt x="382" y="7"/>
                    </a:lnTo>
                    <a:lnTo>
                      <a:pt x="387" y="7"/>
                    </a:lnTo>
                    <a:lnTo>
                      <a:pt x="385" y="12"/>
                    </a:lnTo>
                    <a:lnTo>
                      <a:pt x="380" y="12"/>
                    </a:lnTo>
                    <a:lnTo>
                      <a:pt x="375" y="8"/>
                    </a:lnTo>
                    <a:lnTo>
                      <a:pt x="37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0" name="Freeform 34">
                <a:extLst>
                  <a:ext uri="{FF2B5EF4-FFF2-40B4-BE49-F238E27FC236}">
                    <a16:creationId xmlns:a16="http://schemas.microsoft.com/office/drawing/2014/main" id="{794B02B0-972B-3A4B-97AE-F76BCA100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5952" y="2305795"/>
                <a:ext cx="129500" cy="257322"/>
              </a:xfrm>
              <a:custGeom>
                <a:avLst/>
                <a:gdLst/>
                <a:ahLst/>
                <a:cxnLst>
                  <a:cxn ang="0">
                    <a:pos x="10" y="357"/>
                  </a:cxn>
                  <a:cxn ang="0">
                    <a:pos x="25" y="332"/>
                  </a:cxn>
                  <a:cxn ang="0">
                    <a:pos x="28" y="292"/>
                  </a:cxn>
                  <a:cxn ang="0">
                    <a:pos x="13" y="242"/>
                  </a:cxn>
                  <a:cxn ang="0">
                    <a:pos x="37" y="199"/>
                  </a:cxn>
                  <a:cxn ang="0">
                    <a:pos x="48" y="139"/>
                  </a:cxn>
                  <a:cxn ang="0">
                    <a:pos x="68" y="111"/>
                  </a:cxn>
                  <a:cxn ang="0">
                    <a:pos x="78" y="63"/>
                  </a:cxn>
                  <a:cxn ang="0">
                    <a:pos x="103" y="43"/>
                  </a:cxn>
                  <a:cxn ang="0">
                    <a:pos x="113" y="29"/>
                  </a:cxn>
                  <a:cxn ang="0">
                    <a:pos x="143" y="26"/>
                  </a:cxn>
                  <a:cxn ang="0">
                    <a:pos x="153" y="11"/>
                  </a:cxn>
                  <a:cxn ang="0">
                    <a:pos x="163" y="4"/>
                  </a:cxn>
                  <a:cxn ang="0">
                    <a:pos x="206" y="28"/>
                  </a:cxn>
                  <a:cxn ang="0">
                    <a:pos x="219" y="44"/>
                  </a:cxn>
                  <a:cxn ang="0">
                    <a:pos x="226" y="76"/>
                  </a:cxn>
                  <a:cxn ang="0">
                    <a:pos x="231" y="112"/>
                  </a:cxn>
                  <a:cxn ang="0">
                    <a:pos x="234" y="131"/>
                  </a:cxn>
                  <a:cxn ang="0">
                    <a:pos x="209" y="131"/>
                  </a:cxn>
                  <a:cxn ang="0">
                    <a:pos x="193" y="134"/>
                  </a:cxn>
                  <a:cxn ang="0">
                    <a:pos x="191" y="151"/>
                  </a:cxn>
                  <a:cxn ang="0">
                    <a:pos x="191" y="156"/>
                  </a:cxn>
                  <a:cxn ang="0">
                    <a:pos x="193" y="176"/>
                  </a:cxn>
                  <a:cxn ang="0">
                    <a:pos x="186" y="197"/>
                  </a:cxn>
                  <a:cxn ang="0">
                    <a:pos x="165" y="217"/>
                  </a:cxn>
                  <a:cxn ang="0">
                    <a:pos x="150" y="229"/>
                  </a:cxn>
                  <a:cxn ang="0">
                    <a:pos x="136" y="235"/>
                  </a:cxn>
                  <a:cxn ang="0">
                    <a:pos x="125" y="255"/>
                  </a:cxn>
                  <a:cxn ang="0">
                    <a:pos x="118" y="280"/>
                  </a:cxn>
                  <a:cxn ang="0">
                    <a:pos x="120" y="299"/>
                  </a:cxn>
                  <a:cxn ang="0">
                    <a:pos x="125" y="317"/>
                  </a:cxn>
                  <a:cxn ang="0">
                    <a:pos x="146" y="332"/>
                  </a:cxn>
                  <a:cxn ang="0">
                    <a:pos x="146" y="362"/>
                  </a:cxn>
                  <a:cxn ang="0">
                    <a:pos x="125" y="358"/>
                  </a:cxn>
                  <a:cxn ang="0">
                    <a:pos x="105" y="360"/>
                  </a:cxn>
                  <a:cxn ang="0">
                    <a:pos x="120" y="363"/>
                  </a:cxn>
                  <a:cxn ang="0">
                    <a:pos x="148" y="370"/>
                  </a:cxn>
                  <a:cxn ang="0">
                    <a:pos x="135" y="375"/>
                  </a:cxn>
                  <a:cxn ang="0">
                    <a:pos x="121" y="388"/>
                  </a:cxn>
                  <a:cxn ang="0">
                    <a:pos x="113" y="398"/>
                  </a:cxn>
                  <a:cxn ang="0">
                    <a:pos x="115" y="416"/>
                  </a:cxn>
                  <a:cxn ang="0">
                    <a:pos x="116" y="443"/>
                  </a:cxn>
                  <a:cxn ang="0">
                    <a:pos x="96" y="470"/>
                  </a:cxn>
                  <a:cxn ang="0">
                    <a:pos x="72" y="485"/>
                  </a:cxn>
                  <a:cxn ang="0">
                    <a:pos x="43" y="488"/>
                  </a:cxn>
                  <a:cxn ang="0">
                    <a:pos x="43" y="461"/>
                  </a:cxn>
                  <a:cxn ang="0">
                    <a:pos x="20" y="435"/>
                  </a:cxn>
                  <a:cxn ang="0">
                    <a:pos x="10" y="411"/>
                  </a:cxn>
                  <a:cxn ang="0">
                    <a:pos x="10" y="401"/>
                  </a:cxn>
                  <a:cxn ang="0">
                    <a:pos x="0" y="390"/>
                  </a:cxn>
                  <a:cxn ang="0">
                    <a:pos x="151" y="372"/>
                  </a:cxn>
                  <a:cxn ang="0">
                    <a:pos x="7" y="408"/>
                  </a:cxn>
                  <a:cxn ang="0">
                    <a:pos x="170" y="398"/>
                  </a:cxn>
                  <a:cxn ang="0">
                    <a:pos x="173" y="415"/>
                  </a:cxn>
                  <a:cxn ang="0">
                    <a:pos x="158" y="448"/>
                  </a:cxn>
                  <a:cxn ang="0">
                    <a:pos x="168" y="428"/>
                  </a:cxn>
                  <a:cxn ang="0">
                    <a:pos x="158" y="418"/>
                  </a:cxn>
                  <a:cxn ang="0">
                    <a:pos x="156" y="440"/>
                  </a:cxn>
                  <a:cxn ang="0">
                    <a:pos x="116" y="470"/>
                  </a:cxn>
                  <a:cxn ang="0">
                    <a:pos x="125" y="436"/>
                  </a:cxn>
                </a:cxnLst>
                <a:rect l="0" t="0" r="r" b="b"/>
                <a:pathLst>
                  <a:path w="243" h="495">
                    <a:moveTo>
                      <a:pt x="3" y="378"/>
                    </a:moveTo>
                    <a:lnTo>
                      <a:pt x="7" y="380"/>
                    </a:lnTo>
                    <a:lnTo>
                      <a:pt x="10" y="383"/>
                    </a:lnTo>
                    <a:lnTo>
                      <a:pt x="12" y="380"/>
                    </a:lnTo>
                    <a:lnTo>
                      <a:pt x="12" y="367"/>
                    </a:lnTo>
                    <a:lnTo>
                      <a:pt x="8" y="360"/>
                    </a:lnTo>
                    <a:lnTo>
                      <a:pt x="10" y="357"/>
                    </a:lnTo>
                    <a:lnTo>
                      <a:pt x="13" y="355"/>
                    </a:lnTo>
                    <a:lnTo>
                      <a:pt x="10" y="350"/>
                    </a:lnTo>
                    <a:lnTo>
                      <a:pt x="12" y="348"/>
                    </a:lnTo>
                    <a:lnTo>
                      <a:pt x="20" y="347"/>
                    </a:lnTo>
                    <a:lnTo>
                      <a:pt x="22" y="343"/>
                    </a:lnTo>
                    <a:lnTo>
                      <a:pt x="22" y="340"/>
                    </a:lnTo>
                    <a:lnTo>
                      <a:pt x="25" y="332"/>
                    </a:lnTo>
                    <a:lnTo>
                      <a:pt x="22" y="328"/>
                    </a:lnTo>
                    <a:lnTo>
                      <a:pt x="20" y="318"/>
                    </a:lnTo>
                    <a:lnTo>
                      <a:pt x="15" y="310"/>
                    </a:lnTo>
                    <a:lnTo>
                      <a:pt x="15" y="307"/>
                    </a:lnTo>
                    <a:lnTo>
                      <a:pt x="27" y="303"/>
                    </a:lnTo>
                    <a:lnTo>
                      <a:pt x="27" y="295"/>
                    </a:lnTo>
                    <a:lnTo>
                      <a:pt x="28" y="292"/>
                    </a:lnTo>
                    <a:lnTo>
                      <a:pt x="20" y="282"/>
                    </a:lnTo>
                    <a:lnTo>
                      <a:pt x="13" y="280"/>
                    </a:lnTo>
                    <a:lnTo>
                      <a:pt x="13" y="272"/>
                    </a:lnTo>
                    <a:lnTo>
                      <a:pt x="15" y="264"/>
                    </a:lnTo>
                    <a:lnTo>
                      <a:pt x="13" y="254"/>
                    </a:lnTo>
                    <a:lnTo>
                      <a:pt x="10" y="249"/>
                    </a:lnTo>
                    <a:lnTo>
                      <a:pt x="13" y="242"/>
                    </a:lnTo>
                    <a:lnTo>
                      <a:pt x="12" y="230"/>
                    </a:lnTo>
                    <a:lnTo>
                      <a:pt x="10" y="219"/>
                    </a:lnTo>
                    <a:lnTo>
                      <a:pt x="12" y="209"/>
                    </a:lnTo>
                    <a:lnTo>
                      <a:pt x="17" y="201"/>
                    </a:lnTo>
                    <a:lnTo>
                      <a:pt x="22" y="197"/>
                    </a:lnTo>
                    <a:lnTo>
                      <a:pt x="28" y="199"/>
                    </a:lnTo>
                    <a:lnTo>
                      <a:pt x="37" y="199"/>
                    </a:lnTo>
                    <a:lnTo>
                      <a:pt x="40" y="194"/>
                    </a:lnTo>
                    <a:lnTo>
                      <a:pt x="40" y="186"/>
                    </a:lnTo>
                    <a:lnTo>
                      <a:pt x="38" y="182"/>
                    </a:lnTo>
                    <a:lnTo>
                      <a:pt x="38" y="177"/>
                    </a:lnTo>
                    <a:lnTo>
                      <a:pt x="47" y="159"/>
                    </a:lnTo>
                    <a:lnTo>
                      <a:pt x="47" y="149"/>
                    </a:lnTo>
                    <a:lnTo>
                      <a:pt x="48" y="139"/>
                    </a:lnTo>
                    <a:lnTo>
                      <a:pt x="52" y="134"/>
                    </a:lnTo>
                    <a:lnTo>
                      <a:pt x="52" y="127"/>
                    </a:lnTo>
                    <a:lnTo>
                      <a:pt x="48" y="124"/>
                    </a:lnTo>
                    <a:lnTo>
                      <a:pt x="48" y="119"/>
                    </a:lnTo>
                    <a:lnTo>
                      <a:pt x="55" y="116"/>
                    </a:lnTo>
                    <a:lnTo>
                      <a:pt x="63" y="114"/>
                    </a:lnTo>
                    <a:lnTo>
                      <a:pt x="68" y="111"/>
                    </a:lnTo>
                    <a:lnTo>
                      <a:pt x="68" y="106"/>
                    </a:lnTo>
                    <a:lnTo>
                      <a:pt x="75" y="96"/>
                    </a:lnTo>
                    <a:lnTo>
                      <a:pt x="81" y="88"/>
                    </a:lnTo>
                    <a:lnTo>
                      <a:pt x="83" y="83"/>
                    </a:lnTo>
                    <a:lnTo>
                      <a:pt x="81" y="76"/>
                    </a:lnTo>
                    <a:lnTo>
                      <a:pt x="78" y="73"/>
                    </a:lnTo>
                    <a:lnTo>
                      <a:pt x="78" y="63"/>
                    </a:lnTo>
                    <a:lnTo>
                      <a:pt x="81" y="61"/>
                    </a:lnTo>
                    <a:lnTo>
                      <a:pt x="85" y="58"/>
                    </a:lnTo>
                    <a:lnTo>
                      <a:pt x="85" y="53"/>
                    </a:lnTo>
                    <a:lnTo>
                      <a:pt x="88" y="51"/>
                    </a:lnTo>
                    <a:lnTo>
                      <a:pt x="93" y="44"/>
                    </a:lnTo>
                    <a:lnTo>
                      <a:pt x="98" y="39"/>
                    </a:lnTo>
                    <a:lnTo>
                      <a:pt x="103" y="43"/>
                    </a:lnTo>
                    <a:lnTo>
                      <a:pt x="105" y="44"/>
                    </a:lnTo>
                    <a:lnTo>
                      <a:pt x="108" y="44"/>
                    </a:lnTo>
                    <a:lnTo>
                      <a:pt x="111" y="41"/>
                    </a:lnTo>
                    <a:lnTo>
                      <a:pt x="110" y="36"/>
                    </a:lnTo>
                    <a:lnTo>
                      <a:pt x="111" y="34"/>
                    </a:lnTo>
                    <a:lnTo>
                      <a:pt x="111" y="31"/>
                    </a:lnTo>
                    <a:lnTo>
                      <a:pt x="113" y="29"/>
                    </a:lnTo>
                    <a:lnTo>
                      <a:pt x="110" y="24"/>
                    </a:lnTo>
                    <a:lnTo>
                      <a:pt x="111" y="23"/>
                    </a:lnTo>
                    <a:lnTo>
                      <a:pt x="118" y="23"/>
                    </a:lnTo>
                    <a:lnTo>
                      <a:pt x="125" y="19"/>
                    </a:lnTo>
                    <a:lnTo>
                      <a:pt x="131" y="23"/>
                    </a:lnTo>
                    <a:lnTo>
                      <a:pt x="136" y="24"/>
                    </a:lnTo>
                    <a:lnTo>
                      <a:pt x="143" y="26"/>
                    </a:lnTo>
                    <a:lnTo>
                      <a:pt x="146" y="28"/>
                    </a:lnTo>
                    <a:lnTo>
                      <a:pt x="148" y="28"/>
                    </a:lnTo>
                    <a:lnTo>
                      <a:pt x="150" y="28"/>
                    </a:lnTo>
                    <a:lnTo>
                      <a:pt x="150" y="23"/>
                    </a:lnTo>
                    <a:lnTo>
                      <a:pt x="148" y="19"/>
                    </a:lnTo>
                    <a:lnTo>
                      <a:pt x="148" y="13"/>
                    </a:lnTo>
                    <a:lnTo>
                      <a:pt x="153" y="11"/>
                    </a:lnTo>
                    <a:lnTo>
                      <a:pt x="151" y="6"/>
                    </a:lnTo>
                    <a:lnTo>
                      <a:pt x="148" y="4"/>
                    </a:lnTo>
                    <a:lnTo>
                      <a:pt x="146" y="0"/>
                    </a:lnTo>
                    <a:lnTo>
                      <a:pt x="153" y="1"/>
                    </a:lnTo>
                    <a:lnTo>
                      <a:pt x="158" y="1"/>
                    </a:lnTo>
                    <a:lnTo>
                      <a:pt x="160" y="0"/>
                    </a:lnTo>
                    <a:lnTo>
                      <a:pt x="163" y="4"/>
                    </a:lnTo>
                    <a:lnTo>
                      <a:pt x="170" y="6"/>
                    </a:lnTo>
                    <a:lnTo>
                      <a:pt x="178" y="16"/>
                    </a:lnTo>
                    <a:lnTo>
                      <a:pt x="184" y="19"/>
                    </a:lnTo>
                    <a:lnTo>
                      <a:pt x="194" y="21"/>
                    </a:lnTo>
                    <a:lnTo>
                      <a:pt x="198" y="23"/>
                    </a:lnTo>
                    <a:lnTo>
                      <a:pt x="201" y="24"/>
                    </a:lnTo>
                    <a:lnTo>
                      <a:pt x="206" y="28"/>
                    </a:lnTo>
                    <a:lnTo>
                      <a:pt x="208" y="33"/>
                    </a:lnTo>
                    <a:lnTo>
                      <a:pt x="209" y="33"/>
                    </a:lnTo>
                    <a:lnTo>
                      <a:pt x="211" y="33"/>
                    </a:lnTo>
                    <a:lnTo>
                      <a:pt x="216" y="38"/>
                    </a:lnTo>
                    <a:lnTo>
                      <a:pt x="219" y="38"/>
                    </a:lnTo>
                    <a:lnTo>
                      <a:pt x="221" y="41"/>
                    </a:lnTo>
                    <a:lnTo>
                      <a:pt x="219" y="44"/>
                    </a:lnTo>
                    <a:lnTo>
                      <a:pt x="221" y="51"/>
                    </a:lnTo>
                    <a:lnTo>
                      <a:pt x="219" y="56"/>
                    </a:lnTo>
                    <a:lnTo>
                      <a:pt x="219" y="61"/>
                    </a:lnTo>
                    <a:lnTo>
                      <a:pt x="226" y="61"/>
                    </a:lnTo>
                    <a:lnTo>
                      <a:pt x="228" y="66"/>
                    </a:lnTo>
                    <a:lnTo>
                      <a:pt x="224" y="69"/>
                    </a:lnTo>
                    <a:lnTo>
                      <a:pt x="226" y="76"/>
                    </a:lnTo>
                    <a:lnTo>
                      <a:pt x="228" y="79"/>
                    </a:lnTo>
                    <a:lnTo>
                      <a:pt x="229" y="88"/>
                    </a:lnTo>
                    <a:lnTo>
                      <a:pt x="229" y="91"/>
                    </a:lnTo>
                    <a:lnTo>
                      <a:pt x="229" y="94"/>
                    </a:lnTo>
                    <a:lnTo>
                      <a:pt x="229" y="102"/>
                    </a:lnTo>
                    <a:lnTo>
                      <a:pt x="228" y="106"/>
                    </a:lnTo>
                    <a:lnTo>
                      <a:pt x="231" y="112"/>
                    </a:lnTo>
                    <a:lnTo>
                      <a:pt x="234" y="112"/>
                    </a:lnTo>
                    <a:lnTo>
                      <a:pt x="239" y="121"/>
                    </a:lnTo>
                    <a:lnTo>
                      <a:pt x="243" y="124"/>
                    </a:lnTo>
                    <a:lnTo>
                      <a:pt x="241" y="129"/>
                    </a:lnTo>
                    <a:lnTo>
                      <a:pt x="241" y="129"/>
                    </a:lnTo>
                    <a:lnTo>
                      <a:pt x="238" y="131"/>
                    </a:lnTo>
                    <a:lnTo>
                      <a:pt x="234" y="131"/>
                    </a:lnTo>
                    <a:lnTo>
                      <a:pt x="231" y="127"/>
                    </a:lnTo>
                    <a:lnTo>
                      <a:pt x="226" y="131"/>
                    </a:lnTo>
                    <a:lnTo>
                      <a:pt x="221" y="129"/>
                    </a:lnTo>
                    <a:lnTo>
                      <a:pt x="219" y="132"/>
                    </a:lnTo>
                    <a:lnTo>
                      <a:pt x="216" y="131"/>
                    </a:lnTo>
                    <a:lnTo>
                      <a:pt x="214" y="127"/>
                    </a:lnTo>
                    <a:lnTo>
                      <a:pt x="209" y="131"/>
                    </a:lnTo>
                    <a:lnTo>
                      <a:pt x="206" y="126"/>
                    </a:lnTo>
                    <a:lnTo>
                      <a:pt x="204" y="129"/>
                    </a:lnTo>
                    <a:lnTo>
                      <a:pt x="204" y="132"/>
                    </a:lnTo>
                    <a:lnTo>
                      <a:pt x="203" y="136"/>
                    </a:lnTo>
                    <a:lnTo>
                      <a:pt x="198" y="137"/>
                    </a:lnTo>
                    <a:lnTo>
                      <a:pt x="196" y="134"/>
                    </a:lnTo>
                    <a:lnTo>
                      <a:pt x="193" y="134"/>
                    </a:lnTo>
                    <a:lnTo>
                      <a:pt x="196" y="139"/>
                    </a:lnTo>
                    <a:lnTo>
                      <a:pt x="199" y="141"/>
                    </a:lnTo>
                    <a:lnTo>
                      <a:pt x="196" y="144"/>
                    </a:lnTo>
                    <a:lnTo>
                      <a:pt x="191" y="144"/>
                    </a:lnTo>
                    <a:lnTo>
                      <a:pt x="188" y="146"/>
                    </a:lnTo>
                    <a:lnTo>
                      <a:pt x="193" y="147"/>
                    </a:lnTo>
                    <a:lnTo>
                      <a:pt x="191" y="151"/>
                    </a:lnTo>
                    <a:lnTo>
                      <a:pt x="189" y="151"/>
                    </a:lnTo>
                    <a:lnTo>
                      <a:pt x="189" y="149"/>
                    </a:lnTo>
                    <a:lnTo>
                      <a:pt x="186" y="147"/>
                    </a:lnTo>
                    <a:lnTo>
                      <a:pt x="184" y="149"/>
                    </a:lnTo>
                    <a:lnTo>
                      <a:pt x="186" y="152"/>
                    </a:lnTo>
                    <a:lnTo>
                      <a:pt x="189" y="152"/>
                    </a:lnTo>
                    <a:lnTo>
                      <a:pt x="191" y="156"/>
                    </a:lnTo>
                    <a:lnTo>
                      <a:pt x="191" y="157"/>
                    </a:lnTo>
                    <a:lnTo>
                      <a:pt x="188" y="166"/>
                    </a:lnTo>
                    <a:lnTo>
                      <a:pt x="188" y="169"/>
                    </a:lnTo>
                    <a:lnTo>
                      <a:pt x="183" y="169"/>
                    </a:lnTo>
                    <a:lnTo>
                      <a:pt x="188" y="172"/>
                    </a:lnTo>
                    <a:lnTo>
                      <a:pt x="191" y="174"/>
                    </a:lnTo>
                    <a:lnTo>
                      <a:pt x="193" y="176"/>
                    </a:lnTo>
                    <a:lnTo>
                      <a:pt x="189" y="177"/>
                    </a:lnTo>
                    <a:lnTo>
                      <a:pt x="193" y="181"/>
                    </a:lnTo>
                    <a:lnTo>
                      <a:pt x="196" y="181"/>
                    </a:lnTo>
                    <a:lnTo>
                      <a:pt x="191" y="186"/>
                    </a:lnTo>
                    <a:lnTo>
                      <a:pt x="188" y="186"/>
                    </a:lnTo>
                    <a:lnTo>
                      <a:pt x="184" y="191"/>
                    </a:lnTo>
                    <a:lnTo>
                      <a:pt x="186" y="197"/>
                    </a:lnTo>
                    <a:lnTo>
                      <a:pt x="181" y="204"/>
                    </a:lnTo>
                    <a:lnTo>
                      <a:pt x="178" y="204"/>
                    </a:lnTo>
                    <a:lnTo>
                      <a:pt x="173" y="209"/>
                    </a:lnTo>
                    <a:lnTo>
                      <a:pt x="170" y="205"/>
                    </a:lnTo>
                    <a:lnTo>
                      <a:pt x="170" y="209"/>
                    </a:lnTo>
                    <a:lnTo>
                      <a:pt x="171" y="214"/>
                    </a:lnTo>
                    <a:lnTo>
                      <a:pt x="165" y="217"/>
                    </a:lnTo>
                    <a:lnTo>
                      <a:pt x="163" y="220"/>
                    </a:lnTo>
                    <a:lnTo>
                      <a:pt x="160" y="220"/>
                    </a:lnTo>
                    <a:lnTo>
                      <a:pt x="160" y="217"/>
                    </a:lnTo>
                    <a:lnTo>
                      <a:pt x="156" y="217"/>
                    </a:lnTo>
                    <a:lnTo>
                      <a:pt x="153" y="222"/>
                    </a:lnTo>
                    <a:lnTo>
                      <a:pt x="153" y="227"/>
                    </a:lnTo>
                    <a:lnTo>
                      <a:pt x="150" y="229"/>
                    </a:lnTo>
                    <a:lnTo>
                      <a:pt x="148" y="227"/>
                    </a:lnTo>
                    <a:lnTo>
                      <a:pt x="146" y="227"/>
                    </a:lnTo>
                    <a:lnTo>
                      <a:pt x="145" y="232"/>
                    </a:lnTo>
                    <a:lnTo>
                      <a:pt x="143" y="232"/>
                    </a:lnTo>
                    <a:lnTo>
                      <a:pt x="141" y="229"/>
                    </a:lnTo>
                    <a:lnTo>
                      <a:pt x="138" y="232"/>
                    </a:lnTo>
                    <a:lnTo>
                      <a:pt x="136" y="235"/>
                    </a:lnTo>
                    <a:lnTo>
                      <a:pt x="140" y="237"/>
                    </a:lnTo>
                    <a:lnTo>
                      <a:pt x="140" y="239"/>
                    </a:lnTo>
                    <a:lnTo>
                      <a:pt x="133" y="244"/>
                    </a:lnTo>
                    <a:lnTo>
                      <a:pt x="128" y="244"/>
                    </a:lnTo>
                    <a:lnTo>
                      <a:pt x="126" y="245"/>
                    </a:lnTo>
                    <a:lnTo>
                      <a:pt x="128" y="250"/>
                    </a:lnTo>
                    <a:lnTo>
                      <a:pt x="125" y="255"/>
                    </a:lnTo>
                    <a:lnTo>
                      <a:pt x="118" y="255"/>
                    </a:lnTo>
                    <a:lnTo>
                      <a:pt x="115" y="255"/>
                    </a:lnTo>
                    <a:lnTo>
                      <a:pt x="120" y="260"/>
                    </a:lnTo>
                    <a:lnTo>
                      <a:pt x="120" y="267"/>
                    </a:lnTo>
                    <a:lnTo>
                      <a:pt x="120" y="269"/>
                    </a:lnTo>
                    <a:lnTo>
                      <a:pt x="120" y="274"/>
                    </a:lnTo>
                    <a:lnTo>
                      <a:pt x="118" y="280"/>
                    </a:lnTo>
                    <a:lnTo>
                      <a:pt x="121" y="284"/>
                    </a:lnTo>
                    <a:lnTo>
                      <a:pt x="121" y="287"/>
                    </a:lnTo>
                    <a:lnTo>
                      <a:pt x="118" y="285"/>
                    </a:lnTo>
                    <a:lnTo>
                      <a:pt x="118" y="287"/>
                    </a:lnTo>
                    <a:lnTo>
                      <a:pt x="120" y="292"/>
                    </a:lnTo>
                    <a:lnTo>
                      <a:pt x="115" y="297"/>
                    </a:lnTo>
                    <a:lnTo>
                      <a:pt x="120" y="299"/>
                    </a:lnTo>
                    <a:lnTo>
                      <a:pt x="120" y="300"/>
                    </a:lnTo>
                    <a:lnTo>
                      <a:pt x="116" y="302"/>
                    </a:lnTo>
                    <a:lnTo>
                      <a:pt x="120" y="307"/>
                    </a:lnTo>
                    <a:lnTo>
                      <a:pt x="116" y="310"/>
                    </a:lnTo>
                    <a:lnTo>
                      <a:pt x="118" y="313"/>
                    </a:lnTo>
                    <a:lnTo>
                      <a:pt x="121" y="317"/>
                    </a:lnTo>
                    <a:lnTo>
                      <a:pt x="125" y="317"/>
                    </a:lnTo>
                    <a:lnTo>
                      <a:pt x="125" y="322"/>
                    </a:lnTo>
                    <a:lnTo>
                      <a:pt x="126" y="320"/>
                    </a:lnTo>
                    <a:lnTo>
                      <a:pt x="130" y="323"/>
                    </a:lnTo>
                    <a:lnTo>
                      <a:pt x="133" y="320"/>
                    </a:lnTo>
                    <a:lnTo>
                      <a:pt x="136" y="322"/>
                    </a:lnTo>
                    <a:lnTo>
                      <a:pt x="138" y="325"/>
                    </a:lnTo>
                    <a:lnTo>
                      <a:pt x="146" y="332"/>
                    </a:lnTo>
                    <a:lnTo>
                      <a:pt x="145" y="333"/>
                    </a:lnTo>
                    <a:lnTo>
                      <a:pt x="153" y="338"/>
                    </a:lnTo>
                    <a:lnTo>
                      <a:pt x="153" y="342"/>
                    </a:lnTo>
                    <a:lnTo>
                      <a:pt x="158" y="345"/>
                    </a:lnTo>
                    <a:lnTo>
                      <a:pt x="155" y="352"/>
                    </a:lnTo>
                    <a:lnTo>
                      <a:pt x="148" y="358"/>
                    </a:lnTo>
                    <a:lnTo>
                      <a:pt x="146" y="362"/>
                    </a:lnTo>
                    <a:lnTo>
                      <a:pt x="140" y="363"/>
                    </a:lnTo>
                    <a:lnTo>
                      <a:pt x="136" y="362"/>
                    </a:lnTo>
                    <a:lnTo>
                      <a:pt x="136" y="358"/>
                    </a:lnTo>
                    <a:lnTo>
                      <a:pt x="131" y="357"/>
                    </a:lnTo>
                    <a:lnTo>
                      <a:pt x="128" y="355"/>
                    </a:lnTo>
                    <a:lnTo>
                      <a:pt x="128" y="358"/>
                    </a:lnTo>
                    <a:lnTo>
                      <a:pt x="125" y="358"/>
                    </a:lnTo>
                    <a:lnTo>
                      <a:pt x="123" y="357"/>
                    </a:lnTo>
                    <a:lnTo>
                      <a:pt x="120" y="355"/>
                    </a:lnTo>
                    <a:lnTo>
                      <a:pt x="118" y="358"/>
                    </a:lnTo>
                    <a:lnTo>
                      <a:pt x="113" y="358"/>
                    </a:lnTo>
                    <a:lnTo>
                      <a:pt x="111" y="357"/>
                    </a:lnTo>
                    <a:lnTo>
                      <a:pt x="108" y="362"/>
                    </a:lnTo>
                    <a:lnTo>
                      <a:pt x="105" y="360"/>
                    </a:lnTo>
                    <a:lnTo>
                      <a:pt x="101" y="360"/>
                    </a:lnTo>
                    <a:lnTo>
                      <a:pt x="101" y="362"/>
                    </a:lnTo>
                    <a:lnTo>
                      <a:pt x="108" y="363"/>
                    </a:lnTo>
                    <a:lnTo>
                      <a:pt x="110" y="365"/>
                    </a:lnTo>
                    <a:lnTo>
                      <a:pt x="111" y="362"/>
                    </a:lnTo>
                    <a:lnTo>
                      <a:pt x="116" y="362"/>
                    </a:lnTo>
                    <a:lnTo>
                      <a:pt x="120" y="363"/>
                    </a:lnTo>
                    <a:lnTo>
                      <a:pt x="125" y="365"/>
                    </a:lnTo>
                    <a:lnTo>
                      <a:pt x="128" y="368"/>
                    </a:lnTo>
                    <a:lnTo>
                      <a:pt x="133" y="367"/>
                    </a:lnTo>
                    <a:lnTo>
                      <a:pt x="135" y="368"/>
                    </a:lnTo>
                    <a:lnTo>
                      <a:pt x="140" y="365"/>
                    </a:lnTo>
                    <a:lnTo>
                      <a:pt x="145" y="367"/>
                    </a:lnTo>
                    <a:lnTo>
                      <a:pt x="148" y="370"/>
                    </a:lnTo>
                    <a:lnTo>
                      <a:pt x="148" y="373"/>
                    </a:lnTo>
                    <a:lnTo>
                      <a:pt x="145" y="377"/>
                    </a:lnTo>
                    <a:lnTo>
                      <a:pt x="141" y="377"/>
                    </a:lnTo>
                    <a:lnTo>
                      <a:pt x="138" y="382"/>
                    </a:lnTo>
                    <a:lnTo>
                      <a:pt x="135" y="382"/>
                    </a:lnTo>
                    <a:lnTo>
                      <a:pt x="136" y="378"/>
                    </a:lnTo>
                    <a:lnTo>
                      <a:pt x="135" y="375"/>
                    </a:lnTo>
                    <a:lnTo>
                      <a:pt x="131" y="378"/>
                    </a:lnTo>
                    <a:lnTo>
                      <a:pt x="133" y="380"/>
                    </a:lnTo>
                    <a:lnTo>
                      <a:pt x="130" y="382"/>
                    </a:lnTo>
                    <a:lnTo>
                      <a:pt x="126" y="385"/>
                    </a:lnTo>
                    <a:lnTo>
                      <a:pt x="126" y="388"/>
                    </a:lnTo>
                    <a:lnTo>
                      <a:pt x="121" y="387"/>
                    </a:lnTo>
                    <a:lnTo>
                      <a:pt x="121" y="388"/>
                    </a:lnTo>
                    <a:lnTo>
                      <a:pt x="120" y="392"/>
                    </a:lnTo>
                    <a:lnTo>
                      <a:pt x="118" y="390"/>
                    </a:lnTo>
                    <a:lnTo>
                      <a:pt x="116" y="390"/>
                    </a:lnTo>
                    <a:lnTo>
                      <a:pt x="113" y="393"/>
                    </a:lnTo>
                    <a:lnTo>
                      <a:pt x="116" y="393"/>
                    </a:lnTo>
                    <a:lnTo>
                      <a:pt x="121" y="398"/>
                    </a:lnTo>
                    <a:lnTo>
                      <a:pt x="113" y="398"/>
                    </a:lnTo>
                    <a:lnTo>
                      <a:pt x="120" y="400"/>
                    </a:lnTo>
                    <a:lnTo>
                      <a:pt x="120" y="403"/>
                    </a:lnTo>
                    <a:lnTo>
                      <a:pt x="118" y="408"/>
                    </a:lnTo>
                    <a:lnTo>
                      <a:pt x="123" y="413"/>
                    </a:lnTo>
                    <a:lnTo>
                      <a:pt x="118" y="413"/>
                    </a:lnTo>
                    <a:lnTo>
                      <a:pt x="111" y="411"/>
                    </a:lnTo>
                    <a:lnTo>
                      <a:pt x="115" y="416"/>
                    </a:lnTo>
                    <a:lnTo>
                      <a:pt x="113" y="420"/>
                    </a:lnTo>
                    <a:lnTo>
                      <a:pt x="118" y="423"/>
                    </a:lnTo>
                    <a:lnTo>
                      <a:pt x="113" y="426"/>
                    </a:lnTo>
                    <a:lnTo>
                      <a:pt x="118" y="431"/>
                    </a:lnTo>
                    <a:lnTo>
                      <a:pt x="113" y="435"/>
                    </a:lnTo>
                    <a:lnTo>
                      <a:pt x="113" y="440"/>
                    </a:lnTo>
                    <a:lnTo>
                      <a:pt x="116" y="443"/>
                    </a:lnTo>
                    <a:lnTo>
                      <a:pt x="115" y="446"/>
                    </a:lnTo>
                    <a:lnTo>
                      <a:pt x="115" y="456"/>
                    </a:lnTo>
                    <a:lnTo>
                      <a:pt x="110" y="460"/>
                    </a:lnTo>
                    <a:lnTo>
                      <a:pt x="108" y="470"/>
                    </a:lnTo>
                    <a:lnTo>
                      <a:pt x="103" y="475"/>
                    </a:lnTo>
                    <a:lnTo>
                      <a:pt x="100" y="471"/>
                    </a:lnTo>
                    <a:lnTo>
                      <a:pt x="96" y="470"/>
                    </a:lnTo>
                    <a:lnTo>
                      <a:pt x="91" y="473"/>
                    </a:lnTo>
                    <a:lnTo>
                      <a:pt x="81" y="471"/>
                    </a:lnTo>
                    <a:lnTo>
                      <a:pt x="81" y="468"/>
                    </a:lnTo>
                    <a:lnTo>
                      <a:pt x="80" y="475"/>
                    </a:lnTo>
                    <a:lnTo>
                      <a:pt x="72" y="476"/>
                    </a:lnTo>
                    <a:lnTo>
                      <a:pt x="68" y="483"/>
                    </a:lnTo>
                    <a:lnTo>
                      <a:pt x="72" y="485"/>
                    </a:lnTo>
                    <a:lnTo>
                      <a:pt x="72" y="490"/>
                    </a:lnTo>
                    <a:lnTo>
                      <a:pt x="67" y="493"/>
                    </a:lnTo>
                    <a:lnTo>
                      <a:pt x="60" y="491"/>
                    </a:lnTo>
                    <a:lnTo>
                      <a:pt x="48" y="495"/>
                    </a:lnTo>
                    <a:lnTo>
                      <a:pt x="43" y="495"/>
                    </a:lnTo>
                    <a:lnTo>
                      <a:pt x="42" y="491"/>
                    </a:lnTo>
                    <a:lnTo>
                      <a:pt x="43" y="488"/>
                    </a:lnTo>
                    <a:lnTo>
                      <a:pt x="42" y="478"/>
                    </a:lnTo>
                    <a:lnTo>
                      <a:pt x="37" y="476"/>
                    </a:lnTo>
                    <a:lnTo>
                      <a:pt x="37" y="471"/>
                    </a:lnTo>
                    <a:lnTo>
                      <a:pt x="33" y="470"/>
                    </a:lnTo>
                    <a:lnTo>
                      <a:pt x="33" y="468"/>
                    </a:lnTo>
                    <a:lnTo>
                      <a:pt x="40" y="468"/>
                    </a:lnTo>
                    <a:lnTo>
                      <a:pt x="43" y="461"/>
                    </a:lnTo>
                    <a:lnTo>
                      <a:pt x="42" y="456"/>
                    </a:lnTo>
                    <a:lnTo>
                      <a:pt x="37" y="458"/>
                    </a:lnTo>
                    <a:lnTo>
                      <a:pt x="32" y="455"/>
                    </a:lnTo>
                    <a:lnTo>
                      <a:pt x="30" y="450"/>
                    </a:lnTo>
                    <a:lnTo>
                      <a:pt x="25" y="448"/>
                    </a:lnTo>
                    <a:lnTo>
                      <a:pt x="25" y="443"/>
                    </a:lnTo>
                    <a:lnTo>
                      <a:pt x="20" y="435"/>
                    </a:lnTo>
                    <a:lnTo>
                      <a:pt x="18" y="433"/>
                    </a:lnTo>
                    <a:lnTo>
                      <a:pt x="17" y="426"/>
                    </a:lnTo>
                    <a:lnTo>
                      <a:pt x="12" y="426"/>
                    </a:lnTo>
                    <a:lnTo>
                      <a:pt x="10" y="423"/>
                    </a:lnTo>
                    <a:lnTo>
                      <a:pt x="12" y="420"/>
                    </a:lnTo>
                    <a:lnTo>
                      <a:pt x="12" y="416"/>
                    </a:lnTo>
                    <a:lnTo>
                      <a:pt x="10" y="411"/>
                    </a:lnTo>
                    <a:lnTo>
                      <a:pt x="12" y="408"/>
                    </a:lnTo>
                    <a:lnTo>
                      <a:pt x="17" y="405"/>
                    </a:lnTo>
                    <a:lnTo>
                      <a:pt x="15" y="403"/>
                    </a:lnTo>
                    <a:lnTo>
                      <a:pt x="12" y="401"/>
                    </a:lnTo>
                    <a:lnTo>
                      <a:pt x="12" y="398"/>
                    </a:lnTo>
                    <a:lnTo>
                      <a:pt x="10" y="398"/>
                    </a:lnTo>
                    <a:lnTo>
                      <a:pt x="10" y="401"/>
                    </a:lnTo>
                    <a:lnTo>
                      <a:pt x="13" y="405"/>
                    </a:lnTo>
                    <a:lnTo>
                      <a:pt x="7" y="406"/>
                    </a:lnTo>
                    <a:lnTo>
                      <a:pt x="8" y="403"/>
                    </a:lnTo>
                    <a:lnTo>
                      <a:pt x="7" y="401"/>
                    </a:lnTo>
                    <a:lnTo>
                      <a:pt x="3" y="400"/>
                    </a:lnTo>
                    <a:lnTo>
                      <a:pt x="3" y="392"/>
                    </a:lnTo>
                    <a:lnTo>
                      <a:pt x="0" y="390"/>
                    </a:lnTo>
                    <a:lnTo>
                      <a:pt x="0" y="380"/>
                    </a:lnTo>
                    <a:lnTo>
                      <a:pt x="3" y="378"/>
                    </a:lnTo>
                    <a:lnTo>
                      <a:pt x="3" y="378"/>
                    </a:lnTo>
                    <a:lnTo>
                      <a:pt x="3" y="378"/>
                    </a:lnTo>
                    <a:close/>
                    <a:moveTo>
                      <a:pt x="146" y="365"/>
                    </a:moveTo>
                    <a:lnTo>
                      <a:pt x="150" y="370"/>
                    </a:lnTo>
                    <a:lnTo>
                      <a:pt x="151" y="372"/>
                    </a:lnTo>
                    <a:lnTo>
                      <a:pt x="151" y="367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51" y="358"/>
                    </a:lnTo>
                    <a:lnTo>
                      <a:pt x="146" y="365"/>
                    </a:lnTo>
                    <a:lnTo>
                      <a:pt x="146" y="365"/>
                    </a:lnTo>
                    <a:close/>
                    <a:moveTo>
                      <a:pt x="7" y="408"/>
                    </a:moveTo>
                    <a:lnTo>
                      <a:pt x="7" y="411"/>
                    </a:lnTo>
                    <a:lnTo>
                      <a:pt x="8" y="411"/>
                    </a:lnTo>
                    <a:lnTo>
                      <a:pt x="10" y="408"/>
                    </a:lnTo>
                    <a:lnTo>
                      <a:pt x="7" y="408"/>
                    </a:lnTo>
                    <a:lnTo>
                      <a:pt x="7" y="408"/>
                    </a:lnTo>
                    <a:close/>
                    <a:moveTo>
                      <a:pt x="168" y="395"/>
                    </a:moveTo>
                    <a:lnTo>
                      <a:pt x="170" y="398"/>
                    </a:lnTo>
                    <a:lnTo>
                      <a:pt x="171" y="395"/>
                    </a:lnTo>
                    <a:lnTo>
                      <a:pt x="170" y="393"/>
                    </a:lnTo>
                    <a:lnTo>
                      <a:pt x="168" y="395"/>
                    </a:lnTo>
                    <a:lnTo>
                      <a:pt x="168" y="395"/>
                    </a:lnTo>
                    <a:close/>
                    <a:moveTo>
                      <a:pt x="170" y="415"/>
                    </a:moveTo>
                    <a:lnTo>
                      <a:pt x="171" y="416"/>
                    </a:lnTo>
                    <a:lnTo>
                      <a:pt x="173" y="415"/>
                    </a:lnTo>
                    <a:lnTo>
                      <a:pt x="178" y="413"/>
                    </a:lnTo>
                    <a:lnTo>
                      <a:pt x="176" y="413"/>
                    </a:lnTo>
                    <a:lnTo>
                      <a:pt x="171" y="413"/>
                    </a:lnTo>
                    <a:lnTo>
                      <a:pt x="170" y="415"/>
                    </a:lnTo>
                    <a:lnTo>
                      <a:pt x="170" y="415"/>
                    </a:lnTo>
                    <a:close/>
                    <a:moveTo>
                      <a:pt x="153" y="450"/>
                    </a:moveTo>
                    <a:lnTo>
                      <a:pt x="158" y="448"/>
                    </a:lnTo>
                    <a:lnTo>
                      <a:pt x="160" y="445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65" y="436"/>
                    </a:lnTo>
                    <a:lnTo>
                      <a:pt x="165" y="435"/>
                    </a:lnTo>
                    <a:lnTo>
                      <a:pt x="168" y="430"/>
                    </a:lnTo>
                    <a:lnTo>
                      <a:pt x="168" y="428"/>
                    </a:lnTo>
                    <a:lnTo>
                      <a:pt x="165" y="426"/>
                    </a:lnTo>
                    <a:lnTo>
                      <a:pt x="166" y="421"/>
                    </a:lnTo>
                    <a:lnTo>
                      <a:pt x="166" y="420"/>
                    </a:lnTo>
                    <a:lnTo>
                      <a:pt x="170" y="418"/>
                    </a:lnTo>
                    <a:lnTo>
                      <a:pt x="166" y="416"/>
                    </a:lnTo>
                    <a:lnTo>
                      <a:pt x="163" y="418"/>
                    </a:lnTo>
                    <a:lnTo>
                      <a:pt x="158" y="418"/>
                    </a:lnTo>
                    <a:lnTo>
                      <a:pt x="155" y="421"/>
                    </a:lnTo>
                    <a:lnTo>
                      <a:pt x="153" y="425"/>
                    </a:lnTo>
                    <a:lnTo>
                      <a:pt x="150" y="428"/>
                    </a:lnTo>
                    <a:lnTo>
                      <a:pt x="151" y="433"/>
                    </a:lnTo>
                    <a:lnTo>
                      <a:pt x="150" y="435"/>
                    </a:lnTo>
                    <a:lnTo>
                      <a:pt x="155" y="441"/>
                    </a:lnTo>
                    <a:lnTo>
                      <a:pt x="156" y="440"/>
                    </a:lnTo>
                    <a:lnTo>
                      <a:pt x="155" y="445"/>
                    </a:lnTo>
                    <a:lnTo>
                      <a:pt x="153" y="446"/>
                    </a:lnTo>
                    <a:lnTo>
                      <a:pt x="153" y="450"/>
                    </a:lnTo>
                    <a:lnTo>
                      <a:pt x="153" y="450"/>
                    </a:lnTo>
                    <a:close/>
                    <a:moveTo>
                      <a:pt x="116" y="461"/>
                    </a:moveTo>
                    <a:lnTo>
                      <a:pt x="116" y="466"/>
                    </a:lnTo>
                    <a:lnTo>
                      <a:pt x="116" y="470"/>
                    </a:lnTo>
                    <a:lnTo>
                      <a:pt x="118" y="471"/>
                    </a:lnTo>
                    <a:lnTo>
                      <a:pt x="120" y="466"/>
                    </a:lnTo>
                    <a:lnTo>
                      <a:pt x="123" y="460"/>
                    </a:lnTo>
                    <a:lnTo>
                      <a:pt x="125" y="453"/>
                    </a:lnTo>
                    <a:lnTo>
                      <a:pt x="126" y="445"/>
                    </a:lnTo>
                    <a:lnTo>
                      <a:pt x="128" y="438"/>
                    </a:lnTo>
                    <a:lnTo>
                      <a:pt x="125" y="436"/>
                    </a:lnTo>
                    <a:lnTo>
                      <a:pt x="121" y="440"/>
                    </a:lnTo>
                    <a:lnTo>
                      <a:pt x="123" y="443"/>
                    </a:lnTo>
                    <a:lnTo>
                      <a:pt x="121" y="448"/>
                    </a:lnTo>
                    <a:lnTo>
                      <a:pt x="118" y="450"/>
                    </a:lnTo>
                    <a:lnTo>
                      <a:pt x="116" y="4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1" name="Freeform 35">
                <a:extLst>
                  <a:ext uri="{FF2B5EF4-FFF2-40B4-BE49-F238E27FC236}">
                    <a16:creationId xmlns:a16="http://schemas.microsoft.com/office/drawing/2014/main" id="{04080150-23F1-FB45-A608-D8E9F77C21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1572" y="2280893"/>
                <a:ext cx="129500" cy="204405"/>
              </a:xfrm>
              <a:custGeom>
                <a:avLst/>
                <a:gdLst/>
                <a:ahLst/>
                <a:cxnLst>
                  <a:cxn ang="0">
                    <a:pos x="220" y="328"/>
                  </a:cxn>
                  <a:cxn ang="0">
                    <a:pos x="224" y="266"/>
                  </a:cxn>
                  <a:cxn ang="0">
                    <a:pos x="209" y="225"/>
                  </a:cxn>
                  <a:cxn ang="0">
                    <a:pos x="199" y="198"/>
                  </a:cxn>
                  <a:cxn ang="0">
                    <a:pos x="192" y="151"/>
                  </a:cxn>
                  <a:cxn ang="0">
                    <a:pos x="186" y="98"/>
                  </a:cxn>
                  <a:cxn ang="0">
                    <a:pos x="156" y="77"/>
                  </a:cxn>
                  <a:cxn ang="0">
                    <a:pos x="152" y="47"/>
                  </a:cxn>
                  <a:cxn ang="0">
                    <a:pos x="156" y="17"/>
                  </a:cxn>
                  <a:cxn ang="0">
                    <a:pos x="119" y="2"/>
                  </a:cxn>
                  <a:cxn ang="0">
                    <a:pos x="101" y="12"/>
                  </a:cxn>
                  <a:cxn ang="0">
                    <a:pos x="96" y="42"/>
                  </a:cxn>
                  <a:cxn ang="0">
                    <a:pos x="79" y="55"/>
                  </a:cxn>
                  <a:cxn ang="0">
                    <a:pos x="49" y="63"/>
                  </a:cxn>
                  <a:cxn ang="0">
                    <a:pos x="11" y="39"/>
                  </a:cxn>
                  <a:cxn ang="0">
                    <a:pos x="1" y="47"/>
                  </a:cxn>
                  <a:cxn ang="0">
                    <a:pos x="34" y="70"/>
                  </a:cxn>
                  <a:cxn ang="0">
                    <a:pos x="51" y="82"/>
                  </a:cxn>
                  <a:cxn ang="0">
                    <a:pos x="59" y="105"/>
                  </a:cxn>
                  <a:cxn ang="0">
                    <a:pos x="68" y="128"/>
                  </a:cxn>
                  <a:cxn ang="0">
                    <a:pos x="71" y="161"/>
                  </a:cxn>
                  <a:cxn ang="0">
                    <a:pos x="88" y="180"/>
                  </a:cxn>
                  <a:cxn ang="0">
                    <a:pos x="108" y="200"/>
                  </a:cxn>
                  <a:cxn ang="0">
                    <a:pos x="111" y="215"/>
                  </a:cxn>
                  <a:cxn ang="0">
                    <a:pos x="88" y="226"/>
                  </a:cxn>
                  <a:cxn ang="0">
                    <a:pos x="71" y="240"/>
                  </a:cxn>
                  <a:cxn ang="0">
                    <a:pos x="69" y="259"/>
                  </a:cxn>
                  <a:cxn ang="0">
                    <a:pos x="54" y="263"/>
                  </a:cxn>
                  <a:cxn ang="0">
                    <a:pos x="48" y="276"/>
                  </a:cxn>
                  <a:cxn ang="0">
                    <a:pos x="36" y="279"/>
                  </a:cxn>
                  <a:cxn ang="0">
                    <a:pos x="34" y="298"/>
                  </a:cxn>
                  <a:cxn ang="0">
                    <a:pos x="38" y="313"/>
                  </a:cxn>
                  <a:cxn ang="0">
                    <a:pos x="48" y="336"/>
                  </a:cxn>
                  <a:cxn ang="0">
                    <a:pos x="43" y="362"/>
                  </a:cxn>
                  <a:cxn ang="0">
                    <a:pos x="61" y="371"/>
                  </a:cxn>
                  <a:cxn ang="0">
                    <a:pos x="78" y="376"/>
                  </a:cxn>
                  <a:cxn ang="0">
                    <a:pos x="86" y="394"/>
                  </a:cxn>
                  <a:cxn ang="0">
                    <a:pos x="101" y="387"/>
                  </a:cxn>
                  <a:cxn ang="0">
                    <a:pos x="134" y="376"/>
                  </a:cxn>
                  <a:cxn ang="0">
                    <a:pos x="144" y="372"/>
                  </a:cxn>
                  <a:cxn ang="0">
                    <a:pos x="152" y="372"/>
                  </a:cxn>
                  <a:cxn ang="0">
                    <a:pos x="169" y="367"/>
                  </a:cxn>
                  <a:cxn ang="0">
                    <a:pos x="184" y="366"/>
                  </a:cxn>
                  <a:cxn ang="0">
                    <a:pos x="101" y="206"/>
                  </a:cxn>
                  <a:cxn ang="0">
                    <a:pos x="103" y="203"/>
                  </a:cxn>
                  <a:cxn ang="0">
                    <a:pos x="36" y="268"/>
                  </a:cxn>
                  <a:cxn ang="0">
                    <a:pos x="36" y="271"/>
                  </a:cxn>
                  <a:cxn ang="0">
                    <a:pos x="81" y="386"/>
                  </a:cxn>
                  <a:cxn ang="0">
                    <a:pos x="81" y="386"/>
                  </a:cxn>
                  <a:cxn ang="0">
                    <a:pos x="74" y="381"/>
                  </a:cxn>
                  <a:cxn ang="0">
                    <a:pos x="64" y="377"/>
                  </a:cxn>
                  <a:cxn ang="0">
                    <a:pos x="54" y="369"/>
                  </a:cxn>
                  <a:cxn ang="0">
                    <a:pos x="44" y="371"/>
                  </a:cxn>
                  <a:cxn ang="0">
                    <a:pos x="15" y="372"/>
                  </a:cxn>
                  <a:cxn ang="0">
                    <a:pos x="23" y="384"/>
                  </a:cxn>
                  <a:cxn ang="0">
                    <a:pos x="13" y="382"/>
                  </a:cxn>
                </a:cxnLst>
                <a:rect l="0" t="0" r="r" b="b"/>
                <a:pathLst>
                  <a:path w="242" h="394">
                    <a:moveTo>
                      <a:pt x="192" y="366"/>
                    </a:moveTo>
                    <a:lnTo>
                      <a:pt x="191" y="359"/>
                    </a:lnTo>
                    <a:lnTo>
                      <a:pt x="202" y="349"/>
                    </a:lnTo>
                    <a:lnTo>
                      <a:pt x="207" y="348"/>
                    </a:lnTo>
                    <a:lnTo>
                      <a:pt x="214" y="336"/>
                    </a:lnTo>
                    <a:lnTo>
                      <a:pt x="220" y="328"/>
                    </a:lnTo>
                    <a:lnTo>
                      <a:pt x="225" y="316"/>
                    </a:lnTo>
                    <a:lnTo>
                      <a:pt x="235" y="301"/>
                    </a:lnTo>
                    <a:lnTo>
                      <a:pt x="242" y="286"/>
                    </a:lnTo>
                    <a:lnTo>
                      <a:pt x="240" y="279"/>
                    </a:lnTo>
                    <a:lnTo>
                      <a:pt x="230" y="268"/>
                    </a:lnTo>
                    <a:lnTo>
                      <a:pt x="224" y="266"/>
                    </a:lnTo>
                    <a:lnTo>
                      <a:pt x="212" y="253"/>
                    </a:lnTo>
                    <a:lnTo>
                      <a:pt x="215" y="246"/>
                    </a:lnTo>
                    <a:lnTo>
                      <a:pt x="219" y="240"/>
                    </a:lnTo>
                    <a:lnTo>
                      <a:pt x="219" y="233"/>
                    </a:lnTo>
                    <a:lnTo>
                      <a:pt x="212" y="230"/>
                    </a:lnTo>
                    <a:lnTo>
                      <a:pt x="209" y="225"/>
                    </a:lnTo>
                    <a:lnTo>
                      <a:pt x="209" y="216"/>
                    </a:lnTo>
                    <a:lnTo>
                      <a:pt x="211" y="213"/>
                    </a:lnTo>
                    <a:lnTo>
                      <a:pt x="209" y="210"/>
                    </a:lnTo>
                    <a:lnTo>
                      <a:pt x="202" y="208"/>
                    </a:lnTo>
                    <a:lnTo>
                      <a:pt x="199" y="205"/>
                    </a:lnTo>
                    <a:lnTo>
                      <a:pt x="199" y="198"/>
                    </a:lnTo>
                    <a:lnTo>
                      <a:pt x="202" y="193"/>
                    </a:lnTo>
                    <a:lnTo>
                      <a:pt x="197" y="193"/>
                    </a:lnTo>
                    <a:lnTo>
                      <a:pt x="197" y="190"/>
                    </a:lnTo>
                    <a:lnTo>
                      <a:pt x="199" y="175"/>
                    </a:lnTo>
                    <a:lnTo>
                      <a:pt x="204" y="173"/>
                    </a:lnTo>
                    <a:lnTo>
                      <a:pt x="192" y="151"/>
                    </a:lnTo>
                    <a:lnTo>
                      <a:pt x="182" y="135"/>
                    </a:lnTo>
                    <a:lnTo>
                      <a:pt x="181" y="128"/>
                    </a:lnTo>
                    <a:lnTo>
                      <a:pt x="174" y="123"/>
                    </a:lnTo>
                    <a:lnTo>
                      <a:pt x="179" y="112"/>
                    </a:lnTo>
                    <a:lnTo>
                      <a:pt x="184" y="105"/>
                    </a:lnTo>
                    <a:lnTo>
                      <a:pt x="186" y="98"/>
                    </a:lnTo>
                    <a:lnTo>
                      <a:pt x="182" y="97"/>
                    </a:lnTo>
                    <a:lnTo>
                      <a:pt x="172" y="90"/>
                    </a:lnTo>
                    <a:lnTo>
                      <a:pt x="171" y="85"/>
                    </a:lnTo>
                    <a:lnTo>
                      <a:pt x="166" y="80"/>
                    </a:lnTo>
                    <a:lnTo>
                      <a:pt x="159" y="77"/>
                    </a:lnTo>
                    <a:lnTo>
                      <a:pt x="156" y="77"/>
                    </a:lnTo>
                    <a:lnTo>
                      <a:pt x="152" y="67"/>
                    </a:lnTo>
                    <a:lnTo>
                      <a:pt x="149" y="63"/>
                    </a:lnTo>
                    <a:lnTo>
                      <a:pt x="151" y="55"/>
                    </a:lnTo>
                    <a:lnTo>
                      <a:pt x="152" y="50"/>
                    </a:lnTo>
                    <a:lnTo>
                      <a:pt x="147" y="49"/>
                    </a:lnTo>
                    <a:lnTo>
                      <a:pt x="152" y="47"/>
                    </a:lnTo>
                    <a:lnTo>
                      <a:pt x="157" y="44"/>
                    </a:lnTo>
                    <a:lnTo>
                      <a:pt x="157" y="35"/>
                    </a:lnTo>
                    <a:lnTo>
                      <a:pt x="161" y="29"/>
                    </a:lnTo>
                    <a:lnTo>
                      <a:pt x="162" y="25"/>
                    </a:lnTo>
                    <a:lnTo>
                      <a:pt x="157" y="20"/>
                    </a:lnTo>
                    <a:lnTo>
                      <a:pt x="156" y="17"/>
                    </a:lnTo>
                    <a:lnTo>
                      <a:pt x="147" y="15"/>
                    </a:lnTo>
                    <a:lnTo>
                      <a:pt x="142" y="14"/>
                    </a:lnTo>
                    <a:lnTo>
                      <a:pt x="139" y="10"/>
                    </a:lnTo>
                    <a:lnTo>
                      <a:pt x="134" y="4"/>
                    </a:lnTo>
                    <a:lnTo>
                      <a:pt x="129" y="0"/>
                    </a:lnTo>
                    <a:lnTo>
                      <a:pt x="119" y="2"/>
                    </a:lnTo>
                    <a:lnTo>
                      <a:pt x="114" y="5"/>
                    </a:lnTo>
                    <a:lnTo>
                      <a:pt x="114" y="7"/>
                    </a:lnTo>
                    <a:lnTo>
                      <a:pt x="111" y="7"/>
                    </a:lnTo>
                    <a:lnTo>
                      <a:pt x="104" y="7"/>
                    </a:lnTo>
                    <a:lnTo>
                      <a:pt x="99" y="9"/>
                    </a:lnTo>
                    <a:lnTo>
                      <a:pt x="101" y="12"/>
                    </a:lnTo>
                    <a:lnTo>
                      <a:pt x="96" y="15"/>
                    </a:lnTo>
                    <a:lnTo>
                      <a:pt x="94" y="17"/>
                    </a:lnTo>
                    <a:lnTo>
                      <a:pt x="96" y="20"/>
                    </a:lnTo>
                    <a:lnTo>
                      <a:pt x="94" y="24"/>
                    </a:lnTo>
                    <a:lnTo>
                      <a:pt x="93" y="35"/>
                    </a:lnTo>
                    <a:lnTo>
                      <a:pt x="96" y="42"/>
                    </a:lnTo>
                    <a:lnTo>
                      <a:pt x="98" y="45"/>
                    </a:lnTo>
                    <a:lnTo>
                      <a:pt x="96" y="49"/>
                    </a:lnTo>
                    <a:lnTo>
                      <a:pt x="91" y="52"/>
                    </a:lnTo>
                    <a:lnTo>
                      <a:pt x="88" y="52"/>
                    </a:lnTo>
                    <a:lnTo>
                      <a:pt x="83" y="55"/>
                    </a:lnTo>
                    <a:lnTo>
                      <a:pt x="79" y="55"/>
                    </a:lnTo>
                    <a:lnTo>
                      <a:pt x="78" y="60"/>
                    </a:lnTo>
                    <a:lnTo>
                      <a:pt x="73" y="60"/>
                    </a:lnTo>
                    <a:lnTo>
                      <a:pt x="64" y="55"/>
                    </a:lnTo>
                    <a:lnTo>
                      <a:pt x="59" y="55"/>
                    </a:lnTo>
                    <a:lnTo>
                      <a:pt x="56" y="58"/>
                    </a:lnTo>
                    <a:lnTo>
                      <a:pt x="49" y="63"/>
                    </a:lnTo>
                    <a:lnTo>
                      <a:pt x="38" y="63"/>
                    </a:lnTo>
                    <a:lnTo>
                      <a:pt x="31" y="60"/>
                    </a:lnTo>
                    <a:lnTo>
                      <a:pt x="28" y="55"/>
                    </a:lnTo>
                    <a:lnTo>
                      <a:pt x="26" y="50"/>
                    </a:lnTo>
                    <a:lnTo>
                      <a:pt x="15" y="44"/>
                    </a:lnTo>
                    <a:lnTo>
                      <a:pt x="11" y="39"/>
                    </a:lnTo>
                    <a:lnTo>
                      <a:pt x="8" y="39"/>
                    </a:lnTo>
                    <a:lnTo>
                      <a:pt x="5" y="40"/>
                    </a:lnTo>
                    <a:lnTo>
                      <a:pt x="3" y="44"/>
                    </a:lnTo>
                    <a:lnTo>
                      <a:pt x="5" y="47"/>
                    </a:lnTo>
                    <a:lnTo>
                      <a:pt x="3" y="49"/>
                    </a:lnTo>
                    <a:lnTo>
                      <a:pt x="1" y="47"/>
                    </a:lnTo>
                    <a:lnTo>
                      <a:pt x="0" y="49"/>
                    </a:lnTo>
                    <a:lnTo>
                      <a:pt x="3" y="53"/>
                    </a:lnTo>
                    <a:lnTo>
                      <a:pt x="10" y="55"/>
                    </a:lnTo>
                    <a:lnTo>
                      <a:pt x="18" y="65"/>
                    </a:lnTo>
                    <a:lnTo>
                      <a:pt x="24" y="68"/>
                    </a:lnTo>
                    <a:lnTo>
                      <a:pt x="34" y="70"/>
                    </a:lnTo>
                    <a:lnTo>
                      <a:pt x="38" y="72"/>
                    </a:lnTo>
                    <a:lnTo>
                      <a:pt x="41" y="73"/>
                    </a:lnTo>
                    <a:lnTo>
                      <a:pt x="46" y="77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6" y="87"/>
                    </a:lnTo>
                    <a:lnTo>
                      <a:pt x="59" y="87"/>
                    </a:lnTo>
                    <a:lnTo>
                      <a:pt x="61" y="90"/>
                    </a:lnTo>
                    <a:lnTo>
                      <a:pt x="59" y="93"/>
                    </a:lnTo>
                    <a:lnTo>
                      <a:pt x="61" y="100"/>
                    </a:lnTo>
                    <a:lnTo>
                      <a:pt x="59" y="105"/>
                    </a:lnTo>
                    <a:lnTo>
                      <a:pt x="59" y="110"/>
                    </a:lnTo>
                    <a:lnTo>
                      <a:pt x="66" y="110"/>
                    </a:lnTo>
                    <a:lnTo>
                      <a:pt x="68" y="115"/>
                    </a:lnTo>
                    <a:lnTo>
                      <a:pt x="64" y="118"/>
                    </a:lnTo>
                    <a:lnTo>
                      <a:pt x="66" y="125"/>
                    </a:lnTo>
                    <a:lnTo>
                      <a:pt x="68" y="128"/>
                    </a:lnTo>
                    <a:lnTo>
                      <a:pt x="69" y="137"/>
                    </a:lnTo>
                    <a:lnTo>
                      <a:pt x="69" y="140"/>
                    </a:lnTo>
                    <a:lnTo>
                      <a:pt x="69" y="143"/>
                    </a:lnTo>
                    <a:lnTo>
                      <a:pt x="69" y="151"/>
                    </a:lnTo>
                    <a:lnTo>
                      <a:pt x="68" y="155"/>
                    </a:lnTo>
                    <a:lnTo>
                      <a:pt x="71" y="161"/>
                    </a:lnTo>
                    <a:lnTo>
                      <a:pt x="74" y="161"/>
                    </a:lnTo>
                    <a:lnTo>
                      <a:pt x="79" y="170"/>
                    </a:lnTo>
                    <a:lnTo>
                      <a:pt x="83" y="173"/>
                    </a:lnTo>
                    <a:lnTo>
                      <a:pt x="81" y="178"/>
                    </a:lnTo>
                    <a:lnTo>
                      <a:pt x="83" y="180"/>
                    </a:lnTo>
                    <a:lnTo>
                      <a:pt x="88" y="180"/>
                    </a:lnTo>
                    <a:lnTo>
                      <a:pt x="93" y="183"/>
                    </a:lnTo>
                    <a:lnTo>
                      <a:pt x="101" y="183"/>
                    </a:lnTo>
                    <a:lnTo>
                      <a:pt x="108" y="190"/>
                    </a:lnTo>
                    <a:lnTo>
                      <a:pt x="104" y="191"/>
                    </a:lnTo>
                    <a:lnTo>
                      <a:pt x="106" y="193"/>
                    </a:lnTo>
                    <a:lnTo>
                      <a:pt x="108" y="200"/>
                    </a:lnTo>
                    <a:lnTo>
                      <a:pt x="106" y="201"/>
                    </a:lnTo>
                    <a:lnTo>
                      <a:pt x="113" y="208"/>
                    </a:lnTo>
                    <a:lnTo>
                      <a:pt x="108" y="206"/>
                    </a:lnTo>
                    <a:lnTo>
                      <a:pt x="106" y="208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4" y="211"/>
                    </a:lnTo>
                    <a:lnTo>
                      <a:pt x="98" y="211"/>
                    </a:lnTo>
                    <a:lnTo>
                      <a:pt x="93" y="215"/>
                    </a:lnTo>
                    <a:lnTo>
                      <a:pt x="93" y="218"/>
                    </a:lnTo>
                    <a:lnTo>
                      <a:pt x="88" y="223"/>
                    </a:lnTo>
                    <a:lnTo>
                      <a:pt x="88" y="226"/>
                    </a:lnTo>
                    <a:lnTo>
                      <a:pt x="86" y="226"/>
                    </a:lnTo>
                    <a:lnTo>
                      <a:pt x="78" y="235"/>
                    </a:lnTo>
                    <a:lnTo>
                      <a:pt x="78" y="241"/>
                    </a:lnTo>
                    <a:lnTo>
                      <a:pt x="76" y="241"/>
                    </a:lnTo>
                    <a:lnTo>
                      <a:pt x="74" y="240"/>
                    </a:lnTo>
                    <a:lnTo>
                      <a:pt x="71" y="240"/>
                    </a:lnTo>
                    <a:lnTo>
                      <a:pt x="73" y="245"/>
                    </a:lnTo>
                    <a:lnTo>
                      <a:pt x="73" y="248"/>
                    </a:lnTo>
                    <a:lnTo>
                      <a:pt x="68" y="248"/>
                    </a:lnTo>
                    <a:lnTo>
                      <a:pt x="64" y="251"/>
                    </a:lnTo>
                    <a:lnTo>
                      <a:pt x="66" y="258"/>
                    </a:lnTo>
                    <a:lnTo>
                      <a:pt x="69" y="259"/>
                    </a:lnTo>
                    <a:lnTo>
                      <a:pt x="63" y="258"/>
                    </a:lnTo>
                    <a:lnTo>
                      <a:pt x="61" y="256"/>
                    </a:lnTo>
                    <a:lnTo>
                      <a:pt x="58" y="256"/>
                    </a:lnTo>
                    <a:lnTo>
                      <a:pt x="56" y="261"/>
                    </a:lnTo>
                    <a:lnTo>
                      <a:pt x="58" y="264"/>
                    </a:lnTo>
                    <a:lnTo>
                      <a:pt x="54" y="263"/>
                    </a:lnTo>
                    <a:lnTo>
                      <a:pt x="53" y="264"/>
                    </a:lnTo>
                    <a:lnTo>
                      <a:pt x="56" y="266"/>
                    </a:lnTo>
                    <a:lnTo>
                      <a:pt x="56" y="269"/>
                    </a:lnTo>
                    <a:lnTo>
                      <a:pt x="53" y="271"/>
                    </a:lnTo>
                    <a:lnTo>
                      <a:pt x="51" y="274"/>
                    </a:lnTo>
                    <a:lnTo>
                      <a:pt x="48" y="276"/>
                    </a:lnTo>
                    <a:lnTo>
                      <a:pt x="44" y="276"/>
                    </a:lnTo>
                    <a:lnTo>
                      <a:pt x="44" y="274"/>
                    </a:lnTo>
                    <a:lnTo>
                      <a:pt x="41" y="273"/>
                    </a:lnTo>
                    <a:lnTo>
                      <a:pt x="38" y="274"/>
                    </a:lnTo>
                    <a:lnTo>
                      <a:pt x="39" y="278"/>
                    </a:lnTo>
                    <a:lnTo>
                      <a:pt x="36" y="279"/>
                    </a:lnTo>
                    <a:lnTo>
                      <a:pt x="38" y="284"/>
                    </a:lnTo>
                    <a:lnTo>
                      <a:pt x="36" y="288"/>
                    </a:lnTo>
                    <a:lnTo>
                      <a:pt x="34" y="289"/>
                    </a:lnTo>
                    <a:lnTo>
                      <a:pt x="31" y="293"/>
                    </a:lnTo>
                    <a:lnTo>
                      <a:pt x="34" y="296"/>
                    </a:lnTo>
                    <a:lnTo>
                      <a:pt x="34" y="298"/>
                    </a:lnTo>
                    <a:lnTo>
                      <a:pt x="33" y="301"/>
                    </a:lnTo>
                    <a:lnTo>
                      <a:pt x="34" y="304"/>
                    </a:lnTo>
                    <a:lnTo>
                      <a:pt x="38" y="303"/>
                    </a:lnTo>
                    <a:lnTo>
                      <a:pt x="39" y="306"/>
                    </a:lnTo>
                    <a:lnTo>
                      <a:pt x="39" y="311"/>
                    </a:lnTo>
                    <a:lnTo>
                      <a:pt x="38" y="313"/>
                    </a:lnTo>
                    <a:lnTo>
                      <a:pt x="39" y="318"/>
                    </a:lnTo>
                    <a:lnTo>
                      <a:pt x="38" y="319"/>
                    </a:lnTo>
                    <a:lnTo>
                      <a:pt x="43" y="326"/>
                    </a:lnTo>
                    <a:lnTo>
                      <a:pt x="46" y="328"/>
                    </a:lnTo>
                    <a:lnTo>
                      <a:pt x="44" y="331"/>
                    </a:lnTo>
                    <a:lnTo>
                      <a:pt x="48" y="336"/>
                    </a:lnTo>
                    <a:lnTo>
                      <a:pt x="44" y="338"/>
                    </a:lnTo>
                    <a:lnTo>
                      <a:pt x="44" y="344"/>
                    </a:lnTo>
                    <a:lnTo>
                      <a:pt x="43" y="346"/>
                    </a:lnTo>
                    <a:lnTo>
                      <a:pt x="43" y="356"/>
                    </a:lnTo>
                    <a:lnTo>
                      <a:pt x="46" y="359"/>
                    </a:lnTo>
                    <a:lnTo>
                      <a:pt x="43" y="362"/>
                    </a:lnTo>
                    <a:lnTo>
                      <a:pt x="43" y="366"/>
                    </a:lnTo>
                    <a:lnTo>
                      <a:pt x="44" y="369"/>
                    </a:lnTo>
                    <a:lnTo>
                      <a:pt x="51" y="366"/>
                    </a:lnTo>
                    <a:lnTo>
                      <a:pt x="54" y="367"/>
                    </a:lnTo>
                    <a:lnTo>
                      <a:pt x="54" y="366"/>
                    </a:lnTo>
                    <a:lnTo>
                      <a:pt x="61" y="371"/>
                    </a:lnTo>
                    <a:lnTo>
                      <a:pt x="64" y="371"/>
                    </a:lnTo>
                    <a:lnTo>
                      <a:pt x="68" y="372"/>
                    </a:lnTo>
                    <a:lnTo>
                      <a:pt x="74" y="372"/>
                    </a:lnTo>
                    <a:lnTo>
                      <a:pt x="76" y="372"/>
                    </a:lnTo>
                    <a:lnTo>
                      <a:pt x="74" y="376"/>
                    </a:lnTo>
                    <a:lnTo>
                      <a:pt x="78" y="376"/>
                    </a:lnTo>
                    <a:lnTo>
                      <a:pt x="83" y="372"/>
                    </a:lnTo>
                    <a:lnTo>
                      <a:pt x="83" y="376"/>
                    </a:lnTo>
                    <a:lnTo>
                      <a:pt x="79" y="379"/>
                    </a:lnTo>
                    <a:lnTo>
                      <a:pt x="86" y="387"/>
                    </a:lnTo>
                    <a:lnTo>
                      <a:pt x="88" y="389"/>
                    </a:lnTo>
                    <a:lnTo>
                      <a:pt x="86" y="394"/>
                    </a:lnTo>
                    <a:lnTo>
                      <a:pt x="88" y="394"/>
                    </a:lnTo>
                    <a:lnTo>
                      <a:pt x="89" y="389"/>
                    </a:lnTo>
                    <a:lnTo>
                      <a:pt x="93" y="387"/>
                    </a:lnTo>
                    <a:lnTo>
                      <a:pt x="93" y="389"/>
                    </a:lnTo>
                    <a:lnTo>
                      <a:pt x="98" y="387"/>
                    </a:lnTo>
                    <a:lnTo>
                      <a:pt x="101" y="387"/>
                    </a:lnTo>
                    <a:lnTo>
                      <a:pt x="109" y="382"/>
                    </a:lnTo>
                    <a:lnTo>
                      <a:pt x="113" y="382"/>
                    </a:lnTo>
                    <a:lnTo>
                      <a:pt x="122" y="377"/>
                    </a:lnTo>
                    <a:lnTo>
                      <a:pt x="122" y="374"/>
                    </a:lnTo>
                    <a:lnTo>
                      <a:pt x="129" y="376"/>
                    </a:lnTo>
                    <a:lnTo>
                      <a:pt x="134" y="376"/>
                    </a:lnTo>
                    <a:lnTo>
                      <a:pt x="137" y="371"/>
                    </a:lnTo>
                    <a:lnTo>
                      <a:pt x="139" y="372"/>
                    </a:lnTo>
                    <a:lnTo>
                      <a:pt x="136" y="376"/>
                    </a:lnTo>
                    <a:lnTo>
                      <a:pt x="139" y="377"/>
                    </a:lnTo>
                    <a:lnTo>
                      <a:pt x="141" y="372"/>
                    </a:lnTo>
                    <a:lnTo>
                      <a:pt x="144" y="372"/>
                    </a:lnTo>
                    <a:lnTo>
                      <a:pt x="142" y="367"/>
                    </a:lnTo>
                    <a:lnTo>
                      <a:pt x="144" y="366"/>
                    </a:lnTo>
                    <a:lnTo>
                      <a:pt x="146" y="371"/>
                    </a:lnTo>
                    <a:lnTo>
                      <a:pt x="149" y="371"/>
                    </a:lnTo>
                    <a:lnTo>
                      <a:pt x="149" y="367"/>
                    </a:lnTo>
                    <a:lnTo>
                      <a:pt x="152" y="372"/>
                    </a:lnTo>
                    <a:lnTo>
                      <a:pt x="156" y="371"/>
                    </a:lnTo>
                    <a:lnTo>
                      <a:pt x="156" y="369"/>
                    </a:lnTo>
                    <a:lnTo>
                      <a:pt x="159" y="369"/>
                    </a:lnTo>
                    <a:lnTo>
                      <a:pt x="159" y="371"/>
                    </a:lnTo>
                    <a:lnTo>
                      <a:pt x="162" y="369"/>
                    </a:lnTo>
                    <a:lnTo>
                      <a:pt x="169" y="367"/>
                    </a:lnTo>
                    <a:lnTo>
                      <a:pt x="172" y="371"/>
                    </a:lnTo>
                    <a:lnTo>
                      <a:pt x="181" y="369"/>
                    </a:lnTo>
                    <a:lnTo>
                      <a:pt x="181" y="367"/>
                    </a:lnTo>
                    <a:lnTo>
                      <a:pt x="179" y="366"/>
                    </a:lnTo>
                    <a:lnTo>
                      <a:pt x="181" y="364"/>
                    </a:lnTo>
                    <a:lnTo>
                      <a:pt x="184" y="366"/>
                    </a:lnTo>
                    <a:lnTo>
                      <a:pt x="184" y="367"/>
                    </a:lnTo>
                    <a:lnTo>
                      <a:pt x="189" y="369"/>
                    </a:lnTo>
                    <a:lnTo>
                      <a:pt x="189" y="369"/>
                    </a:lnTo>
                    <a:lnTo>
                      <a:pt x="192" y="366"/>
                    </a:lnTo>
                    <a:lnTo>
                      <a:pt x="192" y="366"/>
                    </a:lnTo>
                    <a:close/>
                    <a:moveTo>
                      <a:pt x="101" y="206"/>
                    </a:moveTo>
                    <a:lnTo>
                      <a:pt x="99" y="208"/>
                    </a:lnTo>
                    <a:lnTo>
                      <a:pt x="94" y="208"/>
                    </a:lnTo>
                    <a:lnTo>
                      <a:pt x="91" y="203"/>
                    </a:lnTo>
                    <a:lnTo>
                      <a:pt x="96" y="200"/>
                    </a:lnTo>
                    <a:lnTo>
                      <a:pt x="104" y="201"/>
                    </a:lnTo>
                    <a:lnTo>
                      <a:pt x="103" y="203"/>
                    </a:lnTo>
                    <a:lnTo>
                      <a:pt x="99" y="203"/>
                    </a:lnTo>
                    <a:lnTo>
                      <a:pt x="101" y="206"/>
                    </a:lnTo>
                    <a:lnTo>
                      <a:pt x="101" y="206"/>
                    </a:lnTo>
                    <a:close/>
                    <a:moveTo>
                      <a:pt x="33" y="268"/>
                    </a:moveTo>
                    <a:lnTo>
                      <a:pt x="33" y="264"/>
                    </a:lnTo>
                    <a:lnTo>
                      <a:pt x="36" y="268"/>
                    </a:lnTo>
                    <a:lnTo>
                      <a:pt x="34" y="269"/>
                    </a:lnTo>
                    <a:lnTo>
                      <a:pt x="33" y="268"/>
                    </a:lnTo>
                    <a:lnTo>
                      <a:pt x="33" y="268"/>
                    </a:lnTo>
                    <a:close/>
                    <a:moveTo>
                      <a:pt x="31" y="271"/>
                    </a:moveTo>
                    <a:lnTo>
                      <a:pt x="33" y="273"/>
                    </a:lnTo>
                    <a:lnTo>
                      <a:pt x="36" y="271"/>
                    </a:lnTo>
                    <a:lnTo>
                      <a:pt x="36" y="274"/>
                    </a:lnTo>
                    <a:lnTo>
                      <a:pt x="31" y="278"/>
                    </a:lnTo>
                    <a:lnTo>
                      <a:pt x="29" y="274"/>
                    </a:lnTo>
                    <a:lnTo>
                      <a:pt x="31" y="271"/>
                    </a:lnTo>
                    <a:lnTo>
                      <a:pt x="31" y="271"/>
                    </a:lnTo>
                    <a:close/>
                    <a:moveTo>
                      <a:pt x="81" y="386"/>
                    </a:moveTo>
                    <a:lnTo>
                      <a:pt x="83" y="389"/>
                    </a:lnTo>
                    <a:lnTo>
                      <a:pt x="79" y="391"/>
                    </a:lnTo>
                    <a:lnTo>
                      <a:pt x="78" y="389"/>
                    </a:lnTo>
                    <a:lnTo>
                      <a:pt x="79" y="387"/>
                    </a:lnTo>
                    <a:lnTo>
                      <a:pt x="81" y="386"/>
                    </a:lnTo>
                    <a:lnTo>
                      <a:pt x="81" y="386"/>
                    </a:lnTo>
                    <a:close/>
                    <a:moveTo>
                      <a:pt x="74" y="381"/>
                    </a:moveTo>
                    <a:lnTo>
                      <a:pt x="74" y="381"/>
                    </a:lnTo>
                    <a:lnTo>
                      <a:pt x="76" y="384"/>
                    </a:lnTo>
                    <a:lnTo>
                      <a:pt x="74" y="384"/>
                    </a:lnTo>
                    <a:lnTo>
                      <a:pt x="74" y="381"/>
                    </a:lnTo>
                    <a:lnTo>
                      <a:pt x="74" y="381"/>
                    </a:lnTo>
                    <a:close/>
                    <a:moveTo>
                      <a:pt x="64" y="377"/>
                    </a:moveTo>
                    <a:lnTo>
                      <a:pt x="73" y="376"/>
                    </a:lnTo>
                    <a:lnTo>
                      <a:pt x="71" y="377"/>
                    </a:lnTo>
                    <a:lnTo>
                      <a:pt x="68" y="381"/>
                    </a:lnTo>
                    <a:lnTo>
                      <a:pt x="64" y="379"/>
                    </a:lnTo>
                    <a:lnTo>
                      <a:pt x="64" y="377"/>
                    </a:lnTo>
                    <a:lnTo>
                      <a:pt x="64" y="377"/>
                    </a:lnTo>
                    <a:close/>
                    <a:moveTo>
                      <a:pt x="54" y="369"/>
                    </a:moveTo>
                    <a:lnTo>
                      <a:pt x="59" y="372"/>
                    </a:lnTo>
                    <a:lnTo>
                      <a:pt x="56" y="376"/>
                    </a:lnTo>
                    <a:lnTo>
                      <a:pt x="54" y="372"/>
                    </a:lnTo>
                    <a:lnTo>
                      <a:pt x="54" y="369"/>
                    </a:lnTo>
                    <a:lnTo>
                      <a:pt x="54" y="369"/>
                    </a:lnTo>
                    <a:close/>
                    <a:moveTo>
                      <a:pt x="44" y="371"/>
                    </a:moveTo>
                    <a:lnTo>
                      <a:pt x="48" y="372"/>
                    </a:lnTo>
                    <a:lnTo>
                      <a:pt x="46" y="372"/>
                    </a:lnTo>
                    <a:lnTo>
                      <a:pt x="46" y="372"/>
                    </a:lnTo>
                    <a:lnTo>
                      <a:pt x="44" y="371"/>
                    </a:lnTo>
                    <a:lnTo>
                      <a:pt x="44" y="371"/>
                    </a:lnTo>
                    <a:close/>
                    <a:moveTo>
                      <a:pt x="11" y="377"/>
                    </a:moveTo>
                    <a:lnTo>
                      <a:pt x="18" y="379"/>
                    </a:lnTo>
                    <a:lnTo>
                      <a:pt x="18" y="377"/>
                    </a:lnTo>
                    <a:lnTo>
                      <a:pt x="15" y="376"/>
                    </a:lnTo>
                    <a:lnTo>
                      <a:pt x="15" y="372"/>
                    </a:lnTo>
                    <a:lnTo>
                      <a:pt x="18" y="371"/>
                    </a:lnTo>
                    <a:lnTo>
                      <a:pt x="24" y="376"/>
                    </a:lnTo>
                    <a:lnTo>
                      <a:pt x="24" y="379"/>
                    </a:lnTo>
                    <a:lnTo>
                      <a:pt x="21" y="379"/>
                    </a:lnTo>
                    <a:lnTo>
                      <a:pt x="19" y="381"/>
                    </a:lnTo>
                    <a:lnTo>
                      <a:pt x="23" y="384"/>
                    </a:lnTo>
                    <a:lnTo>
                      <a:pt x="26" y="384"/>
                    </a:lnTo>
                    <a:lnTo>
                      <a:pt x="28" y="387"/>
                    </a:lnTo>
                    <a:lnTo>
                      <a:pt x="24" y="389"/>
                    </a:lnTo>
                    <a:lnTo>
                      <a:pt x="19" y="386"/>
                    </a:lnTo>
                    <a:lnTo>
                      <a:pt x="15" y="384"/>
                    </a:lnTo>
                    <a:lnTo>
                      <a:pt x="13" y="382"/>
                    </a:lnTo>
                    <a:lnTo>
                      <a:pt x="10" y="379"/>
                    </a:lnTo>
                    <a:lnTo>
                      <a:pt x="11" y="3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2" name="Freeform 36">
                <a:extLst>
                  <a:ext uri="{FF2B5EF4-FFF2-40B4-BE49-F238E27FC236}">
                    <a16:creationId xmlns:a16="http://schemas.microsoft.com/office/drawing/2014/main" id="{CAD984E7-2BBC-E84D-B224-9C4FBEFB20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6891" y="2487373"/>
                <a:ext cx="68496" cy="41504"/>
              </a:xfrm>
              <a:custGeom>
                <a:avLst/>
                <a:gdLst/>
                <a:ahLst/>
                <a:cxnLst>
                  <a:cxn ang="0">
                    <a:pos x="126" y="72"/>
                  </a:cxn>
                  <a:cxn ang="0">
                    <a:pos x="128" y="65"/>
                  </a:cxn>
                  <a:cxn ang="0">
                    <a:pos x="118" y="42"/>
                  </a:cxn>
                  <a:cxn ang="0">
                    <a:pos x="121" y="25"/>
                  </a:cxn>
                  <a:cxn ang="0">
                    <a:pos x="128" y="14"/>
                  </a:cxn>
                  <a:cxn ang="0">
                    <a:pos x="128" y="12"/>
                  </a:cxn>
                  <a:cxn ang="0">
                    <a:pos x="125" y="10"/>
                  </a:cxn>
                  <a:cxn ang="0">
                    <a:pos x="96" y="5"/>
                  </a:cxn>
                  <a:cxn ang="0">
                    <a:pos x="83" y="2"/>
                  </a:cxn>
                  <a:cxn ang="0">
                    <a:pos x="75" y="0"/>
                  </a:cxn>
                  <a:cxn ang="0">
                    <a:pos x="71" y="2"/>
                  </a:cxn>
                  <a:cxn ang="0">
                    <a:pos x="73" y="7"/>
                  </a:cxn>
                  <a:cxn ang="0">
                    <a:pos x="66" y="7"/>
                  </a:cxn>
                  <a:cxn ang="0">
                    <a:pos x="56" y="5"/>
                  </a:cxn>
                  <a:cxn ang="0">
                    <a:pos x="51" y="9"/>
                  </a:cxn>
                  <a:cxn ang="0">
                    <a:pos x="45" y="14"/>
                  </a:cxn>
                  <a:cxn ang="0">
                    <a:pos x="35" y="17"/>
                  </a:cxn>
                  <a:cxn ang="0">
                    <a:pos x="32" y="35"/>
                  </a:cxn>
                  <a:cxn ang="0">
                    <a:pos x="37" y="34"/>
                  </a:cxn>
                  <a:cxn ang="0">
                    <a:pos x="38" y="37"/>
                  </a:cxn>
                  <a:cxn ang="0">
                    <a:pos x="37" y="44"/>
                  </a:cxn>
                  <a:cxn ang="0">
                    <a:pos x="47" y="55"/>
                  </a:cxn>
                  <a:cxn ang="0">
                    <a:pos x="50" y="50"/>
                  </a:cxn>
                  <a:cxn ang="0">
                    <a:pos x="56" y="50"/>
                  </a:cxn>
                  <a:cxn ang="0">
                    <a:pos x="53" y="63"/>
                  </a:cxn>
                  <a:cxn ang="0">
                    <a:pos x="63" y="58"/>
                  </a:cxn>
                  <a:cxn ang="0">
                    <a:pos x="75" y="62"/>
                  </a:cxn>
                  <a:cxn ang="0">
                    <a:pos x="80" y="58"/>
                  </a:cxn>
                  <a:cxn ang="0">
                    <a:pos x="85" y="63"/>
                  </a:cxn>
                  <a:cxn ang="0">
                    <a:pos x="96" y="68"/>
                  </a:cxn>
                  <a:cxn ang="0">
                    <a:pos x="103" y="75"/>
                  </a:cxn>
                  <a:cxn ang="0">
                    <a:pos x="115" y="77"/>
                  </a:cxn>
                  <a:cxn ang="0">
                    <a:pos x="121" y="77"/>
                  </a:cxn>
                  <a:cxn ang="0">
                    <a:pos x="28" y="25"/>
                  </a:cxn>
                  <a:cxn ang="0">
                    <a:pos x="25" y="29"/>
                  </a:cxn>
                  <a:cxn ang="0">
                    <a:pos x="23" y="27"/>
                  </a:cxn>
                  <a:cxn ang="0">
                    <a:pos x="12" y="32"/>
                  </a:cxn>
                  <a:cxn ang="0">
                    <a:pos x="5" y="34"/>
                  </a:cxn>
                  <a:cxn ang="0">
                    <a:pos x="10" y="30"/>
                  </a:cxn>
                  <a:cxn ang="0">
                    <a:pos x="13" y="25"/>
                  </a:cxn>
                  <a:cxn ang="0">
                    <a:pos x="18" y="29"/>
                  </a:cxn>
                  <a:cxn ang="0">
                    <a:pos x="23" y="32"/>
                  </a:cxn>
                  <a:cxn ang="0">
                    <a:pos x="17" y="34"/>
                  </a:cxn>
                  <a:cxn ang="0">
                    <a:pos x="15" y="37"/>
                  </a:cxn>
                  <a:cxn ang="0">
                    <a:pos x="23" y="37"/>
                  </a:cxn>
                  <a:cxn ang="0">
                    <a:pos x="32" y="42"/>
                  </a:cxn>
                  <a:cxn ang="0">
                    <a:pos x="25" y="40"/>
                  </a:cxn>
                  <a:cxn ang="0">
                    <a:pos x="3" y="65"/>
                  </a:cxn>
                  <a:cxn ang="0">
                    <a:pos x="8" y="62"/>
                  </a:cxn>
                  <a:cxn ang="0">
                    <a:pos x="12" y="53"/>
                  </a:cxn>
                  <a:cxn ang="0">
                    <a:pos x="22" y="50"/>
                  </a:cxn>
                  <a:cxn ang="0">
                    <a:pos x="27" y="47"/>
                  </a:cxn>
                  <a:cxn ang="0">
                    <a:pos x="27" y="45"/>
                  </a:cxn>
                  <a:cxn ang="0">
                    <a:pos x="22" y="40"/>
                  </a:cxn>
                  <a:cxn ang="0">
                    <a:pos x="12" y="40"/>
                  </a:cxn>
                  <a:cxn ang="0">
                    <a:pos x="8" y="42"/>
                  </a:cxn>
                  <a:cxn ang="0">
                    <a:pos x="5" y="44"/>
                  </a:cxn>
                  <a:cxn ang="0">
                    <a:pos x="2" y="44"/>
                  </a:cxn>
                  <a:cxn ang="0">
                    <a:pos x="3" y="45"/>
                  </a:cxn>
                  <a:cxn ang="0">
                    <a:pos x="0" y="50"/>
                  </a:cxn>
                  <a:cxn ang="0">
                    <a:pos x="3" y="53"/>
                  </a:cxn>
                  <a:cxn ang="0">
                    <a:pos x="7" y="60"/>
                  </a:cxn>
                  <a:cxn ang="0">
                    <a:pos x="3" y="65"/>
                  </a:cxn>
                </a:cxnLst>
                <a:rect l="0" t="0" r="r" b="b"/>
                <a:pathLst>
                  <a:path w="128" h="80">
                    <a:moveTo>
                      <a:pt x="121" y="77"/>
                    </a:moveTo>
                    <a:lnTo>
                      <a:pt x="126" y="72"/>
                    </a:lnTo>
                    <a:lnTo>
                      <a:pt x="125" y="68"/>
                    </a:lnTo>
                    <a:lnTo>
                      <a:pt x="128" y="65"/>
                    </a:lnTo>
                    <a:lnTo>
                      <a:pt x="128" y="60"/>
                    </a:lnTo>
                    <a:lnTo>
                      <a:pt x="118" y="42"/>
                    </a:lnTo>
                    <a:lnTo>
                      <a:pt x="120" y="27"/>
                    </a:lnTo>
                    <a:lnTo>
                      <a:pt x="121" y="25"/>
                    </a:lnTo>
                    <a:lnTo>
                      <a:pt x="123" y="19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28" y="12"/>
                    </a:lnTo>
                    <a:lnTo>
                      <a:pt x="126" y="9"/>
                    </a:lnTo>
                    <a:lnTo>
                      <a:pt x="125" y="10"/>
                    </a:lnTo>
                    <a:lnTo>
                      <a:pt x="106" y="10"/>
                    </a:lnTo>
                    <a:lnTo>
                      <a:pt x="96" y="5"/>
                    </a:lnTo>
                    <a:lnTo>
                      <a:pt x="88" y="5"/>
                    </a:lnTo>
                    <a:lnTo>
                      <a:pt x="83" y="2"/>
                    </a:lnTo>
                    <a:lnTo>
                      <a:pt x="80" y="4"/>
                    </a:lnTo>
                    <a:lnTo>
                      <a:pt x="75" y="0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7"/>
                    </a:lnTo>
                    <a:lnTo>
                      <a:pt x="70" y="9"/>
                    </a:lnTo>
                    <a:lnTo>
                      <a:pt x="66" y="7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5" y="10"/>
                    </a:lnTo>
                    <a:lnTo>
                      <a:pt x="51" y="9"/>
                    </a:lnTo>
                    <a:lnTo>
                      <a:pt x="47" y="10"/>
                    </a:lnTo>
                    <a:lnTo>
                      <a:pt x="45" y="14"/>
                    </a:lnTo>
                    <a:lnTo>
                      <a:pt x="43" y="14"/>
                    </a:lnTo>
                    <a:lnTo>
                      <a:pt x="35" y="17"/>
                    </a:lnTo>
                    <a:lnTo>
                      <a:pt x="32" y="20"/>
                    </a:lnTo>
                    <a:lnTo>
                      <a:pt x="32" y="35"/>
                    </a:lnTo>
                    <a:lnTo>
                      <a:pt x="35" y="35"/>
                    </a:lnTo>
                    <a:lnTo>
                      <a:pt x="37" y="34"/>
                    </a:lnTo>
                    <a:lnTo>
                      <a:pt x="42" y="34"/>
                    </a:lnTo>
                    <a:lnTo>
                      <a:pt x="38" y="37"/>
                    </a:lnTo>
                    <a:lnTo>
                      <a:pt x="35" y="37"/>
                    </a:lnTo>
                    <a:lnTo>
                      <a:pt x="37" y="44"/>
                    </a:lnTo>
                    <a:lnTo>
                      <a:pt x="40" y="49"/>
                    </a:lnTo>
                    <a:lnTo>
                      <a:pt x="47" y="55"/>
                    </a:lnTo>
                    <a:lnTo>
                      <a:pt x="50" y="53"/>
                    </a:lnTo>
                    <a:lnTo>
                      <a:pt x="50" y="50"/>
                    </a:lnTo>
                    <a:lnTo>
                      <a:pt x="55" y="47"/>
                    </a:lnTo>
                    <a:lnTo>
                      <a:pt x="56" y="50"/>
                    </a:lnTo>
                    <a:lnTo>
                      <a:pt x="53" y="62"/>
                    </a:lnTo>
                    <a:lnTo>
                      <a:pt x="53" y="63"/>
                    </a:lnTo>
                    <a:lnTo>
                      <a:pt x="56" y="63"/>
                    </a:lnTo>
                    <a:lnTo>
                      <a:pt x="63" y="58"/>
                    </a:lnTo>
                    <a:lnTo>
                      <a:pt x="70" y="58"/>
                    </a:lnTo>
                    <a:lnTo>
                      <a:pt x="75" y="62"/>
                    </a:lnTo>
                    <a:lnTo>
                      <a:pt x="78" y="62"/>
                    </a:lnTo>
                    <a:lnTo>
                      <a:pt x="80" y="58"/>
                    </a:lnTo>
                    <a:lnTo>
                      <a:pt x="83" y="60"/>
                    </a:lnTo>
                    <a:lnTo>
                      <a:pt x="85" y="63"/>
                    </a:lnTo>
                    <a:lnTo>
                      <a:pt x="88" y="63"/>
                    </a:lnTo>
                    <a:lnTo>
                      <a:pt x="96" y="68"/>
                    </a:lnTo>
                    <a:lnTo>
                      <a:pt x="98" y="73"/>
                    </a:lnTo>
                    <a:lnTo>
                      <a:pt x="103" y="75"/>
                    </a:lnTo>
                    <a:lnTo>
                      <a:pt x="106" y="80"/>
                    </a:lnTo>
                    <a:lnTo>
                      <a:pt x="115" y="77"/>
                    </a:lnTo>
                    <a:lnTo>
                      <a:pt x="121" y="77"/>
                    </a:lnTo>
                    <a:lnTo>
                      <a:pt x="121" y="77"/>
                    </a:lnTo>
                    <a:close/>
                    <a:moveTo>
                      <a:pt x="23" y="27"/>
                    </a:moveTo>
                    <a:lnTo>
                      <a:pt x="28" y="25"/>
                    </a:lnTo>
                    <a:lnTo>
                      <a:pt x="30" y="29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3" y="27"/>
                    </a:lnTo>
                    <a:close/>
                    <a:moveTo>
                      <a:pt x="15" y="37"/>
                    </a:moveTo>
                    <a:lnTo>
                      <a:pt x="12" y="32"/>
                    </a:lnTo>
                    <a:lnTo>
                      <a:pt x="8" y="32"/>
                    </a:lnTo>
                    <a:lnTo>
                      <a:pt x="5" y="34"/>
                    </a:lnTo>
                    <a:lnTo>
                      <a:pt x="2" y="34"/>
                    </a:lnTo>
                    <a:lnTo>
                      <a:pt x="10" y="30"/>
                    </a:lnTo>
                    <a:lnTo>
                      <a:pt x="12" y="27"/>
                    </a:lnTo>
                    <a:lnTo>
                      <a:pt x="13" y="25"/>
                    </a:lnTo>
                    <a:lnTo>
                      <a:pt x="15" y="25"/>
                    </a:lnTo>
                    <a:lnTo>
                      <a:pt x="18" y="29"/>
                    </a:lnTo>
                    <a:lnTo>
                      <a:pt x="22" y="29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7" y="34"/>
                    </a:lnTo>
                    <a:lnTo>
                      <a:pt x="15" y="37"/>
                    </a:lnTo>
                    <a:lnTo>
                      <a:pt x="15" y="37"/>
                    </a:lnTo>
                    <a:close/>
                    <a:moveTo>
                      <a:pt x="25" y="40"/>
                    </a:moveTo>
                    <a:lnTo>
                      <a:pt x="23" y="37"/>
                    </a:lnTo>
                    <a:lnTo>
                      <a:pt x="30" y="37"/>
                    </a:lnTo>
                    <a:lnTo>
                      <a:pt x="32" y="42"/>
                    </a:lnTo>
                    <a:lnTo>
                      <a:pt x="30" y="44"/>
                    </a:lnTo>
                    <a:lnTo>
                      <a:pt x="25" y="40"/>
                    </a:lnTo>
                    <a:lnTo>
                      <a:pt x="25" y="40"/>
                    </a:lnTo>
                    <a:close/>
                    <a:moveTo>
                      <a:pt x="3" y="65"/>
                    </a:moveTo>
                    <a:lnTo>
                      <a:pt x="5" y="65"/>
                    </a:lnTo>
                    <a:lnTo>
                      <a:pt x="8" y="62"/>
                    </a:lnTo>
                    <a:lnTo>
                      <a:pt x="8" y="60"/>
                    </a:lnTo>
                    <a:lnTo>
                      <a:pt x="12" y="53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3" y="47"/>
                    </a:lnTo>
                    <a:lnTo>
                      <a:pt x="27" y="47"/>
                    </a:lnTo>
                    <a:lnTo>
                      <a:pt x="28" y="47"/>
                    </a:lnTo>
                    <a:lnTo>
                      <a:pt x="27" y="45"/>
                    </a:lnTo>
                    <a:lnTo>
                      <a:pt x="25" y="44"/>
                    </a:lnTo>
                    <a:lnTo>
                      <a:pt x="22" y="40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5" y="45"/>
                    </a:lnTo>
                    <a:lnTo>
                      <a:pt x="5" y="44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0" y="45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3" y="53"/>
                    </a:lnTo>
                    <a:lnTo>
                      <a:pt x="8" y="57"/>
                    </a:lnTo>
                    <a:lnTo>
                      <a:pt x="7" y="60"/>
                    </a:lnTo>
                    <a:lnTo>
                      <a:pt x="5" y="60"/>
                    </a:lnTo>
                    <a:lnTo>
                      <a:pt x="3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3" name="Freeform 37">
                <a:extLst>
                  <a:ext uri="{FF2B5EF4-FFF2-40B4-BE49-F238E27FC236}">
                    <a16:creationId xmlns:a16="http://schemas.microsoft.com/office/drawing/2014/main" id="{0AAE2358-2029-F84C-9646-96847055D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9398" y="2517463"/>
                <a:ext cx="83479" cy="38391"/>
              </a:xfrm>
              <a:custGeom>
                <a:avLst/>
                <a:gdLst/>
                <a:ahLst/>
                <a:cxnLst>
                  <a:cxn ang="0">
                    <a:pos x="153" y="52"/>
                  </a:cxn>
                  <a:cxn ang="0">
                    <a:pos x="148" y="42"/>
                  </a:cxn>
                  <a:cxn ang="0">
                    <a:pos x="143" y="34"/>
                  </a:cxn>
                  <a:cxn ang="0">
                    <a:pos x="141" y="27"/>
                  </a:cxn>
                  <a:cxn ang="0">
                    <a:pos x="141" y="24"/>
                  </a:cxn>
                  <a:cxn ang="0">
                    <a:pos x="128" y="19"/>
                  </a:cxn>
                  <a:cxn ang="0">
                    <a:pos x="116" y="17"/>
                  </a:cxn>
                  <a:cxn ang="0">
                    <a:pos x="109" y="10"/>
                  </a:cxn>
                  <a:cxn ang="0">
                    <a:pos x="98" y="5"/>
                  </a:cxn>
                  <a:cxn ang="0">
                    <a:pos x="93" y="0"/>
                  </a:cxn>
                  <a:cxn ang="0">
                    <a:pos x="88" y="4"/>
                  </a:cxn>
                  <a:cxn ang="0">
                    <a:pos x="76" y="0"/>
                  </a:cxn>
                  <a:cxn ang="0">
                    <a:pos x="66" y="5"/>
                  </a:cxn>
                  <a:cxn ang="0">
                    <a:pos x="69" y="20"/>
                  </a:cxn>
                  <a:cxn ang="0">
                    <a:pos x="58" y="35"/>
                  </a:cxn>
                  <a:cxn ang="0">
                    <a:pos x="46" y="30"/>
                  </a:cxn>
                  <a:cxn ang="0">
                    <a:pos x="35" y="17"/>
                  </a:cxn>
                  <a:cxn ang="0">
                    <a:pos x="33" y="10"/>
                  </a:cxn>
                  <a:cxn ang="0">
                    <a:pos x="21" y="15"/>
                  </a:cxn>
                  <a:cxn ang="0">
                    <a:pos x="15" y="17"/>
                  </a:cxn>
                  <a:cxn ang="0">
                    <a:pos x="11" y="27"/>
                  </a:cxn>
                  <a:cxn ang="0">
                    <a:pos x="10" y="34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5" y="65"/>
                  </a:cxn>
                  <a:cxn ang="0">
                    <a:pos x="10" y="65"/>
                  </a:cxn>
                  <a:cxn ang="0">
                    <a:pos x="18" y="55"/>
                  </a:cxn>
                  <a:cxn ang="0">
                    <a:pos x="36" y="54"/>
                  </a:cxn>
                  <a:cxn ang="0">
                    <a:pos x="46" y="55"/>
                  </a:cxn>
                  <a:cxn ang="0">
                    <a:pos x="56" y="52"/>
                  </a:cxn>
                  <a:cxn ang="0">
                    <a:pos x="61" y="54"/>
                  </a:cxn>
                  <a:cxn ang="0">
                    <a:pos x="73" y="59"/>
                  </a:cxn>
                  <a:cxn ang="0">
                    <a:pos x="83" y="54"/>
                  </a:cxn>
                  <a:cxn ang="0">
                    <a:pos x="98" y="59"/>
                  </a:cxn>
                  <a:cxn ang="0">
                    <a:pos x="109" y="67"/>
                  </a:cxn>
                  <a:cxn ang="0">
                    <a:pos x="123" y="74"/>
                  </a:cxn>
                  <a:cxn ang="0">
                    <a:pos x="124" y="75"/>
                  </a:cxn>
                  <a:cxn ang="0">
                    <a:pos x="143" y="70"/>
                  </a:cxn>
                  <a:cxn ang="0">
                    <a:pos x="148" y="64"/>
                  </a:cxn>
                  <a:cxn ang="0">
                    <a:pos x="154" y="59"/>
                  </a:cxn>
                </a:cxnLst>
                <a:rect l="0" t="0" r="r" b="b"/>
                <a:pathLst>
                  <a:path w="154" h="75">
                    <a:moveTo>
                      <a:pt x="154" y="59"/>
                    </a:moveTo>
                    <a:lnTo>
                      <a:pt x="153" y="52"/>
                    </a:lnTo>
                    <a:lnTo>
                      <a:pt x="149" y="47"/>
                    </a:lnTo>
                    <a:lnTo>
                      <a:pt x="148" y="42"/>
                    </a:lnTo>
                    <a:lnTo>
                      <a:pt x="146" y="39"/>
                    </a:lnTo>
                    <a:lnTo>
                      <a:pt x="143" y="34"/>
                    </a:lnTo>
                    <a:lnTo>
                      <a:pt x="143" y="30"/>
                    </a:lnTo>
                    <a:lnTo>
                      <a:pt x="141" y="27"/>
                    </a:lnTo>
                    <a:lnTo>
                      <a:pt x="139" y="25"/>
                    </a:lnTo>
                    <a:lnTo>
                      <a:pt x="141" y="24"/>
                    </a:lnTo>
                    <a:lnTo>
                      <a:pt x="139" y="20"/>
                    </a:lnTo>
                    <a:lnTo>
                      <a:pt x="128" y="19"/>
                    </a:lnTo>
                    <a:lnTo>
                      <a:pt x="119" y="22"/>
                    </a:lnTo>
                    <a:lnTo>
                      <a:pt x="116" y="17"/>
                    </a:lnTo>
                    <a:lnTo>
                      <a:pt x="111" y="15"/>
                    </a:lnTo>
                    <a:lnTo>
                      <a:pt x="109" y="10"/>
                    </a:lnTo>
                    <a:lnTo>
                      <a:pt x="101" y="5"/>
                    </a:lnTo>
                    <a:lnTo>
                      <a:pt x="98" y="5"/>
                    </a:lnTo>
                    <a:lnTo>
                      <a:pt x="96" y="2"/>
                    </a:lnTo>
                    <a:lnTo>
                      <a:pt x="93" y="0"/>
                    </a:lnTo>
                    <a:lnTo>
                      <a:pt x="91" y="4"/>
                    </a:lnTo>
                    <a:lnTo>
                      <a:pt x="88" y="4"/>
                    </a:lnTo>
                    <a:lnTo>
                      <a:pt x="83" y="0"/>
                    </a:lnTo>
                    <a:lnTo>
                      <a:pt x="76" y="0"/>
                    </a:lnTo>
                    <a:lnTo>
                      <a:pt x="69" y="5"/>
                    </a:lnTo>
                    <a:lnTo>
                      <a:pt x="66" y="5"/>
                    </a:lnTo>
                    <a:lnTo>
                      <a:pt x="66" y="12"/>
                    </a:lnTo>
                    <a:lnTo>
                      <a:pt x="69" y="20"/>
                    </a:lnTo>
                    <a:lnTo>
                      <a:pt x="66" y="29"/>
                    </a:lnTo>
                    <a:lnTo>
                      <a:pt x="58" y="35"/>
                    </a:lnTo>
                    <a:lnTo>
                      <a:pt x="53" y="35"/>
                    </a:lnTo>
                    <a:lnTo>
                      <a:pt x="46" y="30"/>
                    </a:lnTo>
                    <a:lnTo>
                      <a:pt x="46" y="27"/>
                    </a:lnTo>
                    <a:lnTo>
                      <a:pt x="35" y="17"/>
                    </a:lnTo>
                    <a:lnTo>
                      <a:pt x="35" y="10"/>
                    </a:lnTo>
                    <a:lnTo>
                      <a:pt x="33" y="10"/>
                    </a:lnTo>
                    <a:lnTo>
                      <a:pt x="28" y="14"/>
                    </a:lnTo>
                    <a:lnTo>
                      <a:pt x="21" y="15"/>
                    </a:lnTo>
                    <a:lnTo>
                      <a:pt x="20" y="17"/>
                    </a:lnTo>
                    <a:lnTo>
                      <a:pt x="15" y="17"/>
                    </a:lnTo>
                    <a:lnTo>
                      <a:pt x="10" y="22"/>
                    </a:lnTo>
                    <a:lnTo>
                      <a:pt x="11" y="27"/>
                    </a:lnTo>
                    <a:lnTo>
                      <a:pt x="10" y="27"/>
                    </a:lnTo>
                    <a:lnTo>
                      <a:pt x="10" y="34"/>
                    </a:lnTo>
                    <a:lnTo>
                      <a:pt x="3" y="40"/>
                    </a:lnTo>
                    <a:lnTo>
                      <a:pt x="3" y="45"/>
                    </a:lnTo>
                    <a:lnTo>
                      <a:pt x="3" y="49"/>
                    </a:lnTo>
                    <a:lnTo>
                      <a:pt x="0" y="52"/>
                    </a:lnTo>
                    <a:lnTo>
                      <a:pt x="1" y="62"/>
                    </a:lnTo>
                    <a:lnTo>
                      <a:pt x="5" y="65"/>
                    </a:lnTo>
                    <a:lnTo>
                      <a:pt x="5" y="65"/>
                    </a:lnTo>
                    <a:lnTo>
                      <a:pt x="10" y="65"/>
                    </a:lnTo>
                    <a:lnTo>
                      <a:pt x="11" y="60"/>
                    </a:lnTo>
                    <a:lnTo>
                      <a:pt x="18" y="55"/>
                    </a:lnTo>
                    <a:lnTo>
                      <a:pt x="28" y="52"/>
                    </a:lnTo>
                    <a:lnTo>
                      <a:pt x="36" y="54"/>
                    </a:lnTo>
                    <a:lnTo>
                      <a:pt x="43" y="52"/>
                    </a:lnTo>
                    <a:lnTo>
                      <a:pt x="46" y="55"/>
                    </a:lnTo>
                    <a:lnTo>
                      <a:pt x="51" y="52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61" y="54"/>
                    </a:lnTo>
                    <a:lnTo>
                      <a:pt x="64" y="59"/>
                    </a:lnTo>
                    <a:lnTo>
                      <a:pt x="73" y="59"/>
                    </a:lnTo>
                    <a:lnTo>
                      <a:pt x="74" y="59"/>
                    </a:lnTo>
                    <a:lnTo>
                      <a:pt x="83" y="54"/>
                    </a:lnTo>
                    <a:lnTo>
                      <a:pt x="91" y="59"/>
                    </a:lnTo>
                    <a:lnTo>
                      <a:pt x="98" y="59"/>
                    </a:lnTo>
                    <a:lnTo>
                      <a:pt x="104" y="65"/>
                    </a:lnTo>
                    <a:lnTo>
                      <a:pt x="109" y="67"/>
                    </a:lnTo>
                    <a:lnTo>
                      <a:pt x="116" y="74"/>
                    </a:lnTo>
                    <a:lnTo>
                      <a:pt x="123" y="74"/>
                    </a:lnTo>
                    <a:lnTo>
                      <a:pt x="124" y="75"/>
                    </a:lnTo>
                    <a:lnTo>
                      <a:pt x="124" y="75"/>
                    </a:lnTo>
                    <a:lnTo>
                      <a:pt x="133" y="72"/>
                    </a:lnTo>
                    <a:lnTo>
                      <a:pt x="143" y="70"/>
                    </a:lnTo>
                    <a:lnTo>
                      <a:pt x="144" y="65"/>
                    </a:lnTo>
                    <a:lnTo>
                      <a:pt x="148" y="64"/>
                    </a:lnTo>
                    <a:lnTo>
                      <a:pt x="149" y="59"/>
                    </a:lnTo>
                    <a:lnTo>
                      <a:pt x="154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4" name="Freeform 38">
                <a:extLst>
                  <a:ext uri="{FF2B5EF4-FFF2-40B4-BE49-F238E27FC236}">
                    <a16:creationId xmlns:a16="http://schemas.microsoft.com/office/drawing/2014/main" id="{EA578C4F-4CB4-A747-AF8F-6A1EDEB1E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2610" y="2543403"/>
                <a:ext cx="64215" cy="41504"/>
              </a:xfrm>
              <a:custGeom>
                <a:avLst/>
                <a:gdLst/>
                <a:ahLst/>
                <a:cxnLst>
                  <a:cxn ang="0">
                    <a:pos x="38" y="56"/>
                  </a:cxn>
                  <a:cxn ang="0">
                    <a:pos x="38" y="50"/>
                  </a:cxn>
                  <a:cxn ang="0">
                    <a:pos x="41" y="46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5" y="38"/>
                  </a:cxn>
                  <a:cxn ang="0">
                    <a:pos x="31" y="37"/>
                  </a:cxn>
                  <a:cxn ang="0">
                    <a:pos x="23" y="40"/>
                  </a:cxn>
                  <a:cxn ang="0">
                    <a:pos x="16" y="37"/>
                  </a:cxn>
                  <a:cxn ang="0">
                    <a:pos x="10" y="28"/>
                  </a:cxn>
                  <a:cxn ang="0">
                    <a:pos x="1" y="30"/>
                  </a:cxn>
                  <a:cxn ang="0">
                    <a:pos x="0" y="30"/>
                  </a:cxn>
                  <a:cxn ang="0">
                    <a:pos x="1" y="27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5" y="13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3" y="0"/>
                  </a:cxn>
                  <a:cxn ang="0">
                    <a:pos x="31" y="2"/>
                  </a:cxn>
                  <a:cxn ang="0">
                    <a:pos x="38" y="0"/>
                  </a:cxn>
                  <a:cxn ang="0">
                    <a:pos x="41" y="3"/>
                  </a:cxn>
                  <a:cxn ang="0">
                    <a:pos x="46" y="0"/>
                  </a:cxn>
                  <a:cxn ang="0">
                    <a:pos x="51" y="0"/>
                  </a:cxn>
                  <a:cxn ang="0">
                    <a:pos x="51" y="2"/>
                  </a:cxn>
                  <a:cxn ang="0">
                    <a:pos x="56" y="2"/>
                  </a:cxn>
                  <a:cxn ang="0">
                    <a:pos x="59" y="7"/>
                  </a:cxn>
                  <a:cxn ang="0">
                    <a:pos x="68" y="7"/>
                  </a:cxn>
                  <a:cxn ang="0">
                    <a:pos x="69" y="7"/>
                  </a:cxn>
                  <a:cxn ang="0">
                    <a:pos x="78" y="2"/>
                  </a:cxn>
                  <a:cxn ang="0">
                    <a:pos x="86" y="7"/>
                  </a:cxn>
                  <a:cxn ang="0">
                    <a:pos x="93" y="7"/>
                  </a:cxn>
                  <a:cxn ang="0">
                    <a:pos x="99" y="13"/>
                  </a:cxn>
                  <a:cxn ang="0">
                    <a:pos x="104" y="15"/>
                  </a:cxn>
                  <a:cxn ang="0">
                    <a:pos x="111" y="22"/>
                  </a:cxn>
                  <a:cxn ang="0">
                    <a:pos x="118" y="22"/>
                  </a:cxn>
                  <a:cxn ang="0">
                    <a:pos x="119" y="23"/>
                  </a:cxn>
                  <a:cxn ang="0">
                    <a:pos x="114" y="30"/>
                  </a:cxn>
                  <a:cxn ang="0">
                    <a:pos x="118" y="32"/>
                  </a:cxn>
                  <a:cxn ang="0">
                    <a:pos x="118" y="37"/>
                  </a:cxn>
                  <a:cxn ang="0">
                    <a:pos x="109" y="40"/>
                  </a:cxn>
                  <a:cxn ang="0">
                    <a:pos x="106" y="46"/>
                  </a:cxn>
                  <a:cxn ang="0">
                    <a:pos x="101" y="48"/>
                  </a:cxn>
                  <a:cxn ang="0">
                    <a:pos x="101" y="55"/>
                  </a:cxn>
                  <a:cxn ang="0">
                    <a:pos x="106" y="56"/>
                  </a:cxn>
                  <a:cxn ang="0">
                    <a:pos x="106" y="61"/>
                  </a:cxn>
                  <a:cxn ang="0">
                    <a:pos x="101" y="61"/>
                  </a:cxn>
                  <a:cxn ang="0">
                    <a:pos x="99" y="60"/>
                  </a:cxn>
                  <a:cxn ang="0">
                    <a:pos x="96" y="60"/>
                  </a:cxn>
                  <a:cxn ang="0">
                    <a:pos x="93" y="66"/>
                  </a:cxn>
                  <a:cxn ang="0">
                    <a:pos x="86" y="66"/>
                  </a:cxn>
                  <a:cxn ang="0">
                    <a:pos x="88" y="73"/>
                  </a:cxn>
                  <a:cxn ang="0">
                    <a:pos x="84" y="73"/>
                  </a:cxn>
                  <a:cxn ang="0">
                    <a:pos x="78" y="76"/>
                  </a:cxn>
                  <a:cxn ang="0">
                    <a:pos x="71" y="73"/>
                  </a:cxn>
                  <a:cxn ang="0">
                    <a:pos x="63" y="75"/>
                  </a:cxn>
                  <a:cxn ang="0">
                    <a:pos x="58" y="78"/>
                  </a:cxn>
                  <a:cxn ang="0">
                    <a:pos x="55" y="75"/>
                  </a:cxn>
                  <a:cxn ang="0">
                    <a:pos x="55" y="70"/>
                  </a:cxn>
                  <a:cxn ang="0">
                    <a:pos x="53" y="61"/>
                  </a:cxn>
                  <a:cxn ang="0">
                    <a:pos x="50" y="61"/>
                  </a:cxn>
                  <a:cxn ang="0">
                    <a:pos x="43" y="56"/>
                  </a:cxn>
                  <a:cxn ang="0">
                    <a:pos x="38" y="56"/>
                  </a:cxn>
                </a:cxnLst>
                <a:rect l="0" t="0" r="r" b="b"/>
                <a:pathLst>
                  <a:path w="119" h="78">
                    <a:moveTo>
                      <a:pt x="38" y="56"/>
                    </a:moveTo>
                    <a:lnTo>
                      <a:pt x="38" y="50"/>
                    </a:lnTo>
                    <a:lnTo>
                      <a:pt x="41" y="46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5" y="38"/>
                    </a:lnTo>
                    <a:lnTo>
                      <a:pt x="31" y="37"/>
                    </a:lnTo>
                    <a:lnTo>
                      <a:pt x="23" y="40"/>
                    </a:lnTo>
                    <a:lnTo>
                      <a:pt x="16" y="37"/>
                    </a:lnTo>
                    <a:lnTo>
                      <a:pt x="10" y="28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5" y="13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3" y="0"/>
                    </a:lnTo>
                    <a:lnTo>
                      <a:pt x="31" y="2"/>
                    </a:lnTo>
                    <a:lnTo>
                      <a:pt x="38" y="0"/>
                    </a:lnTo>
                    <a:lnTo>
                      <a:pt x="41" y="3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1" y="2"/>
                    </a:lnTo>
                    <a:lnTo>
                      <a:pt x="56" y="2"/>
                    </a:lnTo>
                    <a:lnTo>
                      <a:pt x="59" y="7"/>
                    </a:lnTo>
                    <a:lnTo>
                      <a:pt x="68" y="7"/>
                    </a:lnTo>
                    <a:lnTo>
                      <a:pt x="69" y="7"/>
                    </a:lnTo>
                    <a:lnTo>
                      <a:pt x="78" y="2"/>
                    </a:lnTo>
                    <a:lnTo>
                      <a:pt x="86" y="7"/>
                    </a:lnTo>
                    <a:lnTo>
                      <a:pt x="93" y="7"/>
                    </a:lnTo>
                    <a:lnTo>
                      <a:pt x="99" y="13"/>
                    </a:lnTo>
                    <a:lnTo>
                      <a:pt x="104" y="15"/>
                    </a:lnTo>
                    <a:lnTo>
                      <a:pt x="111" y="22"/>
                    </a:lnTo>
                    <a:lnTo>
                      <a:pt x="118" y="22"/>
                    </a:lnTo>
                    <a:lnTo>
                      <a:pt x="119" y="23"/>
                    </a:lnTo>
                    <a:lnTo>
                      <a:pt x="114" y="30"/>
                    </a:lnTo>
                    <a:lnTo>
                      <a:pt x="118" y="32"/>
                    </a:lnTo>
                    <a:lnTo>
                      <a:pt x="118" y="37"/>
                    </a:lnTo>
                    <a:lnTo>
                      <a:pt x="109" y="40"/>
                    </a:lnTo>
                    <a:lnTo>
                      <a:pt x="106" y="46"/>
                    </a:lnTo>
                    <a:lnTo>
                      <a:pt x="101" y="48"/>
                    </a:lnTo>
                    <a:lnTo>
                      <a:pt x="101" y="55"/>
                    </a:lnTo>
                    <a:lnTo>
                      <a:pt x="106" y="56"/>
                    </a:lnTo>
                    <a:lnTo>
                      <a:pt x="106" y="61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96" y="60"/>
                    </a:lnTo>
                    <a:lnTo>
                      <a:pt x="93" y="66"/>
                    </a:lnTo>
                    <a:lnTo>
                      <a:pt x="86" y="66"/>
                    </a:lnTo>
                    <a:lnTo>
                      <a:pt x="88" y="73"/>
                    </a:lnTo>
                    <a:lnTo>
                      <a:pt x="84" y="73"/>
                    </a:lnTo>
                    <a:lnTo>
                      <a:pt x="78" y="76"/>
                    </a:lnTo>
                    <a:lnTo>
                      <a:pt x="71" y="73"/>
                    </a:lnTo>
                    <a:lnTo>
                      <a:pt x="63" y="75"/>
                    </a:lnTo>
                    <a:lnTo>
                      <a:pt x="58" y="78"/>
                    </a:lnTo>
                    <a:lnTo>
                      <a:pt x="55" y="75"/>
                    </a:lnTo>
                    <a:lnTo>
                      <a:pt x="55" y="70"/>
                    </a:lnTo>
                    <a:lnTo>
                      <a:pt x="53" y="61"/>
                    </a:lnTo>
                    <a:lnTo>
                      <a:pt x="50" y="61"/>
                    </a:lnTo>
                    <a:lnTo>
                      <a:pt x="43" y="56"/>
                    </a:lnTo>
                    <a:lnTo>
                      <a:pt x="38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5" name="Freeform 39">
                <a:extLst>
                  <a:ext uri="{FF2B5EF4-FFF2-40B4-BE49-F238E27FC236}">
                    <a16:creationId xmlns:a16="http://schemas.microsoft.com/office/drawing/2014/main" id="{2AB696DE-7C6E-1A4F-B082-39044793E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3646" y="2546515"/>
                <a:ext cx="108095" cy="73669"/>
              </a:xfrm>
              <a:custGeom>
                <a:avLst/>
                <a:gdLst/>
                <a:ahLst/>
                <a:cxnLst>
                  <a:cxn ang="0">
                    <a:pos x="5" y="70"/>
                  </a:cxn>
                  <a:cxn ang="0">
                    <a:pos x="20" y="71"/>
                  </a:cxn>
                  <a:cxn ang="0">
                    <a:pos x="30" y="68"/>
                  </a:cxn>
                  <a:cxn ang="0">
                    <a:pos x="35" y="61"/>
                  </a:cxn>
                  <a:cxn ang="0">
                    <a:pos x="41" y="55"/>
                  </a:cxn>
                  <a:cxn ang="0">
                    <a:pos x="48" y="56"/>
                  </a:cxn>
                  <a:cxn ang="0">
                    <a:pos x="43" y="50"/>
                  </a:cxn>
                  <a:cxn ang="0">
                    <a:pos x="48" y="41"/>
                  </a:cxn>
                  <a:cxn ang="0">
                    <a:pos x="60" y="32"/>
                  </a:cxn>
                  <a:cxn ang="0">
                    <a:pos x="56" y="25"/>
                  </a:cxn>
                  <a:cxn ang="0">
                    <a:pos x="70" y="15"/>
                  </a:cxn>
                  <a:cxn ang="0">
                    <a:pos x="81" y="8"/>
                  </a:cxn>
                  <a:cxn ang="0">
                    <a:pos x="86" y="2"/>
                  </a:cxn>
                  <a:cxn ang="0">
                    <a:pos x="96" y="3"/>
                  </a:cxn>
                  <a:cxn ang="0">
                    <a:pos x="108" y="7"/>
                  </a:cxn>
                  <a:cxn ang="0">
                    <a:pos x="118" y="5"/>
                  </a:cxn>
                  <a:cxn ang="0">
                    <a:pos x="129" y="8"/>
                  </a:cxn>
                  <a:cxn ang="0">
                    <a:pos x="139" y="10"/>
                  </a:cxn>
                  <a:cxn ang="0">
                    <a:pos x="153" y="13"/>
                  </a:cxn>
                  <a:cxn ang="0">
                    <a:pos x="153" y="23"/>
                  </a:cxn>
                  <a:cxn ang="0">
                    <a:pos x="156" y="35"/>
                  </a:cxn>
                  <a:cxn ang="0">
                    <a:pos x="164" y="46"/>
                  </a:cxn>
                  <a:cxn ang="0">
                    <a:pos x="176" y="56"/>
                  </a:cxn>
                  <a:cxn ang="0">
                    <a:pos x="186" y="66"/>
                  </a:cxn>
                  <a:cxn ang="0">
                    <a:pos x="196" y="78"/>
                  </a:cxn>
                  <a:cxn ang="0">
                    <a:pos x="199" y="83"/>
                  </a:cxn>
                  <a:cxn ang="0">
                    <a:pos x="183" y="93"/>
                  </a:cxn>
                  <a:cxn ang="0">
                    <a:pos x="174" y="91"/>
                  </a:cxn>
                  <a:cxn ang="0">
                    <a:pos x="179" y="105"/>
                  </a:cxn>
                  <a:cxn ang="0">
                    <a:pos x="184" y="116"/>
                  </a:cxn>
                  <a:cxn ang="0">
                    <a:pos x="184" y="121"/>
                  </a:cxn>
                  <a:cxn ang="0">
                    <a:pos x="168" y="125"/>
                  </a:cxn>
                  <a:cxn ang="0">
                    <a:pos x="163" y="139"/>
                  </a:cxn>
                  <a:cxn ang="0">
                    <a:pos x="153" y="138"/>
                  </a:cxn>
                  <a:cxn ang="0">
                    <a:pos x="143" y="136"/>
                  </a:cxn>
                  <a:cxn ang="0">
                    <a:pos x="133" y="141"/>
                  </a:cxn>
                  <a:cxn ang="0">
                    <a:pos x="128" y="136"/>
                  </a:cxn>
                  <a:cxn ang="0">
                    <a:pos x="113" y="139"/>
                  </a:cxn>
                  <a:cxn ang="0">
                    <a:pos x="103" y="138"/>
                  </a:cxn>
                  <a:cxn ang="0">
                    <a:pos x="98" y="139"/>
                  </a:cxn>
                  <a:cxn ang="0">
                    <a:pos x="85" y="139"/>
                  </a:cxn>
                  <a:cxn ang="0">
                    <a:pos x="78" y="134"/>
                  </a:cxn>
                  <a:cxn ang="0">
                    <a:pos x="58" y="130"/>
                  </a:cxn>
                  <a:cxn ang="0">
                    <a:pos x="50" y="133"/>
                  </a:cxn>
                  <a:cxn ang="0">
                    <a:pos x="26" y="134"/>
                  </a:cxn>
                  <a:cxn ang="0">
                    <a:pos x="13" y="134"/>
                  </a:cxn>
                  <a:cxn ang="0">
                    <a:pos x="10" y="131"/>
                  </a:cxn>
                  <a:cxn ang="0">
                    <a:pos x="3" y="118"/>
                  </a:cxn>
                  <a:cxn ang="0">
                    <a:pos x="11" y="111"/>
                  </a:cxn>
                  <a:cxn ang="0">
                    <a:pos x="8" y="96"/>
                  </a:cxn>
                  <a:cxn ang="0">
                    <a:pos x="5" y="86"/>
                  </a:cxn>
                  <a:cxn ang="0">
                    <a:pos x="0" y="73"/>
                  </a:cxn>
                </a:cxnLst>
                <a:rect l="0" t="0" r="r" b="b"/>
                <a:pathLst>
                  <a:path w="202" h="141">
                    <a:moveTo>
                      <a:pt x="0" y="73"/>
                    </a:moveTo>
                    <a:lnTo>
                      <a:pt x="5" y="70"/>
                    </a:lnTo>
                    <a:lnTo>
                      <a:pt x="13" y="68"/>
                    </a:lnTo>
                    <a:lnTo>
                      <a:pt x="20" y="71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28" y="61"/>
                    </a:lnTo>
                    <a:lnTo>
                      <a:pt x="35" y="61"/>
                    </a:lnTo>
                    <a:lnTo>
                      <a:pt x="38" y="55"/>
                    </a:lnTo>
                    <a:lnTo>
                      <a:pt x="41" y="55"/>
                    </a:lnTo>
                    <a:lnTo>
                      <a:pt x="43" y="56"/>
                    </a:lnTo>
                    <a:lnTo>
                      <a:pt x="48" y="56"/>
                    </a:lnTo>
                    <a:lnTo>
                      <a:pt x="48" y="51"/>
                    </a:lnTo>
                    <a:lnTo>
                      <a:pt x="43" y="50"/>
                    </a:lnTo>
                    <a:lnTo>
                      <a:pt x="43" y="43"/>
                    </a:lnTo>
                    <a:lnTo>
                      <a:pt x="48" y="41"/>
                    </a:lnTo>
                    <a:lnTo>
                      <a:pt x="51" y="35"/>
                    </a:lnTo>
                    <a:lnTo>
                      <a:pt x="60" y="32"/>
                    </a:lnTo>
                    <a:lnTo>
                      <a:pt x="60" y="27"/>
                    </a:lnTo>
                    <a:lnTo>
                      <a:pt x="56" y="25"/>
                    </a:lnTo>
                    <a:lnTo>
                      <a:pt x="61" y="18"/>
                    </a:lnTo>
                    <a:lnTo>
                      <a:pt x="70" y="15"/>
                    </a:lnTo>
                    <a:lnTo>
                      <a:pt x="80" y="13"/>
                    </a:lnTo>
                    <a:lnTo>
                      <a:pt x="81" y="8"/>
                    </a:lnTo>
                    <a:lnTo>
                      <a:pt x="85" y="7"/>
                    </a:lnTo>
                    <a:lnTo>
                      <a:pt x="86" y="2"/>
                    </a:lnTo>
                    <a:lnTo>
                      <a:pt x="93" y="0"/>
                    </a:lnTo>
                    <a:lnTo>
                      <a:pt x="96" y="3"/>
                    </a:lnTo>
                    <a:lnTo>
                      <a:pt x="103" y="0"/>
                    </a:lnTo>
                    <a:lnTo>
                      <a:pt x="108" y="7"/>
                    </a:lnTo>
                    <a:lnTo>
                      <a:pt x="113" y="5"/>
                    </a:lnTo>
                    <a:lnTo>
                      <a:pt x="118" y="5"/>
                    </a:lnTo>
                    <a:lnTo>
                      <a:pt x="123" y="13"/>
                    </a:lnTo>
                    <a:lnTo>
                      <a:pt x="129" y="8"/>
                    </a:lnTo>
                    <a:lnTo>
                      <a:pt x="136" y="7"/>
                    </a:lnTo>
                    <a:lnTo>
                      <a:pt x="139" y="10"/>
                    </a:lnTo>
                    <a:lnTo>
                      <a:pt x="143" y="10"/>
                    </a:lnTo>
                    <a:lnTo>
                      <a:pt x="153" y="13"/>
                    </a:lnTo>
                    <a:lnTo>
                      <a:pt x="154" y="18"/>
                    </a:lnTo>
                    <a:lnTo>
                      <a:pt x="153" y="23"/>
                    </a:lnTo>
                    <a:lnTo>
                      <a:pt x="156" y="28"/>
                    </a:lnTo>
                    <a:lnTo>
                      <a:pt x="156" y="35"/>
                    </a:lnTo>
                    <a:lnTo>
                      <a:pt x="163" y="40"/>
                    </a:lnTo>
                    <a:lnTo>
                      <a:pt x="164" y="46"/>
                    </a:lnTo>
                    <a:lnTo>
                      <a:pt x="171" y="55"/>
                    </a:lnTo>
                    <a:lnTo>
                      <a:pt x="176" y="56"/>
                    </a:lnTo>
                    <a:lnTo>
                      <a:pt x="178" y="65"/>
                    </a:lnTo>
                    <a:lnTo>
                      <a:pt x="186" y="66"/>
                    </a:lnTo>
                    <a:lnTo>
                      <a:pt x="196" y="73"/>
                    </a:lnTo>
                    <a:lnTo>
                      <a:pt x="196" y="78"/>
                    </a:lnTo>
                    <a:lnTo>
                      <a:pt x="202" y="81"/>
                    </a:lnTo>
                    <a:lnTo>
                      <a:pt x="199" y="83"/>
                    </a:lnTo>
                    <a:lnTo>
                      <a:pt x="194" y="91"/>
                    </a:lnTo>
                    <a:lnTo>
                      <a:pt x="183" y="93"/>
                    </a:lnTo>
                    <a:lnTo>
                      <a:pt x="178" y="88"/>
                    </a:lnTo>
                    <a:lnTo>
                      <a:pt x="174" y="91"/>
                    </a:lnTo>
                    <a:lnTo>
                      <a:pt x="176" y="96"/>
                    </a:lnTo>
                    <a:lnTo>
                      <a:pt x="179" y="105"/>
                    </a:lnTo>
                    <a:lnTo>
                      <a:pt x="179" y="110"/>
                    </a:lnTo>
                    <a:lnTo>
                      <a:pt x="184" y="116"/>
                    </a:lnTo>
                    <a:lnTo>
                      <a:pt x="184" y="121"/>
                    </a:lnTo>
                    <a:lnTo>
                      <a:pt x="184" y="121"/>
                    </a:lnTo>
                    <a:lnTo>
                      <a:pt x="174" y="123"/>
                    </a:lnTo>
                    <a:lnTo>
                      <a:pt x="168" y="125"/>
                    </a:lnTo>
                    <a:lnTo>
                      <a:pt x="163" y="133"/>
                    </a:lnTo>
                    <a:lnTo>
                      <a:pt x="163" y="139"/>
                    </a:lnTo>
                    <a:lnTo>
                      <a:pt x="158" y="141"/>
                    </a:lnTo>
                    <a:lnTo>
                      <a:pt x="153" y="138"/>
                    </a:lnTo>
                    <a:lnTo>
                      <a:pt x="146" y="139"/>
                    </a:lnTo>
                    <a:lnTo>
                      <a:pt x="143" y="136"/>
                    </a:lnTo>
                    <a:lnTo>
                      <a:pt x="138" y="136"/>
                    </a:lnTo>
                    <a:lnTo>
                      <a:pt x="133" y="141"/>
                    </a:lnTo>
                    <a:lnTo>
                      <a:pt x="129" y="141"/>
                    </a:lnTo>
                    <a:lnTo>
                      <a:pt x="128" y="136"/>
                    </a:lnTo>
                    <a:lnTo>
                      <a:pt x="121" y="136"/>
                    </a:lnTo>
                    <a:lnTo>
                      <a:pt x="113" y="139"/>
                    </a:lnTo>
                    <a:lnTo>
                      <a:pt x="109" y="138"/>
                    </a:lnTo>
                    <a:lnTo>
                      <a:pt x="103" y="138"/>
                    </a:lnTo>
                    <a:lnTo>
                      <a:pt x="101" y="139"/>
                    </a:lnTo>
                    <a:lnTo>
                      <a:pt x="98" y="139"/>
                    </a:lnTo>
                    <a:lnTo>
                      <a:pt x="93" y="136"/>
                    </a:lnTo>
                    <a:lnTo>
                      <a:pt x="85" y="139"/>
                    </a:lnTo>
                    <a:lnTo>
                      <a:pt x="85" y="136"/>
                    </a:lnTo>
                    <a:lnTo>
                      <a:pt x="78" y="134"/>
                    </a:lnTo>
                    <a:lnTo>
                      <a:pt x="65" y="133"/>
                    </a:lnTo>
                    <a:lnTo>
                      <a:pt x="58" y="130"/>
                    </a:lnTo>
                    <a:lnTo>
                      <a:pt x="55" y="130"/>
                    </a:lnTo>
                    <a:lnTo>
                      <a:pt x="50" y="133"/>
                    </a:lnTo>
                    <a:lnTo>
                      <a:pt x="43" y="133"/>
                    </a:lnTo>
                    <a:lnTo>
                      <a:pt x="26" y="134"/>
                    </a:lnTo>
                    <a:lnTo>
                      <a:pt x="21" y="138"/>
                    </a:lnTo>
                    <a:lnTo>
                      <a:pt x="13" y="134"/>
                    </a:lnTo>
                    <a:lnTo>
                      <a:pt x="10" y="134"/>
                    </a:lnTo>
                    <a:lnTo>
                      <a:pt x="10" y="131"/>
                    </a:lnTo>
                    <a:lnTo>
                      <a:pt x="5" y="125"/>
                    </a:lnTo>
                    <a:lnTo>
                      <a:pt x="3" y="118"/>
                    </a:lnTo>
                    <a:lnTo>
                      <a:pt x="6" y="113"/>
                    </a:lnTo>
                    <a:lnTo>
                      <a:pt x="11" y="111"/>
                    </a:lnTo>
                    <a:lnTo>
                      <a:pt x="11" y="98"/>
                    </a:lnTo>
                    <a:lnTo>
                      <a:pt x="8" y="96"/>
                    </a:lnTo>
                    <a:lnTo>
                      <a:pt x="8" y="90"/>
                    </a:lnTo>
                    <a:lnTo>
                      <a:pt x="5" y="86"/>
                    </a:lnTo>
                    <a:lnTo>
                      <a:pt x="1" y="75"/>
                    </a:lnTo>
                    <a:lnTo>
                      <a:pt x="0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6" name="Freeform 40">
                <a:extLst>
                  <a:ext uri="{FF2B5EF4-FFF2-40B4-BE49-F238E27FC236}">
                    <a16:creationId xmlns:a16="http://schemas.microsoft.com/office/drawing/2014/main" id="{0C8199D2-C1AB-C94D-B3D7-A453A3B8D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084" y="2604620"/>
                <a:ext cx="214050" cy="117248"/>
              </a:xfrm>
              <a:custGeom>
                <a:avLst/>
                <a:gdLst/>
                <a:ahLst/>
                <a:cxnLst>
                  <a:cxn ang="0">
                    <a:pos x="58" y="20"/>
                  </a:cxn>
                  <a:cxn ang="0">
                    <a:pos x="93" y="21"/>
                  </a:cxn>
                  <a:cxn ang="0">
                    <a:pos x="116" y="26"/>
                  </a:cxn>
                  <a:cxn ang="0">
                    <a:pos x="143" y="23"/>
                  </a:cxn>
                  <a:cxn ang="0">
                    <a:pos x="161" y="26"/>
                  </a:cxn>
                  <a:cxn ang="0">
                    <a:pos x="183" y="12"/>
                  </a:cxn>
                  <a:cxn ang="0">
                    <a:pos x="209" y="3"/>
                  </a:cxn>
                  <a:cxn ang="0">
                    <a:pos x="249" y="2"/>
                  </a:cxn>
                  <a:cxn ang="0">
                    <a:pos x="274" y="26"/>
                  </a:cxn>
                  <a:cxn ang="0">
                    <a:pos x="287" y="48"/>
                  </a:cxn>
                  <a:cxn ang="0">
                    <a:pos x="320" y="56"/>
                  </a:cxn>
                  <a:cxn ang="0">
                    <a:pos x="347" y="70"/>
                  </a:cxn>
                  <a:cxn ang="0">
                    <a:pos x="375" y="70"/>
                  </a:cxn>
                  <a:cxn ang="0">
                    <a:pos x="399" y="78"/>
                  </a:cxn>
                  <a:cxn ang="0">
                    <a:pos x="395" y="105"/>
                  </a:cxn>
                  <a:cxn ang="0">
                    <a:pos x="379" y="128"/>
                  </a:cxn>
                  <a:cxn ang="0">
                    <a:pos x="364" y="146"/>
                  </a:cxn>
                  <a:cxn ang="0">
                    <a:pos x="344" y="153"/>
                  </a:cxn>
                  <a:cxn ang="0">
                    <a:pos x="324" y="161"/>
                  </a:cxn>
                  <a:cxn ang="0">
                    <a:pos x="302" y="161"/>
                  </a:cxn>
                  <a:cxn ang="0">
                    <a:pos x="297" y="176"/>
                  </a:cxn>
                  <a:cxn ang="0">
                    <a:pos x="299" y="168"/>
                  </a:cxn>
                  <a:cxn ang="0">
                    <a:pos x="284" y="179"/>
                  </a:cxn>
                  <a:cxn ang="0">
                    <a:pos x="266" y="179"/>
                  </a:cxn>
                  <a:cxn ang="0">
                    <a:pos x="286" y="186"/>
                  </a:cxn>
                  <a:cxn ang="0">
                    <a:pos x="289" y="191"/>
                  </a:cxn>
                  <a:cxn ang="0">
                    <a:pos x="297" y="201"/>
                  </a:cxn>
                  <a:cxn ang="0">
                    <a:pos x="287" y="179"/>
                  </a:cxn>
                  <a:cxn ang="0">
                    <a:pos x="309" y="201"/>
                  </a:cxn>
                  <a:cxn ang="0">
                    <a:pos x="330" y="194"/>
                  </a:cxn>
                  <a:cxn ang="0">
                    <a:pos x="330" y="206"/>
                  </a:cxn>
                  <a:cxn ang="0">
                    <a:pos x="296" y="214"/>
                  </a:cxn>
                  <a:cxn ang="0">
                    <a:pos x="264" y="219"/>
                  </a:cxn>
                  <a:cxn ang="0">
                    <a:pos x="251" y="201"/>
                  </a:cxn>
                  <a:cxn ang="0">
                    <a:pos x="264" y="189"/>
                  </a:cxn>
                  <a:cxn ang="0">
                    <a:pos x="259" y="183"/>
                  </a:cxn>
                  <a:cxn ang="0">
                    <a:pos x="234" y="179"/>
                  </a:cxn>
                  <a:cxn ang="0">
                    <a:pos x="224" y="171"/>
                  </a:cxn>
                  <a:cxn ang="0">
                    <a:pos x="231" y="168"/>
                  </a:cxn>
                  <a:cxn ang="0">
                    <a:pos x="226" y="163"/>
                  </a:cxn>
                  <a:cxn ang="0">
                    <a:pos x="216" y="164"/>
                  </a:cxn>
                  <a:cxn ang="0">
                    <a:pos x="199" y="176"/>
                  </a:cxn>
                  <a:cxn ang="0">
                    <a:pos x="181" y="194"/>
                  </a:cxn>
                  <a:cxn ang="0">
                    <a:pos x="179" y="204"/>
                  </a:cxn>
                  <a:cxn ang="0">
                    <a:pos x="154" y="204"/>
                  </a:cxn>
                  <a:cxn ang="0">
                    <a:pos x="151" y="191"/>
                  </a:cxn>
                  <a:cxn ang="0">
                    <a:pos x="164" y="171"/>
                  </a:cxn>
                  <a:cxn ang="0">
                    <a:pos x="179" y="164"/>
                  </a:cxn>
                  <a:cxn ang="0">
                    <a:pos x="166" y="146"/>
                  </a:cxn>
                  <a:cxn ang="0">
                    <a:pos x="146" y="121"/>
                  </a:cxn>
                  <a:cxn ang="0">
                    <a:pos x="119" y="116"/>
                  </a:cxn>
                  <a:cxn ang="0">
                    <a:pos x="103" y="113"/>
                  </a:cxn>
                  <a:cxn ang="0">
                    <a:pos x="100" y="128"/>
                  </a:cxn>
                  <a:cxn ang="0">
                    <a:pos x="63" y="138"/>
                  </a:cxn>
                  <a:cxn ang="0">
                    <a:pos x="35" y="131"/>
                  </a:cxn>
                  <a:cxn ang="0">
                    <a:pos x="12" y="126"/>
                  </a:cxn>
                  <a:cxn ang="0">
                    <a:pos x="7" y="100"/>
                  </a:cxn>
                  <a:cxn ang="0">
                    <a:pos x="28" y="66"/>
                  </a:cxn>
                  <a:cxn ang="0">
                    <a:pos x="35" y="50"/>
                  </a:cxn>
                  <a:cxn ang="0">
                    <a:pos x="25" y="25"/>
                  </a:cxn>
                </a:cxnLst>
                <a:rect l="0" t="0" r="r" b="b"/>
                <a:pathLst>
                  <a:path w="399" h="224">
                    <a:moveTo>
                      <a:pt x="25" y="21"/>
                    </a:moveTo>
                    <a:lnTo>
                      <a:pt x="28" y="21"/>
                    </a:lnTo>
                    <a:lnTo>
                      <a:pt x="36" y="25"/>
                    </a:lnTo>
                    <a:lnTo>
                      <a:pt x="41" y="21"/>
                    </a:lnTo>
                    <a:lnTo>
                      <a:pt x="58" y="20"/>
                    </a:lnTo>
                    <a:lnTo>
                      <a:pt x="65" y="20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80" y="20"/>
                    </a:lnTo>
                    <a:lnTo>
                      <a:pt x="93" y="21"/>
                    </a:lnTo>
                    <a:lnTo>
                      <a:pt x="100" y="23"/>
                    </a:lnTo>
                    <a:lnTo>
                      <a:pt x="100" y="26"/>
                    </a:lnTo>
                    <a:lnTo>
                      <a:pt x="108" y="23"/>
                    </a:lnTo>
                    <a:lnTo>
                      <a:pt x="113" y="26"/>
                    </a:lnTo>
                    <a:lnTo>
                      <a:pt x="116" y="26"/>
                    </a:lnTo>
                    <a:lnTo>
                      <a:pt x="118" y="25"/>
                    </a:lnTo>
                    <a:lnTo>
                      <a:pt x="124" y="25"/>
                    </a:lnTo>
                    <a:lnTo>
                      <a:pt x="128" y="26"/>
                    </a:lnTo>
                    <a:lnTo>
                      <a:pt x="136" y="23"/>
                    </a:lnTo>
                    <a:lnTo>
                      <a:pt x="143" y="23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3" y="23"/>
                    </a:lnTo>
                    <a:lnTo>
                      <a:pt x="158" y="23"/>
                    </a:lnTo>
                    <a:lnTo>
                      <a:pt x="161" y="26"/>
                    </a:lnTo>
                    <a:lnTo>
                      <a:pt x="168" y="25"/>
                    </a:lnTo>
                    <a:lnTo>
                      <a:pt x="173" y="28"/>
                    </a:lnTo>
                    <a:lnTo>
                      <a:pt x="178" y="26"/>
                    </a:lnTo>
                    <a:lnTo>
                      <a:pt x="178" y="20"/>
                    </a:lnTo>
                    <a:lnTo>
                      <a:pt x="183" y="12"/>
                    </a:lnTo>
                    <a:lnTo>
                      <a:pt x="189" y="10"/>
                    </a:lnTo>
                    <a:lnTo>
                      <a:pt x="199" y="8"/>
                    </a:lnTo>
                    <a:lnTo>
                      <a:pt x="204" y="8"/>
                    </a:lnTo>
                    <a:lnTo>
                      <a:pt x="209" y="8"/>
                    </a:lnTo>
                    <a:lnTo>
                      <a:pt x="209" y="3"/>
                    </a:lnTo>
                    <a:lnTo>
                      <a:pt x="213" y="0"/>
                    </a:lnTo>
                    <a:lnTo>
                      <a:pt x="224" y="3"/>
                    </a:lnTo>
                    <a:lnTo>
                      <a:pt x="237" y="3"/>
                    </a:lnTo>
                    <a:lnTo>
                      <a:pt x="242" y="2"/>
                    </a:lnTo>
                    <a:lnTo>
                      <a:pt x="249" y="2"/>
                    </a:lnTo>
                    <a:lnTo>
                      <a:pt x="252" y="12"/>
                    </a:lnTo>
                    <a:lnTo>
                      <a:pt x="257" y="15"/>
                    </a:lnTo>
                    <a:lnTo>
                      <a:pt x="254" y="20"/>
                    </a:lnTo>
                    <a:lnTo>
                      <a:pt x="261" y="28"/>
                    </a:lnTo>
                    <a:lnTo>
                      <a:pt x="274" y="26"/>
                    </a:lnTo>
                    <a:lnTo>
                      <a:pt x="279" y="30"/>
                    </a:lnTo>
                    <a:lnTo>
                      <a:pt x="281" y="35"/>
                    </a:lnTo>
                    <a:lnTo>
                      <a:pt x="286" y="35"/>
                    </a:lnTo>
                    <a:lnTo>
                      <a:pt x="286" y="41"/>
                    </a:lnTo>
                    <a:lnTo>
                      <a:pt x="287" y="48"/>
                    </a:lnTo>
                    <a:lnTo>
                      <a:pt x="299" y="58"/>
                    </a:lnTo>
                    <a:lnTo>
                      <a:pt x="302" y="53"/>
                    </a:lnTo>
                    <a:lnTo>
                      <a:pt x="309" y="56"/>
                    </a:lnTo>
                    <a:lnTo>
                      <a:pt x="315" y="55"/>
                    </a:lnTo>
                    <a:lnTo>
                      <a:pt x="320" y="56"/>
                    </a:lnTo>
                    <a:lnTo>
                      <a:pt x="329" y="51"/>
                    </a:lnTo>
                    <a:lnTo>
                      <a:pt x="332" y="50"/>
                    </a:lnTo>
                    <a:lnTo>
                      <a:pt x="337" y="61"/>
                    </a:lnTo>
                    <a:lnTo>
                      <a:pt x="345" y="65"/>
                    </a:lnTo>
                    <a:lnTo>
                      <a:pt x="347" y="70"/>
                    </a:lnTo>
                    <a:lnTo>
                      <a:pt x="350" y="66"/>
                    </a:lnTo>
                    <a:lnTo>
                      <a:pt x="360" y="68"/>
                    </a:lnTo>
                    <a:lnTo>
                      <a:pt x="365" y="68"/>
                    </a:lnTo>
                    <a:lnTo>
                      <a:pt x="370" y="71"/>
                    </a:lnTo>
                    <a:lnTo>
                      <a:pt x="375" y="70"/>
                    </a:lnTo>
                    <a:lnTo>
                      <a:pt x="382" y="73"/>
                    </a:lnTo>
                    <a:lnTo>
                      <a:pt x="390" y="75"/>
                    </a:lnTo>
                    <a:lnTo>
                      <a:pt x="394" y="71"/>
                    </a:lnTo>
                    <a:lnTo>
                      <a:pt x="395" y="76"/>
                    </a:lnTo>
                    <a:lnTo>
                      <a:pt x="399" y="78"/>
                    </a:lnTo>
                    <a:lnTo>
                      <a:pt x="399" y="85"/>
                    </a:lnTo>
                    <a:lnTo>
                      <a:pt x="395" y="90"/>
                    </a:lnTo>
                    <a:lnTo>
                      <a:pt x="390" y="90"/>
                    </a:lnTo>
                    <a:lnTo>
                      <a:pt x="389" y="100"/>
                    </a:lnTo>
                    <a:lnTo>
                      <a:pt x="395" y="105"/>
                    </a:lnTo>
                    <a:lnTo>
                      <a:pt x="397" y="110"/>
                    </a:lnTo>
                    <a:lnTo>
                      <a:pt x="394" y="118"/>
                    </a:lnTo>
                    <a:lnTo>
                      <a:pt x="394" y="124"/>
                    </a:lnTo>
                    <a:lnTo>
                      <a:pt x="390" y="126"/>
                    </a:lnTo>
                    <a:lnTo>
                      <a:pt x="379" y="128"/>
                    </a:lnTo>
                    <a:lnTo>
                      <a:pt x="372" y="134"/>
                    </a:lnTo>
                    <a:lnTo>
                      <a:pt x="370" y="136"/>
                    </a:lnTo>
                    <a:lnTo>
                      <a:pt x="369" y="146"/>
                    </a:lnTo>
                    <a:lnTo>
                      <a:pt x="364" y="148"/>
                    </a:lnTo>
                    <a:lnTo>
                      <a:pt x="364" y="146"/>
                    </a:lnTo>
                    <a:lnTo>
                      <a:pt x="360" y="146"/>
                    </a:lnTo>
                    <a:lnTo>
                      <a:pt x="354" y="148"/>
                    </a:lnTo>
                    <a:lnTo>
                      <a:pt x="349" y="148"/>
                    </a:lnTo>
                    <a:lnTo>
                      <a:pt x="345" y="149"/>
                    </a:lnTo>
                    <a:lnTo>
                      <a:pt x="344" y="153"/>
                    </a:lnTo>
                    <a:lnTo>
                      <a:pt x="339" y="153"/>
                    </a:lnTo>
                    <a:lnTo>
                      <a:pt x="335" y="156"/>
                    </a:lnTo>
                    <a:lnTo>
                      <a:pt x="330" y="161"/>
                    </a:lnTo>
                    <a:lnTo>
                      <a:pt x="329" y="161"/>
                    </a:lnTo>
                    <a:lnTo>
                      <a:pt x="324" y="161"/>
                    </a:lnTo>
                    <a:lnTo>
                      <a:pt x="319" y="164"/>
                    </a:lnTo>
                    <a:lnTo>
                      <a:pt x="314" y="163"/>
                    </a:lnTo>
                    <a:lnTo>
                      <a:pt x="309" y="166"/>
                    </a:lnTo>
                    <a:lnTo>
                      <a:pt x="306" y="166"/>
                    </a:lnTo>
                    <a:lnTo>
                      <a:pt x="302" y="161"/>
                    </a:lnTo>
                    <a:lnTo>
                      <a:pt x="301" y="161"/>
                    </a:lnTo>
                    <a:lnTo>
                      <a:pt x="301" y="163"/>
                    </a:lnTo>
                    <a:lnTo>
                      <a:pt x="304" y="166"/>
                    </a:lnTo>
                    <a:lnTo>
                      <a:pt x="302" y="169"/>
                    </a:lnTo>
                    <a:lnTo>
                      <a:pt x="297" y="176"/>
                    </a:lnTo>
                    <a:lnTo>
                      <a:pt x="296" y="178"/>
                    </a:lnTo>
                    <a:lnTo>
                      <a:pt x="294" y="176"/>
                    </a:lnTo>
                    <a:lnTo>
                      <a:pt x="296" y="174"/>
                    </a:lnTo>
                    <a:lnTo>
                      <a:pt x="301" y="169"/>
                    </a:lnTo>
                    <a:lnTo>
                      <a:pt x="299" y="168"/>
                    </a:lnTo>
                    <a:lnTo>
                      <a:pt x="297" y="166"/>
                    </a:lnTo>
                    <a:lnTo>
                      <a:pt x="296" y="169"/>
                    </a:lnTo>
                    <a:lnTo>
                      <a:pt x="289" y="176"/>
                    </a:lnTo>
                    <a:lnTo>
                      <a:pt x="284" y="176"/>
                    </a:lnTo>
                    <a:lnTo>
                      <a:pt x="284" y="179"/>
                    </a:lnTo>
                    <a:lnTo>
                      <a:pt x="279" y="179"/>
                    </a:lnTo>
                    <a:lnTo>
                      <a:pt x="276" y="176"/>
                    </a:lnTo>
                    <a:lnTo>
                      <a:pt x="272" y="179"/>
                    </a:lnTo>
                    <a:lnTo>
                      <a:pt x="267" y="178"/>
                    </a:lnTo>
                    <a:lnTo>
                      <a:pt x="266" y="179"/>
                    </a:lnTo>
                    <a:lnTo>
                      <a:pt x="269" y="183"/>
                    </a:lnTo>
                    <a:lnTo>
                      <a:pt x="277" y="181"/>
                    </a:lnTo>
                    <a:lnTo>
                      <a:pt x="279" y="184"/>
                    </a:lnTo>
                    <a:lnTo>
                      <a:pt x="282" y="186"/>
                    </a:lnTo>
                    <a:lnTo>
                      <a:pt x="286" y="186"/>
                    </a:lnTo>
                    <a:lnTo>
                      <a:pt x="287" y="188"/>
                    </a:lnTo>
                    <a:lnTo>
                      <a:pt x="284" y="189"/>
                    </a:lnTo>
                    <a:lnTo>
                      <a:pt x="286" y="193"/>
                    </a:lnTo>
                    <a:lnTo>
                      <a:pt x="287" y="191"/>
                    </a:lnTo>
                    <a:lnTo>
                      <a:pt x="289" y="191"/>
                    </a:lnTo>
                    <a:lnTo>
                      <a:pt x="289" y="194"/>
                    </a:lnTo>
                    <a:lnTo>
                      <a:pt x="292" y="191"/>
                    </a:lnTo>
                    <a:lnTo>
                      <a:pt x="294" y="193"/>
                    </a:lnTo>
                    <a:lnTo>
                      <a:pt x="296" y="198"/>
                    </a:lnTo>
                    <a:lnTo>
                      <a:pt x="297" y="201"/>
                    </a:lnTo>
                    <a:lnTo>
                      <a:pt x="304" y="203"/>
                    </a:lnTo>
                    <a:lnTo>
                      <a:pt x="306" y="201"/>
                    </a:lnTo>
                    <a:lnTo>
                      <a:pt x="297" y="194"/>
                    </a:lnTo>
                    <a:lnTo>
                      <a:pt x="289" y="184"/>
                    </a:lnTo>
                    <a:lnTo>
                      <a:pt x="287" y="179"/>
                    </a:lnTo>
                    <a:lnTo>
                      <a:pt x="289" y="178"/>
                    </a:lnTo>
                    <a:lnTo>
                      <a:pt x="292" y="183"/>
                    </a:lnTo>
                    <a:lnTo>
                      <a:pt x="294" y="189"/>
                    </a:lnTo>
                    <a:lnTo>
                      <a:pt x="306" y="201"/>
                    </a:lnTo>
                    <a:lnTo>
                      <a:pt x="309" y="201"/>
                    </a:lnTo>
                    <a:lnTo>
                      <a:pt x="312" y="198"/>
                    </a:lnTo>
                    <a:lnTo>
                      <a:pt x="315" y="198"/>
                    </a:lnTo>
                    <a:lnTo>
                      <a:pt x="320" y="199"/>
                    </a:lnTo>
                    <a:lnTo>
                      <a:pt x="322" y="196"/>
                    </a:lnTo>
                    <a:lnTo>
                      <a:pt x="330" y="194"/>
                    </a:lnTo>
                    <a:lnTo>
                      <a:pt x="335" y="194"/>
                    </a:lnTo>
                    <a:lnTo>
                      <a:pt x="334" y="198"/>
                    </a:lnTo>
                    <a:lnTo>
                      <a:pt x="332" y="199"/>
                    </a:lnTo>
                    <a:lnTo>
                      <a:pt x="334" y="203"/>
                    </a:lnTo>
                    <a:lnTo>
                      <a:pt x="330" y="206"/>
                    </a:lnTo>
                    <a:lnTo>
                      <a:pt x="324" y="208"/>
                    </a:lnTo>
                    <a:lnTo>
                      <a:pt x="314" y="206"/>
                    </a:lnTo>
                    <a:lnTo>
                      <a:pt x="307" y="209"/>
                    </a:lnTo>
                    <a:lnTo>
                      <a:pt x="304" y="214"/>
                    </a:lnTo>
                    <a:lnTo>
                      <a:pt x="296" y="214"/>
                    </a:lnTo>
                    <a:lnTo>
                      <a:pt x="284" y="221"/>
                    </a:lnTo>
                    <a:lnTo>
                      <a:pt x="276" y="224"/>
                    </a:lnTo>
                    <a:lnTo>
                      <a:pt x="267" y="224"/>
                    </a:lnTo>
                    <a:lnTo>
                      <a:pt x="264" y="221"/>
                    </a:lnTo>
                    <a:lnTo>
                      <a:pt x="264" y="219"/>
                    </a:lnTo>
                    <a:lnTo>
                      <a:pt x="267" y="213"/>
                    </a:lnTo>
                    <a:lnTo>
                      <a:pt x="267" y="209"/>
                    </a:lnTo>
                    <a:lnTo>
                      <a:pt x="259" y="203"/>
                    </a:lnTo>
                    <a:lnTo>
                      <a:pt x="257" y="204"/>
                    </a:lnTo>
                    <a:lnTo>
                      <a:pt x="251" y="201"/>
                    </a:lnTo>
                    <a:lnTo>
                      <a:pt x="247" y="204"/>
                    </a:lnTo>
                    <a:lnTo>
                      <a:pt x="244" y="203"/>
                    </a:lnTo>
                    <a:lnTo>
                      <a:pt x="249" y="196"/>
                    </a:lnTo>
                    <a:lnTo>
                      <a:pt x="257" y="191"/>
                    </a:lnTo>
                    <a:lnTo>
                      <a:pt x="264" y="189"/>
                    </a:lnTo>
                    <a:lnTo>
                      <a:pt x="267" y="188"/>
                    </a:lnTo>
                    <a:lnTo>
                      <a:pt x="264" y="186"/>
                    </a:lnTo>
                    <a:lnTo>
                      <a:pt x="262" y="179"/>
                    </a:lnTo>
                    <a:lnTo>
                      <a:pt x="261" y="179"/>
                    </a:lnTo>
                    <a:lnTo>
                      <a:pt x="259" y="183"/>
                    </a:lnTo>
                    <a:lnTo>
                      <a:pt x="254" y="179"/>
                    </a:lnTo>
                    <a:lnTo>
                      <a:pt x="249" y="178"/>
                    </a:lnTo>
                    <a:lnTo>
                      <a:pt x="244" y="179"/>
                    </a:lnTo>
                    <a:lnTo>
                      <a:pt x="239" y="181"/>
                    </a:lnTo>
                    <a:lnTo>
                      <a:pt x="234" y="179"/>
                    </a:lnTo>
                    <a:lnTo>
                      <a:pt x="231" y="179"/>
                    </a:lnTo>
                    <a:lnTo>
                      <a:pt x="227" y="176"/>
                    </a:lnTo>
                    <a:lnTo>
                      <a:pt x="229" y="174"/>
                    </a:lnTo>
                    <a:lnTo>
                      <a:pt x="231" y="173"/>
                    </a:lnTo>
                    <a:lnTo>
                      <a:pt x="224" y="171"/>
                    </a:lnTo>
                    <a:lnTo>
                      <a:pt x="214" y="171"/>
                    </a:lnTo>
                    <a:lnTo>
                      <a:pt x="213" y="168"/>
                    </a:lnTo>
                    <a:lnTo>
                      <a:pt x="217" y="168"/>
                    </a:lnTo>
                    <a:lnTo>
                      <a:pt x="226" y="168"/>
                    </a:lnTo>
                    <a:lnTo>
                      <a:pt x="231" y="168"/>
                    </a:lnTo>
                    <a:lnTo>
                      <a:pt x="234" y="166"/>
                    </a:lnTo>
                    <a:lnTo>
                      <a:pt x="239" y="164"/>
                    </a:lnTo>
                    <a:lnTo>
                      <a:pt x="232" y="166"/>
                    </a:lnTo>
                    <a:lnTo>
                      <a:pt x="227" y="164"/>
                    </a:lnTo>
                    <a:lnTo>
                      <a:pt x="226" y="163"/>
                    </a:lnTo>
                    <a:lnTo>
                      <a:pt x="224" y="159"/>
                    </a:lnTo>
                    <a:lnTo>
                      <a:pt x="221" y="163"/>
                    </a:lnTo>
                    <a:lnTo>
                      <a:pt x="219" y="166"/>
                    </a:lnTo>
                    <a:lnTo>
                      <a:pt x="216" y="166"/>
                    </a:lnTo>
                    <a:lnTo>
                      <a:pt x="216" y="164"/>
                    </a:lnTo>
                    <a:lnTo>
                      <a:pt x="213" y="161"/>
                    </a:lnTo>
                    <a:lnTo>
                      <a:pt x="208" y="168"/>
                    </a:lnTo>
                    <a:lnTo>
                      <a:pt x="203" y="168"/>
                    </a:lnTo>
                    <a:lnTo>
                      <a:pt x="199" y="169"/>
                    </a:lnTo>
                    <a:lnTo>
                      <a:pt x="199" y="176"/>
                    </a:lnTo>
                    <a:lnTo>
                      <a:pt x="194" y="181"/>
                    </a:lnTo>
                    <a:lnTo>
                      <a:pt x="191" y="181"/>
                    </a:lnTo>
                    <a:lnTo>
                      <a:pt x="193" y="184"/>
                    </a:lnTo>
                    <a:lnTo>
                      <a:pt x="183" y="194"/>
                    </a:lnTo>
                    <a:lnTo>
                      <a:pt x="181" y="194"/>
                    </a:lnTo>
                    <a:lnTo>
                      <a:pt x="178" y="191"/>
                    </a:lnTo>
                    <a:lnTo>
                      <a:pt x="178" y="194"/>
                    </a:lnTo>
                    <a:lnTo>
                      <a:pt x="178" y="198"/>
                    </a:lnTo>
                    <a:lnTo>
                      <a:pt x="179" y="199"/>
                    </a:lnTo>
                    <a:lnTo>
                      <a:pt x="179" y="204"/>
                    </a:lnTo>
                    <a:lnTo>
                      <a:pt x="179" y="204"/>
                    </a:lnTo>
                    <a:lnTo>
                      <a:pt x="174" y="201"/>
                    </a:lnTo>
                    <a:lnTo>
                      <a:pt x="168" y="201"/>
                    </a:lnTo>
                    <a:lnTo>
                      <a:pt x="163" y="204"/>
                    </a:lnTo>
                    <a:lnTo>
                      <a:pt x="154" y="204"/>
                    </a:lnTo>
                    <a:lnTo>
                      <a:pt x="148" y="203"/>
                    </a:lnTo>
                    <a:lnTo>
                      <a:pt x="144" y="196"/>
                    </a:lnTo>
                    <a:lnTo>
                      <a:pt x="148" y="194"/>
                    </a:lnTo>
                    <a:lnTo>
                      <a:pt x="151" y="194"/>
                    </a:lnTo>
                    <a:lnTo>
                      <a:pt x="151" y="191"/>
                    </a:lnTo>
                    <a:lnTo>
                      <a:pt x="156" y="184"/>
                    </a:lnTo>
                    <a:lnTo>
                      <a:pt x="159" y="184"/>
                    </a:lnTo>
                    <a:lnTo>
                      <a:pt x="158" y="178"/>
                    </a:lnTo>
                    <a:lnTo>
                      <a:pt x="159" y="171"/>
                    </a:lnTo>
                    <a:lnTo>
                      <a:pt x="164" y="171"/>
                    </a:lnTo>
                    <a:lnTo>
                      <a:pt x="169" y="169"/>
                    </a:lnTo>
                    <a:lnTo>
                      <a:pt x="174" y="171"/>
                    </a:lnTo>
                    <a:lnTo>
                      <a:pt x="181" y="171"/>
                    </a:lnTo>
                    <a:lnTo>
                      <a:pt x="183" y="169"/>
                    </a:lnTo>
                    <a:lnTo>
                      <a:pt x="179" y="164"/>
                    </a:lnTo>
                    <a:lnTo>
                      <a:pt x="179" y="161"/>
                    </a:lnTo>
                    <a:lnTo>
                      <a:pt x="179" y="158"/>
                    </a:lnTo>
                    <a:lnTo>
                      <a:pt x="173" y="154"/>
                    </a:lnTo>
                    <a:lnTo>
                      <a:pt x="166" y="149"/>
                    </a:lnTo>
                    <a:lnTo>
                      <a:pt x="166" y="146"/>
                    </a:lnTo>
                    <a:lnTo>
                      <a:pt x="159" y="144"/>
                    </a:lnTo>
                    <a:lnTo>
                      <a:pt x="161" y="139"/>
                    </a:lnTo>
                    <a:lnTo>
                      <a:pt x="159" y="131"/>
                    </a:lnTo>
                    <a:lnTo>
                      <a:pt x="153" y="128"/>
                    </a:lnTo>
                    <a:lnTo>
                      <a:pt x="146" y="121"/>
                    </a:lnTo>
                    <a:lnTo>
                      <a:pt x="143" y="121"/>
                    </a:lnTo>
                    <a:lnTo>
                      <a:pt x="141" y="124"/>
                    </a:lnTo>
                    <a:lnTo>
                      <a:pt x="134" y="123"/>
                    </a:lnTo>
                    <a:lnTo>
                      <a:pt x="126" y="116"/>
                    </a:lnTo>
                    <a:lnTo>
                      <a:pt x="119" y="116"/>
                    </a:lnTo>
                    <a:lnTo>
                      <a:pt x="116" y="111"/>
                    </a:lnTo>
                    <a:lnTo>
                      <a:pt x="114" y="113"/>
                    </a:lnTo>
                    <a:lnTo>
                      <a:pt x="110" y="113"/>
                    </a:lnTo>
                    <a:lnTo>
                      <a:pt x="108" y="116"/>
                    </a:lnTo>
                    <a:lnTo>
                      <a:pt x="103" y="113"/>
                    </a:lnTo>
                    <a:lnTo>
                      <a:pt x="103" y="115"/>
                    </a:lnTo>
                    <a:lnTo>
                      <a:pt x="98" y="113"/>
                    </a:lnTo>
                    <a:lnTo>
                      <a:pt x="100" y="119"/>
                    </a:lnTo>
                    <a:lnTo>
                      <a:pt x="98" y="121"/>
                    </a:lnTo>
                    <a:lnTo>
                      <a:pt x="100" y="128"/>
                    </a:lnTo>
                    <a:lnTo>
                      <a:pt x="95" y="128"/>
                    </a:lnTo>
                    <a:lnTo>
                      <a:pt x="88" y="131"/>
                    </a:lnTo>
                    <a:lnTo>
                      <a:pt x="71" y="134"/>
                    </a:lnTo>
                    <a:lnTo>
                      <a:pt x="68" y="138"/>
                    </a:lnTo>
                    <a:lnTo>
                      <a:pt x="63" y="138"/>
                    </a:lnTo>
                    <a:lnTo>
                      <a:pt x="55" y="141"/>
                    </a:lnTo>
                    <a:lnTo>
                      <a:pt x="50" y="138"/>
                    </a:lnTo>
                    <a:lnTo>
                      <a:pt x="48" y="134"/>
                    </a:lnTo>
                    <a:lnTo>
                      <a:pt x="41" y="133"/>
                    </a:lnTo>
                    <a:lnTo>
                      <a:pt x="35" y="131"/>
                    </a:lnTo>
                    <a:lnTo>
                      <a:pt x="26" y="128"/>
                    </a:lnTo>
                    <a:lnTo>
                      <a:pt x="21" y="128"/>
                    </a:lnTo>
                    <a:lnTo>
                      <a:pt x="18" y="129"/>
                    </a:lnTo>
                    <a:lnTo>
                      <a:pt x="13" y="129"/>
                    </a:lnTo>
                    <a:lnTo>
                      <a:pt x="12" y="126"/>
                    </a:lnTo>
                    <a:lnTo>
                      <a:pt x="5" y="123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2" y="110"/>
                    </a:lnTo>
                    <a:lnTo>
                      <a:pt x="7" y="100"/>
                    </a:lnTo>
                    <a:lnTo>
                      <a:pt x="12" y="100"/>
                    </a:lnTo>
                    <a:lnTo>
                      <a:pt x="12" y="93"/>
                    </a:lnTo>
                    <a:lnTo>
                      <a:pt x="12" y="88"/>
                    </a:lnTo>
                    <a:lnTo>
                      <a:pt x="26" y="73"/>
                    </a:lnTo>
                    <a:lnTo>
                      <a:pt x="28" y="66"/>
                    </a:lnTo>
                    <a:lnTo>
                      <a:pt x="31" y="63"/>
                    </a:lnTo>
                    <a:lnTo>
                      <a:pt x="35" y="63"/>
                    </a:lnTo>
                    <a:lnTo>
                      <a:pt x="36" y="56"/>
                    </a:lnTo>
                    <a:lnTo>
                      <a:pt x="35" y="53"/>
                    </a:lnTo>
                    <a:lnTo>
                      <a:pt x="35" y="50"/>
                    </a:lnTo>
                    <a:lnTo>
                      <a:pt x="36" y="48"/>
                    </a:lnTo>
                    <a:lnTo>
                      <a:pt x="30" y="45"/>
                    </a:lnTo>
                    <a:lnTo>
                      <a:pt x="28" y="38"/>
                    </a:lnTo>
                    <a:lnTo>
                      <a:pt x="25" y="35"/>
                    </a:lnTo>
                    <a:lnTo>
                      <a:pt x="25" y="25"/>
                    </a:lnTo>
                    <a:lnTo>
                      <a:pt x="25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7" name="Freeform 41">
                <a:extLst>
                  <a:ext uri="{FF2B5EF4-FFF2-40B4-BE49-F238E27FC236}">
                    <a16:creationId xmlns:a16="http://schemas.microsoft.com/office/drawing/2014/main" id="{333E46B7-F57E-C649-850D-03189873A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527" y="2662725"/>
                <a:ext cx="46020" cy="43579"/>
              </a:xfrm>
              <a:custGeom>
                <a:avLst/>
                <a:gdLst/>
                <a:ahLst/>
                <a:cxnLst>
                  <a:cxn ang="0">
                    <a:pos x="2" y="17"/>
                  </a:cxn>
                  <a:cxn ang="0">
                    <a:pos x="0" y="10"/>
                  </a:cxn>
                  <a:cxn ang="0">
                    <a:pos x="2" y="8"/>
                  </a:cxn>
                  <a:cxn ang="0">
                    <a:pos x="0" y="2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10" y="5"/>
                  </a:cxn>
                  <a:cxn ang="0">
                    <a:pos x="12" y="2"/>
                  </a:cxn>
                  <a:cxn ang="0">
                    <a:pos x="16" y="2"/>
                  </a:cxn>
                  <a:cxn ang="0">
                    <a:pos x="18" y="0"/>
                  </a:cxn>
                  <a:cxn ang="0">
                    <a:pos x="21" y="5"/>
                  </a:cxn>
                  <a:cxn ang="0">
                    <a:pos x="28" y="5"/>
                  </a:cxn>
                  <a:cxn ang="0">
                    <a:pos x="36" y="12"/>
                  </a:cxn>
                  <a:cxn ang="0">
                    <a:pos x="43" y="13"/>
                  </a:cxn>
                  <a:cxn ang="0">
                    <a:pos x="45" y="10"/>
                  </a:cxn>
                  <a:cxn ang="0">
                    <a:pos x="48" y="10"/>
                  </a:cxn>
                  <a:cxn ang="0">
                    <a:pos x="55" y="17"/>
                  </a:cxn>
                  <a:cxn ang="0">
                    <a:pos x="61" y="20"/>
                  </a:cxn>
                  <a:cxn ang="0">
                    <a:pos x="63" y="28"/>
                  </a:cxn>
                  <a:cxn ang="0">
                    <a:pos x="61" y="33"/>
                  </a:cxn>
                  <a:cxn ang="0">
                    <a:pos x="68" y="35"/>
                  </a:cxn>
                  <a:cxn ang="0">
                    <a:pos x="68" y="38"/>
                  </a:cxn>
                  <a:cxn ang="0">
                    <a:pos x="75" y="43"/>
                  </a:cxn>
                  <a:cxn ang="0">
                    <a:pos x="81" y="47"/>
                  </a:cxn>
                  <a:cxn ang="0">
                    <a:pos x="81" y="50"/>
                  </a:cxn>
                  <a:cxn ang="0">
                    <a:pos x="81" y="53"/>
                  </a:cxn>
                  <a:cxn ang="0">
                    <a:pos x="85" y="58"/>
                  </a:cxn>
                  <a:cxn ang="0">
                    <a:pos x="83" y="60"/>
                  </a:cxn>
                  <a:cxn ang="0">
                    <a:pos x="76" y="60"/>
                  </a:cxn>
                  <a:cxn ang="0">
                    <a:pos x="71" y="58"/>
                  </a:cxn>
                  <a:cxn ang="0">
                    <a:pos x="66" y="60"/>
                  </a:cxn>
                  <a:cxn ang="0">
                    <a:pos x="61" y="60"/>
                  </a:cxn>
                  <a:cxn ang="0">
                    <a:pos x="60" y="67"/>
                  </a:cxn>
                  <a:cxn ang="0">
                    <a:pos x="61" y="73"/>
                  </a:cxn>
                  <a:cxn ang="0">
                    <a:pos x="58" y="73"/>
                  </a:cxn>
                  <a:cxn ang="0">
                    <a:pos x="53" y="80"/>
                  </a:cxn>
                  <a:cxn ang="0">
                    <a:pos x="53" y="83"/>
                  </a:cxn>
                  <a:cxn ang="0">
                    <a:pos x="50" y="83"/>
                  </a:cxn>
                  <a:cxn ang="0">
                    <a:pos x="46" y="85"/>
                  </a:cxn>
                  <a:cxn ang="0">
                    <a:pos x="46" y="85"/>
                  </a:cxn>
                  <a:cxn ang="0">
                    <a:pos x="43" y="78"/>
                  </a:cxn>
                  <a:cxn ang="0">
                    <a:pos x="43" y="58"/>
                  </a:cxn>
                  <a:cxn ang="0">
                    <a:pos x="40" y="52"/>
                  </a:cxn>
                  <a:cxn ang="0">
                    <a:pos x="38" y="47"/>
                  </a:cxn>
                  <a:cxn ang="0">
                    <a:pos x="25" y="37"/>
                  </a:cxn>
                  <a:cxn ang="0">
                    <a:pos x="23" y="32"/>
                  </a:cxn>
                  <a:cxn ang="0">
                    <a:pos x="13" y="25"/>
                  </a:cxn>
                  <a:cxn ang="0">
                    <a:pos x="12" y="15"/>
                  </a:cxn>
                  <a:cxn ang="0">
                    <a:pos x="2" y="17"/>
                  </a:cxn>
                </a:cxnLst>
                <a:rect l="0" t="0" r="r" b="b"/>
                <a:pathLst>
                  <a:path w="85" h="85">
                    <a:moveTo>
                      <a:pt x="2" y="17"/>
                    </a:moveTo>
                    <a:lnTo>
                      <a:pt x="0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10" y="5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18" y="0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6" y="12"/>
                    </a:lnTo>
                    <a:lnTo>
                      <a:pt x="43" y="13"/>
                    </a:lnTo>
                    <a:lnTo>
                      <a:pt x="45" y="10"/>
                    </a:lnTo>
                    <a:lnTo>
                      <a:pt x="48" y="10"/>
                    </a:lnTo>
                    <a:lnTo>
                      <a:pt x="55" y="17"/>
                    </a:lnTo>
                    <a:lnTo>
                      <a:pt x="61" y="20"/>
                    </a:lnTo>
                    <a:lnTo>
                      <a:pt x="63" y="28"/>
                    </a:lnTo>
                    <a:lnTo>
                      <a:pt x="61" y="33"/>
                    </a:lnTo>
                    <a:lnTo>
                      <a:pt x="68" y="35"/>
                    </a:lnTo>
                    <a:lnTo>
                      <a:pt x="68" y="38"/>
                    </a:lnTo>
                    <a:lnTo>
                      <a:pt x="75" y="43"/>
                    </a:lnTo>
                    <a:lnTo>
                      <a:pt x="81" y="47"/>
                    </a:lnTo>
                    <a:lnTo>
                      <a:pt x="81" y="50"/>
                    </a:lnTo>
                    <a:lnTo>
                      <a:pt x="81" y="53"/>
                    </a:lnTo>
                    <a:lnTo>
                      <a:pt x="85" y="58"/>
                    </a:lnTo>
                    <a:lnTo>
                      <a:pt x="83" y="60"/>
                    </a:lnTo>
                    <a:lnTo>
                      <a:pt x="76" y="60"/>
                    </a:lnTo>
                    <a:lnTo>
                      <a:pt x="71" y="58"/>
                    </a:lnTo>
                    <a:lnTo>
                      <a:pt x="66" y="60"/>
                    </a:lnTo>
                    <a:lnTo>
                      <a:pt x="61" y="60"/>
                    </a:lnTo>
                    <a:lnTo>
                      <a:pt x="60" y="67"/>
                    </a:lnTo>
                    <a:lnTo>
                      <a:pt x="61" y="73"/>
                    </a:lnTo>
                    <a:lnTo>
                      <a:pt x="58" y="73"/>
                    </a:lnTo>
                    <a:lnTo>
                      <a:pt x="53" y="80"/>
                    </a:lnTo>
                    <a:lnTo>
                      <a:pt x="53" y="83"/>
                    </a:lnTo>
                    <a:lnTo>
                      <a:pt x="50" y="83"/>
                    </a:lnTo>
                    <a:lnTo>
                      <a:pt x="46" y="85"/>
                    </a:lnTo>
                    <a:lnTo>
                      <a:pt x="46" y="85"/>
                    </a:lnTo>
                    <a:lnTo>
                      <a:pt x="43" y="78"/>
                    </a:lnTo>
                    <a:lnTo>
                      <a:pt x="43" y="58"/>
                    </a:lnTo>
                    <a:lnTo>
                      <a:pt x="40" y="52"/>
                    </a:lnTo>
                    <a:lnTo>
                      <a:pt x="38" y="47"/>
                    </a:lnTo>
                    <a:lnTo>
                      <a:pt x="25" y="37"/>
                    </a:lnTo>
                    <a:lnTo>
                      <a:pt x="23" y="32"/>
                    </a:lnTo>
                    <a:lnTo>
                      <a:pt x="13" y="25"/>
                    </a:lnTo>
                    <a:lnTo>
                      <a:pt x="12" y="15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8" name="Freeform 42">
                <a:extLst>
                  <a:ext uri="{FF2B5EF4-FFF2-40B4-BE49-F238E27FC236}">
                    <a16:creationId xmlns:a16="http://schemas.microsoft.com/office/drawing/2014/main" id="{45AC5714-7324-7B47-A212-D591D7349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6891" y="2671026"/>
                <a:ext cx="114516" cy="63293"/>
              </a:xfrm>
              <a:custGeom>
                <a:avLst/>
                <a:gdLst/>
                <a:ahLst/>
                <a:cxnLst>
                  <a:cxn ang="0">
                    <a:pos x="53" y="3"/>
                  </a:cxn>
                  <a:cxn ang="0">
                    <a:pos x="61" y="2"/>
                  </a:cxn>
                  <a:cxn ang="0">
                    <a:pos x="76" y="7"/>
                  </a:cxn>
                  <a:cxn ang="0">
                    <a:pos x="85" y="12"/>
                  </a:cxn>
                  <a:cxn ang="0">
                    <a:pos x="98" y="12"/>
                  </a:cxn>
                  <a:cxn ang="0">
                    <a:pos x="106" y="8"/>
                  </a:cxn>
                  <a:cxn ang="0">
                    <a:pos x="130" y="2"/>
                  </a:cxn>
                  <a:cxn ang="0">
                    <a:pos x="146" y="10"/>
                  </a:cxn>
                  <a:cxn ang="0">
                    <a:pos x="158" y="22"/>
                  </a:cxn>
                  <a:cxn ang="0">
                    <a:pos x="173" y="37"/>
                  </a:cxn>
                  <a:cxn ang="0">
                    <a:pos x="176" y="63"/>
                  </a:cxn>
                  <a:cxn ang="0">
                    <a:pos x="183" y="77"/>
                  </a:cxn>
                  <a:cxn ang="0">
                    <a:pos x="198" y="78"/>
                  </a:cxn>
                  <a:cxn ang="0">
                    <a:pos x="209" y="75"/>
                  </a:cxn>
                  <a:cxn ang="0">
                    <a:pos x="211" y="80"/>
                  </a:cxn>
                  <a:cxn ang="0">
                    <a:pos x="214" y="85"/>
                  </a:cxn>
                  <a:cxn ang="0">
                    <a:pos x="206" y="91"/>
                  </a:cxn>
                  <a:cxn ang="0">
                    <a:pos x="196" y="96"/>
                  </a:cxn>
                  <a:cxn ang="0">
                    <a:pos x="194" y="103"/>
                  </a:cxn>
                  <a:cxn ang="0">
                    <a:pos x="191" y="113"/>
                  </a:cxn>
                  <a:cxn ang="0">
                    <a:pos x="188" y="118"/>
                  </a:cxn>
                  <a:cxn ang="0">
                    <a:pos x="181" y="113"/>
                  </a:cxn>
                  <a:cxn ang="0">
                    <a:pos x="173" y="113"/>
                  </a:cxn>
                  <a:cxn ang="0">
                    <a:pos x="158" y="110"/>
                  </a:cxn>
                  <a:cxn ang="0">
                    <a:pos x="138" y="116"/>
                  </a:cxn>
                  <a:cxn ang="0">
                    <a:pos x="130" y="121"/>
                  </a:cxn>
                  <a:cxn ang="0">
                    <a:pos x="116" y="121"/>
                  </a:cxn>
                  <a:cxn ang="0">
                    <a:pos x="108" y="120"/>
                  </a:cxn>
                  <a:cxn ang="0">
                    <a:pos x="100" y="120"/>
                  </a:cxn>
                  <a:cxn ang="0">
                    <a:pos x="83" y="121"/>
                  </a:cxn>
                  <a:cxn ang="0">
                    <a:pos x="78" y="118"/>
                  </a:cxn>
                  <a:cxn ang="0">
                    <a:pos x="66" y="121"/>
                  </a:cxn>
                  <a:cxn ang="0">
                    <a:pos x="65" y="116"/>
                  </a:cxn>
                  <a:cxn ang="0">
                    <a:pos x="63" y="110"/>
                  </a:cxn>
                  <a:cxn ang="0">
                    <a:pos x="55" y="105"/>
                  </a:cxn>
                  <a:cxn ang="0">
                    <a:pos x="58" y="96"/>
                  </a:cxn>
                  <a:cxn ang="0">
                    <a:pos x="45" y="100"/>
                  </a:cxn>
                  <a:cxn ang="0">
                    <a:pos x="37" y="100"/>
                  </a:cxn>
                  <a:cxn ang="0">
                    <a:pos x="27" y="93"/>
                  </a:cxn>
                  <a:cxn ang="0">
                    <a:pos x="28" y="85"/>
                  </a:cxn>
                  <a:cxn ang="0">
                    <a:pos x="15" y="78"/>
                  </a:cxn>
                  <a:cxn ang="0">
                    <a:pos x="7" y="67"/>
                  </a:cxn>
                  <a:cxn ang="0">
                    <a:pos x="0" y="62"/>
                  </a:cxn>
                  <a:cxn ang="0">
                    <a:pos x="10" y="57"/>
                  </a:cxn>
                  <a:cxn ang="0">
                    <a:pos x="18" y="53"/>
                  </a:cxn>
                  <a:cxn ang="0">
                    <a:pos x="22" y="45"/>
                  </a:cxn>
                  <a:cxn ang="0">
                    <a:pos x="35" y="20"/>
                  </a:cxn>
                  <a:cxn ang="0">
                    <a:pos x="47" y="10"/>
                  </a:cxn>
                  <a:cxn ang="0">
                    <a:pos x="48" y="3"/>
                  </a:cxn>
                </a:cxnLst>
                <a:rect l="0" t="0" r="r" b="b"/>
                <a:pathLst>
                  <a:path w="214" h="123">
                    <a:moveTo>
                      <a:pt x="48" y="3"/>
                    </a:moveTo>
                    <a:lnTo>
                      <a:pt x="53" y="3"/>
                    </a:lnTo>
                    <a:lnTo>
                      <a:pt x="56" y="2"/>
                    </a:lnTo>
                    <a:lnTo>
                      <a:pt x="61" y="2"/>
                    </a:lnTo>
                    <a:lnTo>
                      <a:pt x="70" y="5"/>
                    </a:lnTo>
                    <a:lnTo>
                      <a:pt x="76" y="7"/>
                    </a:lnTo>
                    <a:lnTo>
                      <a:pt x="83" y="8"/>
                    </a:lnTo>
                    <a:lnTo>
                      <a:pt x="85" y="12"/>
                    </a:lnTo>
                    <a:lnTo>
                      <a:pt x="90" y="15"/>
                    </a:lnTo>
                    <a:lnTo>
                      <a:pt x="98" y="12"/>
                    </a:lnTo>
                    <a:lnTo>
                      <a:pt x="103" y="12"/>
                    </a:lnTo>
                    <a:lnTo>
                      <a:pt x="106" y="8"/>
                    </a:lnTo>
                    <a:lnTo>
                      <a:pt x="123" y="5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146" y="10"/>
                    </a:lnTo>
                    <a:lnTo>
                      <a:pt x="156" y="17"/>
                    </a:lnTo>
                    <a:lnTo>
                      <a:pt x="158" y="22"/>
                    </a:lnTo>
                    <a:lnTo>
                      <a:pt x="171" y="32"/>
                    </a:lnTo>
                    <a:lnTo>
                      <a:pt x="173" y="37"/>
                    </a:lnTo>
                    <a:lnTo>
                      <a:pt x="176" y="43"/>
                    </a:lnTo>
                    <a:lnTo>
                      <a:pt x="176" y="63"/>
                    </a:lnTo>
                    <a:lnTo>
                      <a:pt x="179" y="70"/>
                    </a:lnTo>
                    <a:lnTo>
                      <a:pt x="183" y="77"/>
                    </a:lnTo>
                    <a:lnTo>
                      <a:pt x="189" y="78"/>
                    </a:lnTo>
                    <a:lnTo>
                      <a:pt x="198" y="78"/>
                    </a:lnTo>
                    <a:lnTo>
                      <a:pt x="203" y="75"/>
                    </a:lnTo>
                    <a:lnTo>
                      <a:pt x="209" y="75"/>
                    </a:lnTo>
                    <a:lnTo>
                      <a:pt x="214" y="78"/>
                    </a:lnTo>
                    <a:lnTo>
                      <a:pt x="211" y="80"/>
                    </a:lnTo>
                    <a:lnTo>
                      <a:pt x="214" y="82"/>
                    </a:lnTo>
                    <a:lnTo>
                      <a:pt x="214" y="85"/>
                    </a:lnTo>
                    <a:lnTo>
                      <a:pt x="211" y="90"/>
                    </a:lnTo>
                    <a:lnTo>
                      <a:pt x="206" y="91"/>
                    </a:lnTo>
                    <a:lnTo>
                      <a:pt x="198" y="91"/>
                    </a:lnTo>
                    <a:lnTo>
                      <a:pt x="196" y="96"/>
                    </a:lnTo>
                    <a:lnTo>
                      <a:pt x="193" y="100"/>
                    </a:lnTo>
                    <a:lnTo>
                      <a:pt x="194" y="103"/>
                    </a:lnTo>
                    <a:lnTo>
                      <a:pt x="194" y="110"/>
                    </a:lnTo>
                    <a:lnTo>
                      <a:pt x="191" y="113"/>
                    </a:lnTo>
                    <a:lnTo>
                      <a:pt x="193" y="118"/>
                    </a:lnTo>
                    <a:lnTo>
                      <a:pt x="188" y="118"/>
                    </a:lnTo>
                    <a:lnTo>
                      <a:pt x="186" y="116"/>
                    </a:lnTo>
                    <a:lnTo>
                      <a:pt x="181" y="113"/>
                    </a:lnTo>
                    <a:lnTo>
                      <a:pt x="176" y="115"/>
                    </a:lnTo>
                    <a:lnTo>
                      <a:pt x="173" y="113"/>
                    </a:lnTo>
                    <a:lnTo>
                      <a:pt x="164" y="110"/>
                    </a:lnTo>
                    <a:lnTo>
                      <a:pt x="158" y="110"/>
                    </a:lnTo>
                    <a:lnTo>
                      <a:pt x="151" y="110"/>
                    </a:lnTo>
                    <a:lnTo>
                      <a:pt x="138" y="116"/>
                    </a:lnTo>
                    <a:lnTo>
                      <a:pt x="135" y="120"/>
                    </a:lnTo>
                    <a:lnTo>
                      <a:pt x="130" y="121"/>
                    </a:lnTo>
                    <a:lnTo>
                      <a:pt x="126" y="123"/>
                    </a:lnTo>
                    <a:lnTo>
                      <a:pt x="116" y="121"/>
                    </a:lnTo>
                    <a:lnTo>
                      <a:pt x="113" y="121"/>
                    </a:lnTo>
                    <a:lnTo>
                      <a:pt x="108" y="120"/>
                    </a:lnTo>
                    <a:lnTo>
                      <a:pt x="103" y="121"/>
                    </a:lnTo>
                    <a:lnTo>
                      <a:pt x="100" y="120"/>
                    </a:lnTo>
                    <a:lnTo>
                      <a:pt x="91" y="123"/>
                    </a:lnTo>
                    <a:lnTo>
                      <a:pt x="83" y="121"/>
                    </a:lnTo>
                    <a:lnTo>
                      <a:pt x="81" y="121"/>
                    </a:lnTo>
                    <a:lnTo>
                      <a:pt x="78" y="118"/>
                    </a:lnTo>
                    <a:lnTo>
                      <a:pt x="71" y="118"/>
                    </a:lnTo>
                    <a:lnTo>
                      <a:pt x="66" y="121"/>
                    </a:lnTo>
                    <a:lnTo>
                      <a:pt x="63" y="118"/>
                    </a:lnTo>
                    <a:lnTo>
                      <a:pt x="65" y="116"/>
                    </a:lnTo>
                    <a:lnTo>
                      <a:pt x="66" y="113"/>
                    </a:lnTo>
                    <a:lnTo>
                      <a:pt x="63" y="110"/>
                    </a:lnTo>
                    <a:lnTo>
                      <a:pt x="56" y="110"/>
                    </a:lnTo>
                    <a:lnTo>
                      <a:pt x="55" y="105"/>
                    </a:lnTo>
                    <a:lnTo>
                      <a:pt x="53" y="101"/>
                    </a:lnTo>
                    <a:lnTo>
                      <a:pt x="58" y="96"/>
                    </a:lnTo>
                    <a:lnTo>
                      <a:pt x="50" y="96"/>
                    </a:lnTo>
                    <a:lnTo>
                      <a:pt x="45" y="100"/>
                    </a:lnTo>
                    <a:lnTo>
                      <a:pt x="42" y="98"/>
                    </a:lnTo>
                    <a:lnTo>
                      <a:pt x="37" y="100"/>
                    </a:lnTo>
                    <a:lnTo>
                      <a:pt x="35" y="96"/>
                    </a:lnTo>
                    <a:lnTo>
                      <a:pt x="27" y="93"/>
                    </a:lnTo>
                    <a:lnTo>
                      <a:pt x="25" y="91"/>
                    </a:lnTo>
                    <a:lnTo>
                      <a:pt x="28" y="85"/>
                    </a:lnTo>
                    <a:lnTo>
                      <a:pt x="22" y="82"/>
                    </a:lnTo>
                    <a:lnTo>
                      <a:pt x="15" y="78"/>
                    </a:lnTo>
                    <a:lnTo>
                      <a:pt x="13" y="75"/>
                    </a:lnTo>
                    <a:lnTo>
                      <a:pt x="7" y="67"/>
                    </a:lnTo>
                    <a:lnTo>
                      <a:pt x="5" y="63"/>
                    </a:lnTo>
                    <a:lnTo>
                      <a:pt x="0" y="62"/>
                    </a:lnTo>
                    <a:lnTo>
                      <a:pt x="5" y="57"/>
                    </a:lnTo>
                    <a:lnTo>
                      <a:pt x="10" y="57"/>
                    </a:lnTo>
                    <a:lnTo>
                      <a:pt x="12" y="52"/>
                    </a:lnTo>
                    <a:lnTo>
                      <a:pt x="18" y="53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30" y="33"/>
                    </a:lnTo>
                    <a:lnTo>
                      <a:pt x="35" y="20"/>
                    </a:lnTo>
                    <a:lnTo>
                      <a:pt x="42" y="12"/>
                    </a:lnTo>
                    <a:lnTo>
                      <a:pt x="47" y="10"/>
                    </a:lnTo>
                    <a:lnTo>
                      <a:pt x="48" y="5"/>
                    </a:lnTo>
                    <a:lnTo>
                      <a:pt x="4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19" name="Freeform 43">
                <a:extLst>
                  <a:ext uri="{FF2B5EF4-FFF2-40B4-BE49-F238E27FC236}">
                    <a16:creationId xmlns:a16="http://schemas.microsoft.com/office/drawing/2014/main" id="{A62ABD84-BDDB-9143-A5CE-AD698E79F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8729" y="2665838"/>
                <a:ext cx="73847" cy="42541"/>
              </a:xfrm>
              <a:custGeom>
                <a:avLst/>
                <a:gdLst/>
                <a:ahLst/>
                <a:cxnLst>
                  <a:cxn ang="0">
                    <a:pos x="90" y="70"/>
                  </a:cxn>
                  <a:cxn ang="0">
                    <a:pos x="95" y="65"/>
                  </a:cxn>
                  <a:cxn ang="0">
                    <a:pos x="100" y="65"/>
                  </a:cxn>
                  <a:cxn ang="0">
                    <a:pos x="102" y="60"/>
                  </a:cxn>
                  <a:cxn ang="0">
                    <a:pos x="108" y="61"/>
                  </a:cxn>
                  <a:cxn ang="0">
                    <a:pos x="112" y="58"/>
                  </a:cxn>
                  <a:cxn ang="0">
                    <a:pos x="112" y="53"/>
                  </a:cxn>
                  <a:cxn ang="0">
                    <a:pos x="120" y="41"/>
                  </a:cxn>
                  <a:cxn ang="0">
                    <a:pos x="125" y="28"/>
                  </a:cxn>
                  <a:cxn ang="0">
                    <a:pos x="132" y="20"/>
                  </a:cxn>
                  <a:cxn ang="0">
                    <a:pos x="137" y="18"/>
                  </a:cxn>
                  <a:cxn ang="0">
                    <a:pos x="138" y="13"/>
                  </a:cxn>
                  <a:cxn ang="0">
                    <a:pos x="137" y="8"/>
                  </a:cxn>
                  <a:cxn ang="0">
                    <a:pos x="130" y="5"/>
                  </a:cxn>
                  <a:cxn ang="0">
                    <a:pos x="125" y="0"/>
                  </a:cxn>
                  <a:cxn ang="0">
                    <a:pos x="120" y="3"/>
                  </a:cxn>
                  <a:cxn ang="0">
                    <a:pos x="112" y="1"/>
                  </a:cxn>
                  <a:cxn ang="0">
                    <a:pos x="102" y="1"/>
                  </a:cxn>
                  <a:cxn ang="0">
                    <a:pos x="97" y="0"/>
                  </a:cxn>
                  <a:cxn ang="0">
                    <a:pos x="88" y="1"/>
                  </a:cxn>
                  <a:cxn ang="0">
                    <a:pos x="85" y="6"/>
                  </a:cxn>
                  <a:cxn ang="0">
                    <a:pos x="80" y="10"/>
                  </a:cxn>
                  <a:cxn ang="0">
                    <a:pos x="80" y="15"/>
                  </a:cxn>
                  <a:cxn ang="0">
                    <a:pos x="73" y="8"/>
                  </a:cxn>
                  <a:cxn ang="0">
                    <a:pos x="65" y="13"/>
                  </a:cxn>
                  <a:cxn ang="0">
                    <a:pos x="58" y="16"/>
                  </a:cxn>
                  <a:cxn ang="0">
                    <a:pos x="57" y="20"/>
                  </a:cxn>
                  <a:cxn ang="0">
                    <a:pos x="45" y="21"/>
                  </a:cxn>
                  <a:cxn ang="0">
                    <a:pos x="37" y="23"/>
                  </a:cxn>
                  <a:cxn ang="0">
                    <a:pos x="27" y="21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2" y="21"/>
                  </a:cxn>
                  <a:cxn ang="0">
                    <a:pos x="12" y="25"/>
                  </a:cxn>
                  <a:cxn ang="0">
                    <a:pos x="2" y="25"/>
                  </a:cxn>
                  <a:cxn ang="0">
                    <a:pos x="0" y="26"/>
                  </a:cxn>
                  <a:cxn ang="0">
                    <a:pos x="5" y="31"/>
                  </a:cxn>
                  <a:cxn ang="0">
                    <a:pos x="2" y="36"/>
                  </a:cxn>
                  <a:cxn ang="0">
                    <a:pos x="2" y="41"/>
                  </a:cxn>
                  <a:cxn ang="0">
                    <a:pos x="5" y="4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5" y="56"/>
                  </a:cxn>
                  <a:cxn ang="0">
                    <a:pos x="7" y="63"/>
                  </a:cxn>
                  <a:cxn ang="0">
                    <a:pos x="10" y="65"/>
                  </a:cxn>
                  <a:cxn ang="0">
                    <a:pos x="20" y="73"/>
                  </a:cxn>
                  <a:cxn ang="0">
                    <a:pos x="25" y="75"/>
                  </a:cxn>
                  <a:cxn ang="0">
                    <a:pos x="30" y="76"/>
                  </a:cxn>
                  <a:cxn ang="0">
                    <a:pos x="42" y="80"/>
                  </a:cxn>
                  <a:cxn ang="0">
                    <a:pos x="52" y="81"/>
                  </a:cxn>
                  <a:cxn ang="0">
                    <a:pos x="55" y="78"/>
                  </a:cxn>
                  <a:cxn ang="0">
                    <a:pos x="58" y="78"/>
                  </a:cxn>
                  <a:cxn ang="0">
                    <a:pos x="62" y="75"/>
                  </a:cxn>
                  <a:cxn ang="0">
                    <a:pos x="67" y="73"/>
                  </a:cxn>
                  <a:cxn ang="0">
                    <a:pos x="70" y="73"/>
                  </a:cxn>
                  <a:cxn ang="0">
                    <a:pos x="72" y="71"/>
                  </a:cxn>
                  <a:cxn ang="0">
                    <a:pos x="78" y="66"/>
                  </a:cxn>
                  <a:cxn ang="0">
                    <a:pos x="82" y="68"/>
                  </a:cxn>
                  <a:cxn ang="0">
                    <a:pos x="87" y="68"/>
                  </a:cxn>
                  <a:cxn ang="0">
                    <a:pos x="90" y="70"/>
                  </a:cxn>
                </a:cxnLst>
                <a:rect l="0" t="0" r="r" b="b"/>
                <a:pathLst>
                  <a:path w="138" h="81">
                    <a:moveTo>
                      <a:pt x="90" y="70"/>
                    </a:moveTo>
                    <a:lnTo>
                      <a:pt x="95" y="65"/>
                    </a:lnTo>
                    <a:lnTo>
                      <a:pt x="100" y="65"/>
                    </a:lnTo>
                    <a:lnTo>
                      <a:pt x="102" y="60"/>
                    </a:lnTo>
                    <a:lnTo>
                      <a:pt x="108" y="61"/>
                    </a:lnTo>
                    <a:lnTo>
                      <a:pt x="112" y="58"/>
                    </a:lnTo>
                    <a:lnTo>
                      <a:pt x="112" y="53"/>
                    </a:lnTo>
                    <a:lnTo>
                      <a:pt x="120" y="41"/>
                    </a:lnTo>
                    <a:lnTo>
                      <a:pt x="125" y="28"/>
                    </a:lnTo>
                    <a:lnTo>
                      <a:pt x="132" y="20"/>
                    </a:lnTo>
                    <a:lnTo>
                      <a:pt x="137" y="18"/>
                    </a:lnTo>
                    <a:lnTo>
                      <a:pt x="138" y="13"/>
                    </a:lnTo>
                    <a:lnTo>
                      <a:pt x="137" y="8"/>
                    </a:lnTo>
                    <a:lnTo>
                      <a:pt x="130" y="5"/>
                    </a:lnTo>
                    <a:lnTo>
                      <a:pt x="125" y="0"/>
                    </a:lnTo>
                    <a:lnTo>
                      <a:pt x="120" y="3"/>
                    </a:lnTo>
                    <a:lnTo>
                      <a:pt x="112" y="1"/>
                    </a:lnTo>
                    <a:lnTo>
                      <a:pt x="102" y="1"/>
                    </a:lnTo>
                    <a:lnTo>
                      <a:pt x="97" y="0"/>
                    </a:lnTo>
                    <a:lnTo>
                      <a:pt x="88" y="1"/>
                    </a:lnTo>
                    <a:lnTo>
                      <a:pt x="85" y="6"/>
                    </a:lnTo>
                    <a:lnTo>
                      <a:pt x="80" y="10"/>
                    </a:lnTo>
                    <a:lnTo>
                      <a:pt x="80" y="15"/>
                    </a:lnTo>
                    <a:lnTo>
                      <a:pt x="73" y="8"/>
                    </a:lnTo>
                    <a:lnTo>
                      <a:pt x="65" y="13"/>
                    </a:lnTo>
                    <a:lnTo>
                      <a:pt x="58" y="16"/>
                    </a:lnTo>
                    <a:lnTo>
                      <a:pt x="57" y="20"/>
                    </a:lnTo>
                    <a:lnTo>
                      <a:pt x="45" y="21"/>
                    </a:lnTo>
                    <a:lnTo>
                      <a:pt x="37" y="23"/>
                    </a:lnTo>
                    <a:lnTo>
                      <a:pt x="27" y="21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2" y="21"/>
                    </a:lnTo>
                    <a:lnTo>
                      <a:pt x="12" y="25"/>
                    </a:lnTo>
                    <a:lnTo>
                      <a:pt x="2" y="25"/>
                    </a:lnTo>
                    <a:lnTo>
                      <a:pt x="0" y="26"/>
                    </a:lnTo>
                    <a:lnTo>
                      <a:pt x="5" y="31"/>
                    </a:lnTo>
                    <a:lnTo>
                      <a:pt x="2" y="36"/>
                    </a:lnTo>
                    <a:lnTo>
                      <a:pt x="2" y="41"/>
                    </a:lnTo>
                    <a:lnTo>
                      <a:pt x="5" y="4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5" y="56"/>
                    </a:lnTo>
                    <a:lnTo>
                      <a:pt x="7" y="63"/>
                    </a:lnTo>
                    <a:lnTo>
                      <a:pt x="10" y="65"/>
                    </a:lnTo>
                    <a:lnTo>
                      <a:pt x="20" y="73"/>
                    </a:lnTo>
                    <a:lnTo>
                      <a:pt x="25" y="75"/>
                    </a:lnTo>
                    <a:lnTo>
                      <a:pt x="30" y="76"/>
                    </a:lnTo>
                    <a:lnTo>
                      <a:pt x="42" y="80"/>
                    </a:lnTo>
                    <a:lnTo>
                      <a:pt x="52" y="81"/>
                    </a:lnTo>
                    <a:lnTo>
                      <a:pt x="55" y="78"/>
                    </a:lnTo>
                    <a:lnTo>
                      <a:pt x="58" y="78"/>
                    </a:lnTo>
                    <a:lnTo>
                      <a:pt x="62" y="75"/>
                    </a:lnTo>
                    <a:lnTo>
                      <a:pt x="67" y="73"/>
                    </a:lnTo>
                    <a:lnTo>
                      <a:pt x="70" y="73"/>
                    </a:lnTo>
                    <a:lnTo>
                      <a:pt x="72" y="71"/>
                    </a:lnTo>
                    <a:lnTo>
                      <a:pt x="78" y="66"/>
                    </a:lnTo>
                    <a:lnTo>
                      <a:pt x="82" y="68"/>
                    </a:lnTo>
                    <a:lnTo>
                      <a:pt x="87" y="68"/>
                    </a:lnTo>
                    <a:lnTo>
                      <a:pt x="9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0" name="Freeform 44">
                <a:extLst>
                  <a:ext uri="{FF2B5EF4-FFF2-40B4-BE49-F238E27FC236}">
                    <a16:creationId xmlns:a16="http://schemas.microsoft.com/office/drawing/2014/main" id="{8C4FC9A7-3024-BC4F-8BF4-AD31E35B9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4081" y="2654424"/>
                <a:ext cx="65285" cy="23865"/>
              </a:xfrm>
              <a:custGeom>
                <a:avLst/>
                <a:gdLst/>
                <a:ahLst/>
                <a:cxnLst>
                  <a:cxn ang="0">
                    <a:pos x="2" y="36"/>
                  </a:cxn>
                  <a:cxn ang="0">
                    <a:pos x="17" y="44"/>
                  </a:cxn>
                  <a:cxn ang="0">
                    <a:pos x="27" y="46"/>
                  </a:cxn>
                  <a:cxn ang="0">
                    <a:pos x="35" y="44"/>
                  </a:cxn>
                  <a:cxn ang="0">
                    <a:pos x="47" y="43"/>
                  </a:cxn>
                  <a:cxn ang="0">
                    <a:pos x="48" y="39"/>
                  </a:cxn>
                  <a:cxn ang="0">
                    <a:pos x="55" y="36"/>
                  </a:cxn>
                  <a:cxn ang="0">
                    <a:pos x="63" y="31"/>
                  </a:cxn>
                  <a:cxn ang="0">
                    <a:pos x="70" y="38"/>
                  </a:cxn>
                  <a:cxn ang="0">
                    <a:pos x="70" y="33"/>
                  </a:cxn>
                  <a:cxn ang="0">
                    <a:pos x="75" y="29"/>
                  </a:cxn>
                  <a:cxn ang="0">
                    <a:pos x="78" y="24"/>
                  </a:cxn>
                  <a:cxn ang="0">
                    <a:pos x="87" y="23"/>
                  </a:cxn>
                  <a:cxn ang="0">
                    <a:pos x="92" y="24"/>
                  </a:cxn>
                  <a:cxn ang="0">
                    <a:pos x="102" y="24"/>
                  </a:cxn>
                  <a:cxn ang="0">
                    <a:pos x="110" y="26"/>
                  </a:cxn>
                  <a:cxn ang="0">
                    <a:pos x="117" y="23"/>
                  </a:cxn>
                  <a:cxn ang="0">
                    <a:pos x="117" y="15"/>
                  </a:cxn>
                  <a:cxn ang="0">
                    <a:pos x="122" y="5"/>
                  </a:cxn>
                  <a:cxn ang="0">
                    <a:pos x="122" y="5"/>
                  </a:cxn>
                  <a:cxn ang="0">
                    <a:pos x="112" y="0"/>
                  </a:cxn>
                  <a:cxn ang="0">
                    <a:pos x="102" y="0"/>
                  </a:cxn>
                  <a:cxn ang="0">
                    <a:pos x="98" y="1"/>
                  </a:cxn>
                  <a:cxn ang="0">
                    <a:pos x="95" y="0"/>
                  </a:cxn>
                  <a:cxn ang="0">
                    <a:pos x="92" y="0"/>
                  </a:cxn>
                  <a:cxn ang="0">
                    <a:pos x="88" y="3"/>
                  </a:cxn>
                  <a:cxn ang="0">
                    <a:pos x="85" y="0"/>
                  </a:cxn>
                  <a:cxn ang="0">
                    <a:pos x="78" y="0"/>
                  </a:cxn>
                  <a:cxn ang="0">
                    <a:pos x="75" y="0"/>
                  </a:cxn>
                  <a:cxn ang="0">
                    <a:pos x="72" y="1"/>
                  </a:cxn>
                  <a:cxn ang="0">
                    <a:pos x="68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63" y="5"/>
                  </a:cxn>
                  <a:cxn ang="0">
                    <a:pos x="52" y="5"/>
                  </a:cxn>
                  <a:cxn ang="0">
                    <a:pos x="47" y="8"/>
                  </a:cxn>
                  <a:cxn ang="0">
                    <a:pos x="40" y="8"/>
                  </a:cxn>
                  <a:cxn ang="0">
                    <a:pos x="33" y="15"/>
                  </a:cxn>
                  <a:cxn ang="0">
                    <a:pos x="25" y="16"/>
                  </a:cxn>
                  <a:cxn ang="0">
                    <a:pos x="15" y="20"/>
                  </a:cxn>
                  <a:cxn ang="0">
                    <a:pos x="14" y="18"/>
                  </a:cxn>
                  <a:cxn ang="0">
                    <a:pos x="7" y="18"/>
                  </a:cxn>
                  <a:cxn ang="0">
                    <a:pos x="2" y="21"/>
                  </a:cxn>
                  <a:cxn ang="0">
                    <a:pos x="0" y="21"/>
                  </a:cxn>
                  <a:cxn ang="0">
                    <a:pos x="0" y="28"/>
                  </a:cxn>
                  <a:cxn ang="0">
                    <a:pos x="2" y="36"/>
                  </a:cxn>
                </a:cxnLst>
                <a:rect l="0" t="0" r="r" b="b"/>
                <a:pathLst>
                  <a:path w="122" h="46">
                    <a:moveTo>
                      <a:pt x="2" y="36"/>
                    </a:moveTo>
                    <a:lnTo>
                      <a:pt x="17" y="44"/>
                    </a:lnTo>
                    <a:lnTo>
                      <a:pt x="27" y="46"/>
                    </a:lnTo>
                    <a:lnTo>
                      <a:pt x="35" y="44"/>
                    </a:lnTo>
                    <a:lnTo>
                      <a:pt x="47" y="43"/>
                    </a:lnTo>
                    <a:lnTo>
                      <a:pt x="48" y="39"/>
                    </a:lnTo>
                    <a:lnTo>
                      <a:pt x="55" y="36"/>
                    </a:lnTo>
                    <a:lnTo>
                      <a:pt x="63" y="31"/>
                    </a:lnTo>
                    <a:lnTo>
                      <a:pt x="70" y="38"/>
                    </a:lnTo>
                    <a:lnTo>
                      <a:pt x="70" y="33"/>
                    </a:lnTo>
                    <a:lnTo>
                      <a:pt x="75" y="29"/>
                    </a:lnTo>
                    <a:lnTo>
                      <a:pt x="78" y="24"/>
                    </a:lnTo>
                    <a:lnTo>
                      <a:pt x="87" y="23"/>
                    </a:lnTo>
                    <a:lnTo>
                      <a:pt x="92" y="24"/>
                    </a:lnTo>
                    <a:lnTo>
                      <a:pt x="102" y="24"/>
                    </a:lnTo>
                    <a:lnTo>
                      <a:pt x="110" y="26"/>
                    </a:lnTo>
                    <a:lnTo>
                      <a:pt x="117" y="23"/>
                    </a:lnTo>
                    <a:lnTo>
                      <a:pt x="117" y="15"/>
                    </a:lnTo>
                    <a:lnTo>
                      <a:pt x="122" y="5"/>
                    </a:lnTo>
                    <a:lnTo>
                      <a:pt x="122" y="5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98" y="1"/>
                    </a:lnTo>
                    <a:lnTo>
                      <a:pt x="95" y="0"/>
                    </a:lnTo>
                    <a:lnTo>
                      <a:pt x="92" y="0"/>
                    </a:lnTo>
                    <a:lnTo>
                      <a:pt x="88" y="3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52" y="5"/>
                    </a:lnTo>
                    <a:lnTo>
                      <a:pt x="47" y="8"/>
                    </a:lnTo>
                    <a:lnTo>
                      <a:pt x="40" y="8"/>
                    </a:lnTo>
                    <a:lnTo>
                      <a:pt x="33" y="15"/>
                    </a:lnTo>
                    <a:lnTo>
                      <a:pt x="25" y="16"/>
                    </a:lnTo>
                    <a:lnTo>
                      <a:pt x="15" y="20"/>
                    </a:lnTo>
                    <a:lnTo>
                      <a:pt x="14" y="18"/>
                    </a:lnTo>
                    <a:lnTo>
                      <a:pt x="7" y="18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28"/>
                    </a:lnTo>
                    <a:lnTo>
                      <a:pt x="2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1" name="Freeform 45">
                <a:extLst>
                  <a:ext uri="{FF2B5EF4-FFF2-40B4-BE49-F238E27FC236}">
                    <a16:creationId xmlns:a16="http://schemas.microsoft.com/office/drawing/2014/main" id="{6AAA1FA9-DBEF-C541-9CD9-5A8B33D999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5787" y="2727056"/>
                <a:ext cx="74917" cy="4150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6"/>
                  </a:cxn>
                  <a:cxn ang="0">
                    <a:pos x="13" y="11"/>
                  </a:cxn>
                  <a:cxn ang="0">
                    <a:pos x="25" y="8"/>
                  </a:cxn>
                  <a:cxn ang="0">
                    <a:pos x="30" y="11"/>
                  </a:cxn>
                  <a:cxn ang="0">
                    <a:pos x="47" y="10"/>
                  </a:cxn>
                  <a:cxn ang="0">
                    <a:pos x="55" y="10"/>
                  </a:cxn>
                  <a:cxn ang="0">
                    <a:pos x="63" y="11"/>
                  </a:cxn>
                  <a:cxn ang="0">
                    <a:pos x="77" y="11"/>
                  </a:cxn>
                  <a:cxn ang="0">
                    <a:pos x="85" y="6"/>
                  </a:cxn>
                  <a:cxn ang="0">
                    <a:pos x="105" y="0"/>
                  </a:cxn>
                  <a:cxn ang="0">
                    <a:pos x="120" y="3"/>
                  </a:cxn>
                  <a:cxn ang="0">
                    <a:pos x="128" y="3"/>
                  </a:cxn>
                  <a:cxn ang="0">
                    <a:pos x="135" y="8"/>
                  </a:cxn>
                  <a:cxn ang="0">
                    <a:pos x="141" y="10"/>
                  </a:cxn>
                  <a:cxn ang="0">
                    <a:pos x="136" y="20"/>
                  </a:cxn>
                  <a:cxn ang="0">
                    <a:pos x="126" y="25"/>
                  </a:cxn>
                  <a:cxn ang="0">
                    <a:pos x="125" y="40"/>
                  </a:cxn>
                  <a:cxn ang="0">
                    <a:pos x="120" y="46"/>
                  </a:cxn>
                  <a:cxn ang="0">
                    <a:pos x="128" y="53"/>
                  </a:cxn>
                  <a:cxn ang="0">
                    <a:pos x="131" y="58"/>
                  </a:cxn>
                  <a:cxn ang="0">
                    <a:pos x="123" y="60"/>
                  </a:cxn>
                  <a:cxn ang="0">
                    <a:pos x="110" y="55"/>
                  </a:cxn>
                  <a:cxn ang="0">
                    <a:pos x="103" y="58"/>
                  </a:cxn>
                  <a:cxn ang="0">
                    <a:pos x="98" y="63"/>
                  </a:cxn>
                  <a:cxn ang="0">
                    <a:pos x="90" y="66"/>
                  </a:cxn>
                  <a:cxn ang="0">
                    <a:pos x="92" y="75"/>
                  </a:cxn>
                  <a:cxn ang="0">
                    <a:pos x="78" y="76"/>
                  </a:cxn>
                  <a:cxn ang="0">
                    <a:pos x="70" y="76"/>
                  </a:cxn>
                  <a:cxn ang="0">
                    <a:pos x="62" y="79"/>
                  </a:cxn>
                  <a:cxn ang="0">
                    <a:pos x="57" y="75"/>
                  </a:cxn>
                  <a:cxn ang="0">
                    <a:pos x="43" y="75"/>
                  </a:cxn>
                  <a:cxn ang="0">
                    <a:pos x="33" y="79"/>
                  </a:cxn>
                  <a:cxn ang="0">
                    <a:pos x="23" y="78"/>
                  </a:cxn>
                  <a:cxn ang="0">
                    <a:pos x="22" y="75"/>
                  </a:cxn>
                  <a:cxn ang="0">
                    <a:pos x="15" y="58"/>
                  </a:cxn>
                  <a:cxn ang="0">
                    <a:pos x="5" y="51"/>
                  </a:cxn>
                  <a:cxn ang="0">
                    <a:pos x="3" y="43"/>
                  </a:cxn>
                  <a:cxn ang="0">
                    <a:pos x="12" y="33"/>
                  </a:cxn>
                  <a:cxn ang="0">
                    <a:pos x="10" y="23"/>
                  </a:cxn>
                  <a:cxn ang="0">
                    <a:pos x="0" y="6"/>
                  </a:cxn>
                  <a:cxn ang="0">
                    <a:pos x="3" y="0"/>
                  </a:cxn>
                </a:cxnLst>
                <a:rect l="0" t="0" r="r" b="b"/>
                <a:pathLst>
                  <a:path w="141" h="79">
                    <a:moveTo>
                      <a:pt x="3" y="0"/>
                    </a:moveTo>
                    <a:lnTo>
                      <a:pt x="10" y="0"/>
                    </a:lnTo>
                    <a:lnTo>
                      <a:pt x="13" y="3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3" y="11"/>
                    </a:lnTo>
                    <a:lnTo>
                      <a:pt x="18" y="8"/>
                    </a:lnTo>
                    <a:lnTo>
                      <a:pt x="25" y="8"/>
                    </a:lnTo>
                    <a:lnTo>
                      <a:pt x="28" y="11"/>
                    </a:lnTo>
                    <a:lnTo>
                      <a:pt x="30" y="11"/>
                    </a:lnTo>
                    <a:lnTo>
                      <a:pt x="38" y="13"/>
                    </a:lnTo>
                    <a:lnTo>
                      <a:pt x="47" y="10"/>
                    </a:lnTo>
                    <a:lnTo>
                      <a:pt x="50" y="11"/>
                    </a:lnTo>
                    <a:lnTo>
                      <a:pt x="55" y="10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73" y="13"/>
                    </a:lnTo>
                    <a:lnTo>
                      <a:pt x="77" y="11"/>
                    </a:lnTo>
                    <a:lnTo>
                      <a:pt x="82" y="10"/>
                    </a:lnTo>
                    <a:lnTo>
                      <a:pt x="85" y="6"/>
                    </a:lnTo>
                    <a:lnTo>
                      <a:pt x="98" y="0"/>
                    </a:lnTo>
                    <a:lnTo>
                      <a:pt x="105" y="0"/>
                    </a:lnTo>
                    <a:lnTo>
                      <a:pt x="111" y="0"/>
                    </a:lnTo>
                    <a:lnTo>
                      <a:pt x="120" y="3"/>
                    </a:lnTo>
                    <a:lnTo>
                      <a:pt x="123" y="5"/>
                    </a:lnTo>
                    <a:lnTo>
                      <a:pt x="128" y="3"/>
                    </a:lnTo>
                    <a:lnTo>
                      <a:pt x="133" y="6"/>
                    </a:lnTo>
                    <a:lnTo>
                      <a:pt x="135" y="8"/>
                    </a:lnTo>
                    <a:lnTo>
                      <a:pt x="140" y="8"/>
                    </a:lnTo>
                    <a:lnTo>
                      <a:pt x="141" y="10"/>
                    </a:lnTo>
                    <a:lnTo>
                      <a:pt x="140" y="18"/>
                    </a:lnTo>
                    <a:lnTo>
                      <a:pt x="136" y="20"/>
                    </a:lnTo>
                    <a:lnTo>
                      <a:pt x="131" y="20"/>
                    </a:lnTo>
                    <a:lnTo>
                      <a:pt x="126" y="25"/>
                    </a:lnTo>
                    <a:lnTo>
                      <a:pt x="126" y="35"/>
                    </a:lnTo>
                    <a:lnTo>
                      <a:pt x="125" y="40"/>
                    </a:lnTo>
                    <a:lnTo>
                      <a:pt x="118" y="45"/>
                    </a:lnTo>
                    <a:lnTo>
                      <a:pt x="120" y="46"/>
                    </a:lnTo>
                    <a:lnTo>
                      <a:pt x="123" y="46"/>
                    </a:lnTo>
                    <a:lnTo>
                      <a:pt x="128" y="53"/>
                    </a:lnTo>
                    <a:lnTo>
                      <a:pt x="131" y="58"/>
                    </a:lnTo>
                    <a:lnTo>
                      <a:pt x="131" y="58"/>
                    </a:lnTo>
                    <a:lnTo>
                      <a:pt x="126" y="58"/>
                    </a:lnTo>
                    <a:lnTo>
                      <a:pt x="123" y="60"/>
                    </a:lnTo>
                    <a:lnTo>
                      <a:pt x="116" y="55"/>
                    </a:lnTo>
                    <a:lnTo>
                      <a:pt x="110" y="55"/>
                    </a:lnTo>
                    <a:lnTo>
                      <a:pt x="106" y="58"/>
                    </a:lnTo>
                    <a:lnTo>
                      <a:pt x="103" y="58"/>
                    </a:lnTo>
                    <a:lnTo>
                      <a:pt x="98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0" y="66"/>
                    </a:lnTo>
                    <a:lnTo>
                      <a:pt x="90" y="71"/>
                    </a:lnTo>
                    <a:lnTo>
                      <a:pt x="92" y="75"/>
                    </a:lnTo>
                    <a:lnTo>
                      <a:pt x="88" y="78"/>
                    </a:lnTo>
                    <a:lnTo>
                      <a:pt x="78" y="76"/>
                    </a:lnTo>
                    <a:lnTo>
                      <a:pt x="73" y="79"/>
                    </a:lnTo>
                    <a:lnTo>
                      <a:pt x="70" y="76"/>
                    </a:lnTo>
                    <a:lnTo>
                      <a:pt x="65" y="76"/>
                    </a:lnTo>
                    <a:lnTo>
                      <a:pt x="62" y="79"/>
                    </a:lnTo>
                    <a:lnTo>
                      <a:pt x="57" y="79"/>
                    </a:lnTo>
                    <a:lnTo>
                      <a:pt x="57" y="75"/>
                    </a:lnTo>
                    <a:lnTo>
                      <a:pt x="50" y="75"/>
                    </a:lnTo>
                    <a:lnTo>
                      <a:pt x="43" y="75"/>
                    </a:lnTo>
                    <a:lnTo>
                      <a:pt x="40" y="78"/>
                    </a:lnTo>
                    <a:lnTo>
                      <a:pt x="33" y="79"/>
                    </a:lnTo>
                    <a:lnTo>
                      <a:pt x="25" y="79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15" y="58"/>
                    </a:lnTo>
                    <a:lnTo>
                      <a:pt x="5" y="51"/>
                    </a:lnTo>
                    <a:lnTo>
                      <a:pt x="5" y="51"/>
                    </a:lnTo>
                    <a:lnTo>
                      <a:pt x="7" y="48"/>
                    </a:lnTo>
                    <a:lnTo>
                      <a:pt x="3" y="43"/>
                    </a:lnTo>
                    <a:lnTo>
                      <a:pt x="3" y="40"/>
                    </a:lnTo>
                    <a:lnTo>
                      <a:pt x="12" y="33"/>
                    </a:lnTo>
                    <a:lnTo>
                      <a:pt x="13" y="28"/>
                    </a:lnTo>
                    <a:lnTo>
                      <a:pt x="10" y="23"/>
                    </a:lnTo>
                    <a:lnTo>
                      <a:pt x="3" y="1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2" name="Freeform 46">
                <a:extLst>
                  <a:ext uri="{FF2B5EF4-FFF2-40B4-BE49-F238E27FC236}">
                    <a16:creationId xmlns:a16="http://schemas.microsoft.com/office/drawing/2014/main" id="{EC426C96-DAAB-444C-9B77-A3DF9FC5F7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4382" y="2754033"/>
                <a:ext cx="33177" cy="23865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3" y="7"/>
                  </a:cxn>
                  <a:cxn ang="0">
                    <a:pos x="60" y="17"/>
                  </a:cxn>
                  <a:cxn ang="0">
                    <a:pos x="60" y="24"/>
                  </a:cxn>
                  <a:cxn ang="0">
                    <a:pos x="61" y="27"/>
                  </a:cxn>
                  <a:cxn ang="0">
                    <a:pos x="58" y="30"/>
                  </a:cxn>
                  <a:cxn ang="0">
                    <a:pos x="53" y="30"/>
                  </a:cxn>
                  <a:cxn ang="0">
                    <a:pos x="48" y="33"/>
                  </a:cxn>
                  <a:cxn ang="0">
                    <a:pos x="36" y="32"/>
                  </a:cxn>
                  <a:cxn ang="0">
                    <a:pos x="32" y="35"/>
                  </a:cxn>
                  <a:cxn ang="0">
                    <a:pos x="30" y="37"/>
                  </a:cxn>
                  <a:cxn ang="0">
                    <a:pos x="23" y="38"/>
                  </a:cxn>
                  <a:cxn ang="0">
                    <a:pos x="13" y="45"/>
                  </a:cxn>
                  <a:cxn ang="0">
                    <a:pos x="13" y="45"/>
                  </a:cxn>
                  <a:cxn ang="0">
                    <a:pos x="8" y="42"/>
                  </a:cxn>
                  <a:cxn ang="0">
                    <a:pos x="7" y="37"/>
                  </a:cxn>
                  <a:cxn ang="0">
                    <a:pos x="2" y="30"/>
                  </a:cxn>
                  <a:cxn ang="0">
                    <a:pos x="0" y="22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5" y="14"/>
                  </a:cxn>
                  <a:cxn ang="0">
                    <a:pos x="3" y="10"/>
                  </a:cxn>
                  <a:cxn ang="0">
                    <a:pos x="10" y="7"/>
                  </a:cxn>
                  <a:cxn ang="0">
                    <a:pos x="15" y="5"/>
                  </a:cxn>
                  <a:cxn ang="0">
                    <a:pos x="18" y="4"/>
                  </a:cxn>
                  <a:cxn ang="0">
                    <a:pos x="28" y="2"/>
                  </a:cxn>
                  <a:cxn ang="0">
                    <a:pos x="33" y="2"/>
                  </a:cxn>
                  <a:cxn ang="0">
                    <a:pos x="40" y="0"/>
                  </a:cxn>
                  <a:cxn ang="0">
                    <a:pos x="43" y="0"/>
                  </a:cxn>
                </a:cxnLst>
                <a:rect l="0" t="0" r="r" b="b"/>
                <a:pathLst>
                  <a:path w="61" h="45">
                    <a:moveTo>
                      <a:pt x="43" y="0"/>
                    </a:moveTo>
                    <a:lnTo>
                      <a:pt x="53" y="7"/>
                    </a:lnTo>
                    <a:lnTo>
                      <a:pt x="60" y="17"/>
                    </a:lnTo>
                    <a:lnTo>
                      <a:pt x="60" y="24"/>
                    </a:lnTo>
                    <a:lnTo>
                      <a:pt x="61" y="27"/>
                    </a:lnTo>
                    <a:lnTo>
                      <a:pt x="58" y="30"/>
                    </a:lnTo>
                    <a:lnTo>
                      <a:pt x="53" y="30"/>
                    </a:lnTo>
                    <a:lnTo>
                      <a:pt x="48" y="33"/>
                    </a:lnTo>
                    <a:lnTo>
                      <a:pt x="36" y="32"/>
                    </a:lnTo>
                    <a:lnTo>
                      <a:pt x="32" y="35"/>
                    </a:lnTo>
                    <a:lnTo>
                      <a:pt x="30" y="37"/>
                    </a:lnTo>
                    <a:lnTo>
                      <a:pt x="23" y="38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8" y="42"/>
                    </a:lnTo>
                    <a:lnTo>
                      <a:pt x="7" y="37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5" y="14"/>
                    </a:lnTo>
                    <a:lnTo>
                      <a:pt x="3" y="10"/>
                    </a:lnTo>
                    <a:lnTo>
                      <a:pt x="10" y="7"/>
                    </a:lnTo>
                    <a:lnTo>
                      <a:pt x="15" y="5"/>
                    </a:lnTo>
                    <a:lnTo>
                      <a:pt x="18" y="4"/>
                    </a:lnTo>
                    <a:lnTo>
                      <a:pt x="28" y="2"/>
                    </a:lnTo>
                    <a:lnTo>
                      <a:pt x="33" y="2"/>
                    </a:lnTo>
                    <a:lnTo>
                      <a:pt x="40" y="0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3" name="Freeform 47">
                <a:extLst>
                  <a:ext uri="{FF2B5EF4-FFF2-40B4-BE49-F238E27FC236}">
                    <a16:creationId xmlns:a16="http://schemas.microsoft.com/office/drawing/2014/main" id="{D1DA5CE2-211A-E345-9827-B9E1A602C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9398" y="2750920"/>
                <a:ext cx="22475" cy="41504"/>
              </a:xfrm>
              <a:custGeom>
                <a:avLst/>
                <a:gdLst/>
                <a:ahLst/>
                <a:cxnLst>
                  <a:cxn ang="0">
                    <a:pos x="32" y="21"/>
                  </a:cxn>
                  <a:cxn ang="0">
                    <a:pos x="30" y="28"/>
                  </a:cxn>
                  <a:cxn ang="0">
                    <a:pos x="32" y="36"/>
                  </a:cxn>
                  <a:cxn ang="0">
                    <a:pos x="37" y="43"/>
                  </a:cxn>
                  <a:cxn ang="0">
                    <a:pos x="38" y="48"/>
                  </a:cxn>
                  <a:cxn ang="0">
                    <a:pos x="43" y="51"/>
                  </a:cxn>
                  <a:cxn ang="0">
                    <a:pos x="43" y="56"/>
                  </a:cxn>
                  <a:cxn ang="0">
                    <a:pos x="40" y="63"/>
                  </a:cxn>
                  <a:cxn ang="0">
                    <a:pos x="30" y="66"/>
                  </a:cxn>
                  <a:cxn ang="0">
                    <a:pos x="30" y="71"/>
                  </a:cxn>
                  <a:cxn ang="0">
                    <a:pos x="27" y="78"/>
                  </a:cxn>
                  <a:cxn ang="0">
                    <a:pos x="23" y="79"/>
                  </a:cxn>
                  <a:cxn ang="0">
                    <a:pos x="18" y="76"/>
                  </a:cxn>
                  <a:cxn ang="0">
                    <a:pos x="13" y="66"/>
                  </a:cxn>
                  <a:cxn ang="0">
                    <a:pos x="5" y="66"/>
                  </a:cxn>
                  <a:cxn ang="0">
                    <a:pos x="3" y="63"/>
                  </a:cxn>
                  <a:cxn ang="0">
                    <a:pos x="5" y="58"/>
                  </a:cxn>
                  <a:cxn ang="0">
                    <a:pos x="2" y="54"/>
                  </a:cxn>
                  <a:cxn ang="0">
                    <a:pos x="2" y="48"/>
                  </a:cxn>
                  <a:cxn ang="0">
                    <a:pos x="3" y="44"/>
                  </a:cxn>
                  <a:cxn ang="0">
                    <a:pos x="2" y="38"/>
                  </a:cxn>
                  <a:cxn ang="0">
                    <a:pos x="3" y="28"/>
                  </a:cxn>
                  <a:cxn ang="0">
                    <a:pos x="5" y="26"/>
                  </a:cxn>
                  <a:cxn ang="0">
                    <a:pos x="7" y="23"/>
                  </a:cxn>
                  <a:cxn ang="0">
                    <a:pos x="0" y="20"/>
                  </a:cxn>
                  <a:cxn ang="0">
                    <a:pos x="0" y="11"/>
                  </a:cxn>
                  <a:cxn ang="0">
                    <a:pos x="3" y="6"/>
                  </a:cxn>
                  <a:cxn ang="0">
                    <a:pos x="8" y="0"/>
                  </a:cxn>
                  <a:cxn ang="0">
                    <a:pos x="10" y="0"/>
                  </a:cxn>
                  <a:cxn ang="0">
                    <a:pos x="13" y="5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18" y="1"/>
                  </a:cxn>
                  <a:cxn ang="0">
                    <a:pos x="22" y="5"/>
                  </a:cxn>
                  <a:cxn ang="0">
                    <a:pos x="25" y="6"/>
                  </a:cxn>
                  <a:cxn ang="0">
                    <a:pos x="30" y="10"/>
                  </a:cxn>
                  <a:cxn ang="0">
                    <a:pos x="30" y="11"/>
                  </a:cxn>
                  <a:cxn ang="0">
                    <a:pos x="30" y="20"/>
                  </a:cxn>
                  <a:cxn ang="0">
                    <a:pos x="32" y="21"/>
                  </a:cxn>
                </a:cxnLst>
                <a:rect l="0" t="0" r="r" b="b"/>
                <a:pathLst>
                  <a:path w="43" h="79">
                    <a:moveTo>
                      <a:pt x="32" y="21"/>
                    </a:moveTo>
                    <a:lnTo>
                      <a:pt x="30" y="28"/>
                    </a:lnTo>
                    <a:lnTo>
                      <a:pt x="32" y="36"/>
                    </a:lnTo>
                    <a:lnTo>
                      <a:pt x="37" y="43"/>
                    </a:lnTo>
                    <a:lnTo>
                      <a:pt x="38" y="48"/>
                    </a:lnTo>
                    <a:lnTo>
                      <a:pt x="43" y="51"/>
                    </a:lnTo>
                    <a:lnTo>
                      <a:pt x="43" y="56"/>
                    </a:lnTo>
                    <a:lnTo>
                      <a:pt x="40" y="63"/>
                    </a:lnTo>
                    <a:lnTo>
                      <a:pt x="30" y="66"/>
                    </a:lnTo>
                    <a:lnTo>
                      <a:pt x="30" y="71"/>
                    </a:lnTo>
                    <a:lnTo>
                      <a:pt x="27" y="78"/>
                    </a:lnTo>
                    <a:lnTo>
                      <a:pt x="23" y="79"/>
                    </a:lnTo>
                    <a:lnTo>
                      <a:pt x="18" y="76"/>
                    </a:lnTo>
                    <a:lnTo>
                      <a:pt x="13" y="66"/>
                    </a:lnTo>
                    <a:lnTo>
                      <a:pt x="5" y="66"/>
                    </a:lnTo>
                    <a:lnTo>
                      <a:pt x="3" y="63"/>
                    </a:lnTo>
                    <a:lnTo>
                      <a:pt x="5" y="58"/>
                    </a:lnTo>
                    <a:lnTo>
                      <a:pt x="2" y="54"/>
                    </a:lnTo>
                    <a:lnTo>
                      <a:pt x="2" y="48"/>
                    </a:lnTo>
                    <a:lnTo>
                      <a:pt x="3" y="44"/>
                    </a:lnTo>
                    <a:lnTo>
                      <a:pt x="2" y="38"/>
                    </a:lnTo>
                    <a:lnTo>
                      <a:pt x="3" y="28"/>
                    </a:lnTo>
                    <a:lnTo>
                      <a:pt x="5" y="26"/>
                    </a:lnTo>
                    <a:lnTo>
                      <a:pt x="7" y="23"/>
                    </a:lnTo>
                    <a:lnTo>
                      <a:pt x="0" y="20"/>
                    </a:lnTo>
                    <a:lnTo>
                      <a:pt x="0" y="11"/>
                    </a:lnTo>
                    <a:lnTo>
                      <a:pt x="3" y="6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3" y="5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2" y="5"/>
                    </a:lnTo>
                    <a:lnTo>
                      <a:pt x="25" y="6"/>
                    </a:lnTo>
                    <a:lnTo>
                      <a:pt x="30" y="10"/>
                    </a:lnTo>
                    <a:lnTo>
                      <a:pt x="30" y="11"/>
                    </a:lnTo>
                    <a:lnTo>
                      <a:pt x="30" y="20"/>
                    </a:lnTo>
                    <a:lnTo>
                      <a:pt x="32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4" name="Freeform 48">
                <a:extLst>
                  <a:ext uri="{FF2B5EF4-FFF2-40B4-BE49-F238E27FC236}">
                    <a16:creationId xmlns:a16="http://schemas.microsoft.com/office/drawing/2014/main" id="{6BFF50B9-C036-1A44-B2FD-AEF53B238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9767" y="2701116"/>
                <a:ext cx="52442" cy="61218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12" y="7"/>
                  </a:cxn>
                  <a:cxn ang="0">
                    <a:pos x="20" y="0"/>
                  </a:cxn>
                  <a:cxn ang="0">
                    <a:pos x="29" y="2"/>
                  </a:cxn>
                  <a:cxn ang="0">
                    <a:pos x="39" y="9"/>
                  </a:cxn>
                  <a:cxn ang="0">
                    <a:pos x="47" y="20"/>
                  </a:cxn>
                  <a:cxn ang="0">
                    <a:pos x="60" y="27"/>
                  </a:cxn>
                  <a:cxn ang="0">
                    <a:pos x="59" y="35"/>
                  </a:cxn>
                  <a:cxn ang="0">
                    <a:pos x="69" y="42"/>
                  </a:cxn>
                  <a:cxn ang="0">
                    <a:pos x="77" y="42"/>
                  </a:cxn>
                  <a:cxn ang="0">
                    <a:pos x="90" y="38"/>
                  </a:cxn>
                  <a:cxn ang="0">
                    <a:pos x="87" y="47"/>
                  </a:cxn>
                  <a:cxn ang="0">
                    <a:pos x="85" y="58"/>
                  </a:cxn>
                  <a:cxn ang="0">
                    <a:pos x="95" y="75"/>
                  </a:cxn>
                  <a:cxn ang="0">
                    <a:pos x="97" y="85"/>
                  </a:cxn>
                  <a:cxn ang="0">
                    <a:pos x="88" y="95"/>
                  </a:cxn>
                  <a:cxn ang="0">
                    <a:pos x="90" y="103"/>
                  </a:cxn>
                  <a:cxn ang="0">
                    <a:pos x="80" y="105"/>
                  </a:cxn>
                  <a:cxn ang="0">
                    <a:pos x="65" y="107"/>
                  </a:cxn>
                  <a:cxn ang="0">
                    <a:pos x="57" y="110"/>
                  </a:cxn>
                  <a:cxn ang="0">
                    <a:pos x="52" y="117"/>
                  </a:cxn>
                  <a:cxn ang="0">
                    <a:pos x="47" y="117"/>
                  </a:cxn>
                  <a:cxn ang="0">
                    <a:pos x="47" y="107"/>
                  </a:cxn>
                  <a:cxn ang="0">
                    <a:pos x="39" y="102"/>
                  </a:cxn>
                  <a:cxn ang="0">
                    <a:pos x="34" y="97"/>
                  </a:cxn>
                  <a:cxn ang="0">
                    <a:pos x="39" y="92"/>
                  </a:cxn>
                  <a:cxn ang="0">
                    <a:pos x="32" y="85"/>
                  </a:cxn>
                  <a:cxn ang="0">
                    <a:pos x="22" y="82"/>
                  </a:cxn>
                  <a:cxn ang="0">
                    <a:pos x="20" y="77"/>
                  </a:cxn>
                  <a:cxn ang="0">
                    <a:pos x="17" y="70"/>
                  </a:cxn>
                  <a:cxn ang="0">
                    <a:pos x="12" y="60"/>
                  </a:cxn>
                  <a:cxn ang="0">
                    <a:pos x="19" y="60"/>
                  </a:cxn>
                  <a:cxn ang="0">
                    <a:pos x="17" y="55"/>
                  </a:cxn>
                  <a:cxn ang="0">
                    <a:pos x="5" y="50"/>
                  </a:cxn>
                  <a:cxn ang="0">
                    <a:pos x="10" y="40"/>
                  </a:cxn>
                  <a:cxn ang="0">
                    <a:pos x="9" y="35"/>
                  </a:cxn>
                  <a:cxn ang="0">
                    <a:pos x="5" y="35"/>
                  </a:cxn>
                  <a:cxn ang="0">
                    <a:pos x="9" y="30"/>
                  </a:cxn>
                  <a:cxn ang="0">
                    <a:pos x="12" y="29"/>
                  </a:cxn>
                  <a:cxn ang="0">
                    <a:pos x="5" y="25"/>
                  </a:cxn>
                  <a:cxn ang="0">
                    <a:pos x="0" y="14"/>
                  </a:cxn>
                </a:cxnLst>
                <a:rect l="0" t="0" r="r" b="b"/>
                <a:pathLst>
                  <a:path w="98" h="118">
                    <a:moveTo>
                      <a:pt x="0" y="12"/>
                    </a:moveTo>
                    <a:lnTo>
                      <a:pt x="4" y="9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9" y="2"/>
                    </a:lnTo>
                    <a:lnTo>
                      <a:pt x="37" y="5"/>
                    </a:lnTo>
                    <a:lnTo>
                      <a:pt x="39" y="9"/>
                    </a:lnTo>
                    <a:lnTo>
                      <a:pt x="45" y="17"/>
                    </a:lnTo>
                    <a:lnTo>
                      <a:pt x="47" y="20"/>
                    </a:lnTo>
                    <a:lnTo>
                      <a:pt x="54" y="24"/>
                    </a:lnTo>
                    <a:lnTo>
                      <a:pt x="60" y="27"/>
                    </a:lnTo>
                    <a:lnTo>
                      <a:pt x="57" y="33"/>
                    </a:lnTo>
                    <a:lnTo>
                      <a:pt x="59" y="35"/>
                    </a:lnTo>
                    <a:lnTo>
                      <a:pt x="67" y="38"/>
                    </a:lnTo>
                    <a:lnTo>
                      <a:pt x="69" y="42"/>
                    </a:lnTo>
                    <a:lnTo>
                      <a:pt x="74" y="40"/>
                    </a:lnTo>
                    <a:lnTo>
                      <a:pt x="77" y="42"/>
                    </a:lnTo>
                    <a:lnTo>
                      <a:pt x="82" y="38"/>
                    </a:lnTo>
                    <a:lnTo>
                      <a:pt x="90" y="38"/>
                    </a:lnTo>
                    <a:lnTo>
                      <a:pt x="85" y="43"/>
                    </a:lnTo>
                    <a:lnTo>
                      <a:pt x="87" y="47"/>
                    </a:lnTo>
                    <a:lnTo>
                      <a:pt x="88" y="55"/>
                    </a:lnTo>
                    <a:lnTo>
                      <a:pt x="85" y="58"/>
                    </a:lnTo>
                    <a:lnTo>
                      <a:pt x="88" y="68"/>
                    </a:lnTo>
                    <a:lnTo>
                      <a:pt x="95" y="75"/>
                    </a:lnTo>
                    <a:lnTo>
                      <a:pt x="98" y="80"/>
                    </a:lnTo>
                    <a:lnTo>
                      <a:pt x="97" y="85"/>
                    </a:lnTo>
                    <a:lnTo>
                      <a:pt x="88" y="92"/>
                    </a:lnTo>
                    <a:lnTo>
                      <a:pt x="88" y="95"/>
                    </a:lnTo>
                    <a:lnTo>
                      <a:pt x="92" y="100"/>
                    </a:lnTo>
                    <a:lnTo>
                      <a:pt x="90" y="103"/>
                    </a:lnTo>
                    <a:lnTo>
                      <a:pt x="87" y="103"/>
                    </a:lnTo>
                    <a:lnTo>
                      <a:pt x="80" y="105"/>
                    </a:lnTo>
                    <a:lnTo>
                      <a:pt x="75" y="105"/>
                    </a:lnTo>
                    <a:lnTo>
                      <a:pt x="65" y="107"/>
                    </a:lnTo>
                    <a:lnTo>
                      <a:pt x="62" y="108"/>
                    </a:lnTo>
                    <a:lnTo>
                      <a:pt x="57" y="110"/>
                    </a:lnTo>
                    <a:lnTo>
                      <a:pt x="50" y="113"/>
                    </a:lnTo>
                    <a:lnTo>
                      <a:pt x="52" y="117"/>
                    </a:lnTo>
                    <a:lnTo>
                      <a:pt x="49" y="118"/>
                    </a:lnTo>
                    <a:lnTo>
                      <a:pt x="47" y="117"/>
                    </a:lnTo>
                    <a:lnTo>
                      <a:pt x="47" y="108"/>
                    </a:lnTo>
                    <a:lnTo>
                      <a:pt x="47" y="107"/>
                    </a:lnTo>
                    <a:lnTo>
                      <a:pt x="42" y="103"/>
                    </a:lnTo>
                    <a:lnTo>
                      <a:pt x="39" y="102"/>
                    </a:lnTo>
                    <a:lnTo>
                      <a:pt x="35" y="98"/>
                    </a:lnTo>
                    <a:lnTo>
                      <a:pt x="34" y="97"/>
                    </a:lnTo>
                    <a:lnTo>
                      <a:pt x="35" y="95"/>
                    </a:lnTo>
                    <a:lnTo>
                      <a:pt x="39" y="92"/>
                    </a:lnTo>
                    <a:lnTo>
                      <a:pt x="39" y="87"/>
                    </a:lnTo>
                    <a:lnTo>
                      <a:pt x="32" y="85"/>
                    </a:lnTo>
                    <a:lnTo>
                      <a:pt x="29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20" y="77"/>
                    </a:lnTo>
                    <a:lnTo>
                      <a:pt x="15" y="72"/>
                    </a:lnTo>
                    <a:lnTo>
                      <a:pt x="17" y="70"/>
                    </a:lnTo>
                    <a:lnTo>
                      <a:pt x="12" y="65"/>
                    </a:lnTo>
                    <a:lnTo>
                      <a:pt x="12" y="60"/>
                    </a:lnTo>
                    <a:lnTo>
                      <a:pt x="14" y="58"/>
                    </a:lnTo>
                    <a:lnTo>
                      <a:pt x="19" y="60"/>
                    </a:lnTo>
                    <a:lnTo>
                      <a:pt x="20" y="58"/>
                    </a:lnTo>
                    <a:lnTo>
                      <a:pt x="17" y="55"/>
                    </a:lnTo>
                    <a:lnTo>
                      <a:pt x="14" y="55"/>
                    </a:lnTo>
                    <a:lnTo>
                      <a:pt x="5" y="50"/>
                    </a:lnTo>
                    <a:lnTo>
                      <a:pt x="5" y="47"/>
                    </a:lnTo>
                    <a:lnTo>
                      <a:pt x="10" y="40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7" y="37"/>
                    </a:lnTo>
                    <a:lnTo>
                      <a:pt x="5" y="35"/>
                    </a:lnTo>
                    <a:lnTo>
                      <a:pt x="5" y="32"/>
                    </a:lnTo>
                    <a:lnTo>
                      <a:pt x="9" y="30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7" y="27"/>
                    </a:lnTo>
                    <a:lnTo>
                      <a:pt x="5" y="25"/>
                    </a:lnTo>
                    <a:lnTo>
                      <a:pt x="4" y="19"/>
                    </a:lnTo>
                    <a:lnTo>
                      <a:pt x="0" y="1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5" name="Freeform 49">
                <a:extLst>
                  <a:ext uri="{FF2B5EF4-FFF2-40B4-BE49-F238E27FC236}">
                    <a16:creationId xmlns:a16="http://schemas.microsoft.com/office/drawing/2014/main" id="{48D49793-6526-894E-BE7A-1E31C0D91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626" y="2736394"/>
                <a:ext cx="22475" cy="24902"/>
              </a:xfrm>
              <a:custGeom>
                <a:avLst/>
                <a:gdLst/>
                <a:ahLst/>
                <a:cxnLst>
                  <a:cxn ang="0">
                    <a:pos x="22" y="49"/>
                  </a:cxn>
                  <a:cxn ang="0">
                    <a:pos x="22" y="40"/>
                  </a:cxn>
                  <a:cxn ang="0">
                    <a:pos x="25" y="35"/>
                  </a:cxn>
                  <a:cxn ang="0">
                    <a:pos x="30" y="29"/>
                  </a:cxn>
                  <a:cxn ang="0">
                    <a:pos x="32" y="29"/>
                  </a:cxn>
                  <a:cxn ang="0">
                    <a:pos x="35" y="34"/>
                  </a:cxn>
                  <a:cxn ang="0">
                    <a:pos x="39" y="29"/>
                  </a:cxn>
                  <a:cxn ang="0">
                    <a:pos x="40" y="27"/>
                  </a:cxn>
                  <a:cxn ang="0">
                    <a:pos x="44" y="24"/>
                  </a:cxn>
                  <a:cxn ang="0">
                    <a:pos x="44" y="19"/>
                  </a:cxn>
                  <a:cxn ang="0">
                    <a:pos x="37" y="17"/>
                  </a:cxn>
                  <a:cxn ang="0">
                    <a:pos x="34" y="14"/>
                  </a:cxn>
                  <a:cxn ang="0">
                    <a:pos x="27" y="14"/>
                  </a:cxn>
                  <a:cxn ang="0">
                    <a:pos x="25" y="12"/>
                  </a:cxn>
                  <a:cxn ang="0">
                    <a:pos x="25" y="9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5" y="4"/>
                  </a:cxn>
                  <a:cxn ang="0">
                    <a:pos x="10" y="0"/>
                  </a:cxn>
                  <a:cxn ang="0">
                    <a:pos x="7" y="2"/>
                  </a:cxn>
                  <a:cxn ang="0">
                    <a:pos x="9" y="5"/>
                  </a:cxn>
                  <a:cxn ang="0">
                    <a:pos x="12" y="7"/>
                  </a:cxn>
                  <a:cxn ang="0">
                    <a:pos x="14" y="10"/>
                  </a:cxn>
                  <a:cxn ang="0">
                    <a:pos x="10" y="12"/>
                  </a:cxn>
                  <a:cxn ang="0">
                    <a:pos x="7" y="14"/>
                  </a:cxn>
                  <a:cxn ang="0">
                    <a:pos x="5" y="17"/>
                  </a:cxn>
                  <a:cxn ang="0">
                    <a:pos x="5" y="24"/>
                  </a:cxn>
                  <a:cxn ang="0">
                    <a:pos x="2" y="29"/>
                  </a:cxn>
                  <a:cxn ang="0">
                    <a:pos x="0" y="29"/>
                  </a:cxn>
                  <a:cxn ang="0">
                    <a:pos x="2" y="30"/>
                  </a:cxn>
                  <a:cxn ang="0">
                    <a:pos x="5" y="34"/>
                  </a:cxn>
                  <a:cxn ang="0">
                    <a:pos x="15" y="44"/>
                  </a:cxn>
                  <a:cxn ang="0">
                    <a:pos x="15" y="47"/>
                  </a:cxn>
                  <a:cxn ang="0">
                    <a:pos x="22" y="49"/>
                  </a:cxn>
                </a:cxnLst>
                <a:rect l="0" t="0" r="r" b="b"/>
                <a:pathLst>
                  <a:path w="44" h="49">
                    <a:moveTo>
                      <a:pt x="22" y="49"/>
                    </a:moveTo>
                    <a:lnTo>
                      <a:pt x="22" y="40"/>
                    </a:lnTo>
                    <a:lnTo>
                      <a:pt x="25" y="35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5" y="34"/>
                    </a:lnTo>
                    <a:lnTo>
                      <a:pt x="39" y="29"/>
                    </a:lnTo>
                    <a:lnTo>
                      <a:pt x="40" y="27"/>
                    </a:lnTo>
                    <a:lnTo>
                      <a:pt x="44" y="24"/>
                    </a:lnTo>
                    <a:lnTo>
                      <a:pt x="44" y="19"/>
                    </a:lnTo>
                    <a:lnTo>
                      <a:pt x="37" y="17"/>
                    </a:lnTo>
                    <a:lnTo>
                      <a:pt x="34" y="14"/>
                    </a:lnTo>
                    <a:lnTo>
                      <a:pt x="27" y="14"/>
                    </a:lnTo>
                    <a:lnTo>
                      <a:pt x="25" y="12"/>
                    </a:lnTo>
                    <a:lnTo>
                      <a:pt x="25" y="9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5" y="4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9" y="5"/>
                    </a:lnTo>
                    <a:lnTo>
                      <a:pt x="12" y="7"/>
                    </a:lnTo>
                    <a:lnTo>
                      <a:pt x="14" y="10"/>
                    </a:lnTo>
                    <a:lnTo>
                      <a:pt x="10" y="12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5" y="24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5" y="34"/>
                    </a:lnTo>
                    <a:lnTo>
                      <a:pt x="15" y="44"/>
                    </a:lnTo>
                    <a:lnTo>
                      <a:pt x="15" y="47"/>
                    </a:lnTo>
                    <a:lnTo>
                      <a:pt x="22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6" name="Freeform 50">
                <a:extLst>
                  <a:ext uri="{FF2B5EF4-FFF2-40B4-BE49-F238E27FC236}">
                    <a16:creationId xmlns:a16="http://schemas.microsoft.com/office/drawing/2014/main" id="{722855BC-89A1-3648-8E26-76A2FC91DC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5552" y="2699041"/>
                <a:ext cx="70636" cy="47729"/>
              </a:xfrm>
              <a:custGeom>
                <a:avLst/>
                <a:gdLst/>
                <a:ahLst/>
                <a:cxnLst>
                  <a:cxn ang="0">
                    <a:pos x="130" y="33"/>
                  </a:cxn>
                  <a:cxn ang="0">
                    <a:pos x="128" y="30"/>
                  </a:cxn>
                  <a:cxn ang="0">
                    <a:pos x="121" y="17"/>
                  </a:cxn>
                  <a:cxn ang="0">
                    <a:pos x="105" y="17"/>
                  </a:cxn>
                  <a:cxn ang="0">
                    <a:pos x="83" y="10"/>
                  </a:cxn>
                  <a:cxn ang="0">
                    <a:pos x="70" y="2"/>
                  </a:cxn>
                  <a:cxn ang="0">
                    <a:pos x="43" y="13"/>
                  </a:cxn>
                  <a:cxn ang="0">
                    <a:pos x="30" y="25"/>
                  </a:cxn>
                  <a:cxn ang="0">
                    <a:pos x="10" y="27"/>
                  </a:cxn>
                  <a:cxn ang="0">
                    <a:pos x="2" y="36"/>
                  </a:cxn>
                  <a:cxn ang="0">
                    <a:pos x="10" y="45"/>
                  </a:cxn>
                  <a:cxn ang="0">
                    <a:pos x="20" y="27"/>
                  </a:cxn>
                  <a:cxn ang="0">
                    <a:pos x="32" y="35"/>
                  </a:cxn>
                  <a:cxn ang="0">
                    <a:pos x="43" y="53"/>
                  </a:cxn>
                  <a:cxn ang="0">
                    <a:pos x="47" y="56"/>
                  </a:cxn>
                  <a:cxn ang="0">
                    <a:pos x="43" y="65"/>
                  </a:cxn>
                  <a:cxn ang="0">
                    <a:pos x="58" y="71"/>
                  </a:cxn>
                  <a:cxn ang="0">
                    <a:pos x="68" y="76"/>
                  </a:cxn>
                  <a:cxn ang="0">
                    <a:pos x="97" y="91"/>
                  </a:cxn>
                  <a:cxn ang="0">
                    <a:pos x="92" y="91"/>
                  </a:cxn>
                  <a:cxn ang="0">
                    <a:pos x="98" y="90"/>
                  </a:cxn>
                  <a:cxn ang="0">
                    <a:pos x="60" y="55"/>
                  </a:cxn>
                  <a:cxn ang="0">
                    <a:pos x="58" y="45"/>
                  </a:cxn>
                  <a:cxn ang="0">
                    <a:pos x="50" y="36"/>
                  </a:cxn>
                  <a:cxn ang="0">
                    <a:pos x="53" y="28"/>
                  </a:cxn>
                  <a:cxn ang="0">
                    <a:pos x="65" y="33"/>
                  </a:cxn>
                  <a:cxn ang="0">
                    <a:pos x="72" y="30"/>
                  </a:cxn>
                  <a:cxn ang="0">
                    <a:pos x="80" y="28"/>
                  </a:cxn>
                  <a:cxn ang="0">
                    <a:pos x="90" y="32"/>
                  </a:cxn>
                  <a:cxn ang="0">
                    <a:pos x="100" y="33"/>
                  </a:cxn>
                  <a:cxn ang="0">
                    <a:pos x="115" y="33"/>
                  </a:cxn>
                  <a:cxn ang="0">
                    <a:pos x="126" y="38"/>
                  </a:cxn>
                  <a:cxn ang="0">
                    <a:pos x="77" y="90"/>
                  </a:cxn>
                  <a:cxn ang="0">
                    <a:pos x="80" y="91"/>
                  </a:cxn>
                  <a:cxn ang="0">
                    <a:pos x="70" y="85"/>
                  </a:cxn>
                  <a:cxn ang="0">
                    <a:pos x="70" y="85"/>
                  </a:cxn>
                  <a:cxn ang="0">
                    <a:pos x="80" y="80"/>
                  </a:cxn>
                  <a:cxn ang="0">
                    <a:pos x="73" y="83"/>
                  </a:cxn>
                  <a:cxn ang="0">
                    <a:pos x="37" y="51"/>
                  </a:cxn>
                  <a:cxn ang="0">
                    <a:pos x="40" y="58"/>
                  </a:cxn>
                  <a:cxn ang="0">
                    <a:pos x="32" y="46"/>
                  </a:cxn>
                  <a:cxn ang="0">
                    <a:pos x="32" y="46"/>
                  </a:cxn>
                  <a:cxn ang="0">
                    <a:pos x="38" y="63"/>
                  </a:cxn>
                  <a:cxn ang="0">
                    <a:pos x="33" y="60"/>
                  </a:cxn>
                  <a:cxn ang="0">
                    <a:pos x="32" y="56"/>
                  </a:cxn>
                  <a:cxn ang="0">
                    <a:pos x="18" y="40"/>
                  </a:cxn>
                  <a:cxn ang="0">
                    <a:pos x="25" y="50"/>
                  </a:cxn>
                  <a:cxn ang="0">
                    <a:pos x="18" y="40"/>
                  </a:cxn>
                  <a:cxn ang="0">
                    <a:pos x="30" y="41"/>
                  </a:cxn>
                  <a:cxn ang="0">
                    <a:pos x="20" y="40"/>
                  </a:cxn>
                  <a:cxn ang="0">
                    <a:pos x="22" y="32"/>
                  </a:cxn>
                </a:cxnLst>
                <a:rect l="0" t="0" r="r" b="b"/>
                <a:pathLst>
                  <a:path w="133" h="93">
                    <a:moveTo>
                      <a:pt x="126" y="38"/>
                    </a:moveTo>
                    <a:lnTo>
                      <a:pt x="126" y="35"/>
                    </a:lnTo>
                    <a:lnTo>
                      <a:pt x="130" y="33"/>
                    </a:lnTo>
                    <a:lnTo>
                      <a:pt x="133" y="33"/>
                    </a:lnTo>
                    <a:lnTo>
                      <a:pt x="133" y="32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5" y="22"/>
                    </a:lnTo>
                    <a:lnTo>
                      <a:pt x="121" y="17"/>
                    </a:lnTo>
                    <a:lnTo>
                      <a:pt x="118" y="15"/>
                    </a:lnTo>
                    <a:lnTo>
                      <a:pt x="115" y="18"/>
                    </a:lnTo>
                    <a:lnTo>
                      <a:pt x="105" y="17"/>
                    </a:lnTo>
                    <a:lnTo>
                      <a:pt x="93" y="13"/>
                    </a:lnTo>
                    <a:lnTo>
                      <a:pt x="88" y="12"/>
                    </a:lnTo>
                    <a:lnTo>
                      <a:pt x="83" y="10"/>
                    </a:lnTo>
                    <a:lnTo>
                      <a:pt x="73" y="2"/>
                    </a:lnTo>
                    <a:lnTo>
                      <a:pt x="70" y="0"/>
                    </a:lnTo>
                    <a:lnTo>
                      <a:pt x="70" y="2"/>
                    </a:lnTo>
                    <a:lnTo>
                      <a:pt x="60" y="2"/>
                    </a:lnTo>
                    <a:lnTo>
                      <a:pt x="45" y="8"/>
                    </a:lnTo>
                    <a:lnTo>
                      <a:pt x="43" y="13"/>
                    </a:lnTo>
                    <a:lnTo>
                      <a:pt x="37" y="17"/>
                    </a:lnTo>
                    <a:lnTo>
                      <a:pt x="35" y="25"/>
                    </a:lnTo>
                    <a:lnTo>
                      <a:pt x="30" y="25"/>
                    </a:lnTo>
                    <a:lnTo>
                      <a:pt x="20" y="22"/>
                    </a:lnTo>
                    <a:lnTo>
                      <a:pt x="15" y="23"/>
                    </a:lnTo>
                    <a:lnTo>
                      <a:pt x="10" y="27"/>
                    </a:lnTo>
                    <a:lnTo>
                      <a:pt x="0" y="27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8" y="41"/>
                    </a:lnTo>
                    <a:lnTo>
                      <a:pt x="7" y="43"/>
                    </a:lnTo>
                    <a:lnTo>
                      <a:pt x="10" y="45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20" y="27"/>
                    </a:lnTo>
                    <a:lnTo>
                      <a:pt x="25" y="27"/>
                    </a:lnTo>
                    <a:lnTo>
                      <a:pt x="27" y="32"/>
                    </a:lnTo>
                    <a:lnTo>
                      <a:pt x="32" y="35"/>
                    </a:lnTo>
                    <a:lnTo>
                      <a:pt x="33" y="41"/>
                    </a:lnTo>
                    <a:lnTo>
                      <a:pt x="37" y="48"/>
                    </a:lnTo>
                    <a:lnTo>
                      <a:pt x="43" y="53"/>
                    </a:lnTo>
                    <a:lnTo>
                      <a:pt x="47" y="53"/>
                    </a:lnTo>
                    <a:lnTo>
                      <a:pt x="50" y="58"/>
                    </a:lnTo>
                    <a:lnTo>
                      <a:pt x="47" y="56"/>
                    </a:lnTo>
                    <a:lnTo>
                      <a:pt x="42" y="58"/>
                    </a:lnTo>
                    <a:lnTo>
                      <a:pt x="40" y="61"/>
                    </a:lnTo>
                    <a:lnTo>
                      <a:pt x="43" y="65"/>
                    </a:lnTo>
                    <a:lnTo>
                      <a:pt x="48" y="65"/>
                    </a:lnTo>
                    <a:lnTo>
                      <a:pt x="53" y="70"/>
                    </a:lnTo>
                    <a:lnTo>
                      <a:pt x="58" y="71"/>
                    </a:lnTo>
                    <a:lnTo>
                      <a:pt x="60" y="75"/>
                    </a:lnTo>
                    <a:lnTo>
                      <a:pt x="63" y="78"/>
                    </a:lnTo>
                    <a:lnTo>
                      <a:pt x="68" y="76"/>
                    </a:lnTo>
                    <a:lnTo>
                      <a:pt x="80" y="78"/>
                    </a:lnTo>
                    <a:lnTo>
                      <a:pt x="85" y="80"/>
                    </a:lnTo>
                    <a:lnTo>
                      <a:pt x="97" y="91"/>
                    </a:lnTo>
                    <a:lnTo>
                      <a:pt x="93" y="91"/>
                    </a:lnTo>
                    <a:lnTo>
                      <a:pt x="88" y="88"/>
                    </a:lnTo>
                    <a:lnTo>
                      <a:pt x="92" y="91"/>
                    </a:lnTo>
                    <a:lnTo>
                      <a:pt x="97" y="93"/>
                    </a:lnTo>
                    <a:lnTo>
                      <a:pt x="97" y="93"/>
                    </a:lnTo>
                    <a:lnTo>
                      <a:pt x="98" y="90"/>
                    </a:lnTo>
                    <a:lnTo>
                      <a:pt x="80" y="71"/>
                    </a:lnTo>
                    <a:lnTo>
                      <a:pt x="62" y="56"/>
                    </a:lnTo>
                    <a:lnTo>
                      <a:pt x="60" y="55"/>
                    </a:lnTo>
                    <a:lnTo>
                      <a:pt x="62" y="53"/>
                    </a:lnTo>
                    <a:lnTo>
                      <a:pt x="58" y="48"/>
                    </a:lnTo>
                    <a:lnTo>
                      <a:pt x="58" y="45"/>
                    </a:lnTo>
                    <a:lnTo>
                      <a:pt x="53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2" y="35"/>
                    </a:lnTo>
                    <a:lnTo>
                      <a:pt x="52" y="30"/>
                    </a:lnTo>
                    <a:lnTo>
                      <a:pt x="53" y="28"/>
                    </a:lnTo>
                    <a:lnTo>
                      <a:pt x="60" y="32"/>
                    </a:lnTo>
                    <a:lnTo>
                      <a:pt x="62" y="35"/>
                    </a:lnTo>
                    <a:lnTo>
                      <a:pt x="65" y="33"/>
                    </a:lnTo>
                    <a:lnTo>
                      <a:pt x="65" y="32"/>
                    </a:lnTo>
                    <a:lnTo>
                      <a:pt x="68" y="30"/>
                    </a:lnTo>
                    <a:lnTo>
                      <a:pt x="72" y="30"/>
                    </a:lnTo>
                    <a:lnTo>
                      <a:pt x="75" y="28"/>
                    </a:lnTo>
                    <a:lnTo>
                      <a:pt x="78" y="30"/>
                    </a:lnTo>
                    <a:lnTo>
                      <a:pt x="80" y="28"/>
                    </a:lnTo>
                    <a:lnTo>
                      <a:pt x="85" y="30"/>
                    </a:lnTo>
                    <a:lnTo>
                      <a:pt x="87" y="33"/>
                    </a:lnTo>
                    <a:lnTo>
                      <a:pt x="90" y="32"/>
                    </a:lnTo>
                    <a:lnTo>
                      <a:pt x="95" y="33"/>
                    </a:lnTo>
                    <a:lnTo>
                      <a:pt x="98" y="32"/>
                    </a:lnTo>
                    <a:lnTo>
                      <a:pt x="100" y="33"/>
                    </a:lnTo>
                    <a:lnTo>
                      <a:pt x="106" y="32"/>
                    </a:lnTo>
                    <a:lnTo>
                      <a:pt x="111" y="33"/>
                    </a:lnTo>
                    <a:lnTo>
                      <a:pt x="115" y="33"/>
                    </a:lnTo>
                    <a:lnTo>
                      <a:pt x="118" y="36"/>
                    </a:lnTo>
                    <a:lnTo>
                      <a:pt x="126" y="36"/>
                    </a:lnTo>
                    <a:lnTo>
                      <a:pt x="126" y="38"/>
                    </a:lnTo>
                    <a:lnTo>
                      <a:pt x="126" y="38"/>
                    </a:lnTo>
                    <a:close/>
                    <a:moveTo>
                      <a:pt x="77" y="90"/>
                    </a:moveTo>
                    <a:lnTo>
                      <a:pt x="77" y="90"/>
                    </a:lnTo>
                    <a:lnTo>
                      <a:pt x="85" y="90"/>
                    </a:lnTo>
                    <a:lnTo>
                      <a:pt x="88" y="91"/>
                    </a:lnTo>
                    <a:lnTo>
                      <a:pt x="80" y="91"/>
                    </a:lnTo>
                    <a:lnTo>
                      <a:pt x="77" y="90"/>
                    </a:lnTo>
                    <a:lnTo>
                      <a:pt x="77" y="90"/>
                    </a:lnTo>
                    <a:close/>
                    <a:moveTo>
                      <a:pt x="70" y="85"/>
                    </a:moveTo>
                    <a:lnTo>
                      <a:pt x="83" y="85"/>
                    </a:lnTo>
                    <a:lnTo>
                      <a:pt x="78" y="86"/>
                    </a:lnTo>
                    <a:lnTo>
                      <a:pt x="70" y="85"/>
                    </a:lnTo>
                    <a:lnTo>
                      <a:pt x="70" y="85"/>
                    </a:lnTo>
                    <a:close/>
                    <a:moveTo>
                      <a:pt x="70" y="80"/>
                    </a:moveTo>
                    <a:lnTo>
                      <a:pt x="80" y="80"/>
                    </a:lnTo>
                    <a:lnTo>
                      <a:pt x="82" y="81"/>
                    </a:lnTo>
                    <a:lnTo>
                      <a:pt x="78" y="83"/>
                    </a:lnTo>
                    <a:lnTo>
                      <a:pt x="73" y="83"/>
                    </a:lnTo>
                    <a:lnTo>
                      <a:pt x="70" y="80"/>
                    </a:lnTo>
                    <a:lnTo>
                      <a:pt x="70" y="80"/>
                    </a:lnTo>
                    <a:close/>
                    <a:moveTo>
                      <a:pt x="37" y="51"/>
                    </a:moveTo>
                    <a:lnTo>
                      <a:pt x="38" y="53"/>
                    </a:lnTo>
                    <a:lnTo>
                      <a:pt x="42" y="56"/>
                    </a:lnTo>
                    <a:lnTo>
                      <a:pt x="40" y="58"/>
                    </a:lnTo>
                    <a:lnTo>
                      <a:pt x="37" y="51"/>
                    </a:lnTo>
                    <a:lnTo>
                      <a:pt x="37" y="51"/>
                    </a:lnTo>
                    <a:close/>
                    <a:moveTo>
                      <a:pt x="32" y="46"/>
                    </a:moveTo>
                    <a:lnTo>
                      <a:pt x="37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2" y="46"/>
                    </a:lnTo>
                    <a:close/>
                    <a:moveTo>
                      <a:pt x="33" y="60"/>
                    </a:moveTo>
                    <a:lnTo>
                      <a:pt x="38" y="63"/>
                    </a:lnTo>
                    <a:lnTo>
                      <a:pt x="40" y="66"/>
                    </a:lnTo>
                    <a:lnTo>
                      <a:pt x="33" y="60"/>
                    </a:lnTo>
                    <a:lnTo>
                      <a:pt x="33" y="60"/>
                    </a:lnTo>
                    <a:close/>
                    <a:moveTo>
                      <a:pt x="27" y="51"/>
                    </a:moveTo>
                    <a:lnTo>
                      <a:pt x="30" y="53"/>
                    </a:lnTo>
                    <a:lnTo>
                      <a:pt x="32" y="56"/>
                    </a:lnTo>
                    <a:lnTo>
                      <a:pt x="27" y="51"/>
                    </a:lnTo>
                    <a:lnTo>
                      <a:pt x="27" y="51"/>
                    </a:lnTo>
                    <a:close/>
                    <a:moveTo>
                      <a:pt x="18" y="40"/>
                    </a:moveTo>
                    <a:lnTo>
                      <a:pt x="25" y="45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0" y="46"/>
                    </a:lnTo>
                    <a:lnTo>
                      <a:pt x="22" y="45"/>
                    </a:lnTo>
                    <a:lnTo>
                      <a:pt x="18" y="40"/>
                    </a:lnTo>
                    <a:lnTo>
                      <a:pt x="18" y="40"/>
                    </a:lnTo>
                    <a:close/>
                    <a:moveTo>
                      <a:pt x="22" y="32"/>
                    </a:moveTo>
                    <a:lnTo>
                      <a:pt x="30" y="41"/>
                    </a:lnTo>
                    <a:lnTo>
                      <a:pt x="27" y="41"/>
                    </a:lnTo>
                    <a:lnTo>
                      <a:pt x="23" y="40"/>
                    </a:lnTo>
                    <a:lnTo>
                      <a:pt x="20" y="40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7" name="Freeform 51">
                <a:extLst>
                  <a:ext uri="{FF2B5EF4-FFF2-40B4-BE49-F238E27FC236}">
                    <a16:creationId xmlns:a16="http://schemas.microsoft.com/office/drawing/2014/main" id="{9275A2D8-3119-3A44-8158-F84FE5796D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2307" y="2713567"/>
                <a:ext cx="48161" cy="37353"/>
              </a:xfrm>
              <a:custGeom>
                <a:avLst/>
                <a:gdLst/>
                <a:ahLst/>
                <a:cxnLst>
                  <a:cxn ang="0">
                    <a:pos x="48" y="62"/>
                  </a:cxn>
                  <a:cxn ang="0">
                    <a:pos x="12" y="28"/>
                  </a:cxn>
                  <a:cxn ang="0">
                    <a:pos x="12" y="25"/>
                  </a:cxn>
                  <a:cxn ang="0">
                    <a:pos x="8" y="17"/>
                  </a:cxn>
                  <a:cxn ang="0">
                    <a:pos x="0" y="12"/>
                  </a:cxn>
                  <a:cxn ang="0">
                    <a:pos x="2" y="7"/>
                  </a:cxn>
                  <a:cxn ang="0">
                    <a:pos x="3" y="0"/>
                  </a:cxn>
                  <a:cxn ang="0">
                    <a:pos x="12" y="7"/>
                  </a:cxn>
                  <a:cxn ang="0">
                    <a:pos x="15" y="4"/>
                  </a:cxn>
                  <a:cxn ang="0">
                    <a:pos x="22" y="2"/>
                  </a:cxn>
                  <a:cxn ang="0">
                    <a:pos x="28" y="2"/>
                  </a:cxn>
                  <a:cxn ang="0">
                    <a:pos x="35" y="2"/>
                  </a:cxn>
                  <a:cxn ang="0">
                    <a:pos x="40" y="4"/>
                  </a:cxn>
                  <a:cxn ang="0">
                    <a:pos x="48" y="4"/>
                  </a:cxn>
                  <a:cxn ang="0">
                    <a:pos x="56" y="4"/>
                  </a:cxn>
                  <a:cxn ang="0">
                    <a:pos x="65" y="5"/>
                  </a:cxn>
                  <a:cxn ang="0">
                    <a:pos x="76" y="8"/>
                  </a:cxn>
                  <a:cxn ang="0">
                    <a:pos x="80" y="10"/>
                  </a:cxn>
                  <a:cxn ang="0">
                    <a:pos x="81" y="15"/>
                  </a:cxn>
                  <a:cxn ang="0">
                    <a:pos x="76" y="25"/>
                  </a:cxn>
                  <a:cxn ang="0">
                    <a:pos x="88" y="30"/>
                  </a:cxn>
                  <a:cxn ang="0">
                    <a:pos x="90" y="35"/>
                  </a:cxn>
                  <a:cxn ang="0">
                    <a:pos x="83" y="35"/>
                  </a:cxn>
                  <a:cxn ang="0">
                    <a:pos x="88" y="45"/>
                  </a:cxn>
                  <a:cxn ang="0">
                    <a:pos x="81" y="47"/>
                  </a:cxn>
                  <a:cxn ang="0">
                    <a:pos x="73" y="45"/>
                  </a:cxn>
                  <a:cxn ang="0">
                    <a:pos x="78" y="50"/>
                  </a:cxn>
                  <a:cxn ang="0">
                    <a:pos x="76" y="55"/>
                  </a:cxn>
                  <a:cxn ang="0">
                    <a:pos x="71" y="60"/>
                  </a:cxn>
                  <a:cxn ang="0">
                    <a:pos x="68" y="72"/>
                  </a:cxn>
                  <a:cxn ang="0">
                    <a:pos x="60" y="65"/>
                  </a:cxn>
                  <a:cxn ang="0">
                    <a:pos x="48" y="65"/>
                  </a:cxn>
                  <a:cxn ang="0">
                    <a:pos x="47" y="65"/>
                  </a:cxn>
                </a:cxnLst>
                <a:rect l="0" t="0" r="r" b="b"/>
                <a:pathLst>
                  <a:path w="91" h="72">
                    <a:moveTo>
                      <a:pt x="47" y="65"/>
                    </a:moveTo>
                    <a:lnTo>
                      <a:pt x="48" y="62"/>
                    </a:lnTo>
                    <a:lnTo>
                      <a:pt x="30" y="43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12" y="25"/>
                    </a:lnTo>
                    <a:lnTo>
                      <a:pt x="8" y="20"/>
                    </a:lnTo>
                    <a:lnTo>
                      <a:pt x="8" y="17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10" y="4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5" y="0"/>
                    </a:lnTo>
                    <a:lnTo>
                      <a:pt x="28" y="2"/>
                    </a:lnTo>
                    <a:lnTo>
                      <a:pt x="30" y="0"/>
                    </a:lnTo>
                    <a:lnTo>
                      <a:pt x="35" y="2"/>
                    </a:lnTo>
                    <a:lnTo>
                      <a:pt x="37" y="5"/>
                    </a:lnTo>
                    <a:lnTo>
                      <a:pt x="40" y="4"/>
                    </a:lnTo>
                    <a:lnTo>
                      <a:pt x="45" y="5"/>
                    </a:lnTo>
                    <a:lnTo>
                      <a:pt x="48" y="4"/>
                    </a:lnTo>
                    <a:lnTo>
                      <a:pt x="50" y="5"/>
                    </a:lnTo>
                    <a:lnTo>
                      <a:pt x="56" y="4"/>
                    </a:lnTo>
                    <a:lnTo>
                      <a:pt x="61" y="5"/>
                    </a:lnTo>
                    <a:lnTo>
                      <a:pt x="65" y="5"/>
                    </a:lnTo>
                    <a:lnTo>
                      <a:pt x="68" y="8"/>
                    </a:lnTo>
                    <a:lnTo>
                      <a:pt x="76" y="8"/>
                    </a:lnTo>
                    <a:lnTo>
                      <a:pt x="78" y="12"/>
                    </a:lnTo>
                    <a:lnTo>
                      <a:pt x="80" y="10"/>
                    </a:lnTo>
                    <a:lnTo>
                      <a:pt x="83" y="10"/>
                    </a:lnTo>
                    <a:lnTo>
                      <a:pt x="81" y="15"/>
                    </a:lnTo>
                    <a:lnTo>
                      <a:pt x="76" y="22"/>
                    </a:lnTo>
                    <a:lnTo>
                      <a:pt x="76" y="25"/>
                    </a:lnTo>
                    <a:lnTo>
                      <a:pt x="85" y="30"/>
                    </a:lnTo>
                    <a:lnTo>
                      <a:pt x="88" y="30"/>
                    </a:lnTo>
                    <a:lnTo>
                      <a:pt x="91" y="33"/>
                    </a:lnTo>
                    <a:lnTo>
                      <a:pt x="90" y="35"/>
                    </a:lnTo>
                    <a:lnTo>
                      <a:pt x="85" y="33"/>
                    </a:lnTo>
                    <a:lnTo>
                      <a:pt x="83" y="35"/>
                    </a:lnTo>
                    <a:lnTo>
                      <a:pt x="83" y="40"/>
                    </a:lnTo>
                    <a:lnTo>
                      <a:pt x="88" y="45"/>
                    </a:lnTo>
                    <a:lnTo>
                      <a:pt x="86" y="47"/>
                    </a:lnTo>
                    <a:lnTo>
                      <a:pt x="81" y="47"/>
                    </a:lnTo>
                    <a:lnTo>
                      <a:pt x="76" y="43"/>
                    </a:lnTo>
                    <a:lnTo>
                      <a:pt x="73" y="45"/>
                    </a:lnTo>
                    <a:lnTo>
                      <a:pt x="75" y="48"/>
                    </a:lnTo>
                    <a:lnTo>
                      <a:pt x="78" y="50"/>
                    </a:lnTo>
                    <a:lnTo>
                      <a:pt x="80" y="53"/>
                    </a:lnTo>
                    <a:lnTo>
                      <a:pt x="76" y="55"/>
                    </a:lnTo>
                    <a:lnTo>
                      <a:pt x="73" y="57"/>
                    </a:lnTo>
                    <a:lnTo>
                      <a:pt x="71" y="60"/>
                    </a:lnTo>
                    <a:lnTo>
                      <a:pt x="71" y="67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0" y="65"/>
                    </a:lnTo>
                    <a:lnTo>
                      <a:pt x="58" y="67"/>
                    </a:lnTo>
                    <a:lnTo>
                      <a:pt x="48" y="65"/>
                    </a:lnTo>
                    <a:lnTo>
                      <a:pt x="47" y="65"/>
                    </a:lnTo>
                    <a:lnTo>
                      <a:pt x="47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8" name="Freeform 52">
                <a:extLst>
                  <a:ext uri="{FF2B5EF4-FFF2-40B4-BE49-F238E27FC236}">
                    <a16:creationId xmlns:a16="http://schemas.microsoft.com/office/drawing/2014/main" id="{91ACD1F0-572E-D242-9948-CA8D5E929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4481" y="2691778"/>
                <a:ext cx="37458" cy="20752"/>
              </a:xfrm>
              <a:custGeom>
                <a:avLst/>
                <a:gdLst/>
                <a:ahLst/>
                <a:cxnLst>
                  <a:cxn ang="0">
                    <a:pos x="1" y="40"/>
                  </a:cxn>
                  <a:cxn ang="0">
                    <a:pos x="11" y="40"/>
                  </a:cxn>
                  <a:cxn ang="0">
                    <a:pos x="16" y="36"/>
                  </a:cxn>
                  <a:cxn ang="0">
                    <a:pos x="21" y="35"/>
                  </a:cxn>
                  <a:cxn ang="0">
                    <a:pos x="31" y="38"/>
                  </a:cxn>
                  <a:cxn ang="0">
                    <a:pos x="36" y="38"/>
                  </a:cxn>
                  <a:cxn ang="0">
                    <a:pos x="38" y="30"/>
                  </a:cxn>
                  <a:cxn ang="0">
                    <a:pos x="44" y="26"/>
                  </a:cxn>
                  <a:cxn ang="0">
                    <a:pos x="46" y="21"/>
                  </a:cxn>
                  <a:cxn ang="0">
                    <a:pos x="61" y="15"/>
                  </a:cxn>
                  <a:cxn ang="0">
                    <a:pos x="71" y="15"/>
                  </a:cxn>
                  <a:cxn ang="0">
                    <a:pos x="69" y="6"/>
                  </a:cxn>
                  <a:cxn ang="0">
                    <a:pos x="64" y="0"/>
                  </a:cxn>
                  <a:cxn ang="0">
                    <a:pos x="58" y="1"/>
                  </a:cxn>
                  <a:cxn ang="0">
                    <a:pos x="48" y="6"/>
                  </a:cxn>
                  <a:cxn ang="0">
                    <a:pos x="44" y="6"/>
                  </a:cxn>
                  <a:cxn ang="0">
                    <a:pos x="41" y="6"/>
                  </a:cxn>
                  <a:cxn ang="0">
                    <a:pos x="36" y="10"/>
                  </a:cxn>
                  <a:cxn ang="0">
                    <a:pos x="31" y="10"/>
                  </a:cxn>
                  <a:cxn ang="0">
                    <a:pos x="24" y="11"/>
                  </a:cxn>
                  <a:cxn ang="0">
                    <a:pos x="21" y="8"/>
                  </a:cxn>
                  <a:cxn ang="0">
                    <a:pos x="11" y="8"/>
                  </a:cxn>
                  <a:cxn ang="0">
                    <a:pos x="6" y="8"/>
                  </a:cxn>
                  <a:cxn ang="0">
                    <a:pos x="1" y="15"/>
                  </a:cxn>
                  <a:cxn ang="0">
                    <a:pos x="3" y="18"/>
                  </a:cxn>
                  <a:cxn ang="0">
                    <a:pos x="0" y="23"/>
                  </a:cxn>
                  <a:cxn ang="0">
                    <a:pos x="1" y="30"/>
                  </a:cxn>
                  <a:cxn ang="0">
                    <a:pos x="1" y="30"/>
                  </a:cxn>
                  <a:cxn ang="0">
                    <a:pos x="6" y="33"/>
                  </a:cxn>
                  <a:cxn ang="0">
                    <a:pos x="6" y="35"/>
                  </a:cxn>
                  <a:cxn ang="0">
                    <a:pos x="1" y="36"/>
                  </a:cxn>
                  <a:cxn ang="0">
                    <a:pos x="1" y="40"/>
                  </a:cxn>
                </a:cxnLst>
                <a:rect l="0" t="0" r="r" b="b"/>
                <a:pathLst>
                  <a:path w="71" h="40">
                    <a:moveTo>
                      <a:pt x="1" y="40"/>
                    </a:moveTo>
                    <a:lnTo>
                      <a:pt x="11" y="40"/>
                    </a:lnTo>
                    <a:lnTo>
                      <a:pt x="16" y="36"/>
                    </a:lnTo>
                    <a:lnTo>
                      <a:pt x="21" y="35"/>
                    </a:lnTo>
                    <a:lnTo>
                      <a:pt x="31" y="38"/>
                    </a:lnTo>
                    <a:lnTo>
                      <a:pt x="36" y="38"/>
                    </a:lnTo>
                    <a:lnTo>
                      <a:pt x="38" y="30"/>
                    </a:lnTo>
                    <a:lnTo>
                      <a:pt x="44" y="26"/>
                    </a:lnTo>
                    <a:lnTo>
                      <a:pt x="46" y="21"/>
                    </a:lnTo>
                    <a:lnTo>
                      <a:pt x="61" y="15"/>
                    </a:lnTo>
                    <a:lnTo>
                      <a:pt x="71" y="15"/>
                    </a:lnTo>
                    <a:lnTo>
                      <a:pt x="69" y="6"/>
                    </a:lnTo>
                    <a:lnTo>
                      <a:pt x="64" y="0"/>
                    </a:lnTo>
                    <a:lnTo>
                      <a:pt x="58" y="1"/>
                    </a:lnTo>
                    <a:lnTo>
                      <a:pt x="48" y="6"/>
                    </a:lnTo>
                    <a:lnTo>
                      <a:pt x="44" y="6"/>
                    </a:lnTo>
                    <a:lnTo>
                      <a:pt x="41" y="6"/>
                    </a:lnTo>
                    <a:lnTo>
                      <a:pt x="36" y="10"/>
                    </a:lnTo>
                    <a:lnTo>
                      <a:pt x="31" y="10"/>
                    </a:lnTo>
                    <a:lnTo>
                      <a:pt x="24" y="11"/>
                    </a:lnTo>
                    <a:lnTo>
                      <a:pt x="21" y="8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1" y="15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1" y="30"/>
                    </a:lnTo>
                    <a:lnTo>
                      <a:pt x="1" y="30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" y="36"/>
                    </a:lnTo>
                    <a:lnTo>
                      <a:pt x="1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29" name="Freeform 53">
                <a:extLst>
                  <a:ext uri="{FF2B5EF4-FFF2-40B4-BE49-F238E27FC236}">
                    <a16:creationId xmlns:a16="http://schemas.microsoft.com/office/drawing/2014/main" id="{923ABCDD-5BF3-C046-BE5D-84A9E9CD1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5250" y="2660650"/>
                <a:ext cx="89901" cy="37353"/>
              </a:xfrm>
              <a:custGeom>
                <a:avLst/>
                <a:gdLst/>
                <a:ahLst/>
                <a:cxnLst>
                  <a:cxn ang="0">
                    <a:pos x="103" y="70"/>
                  </a:cxn>
                  <a:cxn ang="0">
                    <a:pos x="116" y="73"/>
                  </a:cxn>
                  <a:cxn ang="0">
                    <a:pos x="128" y="72"/>
                  </a:cxn>
                  <a:cxn ang="0">
                    <a:pos x="136" y="68"/>
                  </a:cxn>
                  <a:cxn ang="0">
                    <a:pos x="150" y="63"/>
                  </a:cxn>
                  <a:cxn ang="0">
                    <a:pos x="161" y="57"/>
                  </a:cxn>
                  <a:cxn ang="0">
                    <a:pos x="158" y="48"/>
                  </a:cxn>
                  <a:cxn ang="0">
                    <a:pos x="156" y="38"/>
                  </a:cxn>
                  <a:cxn ang="0">
                    <a:pos x="168" y="37"/>
                  </a:cxn>
                  <a:cxn ang="0">
                    <a:pos x="168" y="28"/>
                  </a:cxn>
                  <a:cxn ang="0">
                    <a:pos x="166" y="10"/>
                  </a:cxn>
                  <a:cxn ang="0">
                    <a:pos x="153" y="5"/>
                  </a:cxn>
                  <a:cxn ang="0">
                    <a:pos x="140" y="5"/>
                  </a:cxn>
                  <a:cxn ang="0">
                    <a:pos x="125" y="2"/>
                  </a:cxn>
                  <a:cxn ang="0">
                    <a:pos x="118" y="4"/>
                  </a:cxn>
                  <a:cxn ang="0">
                    <a:pos x="115" y="9"/>
                  </a:cxn>
                  <a:cxn ang="0">
                    <a:pos x="106" y="12"/>
                  </a:cxn>
                  <a:cxn ang="0">
                    <a:pos x="90" y="5"/>
                  </a:cxn>
                  <a:cxn ang="0">
                    <a:pos x="90" y="13"/>
                  </a:cxn>
                  <a:cxn ang="0">
                    <a:pos x="83" y="18"/>
                  </a:cxn>
                  <a:cxn ang="0">
                    <a:pos x="72" y="28"/>
                  </a:cxn>
                  <a:cxn ang="0">
                    <a:pos x="77" y="33"/>
                  </a:cxn>
                  <a:cxn ang="0">
                    <a:pos x="75" y="38"/>
                  </a:cxn>
                  <a:cxn ang="0">
                    <a:pos x="65" y="38"/>
                  </a:cxn>
                  <a:cxn ang="0">
                    <a:pos x="55" y="37"/>
                  </a:cxn>
                  <a:cxn ang="0">
                    <a:pos x="43" y="42"/>
                  </a:cxn>
                  <a:cxn ang="0">
                    <a:pos x="35" y="42"/>
                  </a:cxn>
                  <a:cxn ang="0">
                    <a:pos x="25" y="38"/>
                  </a:cxn>
                  <a:cxn ang="0">
                    <a:pos x="20" y="43"/>
                  </a:cxn>
                  <a:cxn ang="0">
                    <a:pos x="12" y="43"/>
                  </a:cxn>
                  <a:cxn ang="0">
                    <a:pos x="3" y="42"/>
                  </a:cxn>
                  <a:cxn ang="0">
                    <a:pos x="0" y="42"/>
                  </a:cxn>
                  <a:cxn ang="0">
                    <a:pos x="3" y="47"/>
                  </a:cxn>
                  <a:cxn ang="0">
                    <a:pos x="5" y="53"/>
                  </a:cxn>
                  <a:cxn ang="0">
                    <a:pos x="12" y="52"/>
                  </a:cxn>
                  <a:cxn ang="0">
                    <a:pos x="22" y="53"/>
                  </a:cxn>
                  <a:cxn ang="0">
                    <a:pos x="27" y="57"/>
                  </a:cxn>
                  <a:cxn ang="0">
                    <a:pos x="35" y="60"/>
                  </a:cxn>
                  <a:cxn ang="0">
                    <a:pos x="53" y="55"/>
                  </a:cxn>
                  <a:cxn ang="0">
                    <a:pos x="60" y="58"/>
                  </a:cxn>
                  <a:cxn ang="0">
                    <a:pos x="87" y="67"/>
                  </a:cxn>
                  <a:cxn ang="0">
                    <a:pos x="98" y="70"/>
                  </a:cxn>
                </a:cxnLst>
                <a:rect l="0" t="0" r="r" b="b"/>
                <a:pathLst>
                  <a:path w="168" h="73">
                    <a:moveTo>
                      <a:pt x="98" y="70"/>
                    </a:moveTo>
                    <a:lnTo>
                      <a:pt x="103" y="70"/>
                    </a:lnTo>
                    <a:lnTo>
                      <a:pt x="113" y="70"/>
                    </a:lnTo>
                    <a:lnTo>
                      <a:pt x="116" y="73"/>
                    </a:lnTo>
                    <a:lnTo>
                      <a:pt x="123" y="72"/>
                    </a:lnTo>
                    <a:lnTo>
                      <a:pt x="128" y="72"/>
                    </a:lnTo>
                    <a:lnTo>
                      <a:pt x="133" y="68"/>
                    </a:lnTo>
                    <a:lnTo>
                      <a:pt x="136" y="68"/>
                    </a:lnTo>
                    <a:lnTo>
                      <a:pt x="140" y="68"/>
                    </a:lnTo>
                    <a:lnTo>
                      <a:pt x="150" y="63"/>
                    </a:lnTo>
                    <a:lnTo>
                      <a:pt x="156" y="62"/>
                    </a:lnTo>
                    <a:lnTo>
                      <a:pt x="161" y="57"/>
                    </a:lnTo>
                    <a:lnTo>
                      <a:pt x="158" y="53"/>
                    </a:lnTo>
                    <a:lnTo>
                      <a:pt x="158" y="48"/>
                    </a:lnTo>
                    <a:lnTo>
                      <a:pt x="161" y="43"/>
                    </a:lnTo>
                    <a:lnTo>
                      <a:pt x="156" y="38"/>
                    </a:lnTo>
                    <a:lnTo>
                      <a:pt x="158" y="37"/>
                    </a:lnTo>
                    <a:lnTo>
                      <a:pt x="168" y="37"/>
                    </a:lnTo>
                    <a:lnTo>
                      <a:pt x="168" y="33"/>
                    </a:lnTo>
                    <a:lnTo>
                      <a:pt x="168" y="28"/>
                    </a:lnTo>
                    <a:lnTo>
                      <a:pt x="166" y="17"/>
                    </a:lnTo>
                    <a:lnTo>
                      <a:pt x="166" y="10"/>
                    </a:lnTo>
                    <a:lnTo>
                      <a:pt x="156" y="7"/>
                    </a:lnTo>
                    <a:lnTo>
                      <a:pt x="153" y="5"/>
                    </a:lnTo>
                    <a:lnTo>
                      <a:pt x="146" y="5"/>
                    </a:lnTo>
                    <a:lnTo>
                      <a:pt x="140" y="5"/>
                    </a:lnTo>
                    <a:lnTo>
                      <a:pt x="133" y="2"/>
                    </a:lnTo>
                    <a:lnTo>
                      <a:pt x="125" y="2"/>
                    </a:lnTo>
                    <a:lnTo>
                      <a:pt x="120" y="0"/>
                    </a:lnTo>
                    <a:lnTo>
                      <a:pt x="118" y="4"/>
                    </a:lnTo>
                    <a:lnTo>
                      <a:pt x="115" y="5"/>
                    </a:lnTo>
                    <a:lnTo>
                      <a:pt x="115" y="9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95" y="5"/>
                    </a:lnTo>
                    <a:lnTo>
                      <a:pt x="90" y="5"/>
                    </a:lnTo>
                    <a:lnTo>
                      <a:pt x="90" y="9"/>
                    </a:lnTo>
                    <a:lnTo>
                      <a:pt x="90" y="13"/>
                    </a:lnTo>
                    <a:lnTo>
                      <a:pt x="87" y="13"/>
                    </a:lnTo>
                    <a:lnTo>
                      <a:pt x="83" y="18"/>
                    </a:lnTo>
                    <a:lnTo>
                      <a:pt x="78" y="20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7" y="33"/>
                    </a:lnTo>
                    <a:lnTo>
                      <a:pt x="78" y="37"/>
                    </a:lnTo>
                    <a:lnTo>
                      <a:pt x="75" y="38"/>
                    </a:lnTo>
                    <a:lnTo>
                      <a:pt x="70" y="37"/>
                    </a:lnTo>
                    <a:lnTo>
                      <a:pt x="65" y="38"/>
                    </a:lnTo>
                    <a:lnTo>
                      <a:pt x="60" y="37"/>
                    </a:lnTo>
                    <a:lnTo>
                      <a:pt x="55" y="37"/>
                    </a:lnTo>
                    <a:lnTo>
                      <a:pt x="48" y="42"/>
                    </a:lnTo>
                    <a:lnTo>
                      <a:pt x="43" y="42"/>
                    </a:lnTo>
                    <a:lnTo>
                      <a:pt x="40" y="42"/>
                    </a:lnTo>
                    <a:lnTo>
                      <a:pt x="35" y="42"/>
                    </a:lnTo>
                    <a:lnTo>
                      <a:pt x="32" y="40"/>
                    </a:lnTo>
                    <a:lnTo>
                      <a:pt x="25" y="38"/>
                    </a:lnTo>
                    <a:lnTo>
                      <a:pt x="18" y="40"/>
                    </a:lnTo>
                    <a:lnTo>
                      <a:pt x="20" y="43"/>
                    </a:lnTo>
                    <a:lnTo>
                      <a:pt x="18" y="45"/>
                    </a:lnTo>
                    <a:lnTo>
                      <a:pt x="12" y="43"/>
                    </a:lnTo>
                    <a:lnTo>
                      <a:pt x="8" y="40"/>
                    </a:lnTo>
                    <a:lnTo>
                      <a:pt x="3" y="42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3" y="43"/>
                    </a:lnTo>
                    <a:lnTo>
                      <a:pt x="3" y="47"/>
                    </a:lnTo>
                    <a:lnTo>
                      <a:pt x="5" y="50"/>
                    </a:lnTo>
                    <a:lnTo>
                      <a:pt x="5" y="53"/>
                    </a:lnTo>
                    <a:lnTo>
                      <a:pt x="8" y="53"/>
                    </a:lnTo>
                    <a:lnTo>
                      <a:pt x="12" y="52"/>
                    </a:lnTo>
                    <a:lnTo>
                      <a:pt x="17" y="57"/>
                    </a:lnTo>
                    <a:lnTo>
                      <a:pt x="22" y="53"/>
                    </a:lnTo>
                    <a:lnTo>
                      <a:pt x="25" y="53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5" y="60"/>
                    </a:lnTo>
                    <a:lnTo>
                      <a:pt x="48" y="53"/>
                    </a:lnTo>
                    <a:lnTo>
                      <a:pt x="53" y="55"/>
                    </a:lnTo>
                    <a:lnTo>
                      <a:pt x="62" y="53"/>
                    </a:lnTo>
                    <a:lnTo>
                      <a:pt x="60" y="58"/>
                    </a:lnTo>
                    <a:lnTo>
                      <a:pt x="73" y="65"/>
                    </a:lnTo>
                    <a:lnTo>
                      <a:pt x="87" y="67"/>
                    </a:lnTo>
                    <a:lnTo>
                      <a:pt x="95" y="67"/>
                    </a:lnTo>
                    <a:lnTo>
                      <a:pt x="98" y="70"/>
                    </a:lnTo>
                    <a:lnTo>
                      <a:pt x="98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0" name="Freeform 54">
                <a:extLst>
                  <a:ext uri="{FF2B5EF4-FFF2-40B4-BE49-F238E27FC236}">
                    <a16:creationId xmlns:a16="http://schemas.microsoft.com/office/drawing/2014/main" id="{B138C8CD-8D73-4C48-B5BE-67EE18555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552" y="2569342"/>
                <a:ext cx="119868" cy="87157"/>
              </a:xfrm>
              <a:custGeom>
                <a:avLst/>
                <a:gdLst/>
                <a:ahLst/>
                <a:cxnLst>
                  <a:cxn ang="0">
                    <a:pos x="134" y="170"/>
                  </a:cxn>
                  <a:cxn ang="0">
                    <a:pos x="143" y="166"/>
                  </a:cxn>
                  <a:cxn ang="0">
                    <a:pos x="149" y="165"/>
                  </a:cxn>
                  <a:cxn ang="0">
                    <a:pos x="159" y="168"/>
                  </a:cxn>
                  <a:cxn ang="0">
                    <a:pos x="166" y="165"/>
                  </a:cxn>
                  <a:cxn ang="0">
                    <a:pos x="173" y="165"/>
                  </a:cxn>
                  <a:cxn ang="0">
                    <a:pos x="193" y="170"/>
                  </a:cxn>
                  <a:cxn ang="0">
                    <a:pos x="198" y="163"/>
                  </a:cxn>
                  <a:cxn ang="0">
                    <a:pos x="212" y="143"/>
                  </a:cxn>
                  <a:cxn ang="0">
                    <a:pos x="217" y="133"/>
                  </a:cxn>
                  <a:cxn ang="0">
                    <a:pos x="222" y="126"/>
                  </a:cxn>
                  <a:cxn ang="0">
                    <a:pos x="221" y="120"/>
                  </a:cxn>
                  <a:cxn ang="0">
                    <a:pos x="216" y="115"/>
                  </a:cxn>
                  <a:cxn ang="0">
                    <a:pos x="211" y="105"/>
                  </a:cxn>
                  <a:cxn ang="0">
                    <a:pos x="211" y="88"/>
                  </a:cxn>
                  <a:cxn ang="0">
                    <a:pos x="204" y="75"/>
                  </a:cxn>
                  <a:cxn ang="0">
                    <a:pos x="212" y="68"/>
                  </a:cxn>
                  <a:cxn ang="0">
                    <a:pos x="209" y="53"/>
                  </a:cxn>
                  <a:cxn ang="0">
                    <a:pos x="206" y="43"/>
                  </a:cxn>
                  <a:cxn ang="0">
                    <a:pos x="198" y="27"/>
                  </a:cxn>
                  <a:cxn ang="0">
                    <a:pos x="196" y="13"/>
                  </a:cxn>
                  <a:cxn ang="0">
                    <a:pos x="186" y="8"/>
                  </a:cxn>
                  <a:cxn ang="0">
                    <a:pos x="124" y="10"/>
                  </a:cxn>
                  <a:cxn ang="0">
                    <a:pos x="113" y="18"/>
                  </a:cxn>
                  <a:cxn ang="0">
                    <a:pos x="104" y="18"/>
                  </a:cxn>
                  <a:cxn ang="0">
                    <a:pos x="118" y="8"/>
                  </a:cxn>
                  <a:cxn ang="0">
                    <a:pos x="109" y="13"/>
                  </a:cxn>
                  <a:cxn ang="0">
                    <a:pos x="91" y="13"/>
                  </a:cxn>
                  <a:cxn ang="0">
                    <a:pos x="90" y="5"/>
                  </a:cxn>
                  <a:cxn ang="0">
                    <a:pos x="98" y="7"/>
                  </a:cxn>
                  <a:cxn ang="0">
                    <a:pos x="91" y="3"/>
                  </a:cxn>
                  <a:cxn ang="0">
                    <a:pos x="70" y="5"/>
                  </a:cxn>
                  <a:cxn ang="0">
                    <a:pos x="56" y="7"/>
                  </a:cxn>
                  <a:cxn ang="0">
                    <a:pos x="45" y="12"/>
                  </a:cxn>
                  <a:cxn ang="0">
                    <a:pos x="40" y="20"/>
                  </a:cxn>
                  <a:cxn ang="0">
                    <a:pos x="21" y="27"/>
                  </a:cxn>
                  <a:cxn ang="0">
                    <a:pos x="10" y="32"/>
                  </a:cxn>
                  <a:cxn ang="0">
                    <a:pos x="6" y="38"/>
                  </a:cxn>
                  <a:cxn ang="0">
                    <a:pos x="5" y="40"/>
                  </a:cxn>
                  <a:cxn ang="0">
                    <a:pos x="6" y="57"/>
                  </a:cxn>
                  <a:cxn ang="0">
                    <a:pos x="0" y="63"/>
                  </a:cxn>
                  <a:cxn ang="0">
                    <a:pos x="6" y="75"/>
                  </a:cxn>
                  <a:cxn ang="0">
                    <a:pos x="10" y="83"/>
                  </a:cxn>
                  <a:cxn ang="0">
                    <a:pos x="10" y="91"/>
                  </a:cxn>
                  <a:cxn ang="0">
                    <a:pos x="18" y="101"/>
                  </a:cxn>
                  <a:cxn ang="0">
                    <a:pos x="21" y="116"/>
                  </a:cxn>
                  <a:cxn ang="0">
                    <a:pos x="21" y="121"/>
                  </a:cxn>
                  <a:cxn ang="0">
                    <a:pos x="28" y="120"/>
                  </a:cxn>
                  <a:cxn ang="0">
                    <a:pos x="40" y="121"/>
                  </a:cxn>
                  <a:cxn ang="0">
                    <a:pos x="45" y="126"/>
                  </a:cxn>
                  <a:cxn ang="0">
                    <a:pos x="51" y="130"/>
                  </a:cxn>
                  <a:cxn ang="0">
                    <a:pos x="51" y="136"/>
                  </a:cxn>
                  <a:cxn ang="0">
                    <a:pos x="53" y="141"/>
                  </a:cxn>
                  <a:cxn ang="0">
                    <a:pos x="58" y="141"/>
                  </a:cxn>
                  <a:cxn ang="0">
                    <a:pos x="56" y="135"/>
                  </a:cxn>
                  <a:cxn ang="0">
                    <a:pos x="70" y="138"/>
                  </a:cxn>
                  <a:cxn ang="0">
                    <a:pos x="75" y="141"/>
                  </a:cxn>
                  <a:cxn ang="0">
                    <a:pos x="90" y="143"/>
                  </a:cxn>
                  <a:cxn ang="0">
                    <a:pos x="111" y="155"/>
                  </a:cxn>
                  <a:cxn ang="0">
                    <a:pos x="119" y="163"/>
                  </a:cxn>
                  <a:cxn ang="0">
                    <a:pos x="129" y="161"/>
                  </a:cxn>
                  <a:cxn ang="0">
                    <a:pos x="134" y="170"/>
                  </a:cxn>
                </a:cxnLst>
                <a:rect l="0" t="0" r="r" b="b"/>
                <a:pathLst>
                  <a:path w="222" h="170">
                    <a:moveTo>
                      <a:pt x="134" y="170"/>
                    </a:moveTo>
                    <a:lnTo>
                      <a:pt x="134" y="170"/>
                    </a:lnTo>
                    <a:lnTo>
                      <a:pt x="139" y="170"/>
                    </a:lnTo>
                    <a:lnTo>
                      <a:pt x="143" y="166"/>
                    </a:lnTo>
                    <a:lnTo>
                      <a:pt x="146" y="165"/>
                    </a:lnTo>
                    <a:lnTo>
                      <a:pt x="149" y="165"/>
                    </a:lnTo>
                    <a:lnTo>
                      <a:pt x="156" y="165"/>
                    </a:lnTo>
                    <a:lnTo>
                      <a:pt x="159" y="168"/>
                    </a:lnTo>
                    <a:lnTo>
                      <a:pt x="163" y="165"/>
                    </a:lnTo>
                    <a:lnTo>
                      <a:pt x="166" y="165"/>
                    </a:lnTo>
                    <a:lnTo>
                      <a:pt x="169" y="166"/>
                    </a:lnTo>
                    <a:lnTo>
                      <a:pt x="173" y="165"/>
                    </a:lnTo>
                    <a:lnTo>
                      <a:pt x="183" y="165"/>
                    </a:lnTo>
                    <a:lnTo>
                      <a:pt x="193" y="170"/>
                    </a:lnTo>
                    <a:lnTo>
                      <a:pt x="198" y="170"/>
                    </a:lnTo>
                    <a:lnTo>
                      <a:pt x="198" y="163"/>
                    </a:lnTo>
                    <a:lnTo>
                      <a:pt x="198" y="158"/>
                    </a:lnTo>
                    <a:lnTo>
                      <a:pt x="212" y="143"/>
                    </a:lnTo>
                    <a:lnTo>
                      <a:pt x="214" y="136"/>
                    </a:lnTo>
                    <a:lnTo>
                      <a:pt x="217" y="133"/>
                    </a:lnTo>
                    <a:lnTo>
                      <a:pt x="221" y="133"/>
                    </a:lnTo>
                    <a:lnTo>
                      <a:pt x="222" y="126"/>
                    </a:lnTo>
                    <a:lnTo>
                      <a:pt x="221" y="123"/>
                    </a:lnTo>
                    <a:lnTo>
                      <a:pt x="221" y="120"/>
                    </a:lnTo>
                    <a:lnTo>
                      <a:pt x="222" y="118"/>
                    </a:lnTo>
                    <a:lnTo>
                      <a:pt x="216" y="115"/>
                    </a:lnTo>
                    <a:lnTo>
                      <a:pt x="214" y="108"/>
                    </a:lnTo>
                    <a:lnTo>
                      <a:pt x="211" y="105"/>
                    </a:lnTo>
                    <a:lnTo>
                      <a:pt x="211" y="95"/>
                    </a:lnTo>
                    <a:lnTo>
                      <a:pt x="211" y="88"/>
                    </a:lnTo>
                    <a:lnTo>
                      <a:pt x="206" y="82"/>
                    </a:lnTo>
                    <a:lnTo>
                      <a:pt x="204" y="75"/>
                    </a:lnTo>
                    <a:lnTo>
                      <a:pt x="207" y="70"/>
                    </a:lnTo>
                    <a:lnTo>
                      <a:pt x="212" y="68"/>
                    </a:lnTo>
                    <a:lnTo>
                      <a:pt x="212" y="55"/>
                    </a:lnTo>
                    <a:lnTo>
                      <a:pt x="209" y="53"/>
                    </a:lnTo>
                    <a:lnTo>
                      <a:pt x="209" y="47"/>
                    </a:lnTo>
                    <a:lnTo>
                      <a:pt x="206" y="43"/>
                    </a:lnTo>
                    <a:lnTo>
                      <a:pt x="202" y="32"/>
                    </a:lnTo>
                    <a:lnTo>
                      <a:pt x="198" y="27"/>
                    </a:lnTo>
                    <a:lnTo>
                      <a:pt x="198" y="22"/>
                    </a:lnTo>
                    <a:lnTo>
                      <a:pt x="196" y="13"/>
                    </a:lnTo>
                    <a:lnTo>
                      <a:pt x="193" y="13"/>
                    </a:lnTo>
                    <a:lnTo>
                      <a:pt x="186" y="8"/>
                    </a:lnTo>
                    <a:lnTo>
                      <a:pt x="154" y="12"/>
                    </a:lnTo>
                    <a:lnTo>
                      <a:pt x="124" y="10"/>
                    </a:lnTo>
                    <a:lnTo>
                      <a:pt x="121" y="12"/>
                    </a:lnTo>
                    <a:lnTo>
                      <a:pt x="113" y="18"/>
                    </a:lnTo>
                    <a:lnTo>
                      <a:pt x="106" y="18"/>
                    </a:lnTo>
                    <a:lnTo>
                      <a:pt x="104" y="18"/>
                    </a:lnTo>
                    <a:lnTo>
                      <a:pt x="111" y="13"/>
                    </a:lnTo>
                    <a:lnTo>
                      <a:pt x="118" y="8"/>
                    </a:lnTo>
                    <a:lnTo>
                      <a:pt x="114" y="8"/>
                    </a:lnTo>
                    <a:lnTo>
                      <a:pt x="109" y="13"/>
                    </a:lnTo>
                    <a:lnTo>
                      <a:pt x="101" y="17"/>
                    </a:lnTo>
                    <a:lnTo>
                      <a:pt x="91" y="13"/>
                    </a:lnTo>
                    <a:lnTo>
                      <a:pt x="88" y="8"/>
                    </a:lnTo>
                    <a:lnTo>
                      <a:pt x="90" y="5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8" y="7"/>
                    </a:lnTo>
                    <a:lnTo>
                      <a:pt x="91" y="3"/>
                    </a:lnTo>
                    <a:lnTo>
                      <a:pt x="80" y="0"/>
                    </a:lnTo>
                    <a:lnTo>
                      <a:pt x="70" y="5"/>
                    </a:lnTo>
                    <a:lnTo>
                      <a:pt x="63" y="3"/>
                    </a:lnTo>
                    <a:lnTo>
                      <a:pt x="56" y="7"/>
                    </a:lnTo>
                    <a:lnTo>
                      <a:pt x="51" y="12"/>
                    </a:lnTo>
                    <a:lnTo>
                      <a:pt x="45" y="12"/>
                    </a:lnTo>
                    <a:lnTo>
                      <a:pt x="40" y="17"/>
                    </a:lnTo>
                    <a:lnTo>
                      <a:pt x="40" y="20"/>
                    </a:lnTo>
                    <a:lnTo>
                      <a:pt x="33" y="20"/>
                    </a:lnTo>
                    <a:lnTo>
                      <a:pt x="21" y="27"/>
                    </a:lnTo>
                    <a:lnTo>
                      <a:pt x="13" y="27"/>
                    </a:lnTo>
                    <a:lnTo>
                      <a:pt x="10" y="32"/>
                    </a:lnTo>
                    <a:lnTo>
                      <a:pt x="8" y="37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5" y="40"/>
                    </a:lnTo>
                    <a:lnTo>
                      <a:pt x="8" y="50"/>
                    </a:lnTo>
                    <a:lnTo>
                      <a:pt x="6" y="57"/>
                    </a:lnTo>
                    <a:lnTo>
                      <a:pt x="0" y="60"/>
                    </a:lnTo>
                    <a:lnTo>
                      <a:pt x="0" y="63"/>
                    </a:lnTo>
                    <a:lnTo>
                      <a:pt x="8" y="72"/>
                    </a:lnTo>
                    <a:lnTo>
                      <a:pt x="6" y="75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13" y="87"/>
                    </a:lnTo>
                    <a:lnTo>
                      <a:pt x="10" y="91"/>
                    </a:lnTo>
                    <a:lnTo>
                      <a:pt x="15" y="100"/>
                    </a:lnTo>
                    <a:lnTo>
                      <a:pt x="18" y="101"/>
                    </a:lnTo>
                    <a:lnTo>
                      <a:pt x="21" y="105"/>
                    </a:lnTo>
                    <a:lnTo>
                      <a:pt x="21" y="116"/>
                    </a:lnTo>
                    <a:lnTo>
                      <a:pt x="20" y="118"/>
                    </a:lnTo>
                    <a:lnTo>
                      <a:pt x="21" y="121"/>
                    </a:lnTo>
                    <a:lnTo>
                      <a:pt x="23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40" y="121"/>
                    </a:lnTo>
                    <a:lnTo>
                      <a:pt x="40" y="123"/>
                    </a:lnTo>
                    <a:lnTo>
                      <a:pt x="45" y="126"/>
                    </a:lnTo>
                    <a:lnTo>
                      <a:pt x="48" y="126"/>
                    </a:lnTo>
                    <a:lnTo>
                      <a:pt x="51" y="130"/>
                    </a:lnTo>
                    <a:lnTo>
                      <a:pt x="50" y="135"/>
                    </a:lnTo>
                    <a:lnTo>
                      <a:pt x="51" y="136"/>
                    </a:lnTo>
                    <a:lnTo>
                      <a:pt x="53" y="138"/>
                    </a:lnTo>
                    <a:lnTo>
                      <a:pt x="53" y="141"/>
                    </a:lnTo>
                    <a:lnTo>
                      <a:pt x="56" y="143"/>
                    </a:lnTo>
                    <a:lnTo>
                      <a:pt x="58" y="141"/>
                    </a:lnTo>
                    <a:lnTo>
                      <a:pt x="61" y="141"/>
                    </a:lnTo>
                    <a:lnTo>
                      <a:pt x="56" y="135"/>
                    </a:lnTo>
                    <a:lnTo>
                      <a:pt x="58" y="133"/>
                    </a:lnTo>
                    <a:lnTo>
                      <a:pt x="70" y="138"/>
                    </a:lnTo>
                    <a:lnTo>
                      <a:pt x="76" y="138"/>
                    </a:lnTo>
                    <a:lnTo>
                      <a:pt x="75" y="141"/>
                    </a:lnTo>
                    <a:lnTo>
                      <a:pt x="81" y="145"/>
                    </a:lnTo>
                    <a:lnTo>
                      <a:pt x="90" y="143"/>
                    </a:lnTo>
                    <a:lnTo>
                      <a:pt x="96" y="146"/>
                    </a:lnTo>
                    <a:lnTo>
                      <a:pt x="111" y="155"/>
                    </a:lnTo>
                    <a:lnTo>
                      <a:pt x="116" y="163"/>
                    </a:lnTo>
                    <a:lnTo>
                      <a:pt x="119" y="163"/>
                    </a:lnTo>
                    <a:lnTo>
                      <a:pt x="123" y="160"/>
                    </a:lnTo>
                    <a:lnTo>
                      <a:pt x="129" y="161"/>
                    </a:lnTo>
                    <a:lnTo>
                      <a:pt x="133" y="165"/>
                    </a:lnTo>
                    <a:lnTo>
                      <a:pt x="134" y="1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1" name="Freeform 55">
                <a:extLst>
                  <a:ext uri="{FF2B5EF4-FFF2-40B4-BE49-F238E27FC236}">
                    <a16:creationId xmlns:a16="http://schemas.microsoft.com/office/drawing/2014/main" id="{A86D0C1E-F09E-7949-8171-1C824EEBA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2006" y="2630560"/>
                <a:ext cx="96322" cy="35278"/>
              </a:xfrm>
              <a:custGeom>
                <a:avLst/>
                <a:gdLst/>
                <a:ahLst/>
                <a:cxnLst>
                  <a:cxn ang="0">
                    <a:pos x="66" y="3"/>
                  </a:cxn>
                  <a:cxn ang="0">
                    <a:pos x="73" y="2"/>
                  </a:cxn>
                  <a:cxn ang="0">
                    <a:pos x="85" y="3"/>
                  </a:cxn>
                  <a:cxn ang="0">
                    <a:pos x="90" y="8"/>
                  </a:cxn>
                  <a:cxn ang="0">
                    <a:pos x="96" y="12"/>
                  </a:cxn>
                  <a:cxn ang="0">
                    <a:pos x="96" y="18"/>
                  </a:cxn>
                  <a:cxn ang="0">
                    <a:pos x="98" y="23"/>
                  </a:cxn>
                  <a:cxn ang="0">
                    <a:pos x="103" y="23"/>
                  </a:cxn>
                  <a:cxn ang="0">
                    <a:pos x="101" y="17"/>
                  </a:cxn>
                  <a:cxn ang="0">
                    <a:pos x="115" y="20"/>
                  </a:cxn>
                  <a:cxn ang="0">
                    <a:pos x="120" y="23"/>
                  </a:cxn>
                  <a:cxn ang="0">
                    <a:pos x="135" y="25"/>
                  </a:cxn>
                  <a:cxn ang="0">
                    <a:pos x="156" y="37"/>
                  </a:cxn>
                  <a:cxn ang="0">
                    <a:pos x="164" y="45"/>
                  </a:cxn>
                  <a:cxn ang="0">
                    <a:pos x="174" y="43"/>
                  </a:cxn>
                  <a:cxn ang="0">
                    <a:pos x="179" y="52"/>
                  </a:cxn>
                  <a:cxn ang="0">
                    <a:pos x="163" y="55"/>
                  </a:cxn>
                  <a:cxn ang="0">
                    <a:pos x="149" y="62"/>
                  </a:cxn>
                  <a:cxn ang="0">
                    <a:pos x="131" y="67"/>
                  </a:cxn>
                  <a:cxn ang="0">
                    <a:pos x="123" y="65"/>
                  </a:cxn>
                  <a:cxn ang="0">
                    <a:pos x="106" y="65"/>
                  </a:cxn>
                  <a:cxn ang="0">
                    <a:pos x="96" y="63"/>
                  </a:cxn>
                  <a:cxn ang="0">
                    <a:pos x="83" y="60"/>
                  </a:cxn>
                  <a:cxn ang="0">
                    <a:pos x="70" y="58"/>
                  </a:cxn>
                  <a:cxn ang="0">
                    <a:pos x="65" y="63"/>
                  </a:cxn>
                  <a:cxn ang="0">
                    <a:pos x="58" y="68"/>
                  </a:cxn>
                  <a:cxn ang="0">
                    <a:pos x="45" y="63"/>
                  </a:cxn>
                  <a:cxn ang="0">
                    <a:pos x="42" y="63"/>
                  </a:cxn>
                  <a:cxn ang="0">
                    <a:pos x="27" y="50"/>
                  </a:cxn>
                  <a:cxn ang="0">
                    <a:pos x="13" y="43"/>
                  </a:cxn>
                  <a:cxn ang="0">
                    <a:pos x="12" y="33"/>
                  </a:cxn>
                  <a:cxn ang="0">
                    <a:pos x="0" y="23"/>
                  </a:cxn>
                  <a:cxn ang="0">
                    <a:pos x="3" y="18"/>
                  </a:cxn>
                  <a:cxn ang="0">
                    <a:pos x="8" y="22"/>
                  </a:cxn>
                  <a:cxn ang="0">
                    <a:pos x="22" y="15"/>
                  </a:cxn>
                  <a:cxn ang="0">
                    <a:pos x="32" y="10"/>
                  </a:cxn>
                  <a:cxn ang="0">
                    <a:pos x="42" y="7"/>
                  </a:cxn>
                  <a:cxn ang="0">
                    <a:pos x="50" y="5"/>
                  </a:cxn>
                  <a:cxn ang="0">
                    <a:pos x="58" y="2"/>
                  </a:cxn>
                  <a:cxn ang="0">
                    <a:pos x="63" y="2"/>
                  </a:cxn>
                </a:cxnLst>
                <a:rect l="0" t="0" r="r" b="b"/>
                <a:pathLst>
                  <a:path w="179" h="70">
                    <a:moveTo>
                      <a:pt x="65" y="0"/>
                    </a:moveTo>
                    <a:lnTo>
                      <a:pt x="66" y="3"/>
                    </a:lnTo>
                    <a:lnTo>
                      <a:pt x="68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85" y="3"/>
                    </a:lnTo>
                    <a:lnTo>
                      <a:pt x="85" y="5"/>
                    </a:lnTo>
                    <a:lnTo>
                      <a:pt x="90" y="8"/>
                    </a:lnTo>
                    <a:lnTo>
                      <a:pt x="93" y="8"/>
                    </a:lnTo>
                    <a:lnTo>
                      <a:pt x="96" y="12"/>
                    </a:lnTo>
                    <a:lnTo>
                      <a:pt x="95" y="17"/>
                    </a:lnTo>
                    <a:lnTo>
                      <a:pt x="96" y="18"/>
                    </a:lnTo>
                    <a:lnTo>
                      <a:pt x="98" y="20"/>
                    </a:lnTo>
                    <a:lnTo>
                      <a:pt x="98" y="23"/>
                    </a:lnTo>
                    <a:lnTo>
                      <a:pt x="101" y="25"/>
                    </a:lnTo>
                    <a:lnTo>
                      <a:pt x="103" y="23"/>
                    </a:lnTo>
                    <a:lnTo>
                      <a:pt x="106" y="23"/>
                    </a:lnTo>
                    <a:lnTo>
                      <a:pt x="101" y="17"/>
                    </a:lnTo>
                    <a:lnTo>
                      <a:pt x="103" y="15"/>
                    </a:lnTo>
                    <a:lnTo>
                      <a:pt x="115" y="20"/>
                    </a:lnTo>
                    <a:lnTo>
                      <a:pt x="121" y="20"/>
                    </a:lnTo>
                    <a:lnTo>
                      <a:pt x="120" y="23"/>
                    </a:lnTo>
                    <a:lnTo>
                      <a:pt x="126" y="27"/>
                    </a:lnTo>
                    <a:lnTo>
                      <a:pt x="135" y="25"/>
                    </a:lnTo>
                    <a:lnTo>
                      <a:pt x="141" y="28"/>
                    </a:lnTo>
                    <a:lnTo>
                      <a:pt x="156" y="37"/>
                    </a:lnTo>
                    <a:lnTo>
                      <a:pt x="161" y="45"/>
                    </a:lnTo>
                    <a:lnTo>
                      <a:pt x="164" y="45"/>
                    </a:lnTo>
                    <a:lnTo>
                      <a:pt x="168" y="42"/>
                    </a:lnTo>
                    <a:lnTo>
                      <a:pt x="174" y="43"/>
                    </a:lnTo>
                    <a:lnTo>
                      <a:pt x="178" y="47"/>
                    </a:lnTo>
                    <a:lnTo>
                      <a:pt x="179" y="52"/>
                    </a:lnTo>
                    <a:lnTo>
                      <a:pt x="168" y="52"/>
                    </a:lnTo>
                    <a:lnTo>
                      <a:pt x="163" y="55"/>
                    </a:lnTo>
                    <a:lnTo>
                      <a:pt x="156" y="55"/>
                    </a:lnTo>
                    <a:lnTo>
                      <a:pt x="149" y="62"/>
                    </a:lnTo>
                    <a:lnTo>
                      <a:pt x="141" y="63"/>
                    </a:lnTo>
                    <a:lnTo>
                      <a:pt x="131" y="67"/>
                    </a:lnTo>
                    <a:lnTo>
                      <a:pt x="130" y="65"/>
                    </a:lnTo>
                    <a:lnTo>
                      <a:pt x="123" y="65"/>
                    </a:lnTo>
                    <a:lnTo>
                      <a:pt x="118" y="68"/>
                    </a:lnTo>
                    <a:lnTo>
                      <a:pt x="106" y="65"/>
                    </a:lnTo>
                    <a:lnTo>
                      <a:pt x="103" y="63"/>
                    </a:lnTo>
                    <a:lnTo>
                      <a:pt x="96" y="63"/>
                    </a:lnTo>
                    <a:lnTo>
                      <a:pt x="90" y="63"/>
                    </a:lnTo>
                    <a:lnTo>
                      <a:pt x="83" y="60"/>
                    </a:lnTo>
                    <a:lnTo>
                      <a:pt x="75" y="60"/>
                    </a:lnTo>
                    <a:lnTo>
                      <a:pt x="70" y="58"/>
                    </a:lnTo>
                    <a:lnTo>
                      <a:pt x="68" y="62"/>
                    </a:lnTo>
                    <a:lnTo>
                      <a:pt x="65" y="63"/>
                    </a:lnTo>
                    <a:lnTo>
                      <a:pt x="65" y="67"/>
                    </a:lnTo>
                    <a:lnTo>
                      <a:pt x="58" y="68"/>
                    </a:lnTo>
                    <a:lnTo>
                      <a:pt x="56" y="70"/>
                    </a:lnTo>
                    <a:lnTo>
                      <a:pt x="45" y="63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32" y="53"/>
                    </a:lnTo>
                    <a:lnTo>
                      <a:pt x="27" y="50"/>
                    </a:lnTo>
                    <a:lnTo>
                      <a:pt x="18" y="45"/>
                    </a:lnTo>
                    <a:lnTo>
                      <a:pt x="13" y="43"/>
                    </a:lnTo>
                    <a:lnTo>
                      <a:pt x="12" y="40"/>
                    </a:lnTo>
                    <a:lnTo>
                      <a:pt x="12" y="33"/>
                    </a:lnTo>
                    <a:lnTo>
                      <a:pt x="7" y="27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3" y="18"/>
                    </a:lnTo>
                    <a:lnTo>
                      <a:pt x="5" y="20"/>
                    </a:lnTo>
                    <a:lnTo>
                      <a:pt x="8" y="22"/>
                    </a:lnTo>
                    <a:lnTo>
                      <a:pt x="18" y="15"/>
                    </a:lnTo>
                    <a:lnTo>
                      <a:pt x="22" y="15"/>
                    </a:lnTo>
                    <a:lnTo>
                      <a:pt x="27" y="10"/>
                    </a:lnTo>
                    <a:lnTo>
                      <a:pt x="32" y="10"/>
                    </a:lnTo>
                    <a:lnTo>
                      <a:pt x="35" y="7"/>
                    </a:lnTo>
                    <a:lnTo>
                      <a:pt x="42" y="7"/>
                    </a:lnTo>
                    <a:lnTo>
                      <a:pt x="47" y="7"/>
                    </a:lnTo>
                    <a:lnTo>
                      <a:pt x="50" y="5"/>
                    </a:lnTo>
                    <a:lnTo>
                      <a:pt x="50" y="0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3" y="2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2" name="Freeform 56">
                <a:extLst>
                  <a:ext uri="{FF2B5EF4-FFF2-40B4-BE49-F238E27FC236}">
                    <a16:creationId xmlns:a16="http://schemas.microsoft.com/office/drawing/2014/main" id="{7C05F654-80E9-0C49-BDC3-7D07A7818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9229" y="2569342"/>
                <a:ext cx="108095" cy="114135"/>
              </a:xfrm>
              <a:custGeom>
                <a:avLst/>
                <a:gdLst/>
                <a:ahLst/>
                <a:cxnLst>
                  <a:cxn ang="0">
                    <a:pos x="75" y="3"/>
                  </a:cxn>
                  <a:cxn ang="0">
                    <a:pos x="84" y="13"/>
                  </a:cxn>
                  <a:cxn ang="0">
                    <a:pos x="89" y="21"/>
                  </a:cxn>
                  <a:cxn ang="0">
                    <a:pos x="98" y="18"/>
                  </a:cxn>
                  <a:cxn ang="0">
                    <a:pos x="111" y="18"/>
                  </a:cxn>
                  <a:cxn ang="0">
                    <a:pos x="101" y="28"/>
                  </a:cxn>
                  <a:cxn ang="0">
                    <a:pos x="116" y="31"/>
                  </a:cxn>
                  <a:cxn ang="0">
                    <a:pos x="133" y="23"/>
                  </a:cxn>
                  <a:cxn ang="0">
                    <a:pos x="141" y="15"/>
                  </a:cxn>
                  <a:cxn ang="0">
                    <a:pos x="139" y="18"/>
                  </a:cxn>
                  <a:cxn ang="0">
                    <a:pos x="149" y="20"/>
                  </a:cxn>
                  <a:cxn ang="0">
                    <a:pos x="164" y="26"/>
                  </a:cxn>
                  <a:cxn ang="0">
                    <a:pos x="174" y="36"/>
                  </a:cxn>
                  <a:cxn ang="0">
                    <a:pos x="189" y="48"/>
                  </a:cxn>
                  <a:cxn ang="0">
                    <a:pos x="189" y="70"/>
                  </a:cxn>
                  <a:cxn ang="0">
                    <a:pos x="194" y="85"/>
                  </a:cxn>
                  <a:cxn ang="0">
                    <a:pos x="202" y="103"/>
                  </a:cxn>
                  <a:cxn ang="0">
                    <a:pos x="194" y="118"/>
                  </a:cxn>
                  <a:cxn ang="0">
                    <a:pos x="178" y="123"/>
                  </a:cxn>
                  <a:cxn ang="0">
                    <a:pos x="158" y="131"/>
                  </a:cxn>
                  <a:cxn ang="0">
                    <a:pos x="139" y="134"/>
                  </a:cxn>
                  <a:cxn ang="0">
                    <a:pos x="148" y="149"/>
                  </a:cxn>
                  <a:cxn ang="0">
                    <a:pos x="163" y="166"/>
                  </a:cxn>
                  <a:cxn ang="0">
                    <a:pos x="176" y="187"/>
                  </a:cxn>
                  <a:cxn ang="0">
                    <a:pos x="158" y="202"/>
                  </a:cxn>
                  <a:cxn ang="0">
                    <a:pos x="161" y="212"/>
                  </a:cxn>
                  <a:cxn ang="0">
                    <a:pos x="141" y="211"/>
                  </a:cxn>
                  <a:cxn ang="0">
                    <a:pos x="121" y="216"/>
                  </a:cxn>
                  <a:cxn ang="0">
                    <a:pos x="106" y="217"/>
                  </a:cxn>
                  <a:cxn ang="0">
                    <a:pos x="89" y="216"/>
                  </a:cxn>
                  <a:cxn ang="0">
                    <a:pos x="76" y="211"/>
                  </a:cxn>
                  <a:cxn ang="0">
                    <a:pos x="66" y="207"/>
                  </a:cxn>
                  <a:cxn ang="0">
                    <a:pos x="55" y="212"/>
                  </a:cxn>
                  <a:cxn ang="0">
                    <a:pos x="45" y="209"/>
                  </a:cxn>
                  <a:cxn ang="0">
                    <a:pos x="45" y="191"/>
                  </a:cxn>
                  <a:cxn ang="0">
                    <a:pos x="48" y="173"/>
                  </a:cxn>
                  <a:cxn ang="0">
                    <a:pos x="31" y="171"/>
                  </a:cxn>
                  <a:cxn ang="0">
                    <a:pos x="18" y="166"/>
                  </a:cxn>
                  <a:cxn ang="0">
                    <a:pos x="11" y="153"/>
                  </a:cxn>
                  <a:cxn ang="0">
                    <a:pos x="6" y="136"/>
                  </a:cxn>
                  <a:cxn ang="0">
                    <a:pos x="1" y="119"/>
                  </a:cxn>
                  <a:cxn ang="0">
                    <a:pos x="3" y="101"/>
                  </a:cxn>
                  <a:cxn ang="0">
                    <a:pos x="21" y="93"/>
                  </a:cxn>
                  <a:cxn ang="0">
                    <a:pos x="26" y="80"/>
                  </a:cxn>
                  <a:cxn ang="0">
                    <a:pos x="18" y="73"/>
                  </a:cxn>
                  <a:cxn ang="0">
                    <a:pos x="28" y="65"/>
                  </a:cxn>
                  <a:cxn ang="0">
                    <a:pos x="33" y="55"/>
                  </a:cxn>
                  <a:cxn ang="0">
                    <a:pos x="25" y="46"/>
                  </a:cxn>
                  <a:cxn ang="0">
                    <a:pos x="45" y="41"/>
                  </a:cxn>
                  <a:cxn ang="0">
                    <a:pos x="48" y="45"/>
                  </a:cxn>
                  <a:cxn ang="0">
                    <a:pos x="55" y="48"/>
                  </a:cxn>
                  <a:cxn ang="0">
                    <a:pos x="56" y="40"/>
                  </a:cxn>
                  <a:cxn ang="0">
                    <a:pos x="71" y="35"/>
                  </a:cxn>
                  <a:cxn ang="0">
                    <a:pos x="73" y="33"/>
                  </a:cxn>
                  <a:cxn ang="0">
                    <a:pos x="66" y="26"/>
                  </a:cxn>
                  <a:cxn ang="0">
                    <a:pos x="58" y="16"/>
                  </a:cxn>
                  <a:cxn ang="0">
                    <a:pos x="61" y="6"/>
                  </a:cxn>
                  <a:cxn ang="0">
                    <a:pos x="56" y="0"/>
                  </a:cxn>
                </a:cxnLst>
                <a:rect l="0" t="0" r="r" b="b"/>
                <a:pathLst>
                  <a:path w="202" h="219">
                    <a:moveTo>
                      <a:pt x="56" y="0"/>
                    </a:moveTo>
                    <a:lnTo>
                      <a:pt x="63" y="0"/>
                    </a:lnTo>
                    <a:lnTo>
                      <a:pt x="71" y="1"/>
                    </a:lnTo>
                    <a:lnTo>
                      <a:pt x="75" y="3"/>
                    </a:lnTo>
                    <a:lnTo>
                      <a:pt x="78" y="3"/>
                    </a:lnTo>
                    <a:lnTo>
                      <a:pt x="83" y="6"/>
                    </a:lnTo>
                    <a:lnTo>
                      <a:pt x="88" y="8"/>
                    </a:lnTo>
                    <a:lnTo>
                      <a:pt x="84" y="13"/>
                    </a:lnTo>
                    <a:lnTo>
                      <a:pt x="83" y="15"/>
                    </a:lnTo>
                    <a:lnTo>
                      <a:pt x="84" y="16"/>
                    </a:lnTo>
                    <a:lnTo>
                      <a:pt x="88" y="18"/>
                    </a:lnTo>
                    <a:lnTo>
                      <a:pt x="89" y="21"/>
                    </a:lnTo>
                    <a:lnTo>
                      <a:pt x="93" y="20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8" y="18"/>
                    </a:lnTo>
                    <a:lnTo>
                      <a:pt x="104" y="21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1" y="23"/>
                    </a:lnTo>
                    <a:lnTo>
                      <a:pt x="108" y="26"/>
                    </a:lnTo>
                    <a:lnTo>
                      <a:pt x="106" y="25"/>
                    </a:lnTo>
                    <a:lnTo>
                      <a:pt x="101" y="28"/>
                    </a:lnTo>
                    <a:lnTo>
                      <a:pt x="108" y="30"/>
                    </a:lnTo>
                    <a:lnTo>
                      <a:pt x="109" y="28"/>
                    </a:lnTo>
                    <a:lnTo>
                      <a:pt x="114" y="30"/>
                    </a:lnTo>
                    <a:lnTo>
                      <a:pt x="116" y="31"/>
                    </a:lnTo>
                    <a:lnTo>
                      <a:pt x="121" y="31"/>
                    </a:lnTo>
                    <a:lnTo>
                      <a:pt x="121" y="28"/>
                    </a:lnTo>
                    <a:lnTo>
                      <a:pt x="124" y="23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9" y="18"/>
                    </a:lnTo>
                    <a:lnTo>
                      <a:pt x="139" y="16"/>
                    </a:lnTo>
                    <a:lnTo>
                      <a:pt x="141" y="15"/>
                    </a:lnTo>
                    <a:lnTo>
                      <a:pt x="148" y="16"/>
                    </a:lnTo>
                    <a:lnTo>
                      <a:pt x="143" y="18"/>
                    </a:lnTo>
                    <a:lnTo>
                      <a:pt x="141" y="20"/>
                    </a:lnTo>
                    <a:lnTo>
                      <a:pt x="139" y="18"/>
                    </a:lnTo>
                    <a:lnTo>
                      <a:pt x="138" y="21"/>
                    </a:lnTo>
                    <a:lnTo>
                      <a:pt x="139" y="23"/>
                    </a:lnTo>
                    <a:lnTo>
                      <a:pt x="144" y="20"/>
                    </a:lnTo>
                    <a:lnTo>
                      <a:pt x="149" y="20"/>
                    </a:lnTo>
                    <a:lnTo>
                      <a:pt x="151" y="18"/>
                    </a:lnTo>
                    <a:lnTo>
                      <a:pt x="153" y="20"/>
                    </a:lnTo>
                    <a:lnTo>
                      <a:pt x="158" y="21"/>
                    </a:lnTo>
                    <a:lnTo>
                      <a:pt x="164" y="26"/>
                    </a:lnTo>
                    <a:lnTo>
                      <a:pt x="169" y="26"/>
                    </a:lnTo>
                    <a:lnTo>
                      <a:pt x="171" y="30"/>
                    </a:lnTo>
                    <a:lnTo>
                      <a:pt x="171" y="33"/>
                    </a:lnTo>
                    <a:lnTo>
                      <a:pt x="174" y="36"/>
                    </a:lnTo>
                    <a:lnTo>
                      <a:pt x="179" y="36"/>
                    </a:lnTo>
                    <a:lnTo>
                      <a:pt x="181" y="38"/>
                    </a:lnTo>
                    <a:lnTo>
                      <a:pt x="186" y="38"/>
                    </a:lnTo>
                    <a:lnTo>
                      <a:pt x="189" y="48"/>
                    </a:lnTo>
                    <a:lnTo>
                      <a:pt x="187" y="55"/>
                    </a:lnTo>
                    <a:lnTo>
                      <a:pt x="181" y="58"/>
                    </a:lnTo>
                    <a:lnTo>
                      <a:pt x="181" y="61"/>
                    </a:lnTo>
                    <a:lnTo>
                      <a:pt x="189" y="70"/>
                    </a:lnTo>
                    <a:lnTo>
                      <a:pt x="187" y="73"/>
                    </a:lnTo>
                    <a:lnTo>
                      <a:pt x="191" y="78"/>
                    </a:lnTo>
                    <a:lnTo>
                      <a:pt x="191" y="81"/>
                    </a:lnTo>
                    <a:lnTo>
                      <a:pt x="194" y="85"/>
                    </a:lnTo>
                    <a:lnTo>
                      <a:pt x="191" y="89"/>
                    </a:lnTo>
                    <a:lnTo>
                      <a:pt x="196" y="98"/>
                    </a:lnTo>
                    <a:lnTo>
                      <a:pt x="199" y="99"/>
                    </a:lnTo>
                    <a:lnTo>
                      <a:pt x="202" y="103"/>
                    </a:lnTo>
                    <a:lnTo>
                      <a:pt x="202" y="114"/>
                    </a:lnTo>
                    <a:lnTo>
                      <a:pt x="199" y="118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86" y="116"/>
                    </a:lnTo>
                    <a:lnTo>
                      <a:pt x="186" y="121"/>
                    </a:lnTo>
                    <a:lnTo>
                      <a:pt x="183" y="123"/>
                    </a:lnTo>
                    <a:lnTo>
                      <a:pt x="178" y="123"/>
                    </a:lnTo>
                    <a:lnTo>
                      <a:pt x="171" y="123"/>
                    </a:lnTo>
                    <a:lnTo>
                      <a:pt x="168" y="126"/>
                    </a:lnTo>
                    <a:lnTo>
                      <a:pt x="163" y="126"/>
                    </a:lnTo>
                    <a:lnTo>
                      <a:pt x="158" y="131"/>
                    </a:lnTo>
                    <a:lnTo>
                      <a:pt x="154" y="131"/>
                    </a:lnTo>
                    <a:lnTo>
                      <a:pt x="144" y="138"/>
                    </a:lnTo>
                    <a:lnTo>
                      <a:pt x="141" y="136"/>
                    </a:lnTo>
                    <a:lnTo>
                      <a:pt x="139" y="134"/>
                    </a:lnTo>
                    <a:lnTo>
                      <a:pt x="136" y="136"/>
                    </a:lnTo>
                    <a:lnTo>
                      <a:pt x="136" y="139"/>
                    </a:lnTo>
                    <a:lnTo>
                      <a:pt x="143" y="143"/>
                    </a:lnTo>
                    <a:lnTo>
                      <a:pt x="148" y="149"/>
                    </a:lnTo>
                    <a:lnTo>
                      <a:pt x="148" y="156"/>
                    </a:lnTo>
                    <a:lnTo>
                      <a:pt x="149" y="159"/>
                    </a:lnTo>
                    <a:lnTo>
                      <a:pt x="154" y="161"/>
                    </a:lnTo>
                    <a:lnTo>
                      <a:pt x="163" y="166"/>
                    </a:lnTo>
                    <a:lnTo>
                      <a:pt x="168" y="169"/>
                    </a:lnTo>
                    <a:lnTo>
                      <a:pt x="178" y="179"/>
                    </a:lnTo>
                    <a:lnTo>
                      <a:pt x="176" y="183"/>
                    </a:lnTo>
                    <a:lnTo>
                      <a:pt x="176" y="187"/>
                    </a:lnTo>
                    <a:lnTo>
                      <a:pt x="173" y="187"/>
                    </a:lnTo>
                    <a:lnTo>
                      <a:pt x="169" y="192"/>
                    </a:lnTo>
                    <a:lnTo>
                      <a:pt x="164" y="194"/>
                    </a:lnTo>
                    <a:lnTo>
                      <a:pt x="158" y="202"/>
                    </a:lnTo>
                    <a:lnTo>
                      <a:pt x="158" y="204"/>
                    </a:lnTo>
                    <a:lnTo>
                      <a:pt x="163" y="207"/>
                    </a:lnTo>
                    <a:lnTo>
                      <a:pt x="164" y="211"/>
                    </a:lnTo>
                    <a:lnTo>
                      <a:pt x="161" y="212"/>
                    </a:lnTo>
                    <a:lnTo>
                      <a:pt x="156" y="211"/>
                    </a:lnTo>
                    <a:lnTo>
                      <a:pt x="151" y="212"/>
                    </a:lnTo>
                    <a:lnTo>
                      <a:pt x="146" y="211"/>
                    </a:lnTo>
                    <a:lnTo>
                      <a:pt x="141" y="211"/>
                    </a:lnTo>
                    <a:lnTo>
                      <a:pt x="134" y="216"/>
                    </a:lnTo>
                    <a:lnTo>
                      <a:pt x="129" y="216"/>
                    </a:lnTo>
                    <a:lnTo>
                      <a:pt x="126" y="216"/>
                    </a:lnTo>
                    <a:lnTo>
                      <a:pt x="121" y="216"/>
                    </a:lnTo>
                    <a:lnTo>
                      <a:pt x="118" y="214"/>
                    </a:lnTo>
                    <a:lnTo>
                      <a:pt x="111" y="212"/>
                    </a:lnTo>
                    <a:lnTo>
                      <a:pt x="104" y="214"/>
                    </a:lnTo>
                    <a:lnTo>
                      <a:pt x="106" y="217"/>
                    </a:lnTo>
                    <a:lnTo>
                      <a:pt x="104" y="219"/>
                    </a:lnTo>
                    <a:lnTo>
                      <a:pt x="98" y="217"/>
                    </a:lnTo>
                    <a:lnTo>
                      <a:pt x="94" y="214"/>
                    </a:lnTo>
                    <a:lnTo>
                      <a:pt x="89" y="216"/>
                    </a:lnTo>
                    <a:lnTo>
                      <a:pt x="88" y="216"/>
                    </a:lnTo>
                    <a:lnTo>
                      <a:pt x="86" y="216"/>
                    </a:lnTo>
                    <a:lnTo>
                      <a:pt x="83" y="216"/>
                    </a:lnTo>
                    <a:lnTo>
                      <a:pt x="76" y="211"/>
                    </a:lnTo>
                    <a:lnTo>
                      <a:pt x="73" y="211"/>
                    </a:lnTo>
                    <a:lnTo>
                      <a:pt x="71" y="212"/>
                    </a:lnTo>
                    <a:lnTo>
                      <a:pt x="68" y="212"/>
                    </a:lnTo>
                    <a:lnTo>
                      <a:pt x="66" y="207"/>
                    </a:lnTo>
                    <a:lnTo>
                      <a:pt x="61" y="209"/>
                    </a:lnTo>
                    <a:lnTo>
                      <a:pt x="63" y="212"/>
                    </a:lnTo>
                    <a:lnTo>
                      <a:pt x="60" y="214"/>
                    </a:lnTo>
                    <a:lnTo>
                      <a:pt x="55" y="212"/>
                    </a:lnTo>
                    <a:lnTo>
                      <a:pt x="50" y="214"/>
                    </a:lnTo>
                    <a:lnTo>
                      <a:pt x="46" y="214"/>
                    </a:lnTo>
                    <a:lnTo>
                      <a:pt x="46" y="214"/>
                    </a:lnTo>
                    <a:lnTo>
                      <a:pt x="45" y="209"/>
                    </a:lnTo>
                    <a:lnTo>
                      <a:pt x="40" y="207"/>
                    </a:lnTo>
                    <a:lnTo>
                      <a:pt x="40" y="201"/>
                    </a:lnTo>
                    <a:lnTo>
                      <a:pt x="41" y="192"/>
                    </a:lnTo>
                    <a:lnTo>
                      <a:pt x="45" y="191"/>
                    </a:lnTo>
                    <a:lnTo>
                      <a:pt x="45" y="187"/>
                    </a:lnTo>
                    <a:lnTo>
                      <a:pt x="48" y="181"/>
                    </a:lnTo>
                    <a:lnTo>
                      <a:pt x="53" y="176"/>
                    </a:lnTo>
                    <a:lnTo>
                      <a:pt x="48" y="173"/>
                    </a:lnTo>
                    <a:lnTo>
                      <a:pt x="45" y="173"/>
                    </a:lnTo>
                    <a:lnTo>
                      <a:pt x="38" y="169"/>
                    </a:lnTo>
                    <a:lnTo>
                      <a:pt x="35" y="171"/>
                    </a:lnTo>
                    <a:lnTo>
                      <a:pt x="31" y="171"/>
                    </a:lnTo>
                    <a:lnTo>
                      <a:pt x="26" y="171"/>
                    </a:lnTo>
                    <a:lnTo>
                      <a:pt x="23" y="171"/>
                    </a:lnTo>
                    <a:lnTo>
                      <a:pt x="18" y="168"/>
                    </a:lnTo>
                    <a:lnTo>
                      <a:pt x="18" y="166"/>
                    </a:lnTo>
                    <a:lnTo>
                      <a:pt x="13" y="163"/>
                    </a:lnTo>
                    <a:lnTo>
                      <a:pt x="13" y="163"/>
                    </a:lnTo>
                    <a:lnTo>
                      <a:pt x="15" y="156"/>
                    </a:lnTo>
                    <a:lnTo>
                      <a:pt x="11" y="153"/>
                    </a:lnTo>
                    <a:lnTo>
                      <a:pt x="10" y="149"/>
                    </a:lnTo>
                    <a:lnTo>
                      <a:pt x="5" y="143"/>
                    </a:lnTo>
                    <a:lnTo>
                      <a:pt x="3" y="143"/>
                    </a:lnTo>
                    <a:lnTo>
                      <a:pt x="6" y="136"/>
                    </a:lnTo>
                    <a:lnTo>
                      <a:pt x="3" y="133"/>
                    </a:lnTo>
                    <a:lnTo>
                      <a:pt x="3" y="129"/>
                    </a:lnTo>
                    <a:lnTo>
                      <a:pt x="0" y="123"/>
                    </a:lnTo>
                    <a:lnTo>
                      <a:pt x="1" y="119"/>
                    </a:lnTo>
                    <a:lnTo>
                      <a:pt x="0" y="119"/>
                    </a:lnTo>
                    <a:lnTo>
                      <a:pt x="3" y="114"/>
                    </a:lnTo>
                    <a:lnTo>
                      <a:pt x="5" y="108"/>
                    </a:lnTo>
                    <a:lnTo>
                      <a:pt x="3" y="101"/>
                    </a:lnTo>
                    <a:lnTo>
                      <a:pt x="6" y="98"/>
                    </a:lnTo>
                    <a:lnTo>
                      <a:pt x="8" y="93"/>
                    </a:lnTo>
                    <a:lnTo>
                      <a:pt x="15" y="91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1" y="86"/>
                    </a:lnTo>
                    <a:lnTo>
                      <a:pt x="25" y="85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5" y="76"/>
                    </a:lnTo>
                    <a:lnTo>
                      <a:pt x="20" y="76"/>
                    </a:lnTo>
                    <a:lnTo>
                      <a:pt x="18" y="73"/>
                    </a:lnTo>
                    <a:lnTo>
                      <a:pt x="20" y="68"/>
                    </a:lnTo>
                    <a:lnTo>
                      <a:pt x="25" y="71"/>
                    </a:lnTo>
                    <a:lnTo>
                      <a:pt x="28" y="68"/>
                    </a:lnTo>
                    <a:lnTo>
                      <a:pt x="28" y="65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3" y="56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31" y="51"/>
                    </a:lnTo>
                    <a:lnTo>
                      <a:pt x="26" y="50"/>
                    </a:lnTo>
                    <a:lnTo>
                      <a:pt x="25" y="46"/>
                    </a:lnTo>
                    <a:lnTo>
                      <a:pt x="25" y="43"/>
                    </a:lnTo>
                    <a:lnTo>
                      <a:pt x="36" y="40"/>
                    </a:lnTo>
                    <a:lnTo>
                      <a:pt x="40" y="38"/>
                    </a:lnTo>
                    <a:lnTo>
                      <a:pt x="45" y="41"/>
                    </a:lnTo>
                    <a:lnTo>
                      <a:pt x="45" y="46"/>
                    </a:lnTo>
                    <a:lnTo>
                      <a:pt x="48" y="51"/>
                    </a:lnTo>
                    <a:lnTo>
                      <a:pt x="51" y="48"/>
                    </a:lnTo>
                    <a:lnTo>
                      <a:pt x="48" y="45"/>
                    </a:lnTo>
                    <a:lnTo>
                      <a:pt x="48" y="41"/>
                    </a:lnTo>
                    <a:lnTo>
                      <a:pt x="51" y="41"/>
                    </a:lnTo>
                    <a:lnTo>
                      <a:pt x="55" y="43"/>
                    </a:lnTo>
                    <a:lnTo>
                      <a:pt x="55" y="48"/>
                    </a:lnTo>
                    <a:lnTo>
                      <a:pt x="60" y="55"/>
                    </a:lnTo>
                    <a:lnTo>
                      <a:pt x="56" y="50"/>
                    </a:lnTo>
                    <a:lnTo>
                      <a:pt x="56" y="43"/>
                    </a:lnTo>
                    <a:lnTo>
                      <a:pt x="56" y="40"/>
                    </a:lnTo>
                    <a:lnTo>
                      <a:pt x="60" y="36"/>
                    </a:lnTo>
                    <a:lnTo>
                      <a:pt x="63" y="35"/>
                    </a:lnTo>
                    <a:lnTo>
                      <a:pt x="66" y="36"/>
                    </a:lnTo>
                    <a:lnTo>
                      <a:pt x="71" y="35"/>
                    </a:lnTo>
                    <a:lnTo>
                      <a:pt x="80" y="43"/>
                    </a:lnTo>
                    <a:lnTo>
                      <a:pt x="89" y="45"/>
                    </a:lnTo>
                    <a:lnTo>
                      <a:pt x="80" y="41"/>
                    </a:lnTo>
                    <a:lnTo>
                      <a:pt x="73" y="33"/>
                    </a:lnTo>
                    <a:lnTo>
                      <a:pt x="66" y="33"/>
                    </a:lnTo>
                    <a:lnTo>
                      <a:pt x="63" y="31"/>
                    </a:lnTo>
                    <a:lnTo>
                      <a:pt x="63" y="28"/>
                    </a:lnTo>
                    <a:lnTo>
                      <a:pt x="66" y="26"/>
                    </a:lnTo>
                    <a:lnTo>
                      <a:pt x="63" y="23"/>
                    </a:lnTo>
                    <a:lnTo>
                      <a:pt x="63" y="18"/>
                    </a:lnTo>
                    <a:lnTo>
                      <a:pt x="58" y="20"/>
                    </a:lnTo>
                    <a:lnTo>
                      <a:pt x="58" y="16"/>
                    </a:lnTo>
                    <a:lnTo>
                      <a:pt x="63" y="16"/>
                    </a:lnTo>
                    <a:lnTo>
                      <a:pt x="66" y="15"/>
                    </a:lnTo>
                    <a:lnTo>
                      <a:pt x="61" y="10"/>
                    </a:lnTo>
                    <a:lnTo>
                      <a:pt x="61" y="6"/>
                    </a:lnTo>
                    <a:lnTo>
                      <a:pt x="60" y="6"/>
                    </a:lnTo>
                    <a:lnTo>
                      <a:pt x="56" y="5"/>
                    </a:lnTo>
                    <a:lnTo>
                      <a:pt x="56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3" name="Freeform 57">
                <a:extLst>
                  <a:ext uri="{FF2B5EF4-FFF2-40B4-BE49-F238E27FC236}">
                    <a16:creationId xmlns:a16="http://schemas.microsoft.com/office/drawing/2014/main" id="{C48C8F15-09AA-BC48-B83B-7FB20CF26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6320" y="2684515"/>
                <a:ext cx="2140" cy="3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3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4" name="Freeform 58">
                <a:extLst>
                  <a:ext uri="{FF2B5EF4-FFF2-40B4-BE49-F238E27FC236}">
                    <a16:creationId xmlns:a16="http://schemas.microsoft.com/office/drawing/2014/main" id="{54F0BE87-82EB-B54F-B166-628B278FB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1370" y="2677251"/>
                <a:ext cx="57793" cy="29052"/>
              </a:xfrm>
              <a:custGeom>
                <a:avLst/>
                <a:gdLst/>
                <a:ahLst/>
                <a:cxnLst>
                  <a:cxn ang="0">
                    <a:pos x="45" y="7"/>
                  </a:cxn>
                  <a:cxn ang="0">
                    <a:pos x="55" y="7"/>
                  </a:cxn>
                  <a:cxn ang="0">
                    <a:pos x="56" y="2"/>
                  </a:cxn>
                  <a:cxn ang="0">
                    <a:pos x="63" y="5"/>
                  </a:cxn>
                  <a:cxn ang="0">
                    <a:pos x="68" y="4"/>
                  </a:cxn>
                  <a:cxn ang="0">
                    <a:pos x="78" y="9"/>
                  </a:cxn>
                  <a:cxn ang="0">
                    <a:pos x="84" y="15"/>
                  </a:cxn>
                  <a:cxn ang="0">
                    <a:pos x="84" y="20"/>
                  </a:cxn>
                  <a:cxn ang="0">
                    <a:pos x="93" y="19"/>
                  </a:cxn>
                  <a:cxn ang="0">
                    <a:pos x="103" y="20"/>
                  </a:cxn>
                  <a:cxn ang="0">
                    <a:pos x="108" y="24"/>
                  </a:cxn>
                  <a:cxn ang="0">
                    <a:pos x="106" y="37"/>
                  </a:cxn>
                  <a:cxn ang="0">
                    <a:pos x="94" y="47"/>
                  </a:cxn>
                  <a:cxn ang="0">
                    <a:pos x="86" y="44"/>
                  </a:cxn>
                  <a:cxn ang="0">
                    <a:pos x="76" y="47"/>
                  </a:cxn>
                  <a:cxn ang="0">
                    <a:pos x="70" y="50"/>
                  </a:cxn>
                  <a:cxn ang="0">
                    <a:pos x="63" y="42"/>
                  </a:cxn>
                  <a:cxn ang="0">
                    <a:pos x="48" y="52"/>
                  </a:cxn>
                  <a:cxn ang="0">
                    <a:pos x="31" y="57"/>
                  </a:cxn>
                  <a:cxn ang="0">
                    <a:pos x="26" y="50"/>
                  </a:cxn>
                  <a:cxn ang="0">
                    <a:pos x="21" y="44"/>
                  </a:cxn>
                  <a:cxn ang="0">
                    <a:pos x="11" y="39"/>
                  </a:cxn>
                  <a:cxn ang="0">
                    <a:pos x="11" y="47"/>
                  </a:cxn>
                  <a:cxn ang="0">
                    <a:pos x="0" y="49"/>
                  </a:cxn>
                  <a:cxn ang="0">
                    <a:pos x="1" y="44"/>
                  </a:cxn>
                  <a:cxn ang="0">
                    <a:pos x="5" y="40"/>
                  </a:cxn>
                  <a:cxn ang="0">
                    <a:pos x="11" y="24"/>
                  </a:cxn>
                  <a:cxn ang="0">
                    <a:pos x="20" y="17"/>
                  </a:cxn>
                  <a:cxn ang="0">
                    <a:pos x="25" y="12"/>
                  </a:cxn>
                  <a:cxn ang="0">
                    <a:pos x="21" y="5"/>
                  </a:cxn>
                  <a:cxn ang="0">
                    <a:pos x="30" y="9"/>
                  </a:cxn>
                  <a:cxn ang="0">
                    <a:pos x="41" y="7"/>
                  </a:cxn>
                </a:cxnLst>
                <a:rect l="0" t="0" r="r" b="b"/>
                <a:pathLst>
                  <a:path w="108" h="57">
                    <a:moveTo>
                      <a:pt x="41" y="7"/>
                    </a:moveTo>
                    <a:lnTo>
                      <a:pt x="45" y="7"/>
                    </a:lnTo>
                    <a:lnTo>
                      <a:pt x="50" y="5"/>
                    </a:lnTo>
                    <a:lnTo>
                      <a:pt x="55" y="7"/>
                    </a:lnTo>
                    <a:lnTo>
                      <a:pt x="58" y="5"/>
                    </a:lnTo>
                    <a:lnTo>
                      <a:pt x="56" y="2"/>
                    </a:lnTo>
                    <a:lnTo>
                      <a:pt x="61" y="0"/>
                    </a:lnTo>
                    <a:lnTo>
                      <a:pt x="63" y="5"/>
                    </a:lnTo>
                    <a:lnTo>
                      <a:pt x="66" y="5"/>
                    </a:lnTo>
                    <a:lnTo>
                      <a:pt x="68" y="4"/>
                    </a:lnTo>
                    <a:lnTo>
                      <a:pt x="71" y="4"/>
                    </a:lnTo>
                    <a:lnTo>
                      <a:pt x="78" y="9"/>
                    </a:lnTo>
                    <a:lnTo>
                      <a:pt x="84" y="10"/>
                    </a:lnTo>
                    <a:lnTo>
                      <a:pt x="84" y="15"/>
                    </a:lnTo>
                    <a:lnTo>
                      <a:pt x="83" y="17"/>
                    </a:lnTo>
                    <a:lnTo>
                      <a:pt x="84" y="20"/>
                    </a:lnTo>
                    <a:lnTo>
                      <a:pt x="89" y="20"/>
                    </a:lnTo>
                    <a:lnTo>
                      <a:pt x="93" y="19"/>
                    </a:lnTo>
                    <a:lnTo>
                      <a:pt x="98" y="24"/>
                    </a:lnTo>
                    <a:lnTo>
                      <a:pt x="103" y="20"/>
                    </a:lnTo>
                    <a:lnTo>
                      <a:pt x="106" y="20"/>
                    </a:lnTo>
                    <a:lnTo>
                      <a:pt x="108" y="24"/>
                    </a:lnTo>
                    <a:lnTo>
                      <a:pt x="103" y="29"/>
                    </a:lnTo>
                    <a:lnTo>
                      <a:pt x="106" y="37"/>
                    </a:lnTo>
                    <a:lnTo>
                      <a:pt x="96" y="39"/>
                    </a:lnTo>
                    <a:lnTo>
                      <a:pt x="94" y="47"/>
                    </a:lnTo>
                    <a:lnTo>
                      <a:pt x="91" y="44"/>
                    </a:lnTo>
                    <a:lnTo>
                      <a:pt x="86" y="44"/>
                    </a:lnTo>
                    <a:lnTo>
                      <a:pt x="76" y="40"/>
                    </a:lnTo>
                    <a:lnTo>
                      <a:pt x="76" y="47"/>
                    </a:lnTo>
                    <a:lnTo>
                      <a:pt x="71" y="55"/>
                    </a:lnTo>
                    <a:lnTo>
                      <a:pt x="70" y="50"/>
                    </a:lnTo>
                    <a:lnTo>
                      <a:pt x="61" y="47"/>
                    </a:lnTo>
                    <a:lnTo>
                      <a:pt x="63" y="42"/>
                    </a:lnTo>
                    <a:lnTo>
                      <a:pt x="56" y="39"/>
                    </a:lnTo>
                    <a:lnTo>
                      <a:pt x="48" y="52"/>
                    </a:lnTo>
                    <a:lnTo>
                      <a:pt x="41" y="50"/>
                    </a:lnTo>
                    <a:lnTo>
                      <a:pt x="31" y="57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23" y="49"/>
                    </a:lnTo>
                    <a:lnTo>
                      <a:pt x="21" y="44"/>
                    </a:lnTo>
                    <a:lnTo>
                      <a:pt x="20" y="39"/>
                    </a:lnTo>
                    <a:lnTo>
                      <a:pt x="11" y="39"/>
                    </a:lnTo>
                    <a:lnTo>
                      <a:pt x="8" y="42"/>
                    </a:lnTo>
                    <a:lnTo>
                      <a:pt x="11" y="47"/>
                    </a:lnTo>
                    <a:lnTo>
                      <a:pt x="5" y="49"/>
                    </a:lnTo>
                    <a:lnTo>
                      <a:pt x="0" y="49"/>
                    </a:lnTo>
                    <a:lnTo>
                      <a:pt x="0" y="45"/>
                    </a:lnTo>
                    <a:lnTo>
                      <a:pt x="1" y="44"/>
                    </a:lnTo>
                    <a:lnTo>
                      <a:pt x="5" y="44"/>
                    </a:lnTo>
                    <a:lnTo>
                      <a:pt x="5" y="40"/>
                    </a:lnTo>
                    <a:lnTo>
                      <a:pt x="6" y="34"/>
                    </a:lnTo>
                    <a:lnTo>
                      <a:pt x="11" y="24"/>
                    </a:lnTo>
                    <a:lnTo>
                      <a:pt x="16" y="24"/>
                    </a:lnTo>
                    <a:lnTo>
                      <a:pt x="20" y="17"/>
                    </a:lnTo>
                    <a:lnTo>
                      <a:pt x="25" y="15"/>
                    </a:lnTo>
                    <a:lnTo>
                      <a:pt x="25" y="12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8" y="5"/>
                    </a:lnTo>
                    <a:lnTo>
                      <a:pt x="30" y="9"/>
                    </a:lnTo>
                    <a:lnTo>
                      <a:pt x="33" y="9"/>
                    </a:lnTo>
                    <a:lnTo>
                      <a:pt x="4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5" name="Freeform 59">
                <a:extLst>
                  <a:ext uri="{FF2B5EF4-FFF2-40B4-BE49-F238E27FC236}">
                    <a16:creationId xmlns:a16="http://schemas.microsoft.com/office/drawing/2014/main" id="{378ADEF2-C125-D74A-859D-B1C36B468A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50332" y="2594244"/>
                <a:ext cx="47091" cy="37353"/>
              </a:xfrm>
              <a:custGeom>
                <a:avLst/>
                <a:gdLst/>
                <a:ahLst/>
                <a:cxnLst>
                  <a:cxn ang="0">
                    <a:pos x="56" y="66"/>
                  </a:cxn>
                  <a:cxn ang="0">
                    <a:pos x="56" y="53"/>
                  </a:cxn>
                  <a:cxn ang="0">
                    <a:pos x="61" y="45"/>
                  </a:cxn>
                  <a:cxn ang="0">
                    <a:pos x="74" y="45"/>
                  </a:cxn>
                  <a:cxn ang="0">
                    <a:pos x="74" y="38"/>
                  </a:cxn>
                  <a:cxn ang="0">
                    <a:pos x="79" y="32"/>
                  </a:cxn>
                  <a:cxn ang="0">
                    <a:pos x="78" y="28"/>
                  </a:cxn>
                  <a:cxn ang="0">
                    <a:pos x="71" y="25"/>
                  </a:cxn>
                  <a:cxn ang="0">
                    <a:pos x="78" y="23"/>
                  </a:cxn>
                  <a:cxn ang="0">
                    <a:pos x="81" y="17"/>
                  </a:cxn>
                  <a:cxn ang="0">
                    <a:pos x="84" y="10"/>
                  </a:cxn>
                  <a:cxn ang="0">
                    <a:pos x="86" y="7"/>
                  </a:cxn>
                  <a:cxn ang="0">
                    <a:pos x="78" y="3"/>
                  </a:cxn>
                  <a:cxn ang="0">
                    <a:pos x="63" y="0"/>
                  </a:cxn>
                  <a:cxn ang="0">
                    <a:pos x="54" y="2"/>
                  </a:cxn>
                  <a:cxn ang="0">
                    <a:pos x="46" y="3"/>
                  </a:cxn>
                  <a:cxn ang="0">
                    <a:pos x="33" y="13"/>
                  </a:cxn>
                  <a:cxn ang="0">
                    <a:pos x="25" y="15"/>
                  </a:cxn>
                  <a:cxn ang="0">
                    <a:pos x="20" y="23"/>
                  </a:cxn>
                  <a:cxn ang="0">
                    <a:pos x="21" y="33"/>
                  </a:cxn>
                  <a:cxn ang="0">
                    <a:pos x="16" y="40"/>
                  </a:cxn>
                  <a:cxn ang="0">
                    <a:pos x="13" y="45"/>
                  </a:cxn>
                  <a:cxn ang="0">
                    <a:pos x="25" y="51"/>
                  </a:cxn>
                  <a:cxn ang="0">
                    <a:pos x="16" y="53"/>
                  </a:cxn>
                  <a:cxn ang="0">
                    <a:pos x="16" y="56"/>
                  </a:cxn>
                  <a:cxn ang="0">
                    <a:pos x="20" y="60"/>
                  </a:cxn>
                  <a:cxn ang="0">
                    <a:pos x="11" y="55"/>
                  </a:cxn>
                  <a:cxn ang="0">
                    <a:pos x="3" y="55"/>
                  </a:cxn>
                  <a:cxn ang="0">
                    <a:pos x="8" y="58"/>
                  </a:cxn>
                  <a:cxn ang="0">
                    <a:pos x="13" y="60"/>
                  </a:cxn>
                  <a:cxn ang="0">
                    <a:pos x="13" y="61"/>
                  </a:cxn>
                  <a:cxn ang="0">
                    <a:pos x="3" y="60"/>
                  </a:cxn>
                  <a:cxn ang="0">
                    <a:pos x="0" y="60"/>
                  </a:cxn>
                  <a:cxn ang="0">
                    <a:pos x="5" y="65"/>
                  </a:cxn>
                  <a:cxn ang="0">
                    <a:pos x="10" y="66"/>
                  </a:cxn>
                  <a:cxn ang="0">
                    <a:pos x="18" y="63"/>
                  </a:cxn>
                  <a:cxn ang="0">
                    <a:pos x="23" y="61"/>
                  </a:cxn>
                  <a:cxn ang="0">
                    <a:pos x="31" y="58"/>
                  </a:cxn>
                  <a:cxn ang="0">
                    <a:pos x="38" y="61"/>
                  </a:cxn>
                  <a:cxn ang="0">
                    <a:pos x="48" y="63"/>
                  </a:cxn>
                  <a:cxn ang="0">
                    <a:pos x="49" y="70"/>
                  </a:cxn>
                  <a:cxn ang="0">
                    <a:pos x="53" y="71"/>
                  </a:cxn>
                  <a:cxn ang="0">
                    <a:pos x="11" y="51"/>
                  </a:cxn>
                  <a:cxn ang="0">
                    <a:pos x="11" y="53"/>
                  </a:cxn>
                  <a:cxn ang="0">
                    <a:pos x="8" y="53"/>
                  </a:cxn>
                  <a:cxn ang="0">
                    <a:pos x="10" y="48"/>
                  </a:cxn>
                  <a:cxn ang="0">
                    <a:pos x="18" y="50"/>
                  </a:cxn>
                  <a:cxn ang="0">
                    <a:pos x="13" y="50"/>
                  </a:cxn>
                  <a:cxn ang="0">
                    <a:pos x="10" y="50"/>
                  </a:cxn>
                </a:cxnLst>
                <a:rect l="0" t="0" r="r" b="b"/>
                <a:pathLst>
                  <a:path w="86" h="71">
                    <a:moveTo>
                      <a:pt x="53" y="71"/>
                    </a:moveTo>
                    <a:lnTo>
                      <a:pt x="56" y="66"/>
                    </a:lnTo>
                    <a:lnTo>
                      <a:pt x="58" y="60"/>
                    </a:lnTo>
                    <a:lnTo>
                      <a:pt x="56" y="53"/>
                    </a:lnTo>
                    <a:lnTo>
                      <a:pt x="59" y="50"/>
                    </a:lnTo>
                    <a:lnTo>
                      <a:pt x="61" y="45"/>
                    </a:lnTo>
                    <a:lnTo>
                      <a:pt x="68" y="43"/>
                    </a:lnTo>
                    <a:lnTo>
                      <a:pt x="74" y="45"/>
                    </a:lnTo>
                    <a:lnTo>
                      <a:pt x="78" y="43"/>
                    </a:lnTo>
                    <a:lnTo>
                      <a:pt x="74" y="38"/>
                    </a:lnTo>
                    <a:lnTo>
                      <a:pt x="78" y="37"/>
                    </a:lnTo>
                    <a:lnTo>
                      <a:pt x="79" y="32"/>
                    </a:lnTo>
                    <a:lnTo>
                      <a:pt x="81" y="30"/>
                    </a:lnTo>
                    <a:lnTo>
                      <a:pt x="78" y="28"/>
                    </a:lnTo>
                    <a:lnTo>
                      <a:pt x="73" y="28"/>
                    </a:lnTo>
                    <a:lnTo>
                      <a:pt x="71" y="25"/>
                    </a:lnTo>
                    <a:lnTo>
                      <a:pt x="73" y="20"/>
                    </a:lnTo>
                    <a:lnTo>
                      <a:pt x="78" y="23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4" y="12"/>
                    </a:lnTo>
                    <a:lnTo>
                      <a:pt x="84" y="10"/>
                    </a:lnTo>
                    <a:lnTo>
                      <a:pt x="86" y="8"/>
                    </a:lnTo>
                    <a:lnTo>
                      <a:pt x="86" y="7"/>
                    </a:lnTo>
                    <a:lnTo>
                      <a:pt x="81" y="5"/>
                    </a:lnTo>
                    <a:lnTo>
                      <a:pt x="78" y="3"/>
                    </a:lnTo>
                    <a:lnTo>
                      <a:pt x="71" y="0"/>
                    </a:lnTo>
                    <a:lnTo>
                      <a:pt x="63" y="0"/>
                    </a:lnTo>
                    <a:lnTo>
                      <a:pt x="59" y="3"/>
                    </a:lnTo>
                    <a:lnTo>
                      <a:pt x="54" y="2"/>
                    </a:lnTo>
                    <a:lnTo>
                      <a:pt x="53" y="3"/>
                    </a:lnTo>
                    <a:lnTo>
                      <a:pt x="46" y="3"/>
                    </a:lnTo>
                    <a:lnTo>
                      <a:pt x="41" y="10"/>
                    </a:lnTo>
                    <a:lnTo>
                      <a:pt x="33" y="13"/>
                    </a:lnTo>
                    <a:lnTo>
                      <a:pt x="31" y="13"/>
                    </a:lnTo>
                    <a:lnTo>
                      <a:pt x="25" y="15"/>
                    </a:lnTo>
                    <a:lnTo>
                      <a:pt x="25" y="20"/>
                    </a:lnTo>
                    <a:lnTo>
                      <a:pt x="20" y="23"/>
                    </a:lnTo>
                    <a:lnTo>
                      <a:pt x="21" y="28"/>
                    </a:lnTo>
                    <a:lnTo>
                      <a:pt x="21" y="33"/>
                    </a:lnTo>
                    <a:lnTo>
                      <a:pt x="18" y="37"/>
                    </a:lnTo>
                    <a:lnTo>
                      <a:pt x="16" y="40"/>
                    </a:lnTo>
                    <a:lnTo>
                      <a:pt x="13" y="41"/>
                    </a:lnTo>
                    <a:lnTo>
                      <a:pt x="13" y="45"/>
                    </a:lnTo>
                    <a:lnTo>
                      <a:pt x="20" y="50"/>
                    </a:lnTo>
                    <a:lnTo>
                      <a:pt x="25" y="51"/>
                    </a:lnTo>
                    <a:lnTo>
                      <a:pt x="18" y="51"/>
                    </a:lnTo>
                    <a:lnTo>
                      <a:pt x="16" y="53"/>
                    </a:lnTo>
                    <a:lnTo>
                      <a:pt x="15" y="55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5" y="60"/>
                    </a:lnTo>
                    <a:lnTo>
                      <a:pt x="11" y="55"/>
                    </a:lnTo>
                    <a:lnTo>
                      <a:pt x="6" y="53"/>
                    </a:lnTo>
                    <a:lnTo>
                      <a:pt x="3" y="55"/>
                    </a:lnTo>
                    <a:lnTo>
                      <a:pt x="5" y="58"/>
                    </a:lnTo>
                    <a:lnTo>
                      <a:pt x="8" y="58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8" y="63"/>
                    </a:lnTo>
                    <a:lnTo>
                      <a:pt x="13" y="61"/>
                    </a:lnTo>
                    <a:lnTo>
                      <a:pt x="10" y="61"/>
                    </a:lnTo>
                    <a:lnTo>
                      <a:pt x="3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1" y="61"/>
                    </a:lnTo>
                    <a:lnTo>
                      <a:pt x="5" y="65"/>
                    </a:lnTo>
                    <a:lnTo>
                      <a:pt x="8" y="65"/>
                    </a:lnTo>
                    <a:lnTo>
                      <a:pt x="10" y="66"/>
                    </a:lnTo>
                    <a:lnTo>
                      <a:pt x="13" y="65"/>
                    </a:lnTo>
                    <a:lnTo>
                      <a:pt x="18" y="63"/>
                    </a:lnTo>
                    <a:lnTo>
                      <a:pt x="18" y="61"/>
                    </a:lnTo>
                    <a:lnTo>
                      <a:pt x="23" y="61"/>
                    </a:lnTo>
                    <a:lnTo>
                      <a:pt x="23" y="58"/>
                    </a:lnTo>
                    <a:lnTo>
                      <a:pt x="31" y="58"/>
                    </a:lnTo>
                    <a:lnTo>
                      <a:pt x="35" y="61"/>
                    </a:lnTo>
                    <a:lnTo>
                      <a:pt x="38" y="61"/>
                    </a:lnTo>
                    <a:lnTo>
                      <a:pt x="41" y="65"/>
                    </a:lnTo>
                    <a:lnTo>
                      <a:pt x="48" y="63"/>
                    </a:lnTo>
                    <a:lnTo>
                      <a:pt x="49" y="68"/>
                    </a:lnTo>
                    <a:lnTo>
                      <a:pt x="49" y="70"/>
                    </a:lnTo>
                    <a:lnTo>
                      <a:pt x="53" y="71"/>
                    </a:lnTo>
                    <a:lnTo>
                      <a:pt x="53" y="71"/>
                    </a:lnTo>
                    <a:close/>
                    <a:moveTo>
                      <a:pt x="8" y="53"/>
                    </a:moveTo>
                    <a:lnTo>
                      <a:pt x="11" y="51"/>
                    </a:lnTo>
                    <a:lnTo>
                      <a:pt x="13" y="53"/>
                    </a:lnTo>
                    <a:lnTo>
                      <a:pt x="11" y="53"/>
                    </a:lnTo>
                    <a:lnTo>
                      <a:pt x="10" y="53"/>
                    </a:lnTo>
                    <a:lnTo>
                      <a:pt x="8" y="53"/>
                    </a:lnTo>
                    <a:lnTo>
                      <a:pt x="8" y="53"/>
                    </a:lnTo>
                    <a:close/>
                    <a:moveTo>
                      <a:pt x="10" y="48"/>
                    </a:moveTo>
                    <a:lnTo>
                      <a:pt x="13" y="48"/>
                    </a:lnTo>
                    <a:lnTo>
                      <a:pt x="18" y="50"/>
                    </a:lnTo>
                    <a:lnTo>
                      <a:pt x="16" y="51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0" y="50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6" name="Freeform 60">
                <a:extLst>
                  <a:ext uri="{FF2B5EF4-FFF2-40B4-BE49-F238E27FC236}">
                    <a16:creationId xmlns:a16="http://schemas.microsoft.com/office/drawing/2014/main" id="{18A68346-FB3D-4740-9BB5-AB696AE5C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6051" y="2625372"/>
                <a:ext cx="36388" cy="26977"/>
              </a:xfrm>
              <a:custGeom>
                <a:avLst/>
                <a:gdLst/>
                <a:ahLst/>
                <a:cxnLst>
                  <a:cxn ang="0">
                    <a:pos x="65" y="37"/>
                  </a:cxn>
                  <a:cxn ang="0">
                    <a:pos x="68" y="30"/>
                  </a:cxn>
                  <a:cxn ang="0">
                    <a:pos x="65" y="27"/>
                  </a:cxn>
                  <a:cxn ang="0">
                    <a:pos x="65" y="23"/>
                  </a:cxn>
                  <a:cxn ang="0">
                    <a:pos x="62" y="17"/>
                  </a:cxn>
                  <a:cxn ang="0">
                    <a:pos x="63" y="13"/>
                  </a:cxn>
                  <a:cxn ang="0">
                    <a:pos x="58" y="12"/>
                  </a:cxn>
                  <a:cxn ang="0">
                    <a:pos x="58" y="10"/>
                  </a:cxn>
                  <a:cxn ang="0">
                    <a:pos x="57" y="5"/>
                  </a:cxn>
                  <a:cxn ang="0">
                    <a:pos x="50" y="7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32" y="3"/>
                  </a:cxn>
                  <a:cxn ang="0">
                    <a:pos x="27" y="3"/>
                  </a:cxn>
                  <a:cxn ang="0">
                    <a:pos x="27" y="5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17" y="7"/>
                  </a:cxn>
                  <a:cxn ang="0">
                    <a:pos x="14" y="7"/>
                  </a:cxn>
                  <a:cxn ang="0">
                    <a:pos x="10" y="3"/>
                  </a:cxn>
                  <a:cxn ang="0">
                    <a:pos x="9" y="2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4" y="20"/>
                  </a:cxn>
                  <a:cxn ang="0">
                    <a:pos x="9" y="22"/>
                  </a:cxn>
                  <a:cxn ang="0">
                    <a:pos x="10" y="25"/>
                  </a:cxn>
                  <a:cxn ang="0">
                    <a:pos x="17" y="30"/>
                  </a:cxn>
                  <a:cxn ang="0">
                    <a:pos x="20" y="30"/>
                  </a:cxn>
                  <a:cxn ang="0">
                    <a:pos x="24" y="33"/>
                  </a:cxn>
                  <a:cxn ang="0">
                    <a:pos x="27" y="33"/>
                  </a:cxn>
                  <a:cxn ang="0">
                    <a:pos x="27" y="40"/>
                  </a:cxn>
                  <a:cxn ang="0">
                    <a:pos x="32" y="43"/>
                  </a:cxn>
                  <a:cxn ang="0">
                    <a:pos x="35" y="42"/>
                  </a:cxn>
                  <a:cxn ang="0">
                    <a:pos x="37" y="42"/>
                  </a:cxn>
                  <a:cxn ang="0">
                    <a:pos x="40" y="43"/>
                  </a:cxn>
                  <a:cxn ang="0">
                    <a:pos x="42" y="43"/>
                  </a:cxn>
                  <a:cxn ang="0">
                    <a:pos x="48" y="50"/>
                  </a:cxn>
                  <a:cxn ang="0">
                    <a:pos x="53" y="50"/>
                  </a:cxn>
                  <a:cxn ang="0">
                    <a:pos x="57" y="53"/>
                  </a:cxn>
                  <a:cxn ang="0">
                    <a:pos x="60" y="52"/>
                  </a:cxn>
                  <a:cxn ang="0">
                    <a:pos x="63" y="52"/>
                  </a:cxn>
                  <a:cxn ang="0">
                    <a:pos x="63" y="50"/>
                  </a:cxn>
                  <a:cxn ang="0">
                    <a:pos x="62" y="48"/>
                  </a:cxn>
                  <a:cxn ang="0">
                    <a:pos x="62" y="45"/>
                  </a:cxn>
                  <a:cxn ang="0">
                    <a:pos x="60" y="43"/>
                  </a:cxn>
                  <a:cxn ang="0">
                    <a:pos x="62" y="40"/>
                  </a:cxn>
                  <a:cxn ang="0">
                    <a:pos x="63" y="37"/>
                  </a:cxn>
                  <a:cxn ang="0">
                    <a:pos x="65" y="37"/>
                  </a:cxn>
                </a:cxnLst>
                <a:rect l="0" t="0" r="r" b="b"/>
                <a:pathLst>
                  <a:path w="68" h="53">
                    <a:moveTo>
                      <a:pt x="65" y="37"/>
                    </a:moveTo>
                    <a:lnTo>
                      <a:pt x="68" y="30"/>
                    </a:lnTo>
                    <a:lnTo>
                      <a:pt x="65" y="27"/>
                    </a:lnTo>
                    <a:lnTo>
                      <a:pt x="65" y="23"/>
                    </a:lnTo>
                    <a:lnTo>
                      <a:pt x="62" y="17"/>
                    </a:lnTo>
                    <a:lnTo>
                      <a:pt x="63" y="13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7" y="5"/>
                    </a:lnTo>
                    <a:lnTo>
                      <a:pt x="50" y="7"/>
                    </a:lnTo>
                    <a:lnTo>
                      <a:pt x="47" y="3"/>
                    </a:lnTo>
                    <a:lnTo>
                      <a:pt x="44" y="3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32" y="3"/>
                    </a:lnTo>
                    <a:lnTo>
                      <a:pt x="27" y="3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19" y="8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0" y="3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20"/>
                    </a:lnTo>
                    <a:lnTo>
                      <a:pt x="9" y="22"/>
                    </a:lnTo>
                    <a:lnTo>
                      <a:pt x="10" y="25"/>
                    </a:lnTo>
                    <a:lnTo>
                      <a:pt x="17" y="30"/>
                    </a:lnTo>
                    <a:lnTo>
                      <a:pt x="20" y="30"/>
                    </a:lnTo>
                    <a:lnTo>
                      <a:pt x="24" y="33"/>
                    </a:lnTo>
                    <a:lnTo>
                      <a:pt x="27" y="33"/>
                    </a:lnTo>
                    <a:lnTo>
                      <a:pt x="27" y="40"/>
                    </a:lnTo>
                    <a:lnTo>
                      <a:pt x="32" y="43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40" y="43"/>
                    </a:lnTo>
                    <a:lnTo>
                      <a:pt x="42" y="43"/>
                    </a:lnTo>
                    <a:lnTo>
                      <a:pt x="48" y="50"/>
                    </a:lnTo>
                    <a:lnTo>
                      <a:pt x="53" y="50"/>
                    </a:lnTo>
                    <a:lnTo>
                      <a:pt x="57" y="53"/>
                    </a:lnTo>
                    <a:lnTo>
                      <a:pt x="60" y="52"/>
                    </a:lnTo>
                    <a:lnTo>
                      <a:pt x="63" y="52"/>
                    </a:lnTo>
                    <a:lnTo>
                      <a:pt x="63" y="50"/>
                    </a:lnTo>
                    <a:lnTo>
                      <a:pt x="62" y="48"/>
                    </a:lnTo>
                    <a:lnTo>
                      <a:pt x="62" y="45"/>
                    </a:lnTo>
                    <a:lnTo>
                      <a:pt x="60" y="43"/>
                    </a:lnTo>
                    <a:lnTo>
                      <a:pt x="62" y="40"/>
                    </a:lnTo>
                    <a:lnTo>
                      <a:pt x="63" y="37"/>
                    </a:lnTo>
                    <a:lnTo>
                      <a:pt x="65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7" name="Freeform 61">
                <a:extLst>
                  <a:ext uri="{FF2B5EF4-FFF2-40B4-BE49-F238E27FC236}">
                    <a16:creationId xmlns:a16="http://schemas.microsoft.com/office/drawing/2014/main" id="{C91DA820-2237-F34D-9B0A-F3652CB5C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8159" y="2644049"/>
                <a:ext cx="8562" cy="10376"/>
              </a:xfrm>
              <a:custGeom>
                <a:avLst/>
                <a:gdLst/>
                <a:ahLst/>
                <a:cxnLst>
                  <a:cxn ang="0">
                    <a:pos x="3" y="15"/>
                  </a:cxn>
                  <a:cxn ang="0">
                    <a:pos x="3" y="13"/>
                  </a:cxn>
                  <a:cxn ang="0">
                    <a:pos x="2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" y="3"/>
                  </a:cxn>
                  <a:cxn ang="0">
                    <a:pos x="3" y="0"/>
                  </a:cxn>
                  <a:cxn ang="0">
                    <a:pos x="7" y="0"/>
                  </a:cxn>
                  <a:cxn ang="0">
                    <a:pos x="12" y="6"/>
                  </a:cxn>
                  <a:cxn ang="0">
                    <a:pos x="13" y="10"/>
                  </a:cxn>
                  <a:cxn ang="0">
                    <a:pos x="17" y="13"/>
                  </a:cxn>
                  <a:cxn ang="0">
                    <a:pos x="15" y="20"/>
                  </a:cxn>
                  <a:cxn ang="0">
                    <a:pos x="12" y="20"/>
                  </a:cxn>
                  <a:cxn ang="0">
                    <a:pos x="7" y="20"/>
                  </a:cxn>
                  <a:cxn ang="0">
                    <a:pos x="3" y="15"/>
                  </a:cxn>
                  <a:cxn ang="0">
                    <a:pos x="3" y="15"/>
                  </a:cxn>
                </a:cxnLst>
                <a:rect l="0" t="0" r="r" b="b"/>
                <a:pathLst>
                  <a:path w="17" h="20">
                    <a:moveTo>
                      <a:pt x="3" y="15"/>
                    </a:moveTo>
                    <a:lnTo>
                      <a:pt x="3" y="13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2" y="6"/>
                    </a:lnTo>
                    <a:lnTo>
                      <a:pt x="13" y="10"/>
                    </a:lnTo>
                    <a:lnTo>
                      <a:pt x="17" y="13"/>
                    </a:lnTo>
                    <a:lnTo>
                      <a:pt x="15" y="20"/>
                    </a:lnTo>
                    <a:lnTo>
                      <a:pt x="12" y="20"/>
                    </a:lnTo>
                    <a:lnTo>
                      <a:pt x="7" y="20"/>
                    </a:lnTo>
                    <a:lnTo>
                      <a:pt x="3" y="15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8" name="Freeform 62">
                <a:extLst>
                  <a:ext uri="{FF2B5EF4-FFF2-40B4-BE49-F238E27FC236}">
                    <a16:creationId xmlns:a16="http://schemas.microsoft.com/office/drawing/2014/main" id="{FC55A38D-45F6-854D-AC46-30A1DE75B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935" y="2562079"/>
                <a:ext cx="52442" cy="60180"/>
              </a:xfrm>
              <a:custGeom>
                <a:avLst/>
                <a:gdLst/>
                <a:ahLst/>
                <a:cxnLst>
                  <a:cxn ang="0">
                    <a:pos x="41" y="114"/>
                  </a:cxn>
                  <a:cxn ang="0">
                    <a:pos x="50" y="106"/>
                  </a:cxn>
                  <a:cxn ang="0">
                    <a:pos x="58" y="104"/>
                  </a:cxn>
                  <a:cxn ang="0">
                    <a:pos x="76" y="100"/>
                  </a:cxn>
                  <a:cxn ang="0">
                    <a:pos x="81" y="98"/>
                  </a:cxn>
                  <a:cxn ang="0">
                    <a:pos x="86" y="93"/>
                  </a:cxn>
                  <a:cxn ang="0">
                    <a:pos x="93" y="83"/>
                  </a:cxn>
                  <a:cxn ang="0">
                    <a:pos x="96" y="66"/>
                  </a:cxn>
                  <a:cxn ang="0">
                    <a:pos x="96" y="58"/>
                  </a:cxn>
                  <a:cxn ang="0">
                    <a:pos x="91" y="46"/>
                  </a:cxn>
                  <a:cxn ang="0">
                    <a:pos x="91" y="41"/>
                  </a:cxn>
                  <a:cxn ang="0">
                    <a:pos x="76" y="30"/>
                  </a:cxn>
                  <a:cxn ang="0">
                    <a:pos x="68" y="38"/>
                  </a:cxn>
                  <a:cxn ang="0">
                    <a:pos x="68" y="18"/>
                  </a:cxn>
                  <a:cxn ang="0">
                    <a:pos x="75" y="11"/>
                  </a:cxn>
                  <a:cxn ang="0">
                    <a:pos x="81" y="6"/>
                  </a:cxn>
                  <a:cxn ang="0">
                    <a:pos x="75" y="3"/>
                  </a:cxn>
                  <a:cxn ang="0">
                    <a:pos x="66" y="13"/>
                  </a:cxn>
                  <a:cxn ang="0">
                    <a:pos x="66" y="5"/>
                  </a:cxn>
                  <a:cxn ang="0">
                    <a:pos x="61" y="6"/>
                  </a:cxn>
                  <a:cxn ang="0">
                    <a:pos x="53" y="10"/>
                  </a:cxn>
                  <a:cxn ang="0">
                    <a:pos x="53" y="15"/>
                  </a:cxn>
                  <a:cxn ang="0">
                    <a:pos x="50" y="18"/>
                  </a:cxn>
                  <a:cxn ang="0">
                    <a:pos x="51" y="23"/>
                  </a:cxn>
                  <a:cxn ang="0">
                    <a:pos x="56" y="23"/>
                  </a:cxn>
                  <a:cxn ang="0">
                    <a:pos x="46" y="33"/>
                  </a:cxn>
                  <a:cxn ang="0">
                    <a:pos x="33" y="35"/>
                  </a:cxn>
                  <a:cxn ang="0">
                    <a:pos x="22" y="31"/>
                  </a:cxn>
                  <a:cxn ang="0">
                    <a:pos x="17" y="33"/>
                  </a:cxn>
                  <a:cxn ang="0">
                    <a:pos x="20" y="41"/>
                  </a:cxn>
                  <a:cxn ang="0">
                    <a:pos x="12" y="40"/>
                  </a:cxn>
                  <a:cxn ang="0">
                    <a:pos x="25" y="46"/>
                  </a:cxn>
                  <a:cxn ang="0">
                    <a:pos x="20" y="51"/>
                  </a:cxn>
                  <a:cxn ang="0">
                    <a:pos x="12" y="56"/>
                  </a:cxn>
                  <a:cxn ang="0">
                    <a:pos x="17" y="60"/>
                  </a:cxn>
                  <a:cxn ang="0">
                    <a:pos x="36" y="65"/>
                  </a:cxn>
                  <a:cxn ang="0">
                    <a:pos x="25" y="73"/>
                  </a:cxn>
                  <a:cxn ang="0">
                    <a:pos x="13" y="83"/>
                  </a:cxn>
                  <a:cxn ang="0">
                    <a:pos x="25" y="83"/>
                  </a:cxn>
                  <a:cxn ang="0">
                    <a:pos x="35" y="81"/>
                  </a:cxn>
                  <a:cxn ang="0">
                    <a:pos x="22" y="85"/>
                  </a:cxn>
                  <a:cxn ang="0">
                    <a:pos x="15" y="91"/>
                  </a:cxn>
                  <a:cxn ang="0">
                    <a:pos x="13" y="95"/>
                  </a:cxn>
                  <a:cxn ang="0">
                    <a:pos x="7" y="91"/>
                  </a:cxn>
                  <a:cxn ang="0">
                    <a:pos x="17" y="96"/>
                  </a:cxn>
                  <a:cxn ang="0">
                    <a:pos x="3" y="106"/>
                  </a:cxn>
                  <a:cxn ang="0">
                    <a:pos x="18" y="104"/>
                  </a:cxn>
                  <a:cxn ang="0">
                    <a:pos x="13" y="113"/>
                  </a:cxn>
                  <a:cxn ang="0">
                    <a:pos x="13" y="114"/>
                  </a:cxn>
                  <a:cxn ang="0">
                    <a:pos x="22" y="114"/>
                  </a:cxn>
                </a:cxnLst>
                <a:rect l="0" t="0" r="r" b="b"/>
                <a:pathLst>
                  <a:path w="98" h="116">
                    <a:moveTo>
                      <a:pt x="25" y="116"/>
                    </a:moveTo>
                    <a:lnTo>
                      <a:pt x="33" y="116"/>
                    </a:lnTo>
                    <a:lnTo>
                      <a:pt x="41" y="114"/>
                    </a:lnTo>
                    <a:lnTo>
                      <a:pt x="46" y="109"/>
                    </a:lnTo>
                    <a:lnTo>
                      <a:pt x="45" y="106"/>
                    </a:lnTo>
                    <a:lnTo>
                      <a:pt x="50" y="106"/>
                    </a:lnTo>
                    <a:lnTo>
                      <a:pt x="48" y="109"/>
                    </a:lnTo>
                    <a:lnTo>
                      <a:pt x="53" y="109"/>
                    </a:lnTo>
                    <a:lnTo>
                      <a:pt x="58" y="104"/>
                    </a:lnTo>
                    <a:lnTo>
                      <a:pt x="61" y="104"/>
                    </a:lnTo>
                    <a:lnTo>
                      <a:pt x="61" y="101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8" y="100"/>
                    </a:lnTo>
                    <a:lnTo>
                      <a:pt x="81" y="98"/>
                    </a:lnTo>
                    <a:lnTo>
                      <a:pt x="85" y="98"/>
                    </a:lnTo>
                    <a:lnTo>
                      <a:pt x="91" y="98"/>
                    </a:lnTo>
                    <a:lnTo>
                      <a:pt x="86" y="93"/>
                    </a:lnTo>
                    <a:lnTo>
                      <a:pt x="90" y="91"/>
                    </a:lnTo>
                    <a:lnTo>
                      <a:pt x="95" y="88"/>
                    </a:lnTo>
                    <a:lnTo>
                      <a:pt x="93" y="83"/>
                    </a:lnTo>
                    <a:lnTo>
                      <a:pt x="96" y="80"/>
                    </a:lnTo>
                    <a:lnTo>
                      <a:pt x="98" y="75"/>
                    </a:lnTo>
                    <a:lnTo>
                      <a:pt x="96" y="66"/>
                    </a:lnTo>
                    <a:lnTo>
                      <a:pt x="93" y="65"/>
                    </a:lnTo>
                    <a:lnTo>
                      <a:pt x="96" y="61"/>
                    </a:lnTo>
                    <a:lnTo>
                      <a:pt x="96" y="58"/>
                    </a:lnTo>
                    <a:lnTo>
                      <a:pt x="95" y="53"/>
                    </a:lnTo>
                    <a:lnTo>
                      <a:pt x="95" y="48"/>
                    </a:lnTo>
                    <a:lnTo>
                      <a:pt x="91" y="46"/>
                    </a:lnTo>
                    <a:lnTo>
                      <a:pt x="93" y="43"/>
                    </a:lnTo>
                    <a:lnTo>
                      <a:pt x="96" y="45"/>
                    </a:lnTo>
                    <a:lnTo>
                      <a:pt x="91" y="41"/>
                    </a:lnTo>
                    <a:lnTo>
                      <a:pt x="86" y="40"/>
                    </a:lnTo>
                    <a:lnTo>
                      <a:pt x="83" y="33"/>
                    </a:lnTo>
                    <a:lnTo>
                      <a:pt x="76" y="30"/>
                    </a:lnTo>
                    <a:lnTo>
                      <a:pt x="73" y="31"/>
                    </a:lnTo>
                    <a:lnTo>
                      <a:pt x="71" y="36"/>
                    </a:lnTo>
                    <a:lnTo>
                      <a:pt x="68" y="38"/>
                    </a:lnTo>
                    <a:lnTo>
                      <a:pt x="58" y="30"/>
                    </a:lnTo>
                    <a:lnTo>
                      <a:pt x="63" y="20"/>
                    </a:lnTo>
                    <a:lnTo>
                      <a:pt x="68" y="18"/>
                    </a:lnTo>
                    <a:lnTo>
                      <a:pt x="70" y="15"/>
                    </a:lnTo>
                    <a:lnTo>
                      <a:pt x="73" y="13"/>
                    </a:lnTo>
                    <a:lnTo>
                      <a:pt x="75" y="11"/>
                    </a:lnTo>
                    <a:lnTo>
                      <a:pt x="73" y="11"/>
                    </a:lnTo>
                    <a:lnTo>
                      <a:pt x="78" y="8"/>
                    </a:lnTo>
                    <a:lnTo>
                      <a:pt x="81" y="6"/>
                    </a:lnTo>
                    <a:lnTo>
                      <a:pt x="76" y="3"/>
                    </a:lnTo>
                    <a:lnTo>
                      <a:pt x="73" y="0"/>
                    </a:lnTo>
                    <a:lnTo>
                      <a:pt x="75" y="3"/>
                    </a:lnTo>
                    <a:lnTo>
                      <a:pt x="70" y="3"/>
                    </a:lnTo>
                    <a:lnTo>
                      <a:pt x="71" y="8"/>
                    </a:lnTo>
                    <a:lnTo>
                      <a:pt x="66" y="13"/>
                    </a:lnTo>
                    <a:lnTo>
                      <a:pt x="68" y="10"/>
                    </a:lnTo>
                    <a:lnTo>
                      <a:pt x="70" y="8"/>
                    </a:lnTo>
                    <a:lnTo>
                      <a:pt x="66" y="5"/>
                    </a:lnTo>
                    <a:lnTo>
                      <a:pt x="65" y="5"/>
                    </a:lnTo>
                    <a:lnTo>
                      <a:pt x="66" y="6"/>
                    </a:lnTo>
                    <a:lnTo>
                      <a:pt x="61" y="6"/>
                    </a:lnTo>
                    <a:lnTo>
                      <a:pt x="60" y="5"/>
                    </a:lnTo>
                    <a:lnTo>
                      <a:pt x="53" y="6"/>
                    </a:lnTo>
                    <a:lnTo>
                      <a:pt x="53" y="10"/>
                    </a:lnTo>
                    <a:lnTo>
                      <a:pt x="51" y="10"/>
                    </a:lnTo>
                    <a:lnTo>
                      <a:pt x="50" y="13"/>
                    </a:lnTo>
                    <a:lnTo>
                      <a:pt x="53" y="15"/>
                    </a:lnTo>
                    <a:lnTo>
                      <a:pt x="51" y="16"/>
                    </a:lnTo>
                    <a:lnTo>
                      <a:pt x="48" y="16"/>
                    </a:lnTo>
                    <a:lnTo>
                      <a:pt x="50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51" y="23"/>
                    </a:lnTo>
                    <a:lnTo>
                      <a:pt x="50" y="25"/>
                    </a:lnTo>
                    <a:lnTo>
                      <a:pt x="55" y="23"/>
                    </a:lnTo>
                    <a:lnTo>
                      <a:pt x="56" y="23"/>
                    </a:lnTo>
                    <a:lnTo>
                      <a:pt x="51" y="28"/>
                    </a:lnTo>
                    <a:lnTo>
                      <a:pt x="45" y="30"/>
                    </a:lnTo>
                    <a:lnTo>
                      <a:pt x="46" y="33"/>
                    </a:lnTo>
                    <a:lnTo>
                      <a:pt x="40" y="33"/>
                    </a:lnTo>
                    <a:lnTo>
                      <a:pt x="36" y="31"/>
                    </a:lnTo>
                    <a:lnTo>
                      <a:pt x="33" y="35"/>
                    </a:lnTo>
                    <a:lnTo>
                      <a:pt x="32" y="31"/>
                    </a:lnTo>
                    <a:lnTo>
                      <a:pt x="22" y="30"/>
                    </a:lnTo>
                    <a:lnTo>
                      <a:pt x="22" y="31"/>
                    </a:lnTo>
                    <a:lnTo>
                      <a:pt x="15" y="30"/>
                    </a:lnTo>
                    <a:lnTo>
                      <a:pt x="13" y="36"/>
                    </a:lnTo>
                    <a:lnTo>
                      <a:pt x="17" y="33"/>
                    </a:lnTo>
                    <a:lnTo>
                      <a:pt x="18" y="36"/>
                    </a:lnTo>
                    <a:lnTo>
                      <a:pt x="18" y="38"/>
                    </a:lnTo>
                    <a:lnTo>
                      <a:pt x="20" y="41"/>
                    </a:lnTo>
                    <a:lnTo>
                      <a:pt x="18" y="41"/>
                    </a:lnTo>
                    <a:lnTo>
                      <a:pt x="17" y="40"/>
                    </a:lnTo>
                    <a:lnTo>
                      <a:pt x="12" y="40"/>
                    </a:lnTo>
                    <a:lnTo>
                      <a:pt x="18" y="45"/>
                    </a:lnTo>
                    <a:lnTo>
                      <a:pt x="23" y="43"/>
                    </a:lnTo>
                    <a:lnTo>
                      <a:pt x="25" y="46"/>
                    </a:lnTo>
                    <a:lnTo>
                      <a:pt x="18" y="48"/>
                    </a:lnTo>
                    <a:lnTo>
                      <a:pt x="18" y="50"/>
                    </a:lnTo>
                    <a:lnTo>
                      <a:pt x="20" y="51"/>
                    </a:lnTo>
                    <a:lnTo>
                      <a:pt x="13" y="51"/>
                    </a:lnTo>
                    <a:lnTo>
                      <a:pt x="13" y="56"/>
                    </a:lnTo>
                    <a:lnTo>
                      <a:pt x="12" y="56"/>
                    </a:lnTo>
                    <a:lnTo>
                      <a:pt x="15" y="58"/>
                    </a:lnTo>
                    <a:lnTo>
                      <a:pt x="18" y="58"/>
                    </a:lnTo>
                    <a:lnTo>
                      <a:pt x="17" y="60"/>
                    </a:lnTo>
                    <a:lnTo>
                      <a:pt x="22" y="58"/>
                    </a:lnTo>
                    <a:lnTo>
                      <a:pt x="23" y="65"/>
                    </a:lnTo>
                    <a:lnTo>
                      <a:pt x="36" y="65"/>
                    </a:lnTo>
                    <a:lnTo>
                      <a:pt x="32" y="68"/>
                    </a:lnTo>
                    <a:lnTo>
                      <a:pt x="30" y="66"/>
                    </a:lnTo>
                    <a:lnTo>
                      <a:pt x="25" y="73"/>
                    </a:lnTo>
                    <a:lnTo>
                      <a:pt x="27" y="73"/>
                    </a:lnTo>
                    <a:lnTo>
                      <a:pt x="23" y="78"/>
                    </a:lnTo>
                    <a:lnTo>
                      <a:pt x="13" y="83"/>
                    </a:lnTo>
                    <a:lnTo>
                      <a:pt x="18" y="83"/>
                    </a:lnTo>
                    <a:lnTo>
                      <a:pt x="22" y="81"/>
                    </a:lnTo>
                    <a:lnTo>
                      <a:pt x="25" y="83"/>
                    </a:lnTo>
                    <a:lnTo>
                      <a:pt x="30" y="83"/>
                    </a:lnTo>
                    <a:lnTo>
                      <a:pt x="35" y="80"/>
                    </a:lnTo>
                    <a:lnTo>
                      <a:pt x="35" y="81"/>
                    </a:lnTo>
                    <a:lnTo>
                      <a:pt x="40" y="81"/>
                    </a:lnTo>
                    <a:lnTo>
                      <a:pt x="28" y="83"/>
                    </a:lnTo>
                    <a:lnTo>
                      <a:pt x="22" y="85"/>
                    </a:lnTo>
                    <a:lnTo>
                      <a:pt x="18" y="86"/>
                    </a:lnTo>
                    <a:lnTo>
                      <a:pt x="13" y="88"/>
                    </a:lnTo>
                    <a:lnTo>
                      <a:pt x="15" y="91"/>
                    </a:lnTo>
                    <a:lnTo>
                      <a:pt x="15" y="93"/>
                    </a:lnTo>
                    <a:lnTo>
                      <a:pt x="17" y="93"/>
                    </a:lnTo>
                    <a:lnTo>
                      <a:pt x="13" y="95"/>
                    </a:lnTo>
                    <a:lnTo>
                      <a:pt x="10" y="91"/>
                    </a:lnTo>
                    <a:lnTo>
                      <a:pt x="8" y="93"/>
                    </a:lnTo>
                    <a:lnTo>
                      <a:pt x="7" y="91"/>
                    </a:lnTo>
                    <a:lnTo>
                      <a:pt x="0" y="95"/>
                    </a:lnTo>
                    <a:lnTo>
                      <a:pt x="2" y="96"/>
                    </a:lnTo>
                    <a:lnTo>
                      <a:pt x="17" y="96"/>
                    </a:lnTo>
                    <a:lnTo>
                      <a:pt x="12" y="100"/>
                    </a:lnTo>
                    <a:lnTo>
                      <a:pt x="5" y="101"/>
                    </a:lnTo>
                    <a:lnTo>
                      <a:pt x="3" y="106"/>
                    </a:lnTo>
                    <a:lnTo>
                      <a:pt x="7" y="106"/>
                    </a:lnTo>
                    <a:lnTo>
                      <a:pt x="8" y="108"/>
                    </a:lnTo>
                    <a:lnTo>
                      <a:pt x="18" y="104"/>
                    </a:lnTo>
                    <a:lnTo>
                      <a:pt x="10" y="109"/>
                    </a:lnTo>
                    <a:lnTo>
                      <a:pt x="7" y="113"/>
                    </a:lnTo>
                    <a:lnTo>
                      <a:pt x="13" y="113"/>
                    </a:lnTo>
                    <a:lnTo>
                      <a:pt x="22" y="108"/>
                    </a:lnTo>
                    <a:lnTo>
                      <a:pt x="20" y="111"/>
                    </a:lnTo>
                    <a:lnTo>
                      <a:pt x="13" y="114"/>
                    </a:lnTo>
                    <a:lnTo>
                      <a:pt x="18" y="114"/>
                    </a:lnTo>
                    <a:lnTo>
                      <a:pt x="17" y="116"/>
                    </a:lnTo>
                    <a:lnTo>
                      <a:pt x="22" y="114"/>
                    </a:lnTo>
                    <a:lnTo>
                      <a:pt x="25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39" name="Freeform 63">
                <a:extLst>
                  <a:ext uri="{FF2B5EF4-FFF2-40B4-BE49-F238E27FC236}">
                    <a16:creationId xmlns:a16="http://schemas.microsoft.com/office/drawing/2014/main" id="{8A1408EF-A2DE-174E-9730-E0DDF6A89D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4043" y="2468697"/>
                <a:ext cx="111306" cy="180540"/>
              </a:xfrm>
              <a:custGeom>
                <a:avLst/>
                <a:gdLst/>
                <a:ahLst/>
                <a:cxnLst>
                  <a:cxn ang="0">
                    <a:pos x="10" y="198"/>
                  </a:cxn>
                  <a:cxn ang="0">
                    <a:pos x="48" y="201"/>
                  </a:cxn>
                  <a:cxn ang="0">
                    <a:pos x="45" y="220"/>
                  </a:cxn>
                  <a:cxn ang="0">
                    <a:pos x="148" y="5"/>
                  </a:cxn>
                  <a:cxn ang="0">
                    <a:pos x="138" y="15"/>
                  </a:cxn>
                  <a:cxn ang="0">
                    <a:pos x="150" y="324"/>
                  </a:cxn>
                  <a:cxn ang="0">
                    <a:pos x="60" y="167"/>
                  </a:cxn>
                  <a:cxn ang="0">
                    <a:pos x="25" y="150"/>
                  </a:cxn>
                  <a:cxn ang="0">
                    <a:pos x="35" y="130"/>
                  </a:cxn>
                  <a:cxn ang="0">
                    <a:pos x="93" y="67"/>
                  </a:cxn>
                  <a:cxn ang="0">
                    <a:pos x="93" y="67"/>
                  </a:cxn>
                  <a:cxn ang="0">
                    <a:pos x="27" y="93"/>
                  </a:cxn>
                  <a:cxn ang="0">
                    <a:pos x="23" y="100"/>
                  </a:cxn>
                  <a:cxn ang="0">
                    <a:pos x="18" y="115"/>
                  </a:cxn>
                  <a:cxn ang="0">
                    <a:pos x="20" y="118"/>
                  </a:cxn>
                  <a:cxn ang="0">
                    <a:pos x="17" y="120"/>
                  </a:cxn>
                  <a:cxn ang="0">
                    <a:pos x="33" y="120"/>
                  </a:cxn>
                  <a:cxn ang="0">
                    <a:pos x="47" y="125"/>
                  </a:cxn>
                  <a:cxn ang="0">
                    <a:pos x="48" y="147"/>
                  </a:cxn>
                  <a:cxn ang="0">
                    <a:pos x="50" y="158"/>
                  </a:cxn>
                  <a:cxn ang="0">
                    <a:pos x="37" y="175"/>
                  </a:cxn>
                  <a:cxn ang="0">
                    <a:pos x="78" y="246"/>
                  </a:cxn>
                  <a:cxn ang="0">
                    <a:pos x="70" y="223"/>
                  </a:cxn>
                  <a:cxn ang="0">
                    <a:pos x="73" y="338"/>
                  </a:cxn>
                  <a:cxn ang="0">
                    <a:pos x="95" y="331"/>
                  </a:cxn>
                  <a:cxn ang="0">
                    <a:pos x="136" y="323"/>
                  </a:cxn>
                  <a:cxn ang="0">
                    <a:pos x="178" y="321"/>
                  </a:cxn>
                  <a:cxn ang="0">
                    <a:pos x="204" y="303"/>
                  </a:cxn>
                  <a:cxn ang="0">
                    <a:pos x="181" y="299"/>
                  </a:cxn>
                  <a:cxn ang="0">
                    <a:pos x="198" y="286"/>
                  </a:cxn>
                  <a:cxn ang="0">
                    <a:pos x="206" y="260"/>
                  </a:cxn>
                  <a:cxn ang="0">
                    <a:pos x="168" y="238"/>
                  </a:cxn>
                  <a:cxn ang="0">
                    <a:pos x="166" y="233"/>
                  </a:cxn>
                  <a:cxn ang="0">
                    <a:pos x="150" y="206"/>
                  </a:cxn>
                  <a:cxn ang="0">
                    <a:pos x="113" y="163"/>
                  </a:cxn>
                  <a:cxn ang="0">
                    <a:pos x="101" y="157"/>
                  </a:cxn>
                  <a:cxn ang="0">
                    <a:pos x="111" y="143"/>
                  </a:cxn>
                  <a:cxn ang="0">
                    <a:pos x="118" y="112"/>
                  </a:cxn>
                  <a:cxn ang="0">
                    <a:pos x="80" y="117"/>
                  </a:cxn>
                  <a:cxn ang="0">
                    <a:pos x="100" y="88"/>
                  </a:cxn>
                  <a:cxn ang="0">
                    <a:pos x="73" y="87"/>
                  </a:cxn>
                  <a:cxn ang="0">
                    <a:pos x="57" y="93"/>
                  </a:cxn>
                  <a:cxn ang="0">
                    <a:pos x="52" y="108"/>
                  </a:cxn>
                  <a:cxn ang="0">
                    <a:pos x="53" y="120"/>
                  </a:cxn>
                  <a:cxn ang="0">
                    <a:pos x="50" y="128"/>
                  </a:cxn>
                  <a:cxn ang="0">
                    <a:pos x="40" y="142"/>
                  </a:cxn>
                  <a:cxn ang="0">
                    <a:pos x="57" y="143"/>
                  </a:cxn>
                  <a:cxn ang="0">
                    <a:pos x="48" y="180"/>
                  </a:cxn>
                  <a:cxn ang="0">
                    <a:pos x="57" y="162"/>
                  </a:cxn>
                  <a:cxn ang="0">
                    <a:pos x="67" y="163"/>
                  </a:cxn>
                  <a:cxn ang="0">
                    <a:pos x="63" y="198"/>
                  </a:cxn>
                  <a:cxn ang="0">
                    <a:pos x="103" y="195"/>
                  </a:cxn>
                  <a:cxn ang="0">
                    <a:pos x="105" y="233"/>
                  </a:cxn>
                  <a:cxn ang="0">
                    <a:pos x="101" y="248"/>
                  </a:cxn>
                  <a:cxn ang="0">
                    <a:pos x="81" y="258"/>
                  </a:cxn>
                  <a:cxn ang="0">
                    <a:pos x="60" y="286"/>
                  </a:cxn>
                  <a:cxn ang="0">
                    <a:pos x="77" y="294"/>
                  </a:cxn>
                  <a:cxn ang="0">
                    <a:pos x="108" y="299"/>
                  </a:cxn>
                  <a:cxn ang="0">
                    <a:pos x="80" y="311"/>
                  </a:cxn>
                  <a:cxn ang="0">
                    <a:pos x="52" y="341"/>
                  </a:cxn>
                </a:cxnLst>
                <a:rect l="0" t="0" r="r" b="b"/>
                <a:pathLst>
                  <a:path w="209" h="348">
                    <a:moveTo>
                      <a:pt x="38" y="225"/>
                    </a:moveTo>
                    <a:lnTo>
                      <a:pt x="33" y="221"/>
                    </a:lnTo>
                    <a:lnTo>
                      <a:pt x="28" y="220"/>
                    </a:lnTo>
                    <a:lnTo>
                      <a:pt x="25" y="213"/>
                    </a:lnTo>
                    <a:lnTo>
                      <a:pt x="18" y="210"/>
                    </a:lnTo>
                    <a:lnTo>
                      <a:pt x="15" y="211"/>
                    </a:lnTo>
                    <a:lnTo>
                      <a:pt x="13" y="216"/>
                    </a:lnTo>
                    <a:lnTo>
                      <a:pt x="10" y="218"/>
                    </a:lnTo>
                    <a:lnTo>
                      <a:pt x="0" y="210"/>
                    </a:lnTo>
                    <a:lnTo>
                      <a:pt x="5" y="200"/>
                    </a:lnTo>
                    <a:lnTo>
                      <a:pt x="10" y="198"/>
                    </a:lnTo>
                    <a:lnTo>
                      <a:pt x="12" y="195"/>
                    </a:lnTo>
                    <a:lnTo>
                      <a:pt x="15" y="193"/>
                    </a:lnTo>
                    <a:lnTo>
                      <a:pt x="17" y="191"/>
                    </a:lnTo>
                    <a:lnTo>
                      <a:pt x="22" y="190"/>
                    </a:lnTo>
                    <a:lnTo>
                      <a:pt x="23" y="188"/>
                    </a:lnTo>
                    <a:lnTo>
                      <a:pt x="25" y="188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8"/>
                    </a:lnTo>
                    <a:lnTo>
                      <a:pt x="42" y="191"/>
                    </a:lnTo>
                    <a:lnTo>
                      <a:pt x="48" y="201"/>
                    </a:lnTo>
                    <a:lnTo>
                      <a:pt x="45" y="203"/>
                    </a:lnTo>
                    <a:lnTo>
                      <a:pt x="52" y="205"/>
                    </a:lnTo>
                    <a:lnTo>
                      <a:pt x="53" y="213"/>
                    </a:lnTo>
                    <a:lnTo>
                      <a:pt x="50" y="206"/>
                    </a:lnTo>
                    <a:lnTo>
                      <a:pt x="48" y="206"/>
                    </a:lnTo>
                    <a:lnTo>
                      <a:pt x="48" y="210"/>
                    </a:lnTo>
                    <a:lnTo>
                      <a:pt x="48" y="213"/>
                    </a:lnTo>
                    <a:lnTo>
                      <a:pt x="52" y="213"/>
                    </a:lnTo>
                    <a:lnTo>
                      <a:pt x="50" y="216"/>
                    </a:lnTo>
                    <a:lnTo>
                      <a:pt x="45" y="216"/>
                    </a:lnTo>
                    <a:lnTo>
                      <a:pt x="45" y="220"/>
                    </a:lnTo>
                    <a:lnTo>
                      <a:pt x="40" y="221"/>
                    </a:lnTo>
                    <a:lnTo>
                      <a:pt x="38" y="221"/>
                    </a:lnTo>
                    <a:lnTo>
                      <a:pt x="38" y="225"/>
                    </a:lnTo>
                    <a:lnTo>
                      <a:pt x="38" y="225"/>
                    </a:lnTo>
                    <a:lnTo>
                      <a:pt x="38" y="225"/>
                    </a:lnTo>
                    <a:close/>
                    <a:moveTo>
                      <a:pt x="140" y="32"/>
                    </a:moveTo>
                    <a:lnTo>
                      <a:pt x="141" y="29"/>
                    </a:lnTo>
                    <a:lnTo>
                      <a:pt x="143" y="30"/>
                    </a:lnTo>
                    <a:lnTo>
                      <a:pt x="140" y="32"/>
                    </a:lnTo>
                    <a:lnTo>
                      <a:pt x="140" y="32"/>
                    </a:lnTo>
                    <a:close/>
                    <a:moveTo>
                      <a:pt x="148" y="5"/>
                    </a:moveTo>
                    <a:lnTo>
                      <a:pt x="148" y="4"/>
                    </a:lnTo>
                    <a:lnTo>
                      <a:pt x="150" y="0"/>
                    </a:lnTo>
                    <a:lnTo>
                      <a:pt x="148" y="5"/>
                    </a:lnTo>
                    <a:lnTo>
                      <a:pt x="148" y="5"/>
                    </a:lnTo>
                    <a:close/>
                    <a:moveTo>
                      <a:pt x="138" y="15"/>
                    </a:moveTo>
                    <a:lnTo>
                      <a:pt x="140" y="10"/>
                    </a:lnTo>
                    <a:lnTo>
                      <a:pt x="136" y="12"/>
                    </a:lnTo>
                    <a:lnTo>
                      <a:pt x="135" y="14"/>
                    </a:lnTo>
                    <a:lnTo>
                      <a:pt x="135" y="14"/>
                    </a:lnTo>
                    <a:lnTo>
                      <a:pt x="138" y="15"/>
                    </a:lnTo>
                    <a:lnTo>
                      <a:pt x="138" y="15"/>
                    </a:lnTo>
                    <a:close/>
                    <a:moveTo>
                      <a:pt x="188" y="301"/>
                    </a:moveTo>
                    <a:lnTo>
                      <a:pt x="191" y="303"/>
                    </a:lnTo>
                    <a:lnTo>
                      <a:pt x="194" y="301"/>
                    </a:lnTo>
                    <a:lnTo>
                      <a:pt x="193" y="299"/>
                    </a:lnTo>
                    <a:lnTo>
                      <a:pt x="189" y="299"/>
                    </a:lnTo>
                    <a:lnTo>
                      <a:pt x="188" y="301"/>
                    </a:lnTo>
                    <a:lnTo>
                      <a:pt x="188" y="301"/>
                    </a:lnTo>
                    <a:close/>
                    <a:moveTo>
                      <a:pt x="138" y="326"/>
                    </a:moveTo>
                    <a:lnTo>
                      <a:pt x="145" y="323"/>
                    </a:lnTo>
                    <a:lnTo>
                      <a:pt x="148" y="324"/>
                    </a:lnTo>
                    <a:lnTo>
                      <a:pt x="150" y="324"/>
                    </a:lnTo>
                    <a:lnTo>
                      <a:pt x="148" y="326"/>
                    </a:lnTo>
                    <a:lnTo>
                      <a:pt x="148" y="328"/>
                    </a:lnTo>
                    <a:lnTo>
                      <a:pt x="145" y="329"/>
                    </a:lnTo>
                    <a:lnTo>
                      <a:pt x="141" y="326"/>
                    </a:lnTo>
                    <a:lnTo>
                      <a:pt x="138" y="326"/>
                    </a:lnTo>
                    <a:lnTo>
                      <a:pt x="138" y="326"/>
                    </a:lnTo>
                    <a:close/>
                    <a:moveTo>
                      <a:pt x="60" y="167"/>
                    </a:moveTo>
                    <a:lnTo>
                      <a:pt x="60" y="170"/>
                    </a:lnTo>
                    <a:lnTo>
                      <a:pt x="63" y="172"/>
                    </a:lnTo>
                    <a:lnTo>
                      <a:pt x="62" y="168"/>
                    </a:lnTo>
                    <a:lnTo>
                      <a:pt x="60" y="167"/>
                    </a:lnTo>
                    <a:lnTo>
                      <a:pt x="60" y="167"/>
                    </a:lnTo>
                    <a:close/>
                    <a:moveTo>
                      <a:pt x="38" y="163"/>
                    </a:moveTo>
                    <a:lnTo>
                      <a:pt x="40" y="158"/>
                    </a:lnTo>
                    <a:lnTo>
                      <a:pt x="40" y="162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25" y="150"/>
                    </a:moveTo>
                    <a:lnTo>
                      <a:pt x="25" y="147"/>
                    </a:lnTo>
                    <a:lnTo>
                      <a:pt x="28" y="147"/>
                    </a:lnTo>
                    <a:lnTo>
                      <a:pt x="25" y="150"/>
                    </a:lnTo>
                    <a:lnTo>
                      <a:pt x="25" y="150"/>
                    </a:lnTo>
                    <a:close/>
                    <a:moveTo>
                      <a:pt x="30" y="145"/>
                    </a:moveTo>
                    <a:lnTo>
                      <a:pt x="35" y="140"/>
                    </a:lnTo>
                    <a:lnTo>
                      <a:pt x="33" y="143"/>
                    </a:lnTo>
                    <a:lnTo>
                      <a:pt x="30" y="145"/>
                    </a:lnTo>
                    <a:lnTo>
                      <a:pt x="30" y="145"/>
                    </a:lnTo>
                    <a:close/>
                    <a:moveTo>
                      <a:pt x="40" y="137"/>
                    </a:moveTo>
                    <a:lnTo>
                      <a:pt x="42" y="135"/>
                    </a:lnTo>
                    <a:lnTo>
                      <a:pt x="40" y="135"/>
                    </a:lnTo>
                    <a:lnTo>
                      <a:pt x="40" y="137"/>
                    </a:lnTo>
                    <a:lnTo>
                      <a:pt x="40" y="137"/>
                    </a:lnTo>
                    <a:close/>
                    <a:moveTo>
                      <a:pt x="35" y="130"/>
                    </a:moveTo>
                    <a:lnTo>
                      <a:pt x="37" y="133"/>
                    </a:lnTo>
                    <a:lnTo>
                      <a:pt x="38" y="133"/>
                    </a:lnTo>
                    <a:lnTo>
                      <a:pt x="38" y="130"/>
                    </a:lnTo>
                    <a:lnTo>
                      <a:pt x="35" y="130"/>
                    </a:lnTo>
                    <a:lnTo>
                      <a:pt x="35" y="130"/>
                    </a:lnTo>
                    <a:close/>
                    <a:moveTo>
                      <a:pt x="98" y="65"/>
                    </a:moveTo>
                    <a:lnTo>
                      <a:pt x="100" y="67"/>
                    </a:lnTo>
                    <a:lnTo>
                      <a:pt x="100" y="65"/>
                    </a:lnTo>
                    <a:lnTo>
                      <a:pt x="98" y="65"/>
                    </a:lnTo>
                    <a:lnTo>
                      <a:pt x="98" y="65"/>
                    </a:lnTo>
                    <a:close/>
                    <a:moveTo>
                      <a:pt x="93" y="67"/>
                    </a:moveTo>
                    <a:lnTo>
                      <a:pt x="96" y="67"/>
                    </a:lnTo>
                    <a:lnTo>
                      <a:pt x="100" y="70"/>
                    </a:lnTo>
                    <a:lnTo>
                      <a:pt x="98" y="72"/>
                    </a:lnTo>
                    <a:lnTo>
                      <a:pt x="103" y="70"/>
                    </a:lnTo>
                    <a:lnTo>
                      <a:pt x="103" y="74"/>
                    </a:lnTo>
                    <a:lnTo>
                      <a:pt x="101" y="74"/>
                    </a:lnTo>
                    <a:lnTo>
                      <a:pt x="96" y="74"/>
                    </a:lnTo>
                    <a:lnTo>
                      <a:pt x="96" y="70"/>
                    </a:lnTo>
                    <a:lnTo>
                      <a:pt x="95" y="74"/>
                    </a:lnTo>
                    <a:lnTo>
                      <a:pt x="93" y="72"/>
                    </a:lnTo>
                    <a:lnTo>
                      <a:pt x="93" y="67"/>
                    </a:lnTo>
                    <a:lnTo>
                      <a:pt x="93" y="67"/>
                    </a:lnTo>
                    <a:close/>
                    <a:moveTo>
                      <a:pt x="93" y="75"/>
                    </a:moveTo>
                    <a:lnTo>
                      <a:pt x="96" y="79"/>
                    </a:lnTo>
                    <a:lnTo>
                      <a:pt x="96" y="77"/>
                    </a:lnTo>
                    <a:lnTo>
                      <a:pt x="95" y="74"/>
                    </a:lnTo>
                    <a:lnTo>
                      <a:pt x="93" y="75"/>
                    </a:lnTo>
                    <a:lnTo>
                      <a:pt x="93" y="75"/>
                    </a:lnTo>
                    <a:close/>
                    <a:moveTo>
                      <a:pt x="23" y="100"/>
                    </a:moveTo>
                    <a:lnTo>
                      <a:pt x="27" y="100"/>
                    </a:lnTo>
                    <a:lnTo>
                      <a:pt x="23" y="97"/>
                    </a:lnTo>
                    <a:lnTo>
                      <a:pt x="27" y="93"/>
                    </a:lnTo>
                    <a:lnTo>
                      <a:pt x="32" y="95"/>
                    </a:lnTo>
                    <a:lnTo>
                      <a:pt x="30" y="93"/>
                    </a:lnTo>
                    <a:lnTo>
                      <a:pt x="40" y="85"/>
                    </a:lnTo>
                    <a:lnTo>
                      <a:pt x="42" y="92"/>
                    </a:lnTo>
                    <a:lnTo>
                      <a:pt x="37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5" y="103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3" y="100"/>
                    </a:lnTo>
                    <a:lnTo>
                      <a:pt x="23" y="100"/>
                    </a:lnTo>
                    <a:close/>
                    <a:moveTo>
                      <a:pt x="23" y="107"/>
                    </a:moveTo>
                    <a:lnTo>
                      <a:pt x="27" y="108"/>
                    </a:lnTo>
                    <a:lnTo>
                      <a:pt x="32" y="105"/>
                    </a:lnTo>
                    <a:lnTo>
                      <a:pt x="28" y="103"/>
                    </a:lnTo>
                    <a:lnTo>
                      <a:pt x="27" y="105"/>
                    </a:lnTo>
                    <a:lnTo>
                      <a:pt x="25" y="107"/>
                    </a:lnTo>
                    <a:lnTo>
                      <a:pt x="23" y="107"/>
                    </a:lnTo>
                    <a:lnTo>
                      <a:pt x="23" y="107"/>
                    </a:lnTo>
                    <a:close/>
                    <a:moveTo>
                      <a:pt x="22" y="113"/>
                    </a:moveTo>
                    <a:lnTo>
                      <a:pt x="18" y="115"/>
                    </a:lnTo>
                    <a:lnTo>
                      <a:pt x="15" y="112"/>
                    </a:lnTo>
                    <a:lnTo>
                      <a:pt x="17" y="112"/>
                    </a:lnTo>
                    <a:lnTo>
                      <a:pt x="23" y="112"/>
                    </a:lnTo>
                    <a:lnTo>
                      <a:pt x="22" y="113"/>
                    </a:lnTo>
                    <a:lnTo>
                      <a:pt x="22" y="113"/>
                    </a:lnTo>
                    <a:close/>
                    <a:moveTo>
                      <a:pt x="20" y="118"/>
                    </a:moveTo>
                    <a:lnTo>
                      <a:pt x="17" y="118"/>
                    </a:lnTo>
                    <a:lnTo>
                      <a:pt x="17" y="117"/>
                    </a:lnTo>
                    <a:lnTo>
                      <a:pt x="22" y="117"/>
                    </a:lnTo>
                    <a:lnTo>
                      <a:pt x="20" y="118"/>
                    </a:lnTo>
                    <a:lnTo>
                      <a:pt x="20" y="118"/>
                    </a:lnTo>
                    <a:close/>
                    <a:moveTo>
                      <a:pt x="15" y="130"/>
                    </a:moveTo>
                    <a:lnTo>
                      <a:pt x="17" y="132"/>
                    </a:lnTo>
                    <a:lnTo>
                      <a:pt x="13" y="133"/>
                    </a:lnTo>
                    <a:lnTo>
                      <a:pt x="13" y="132"/>
                    </a:lnTo>
                    <a:lnTo>
                      <a:pt x="15" y="130"/>
                    </a:lnTo>
                    <a:lnTo>
                      <a:pt x="15" y="130"/>
                    </a:lnTo>
                    <a:close/>
                    <a:moveTo>
                      <a:pt x="20" y="128"/>
                    </a:moveTo>
                    <a:lnTo>
                      <a:pt x="18" y="125"/>
                    </a:lnTo>
                    <a:lnTo>
                      <a:pt x="20" y="122"/>
                    </a:lnTo>
                    <a:lnTo>
                      <a:pt x="20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5"/>
                    </a:lnTo>
                    <a:lnTo>
                      <a:pt x="17" y="128"/>
                    </a:lnTo>
                    <a:lnTo>
                      <a:pt x="20" y="128"/>
                    </a:lnTo>
                    <a:lnTo>
                      <a:pt x="20" y="128"/>
                    </a:lnTo>
                    <a:close/>
                    <a:moveTo>
                      <a:pt x="43" y="130"/>
                    </a:moveTo>
                    <a:lnTo>
                      <a:pt x="43" y="127"/>
                    </a:lnTo>
                    <a:lnTo>
                      <a:pt x="38" y="127"/>
                    </a:lnTo>
                    <a:lnTo>
                      <a:pt x="35" y="122"/>
                    </a:lnTo>
                    <a:lnTo>
                      <a:pt x="35" y="120"/>
                    </a:lnTo>
                    <a:lnTo>
                      <a:pt x="33" y="120"/>
                    </a:lnTo>
                    <a:lnTo>
                      <a:pt x="33" y="122"/>
                    </a:lnTo>
                    <a:lnTo>
                      <a:pt x="28" y="118"/>
                    </a:lnTo>
                    <a:lnTo>
                      <a:pt x="30" y="117"/>
                    </a:lnTo>
                    <a:lnTo>
                      <a:pt x="32" y="117"/>
                    </a:lnTo>
                    <a:lnTo>
                      <a:pt x="32" y="113"/>
                    </a:lnTo>
                    <a:lnTo>
                      <a:pt x="37" y="117"/>
                    </a:lnTo>
                    <a:lnTo>
                      <a:pt x="37" y="112"/>
                    </a:lnTo>
                    <a:lnTo>
                      <a:pt x="38" y="110"/>
                    </a:lnTo>
                    <a:lnTo>
                      <a:pt x="42" y="115"/>
                    </a:lnTo>
                    <a:lnTo>
                      <a:pt x="42" y="122"/>
                    </a:lnTo>
                    <a:lnTo>
                      <a:pt x="47" y="125"/>
                    </a:lnTo>
                    <a:lnTo>
                      <a:pt x="48" y="123"/>
                    </a:lnTo>
                    <a:lnTo>
                      <a:pt x="50" y="125"/>
                    </a:lnTo>
                    <a:lnTo>
                      <a:pt x="47" y="127"/>
                    </a:lnTo>
                    <a:lnTo>
                      <a:pt x="45" y="130"/>
                    </a:lnTo>
                    <a:lnTo>
                      <a:pt x="43" y="130"/>
                    </a:lnTo>
                    <a:lnTo>
                      <a:pt x="43" y="130"/>
                    </a:lnTo>
                    <a:close/>
                    <a:moveTo>
                      <a:pt x="37" y="155"/>
                    </a:moveTo>
                    <a:lnTo>
                      <a:pt x="45" y="152"/>
                    </a:lnTo>
                    <a:lnTo>
                      <a:pt x="45" y="153"/>
                    </a:lnTo>
                    <a:lnTo>
                      <a:pt x="50" y="152"/>
                    </a:lnTo>
                    <a:lnTo>
                      <a:pt x="48" y="147"/>
                    </a:lnTo>
                    <a:lnTo>
                      <a:pt x="45" y="147"/>
                    </a:lnTo>
                    <a:lnTo>
                      <a:pt x="42" y="143"/>
                    </a:lnTo>
                    <a:lnTo>
                      <a:pt x="37" y="145"/>
                    </a:lnTo>
                    <a:lnTo>
                      <a:pt x="43" y="148"/>
                    </a:lnTo>
                    <a:lnTo>
                      <a:pt x="40" y="150"/>
                    </a:lnTo>
                    <a:lnTo>
                      <a:pt x="40" y="152"/>
                    </a:lnTo>
                    <a:lnTo>
                      <a:pt x="37" y="155"/>
                    </a:lnTo>
                    <a:lnTo>
                      <a:pt x="37" y="155"/>
                    </a:lnTo>
                    <a:close/>
                    <a:moveTo>
                      <a:pt x="43" y="170"/>
                    </a:moveTo>
                    <a:lnTo>
                      <a:pt x="42" y="165"/>
                    </a:lnTo>
                    <a:lnTo>
                      <a:pt x="50" y="158"/>
                    </a:lnTo>
                    <a:lnTo>
                      <a:pt x="47" y="167"/>
                    </a:lnTo>
                    <a:lnTo>
                      <a:pt x="43" y="170"/>
                    </a:lnTo>
                    <a:lnTo>
                      <a:pt x="43" y="170"/>
                    </a:lnTo>
                    <a:close/>
                    <a:moveTo>
                      <a:pt x="37" y="175"/>
                    </a:moveTo>
                    <a:lnTo>
                      <a:pt x="42" y="172"/>
                    </a:lnTo>
                    <a:lnTo>
                      <a:pt x="40" y="165"/>
                    </a:lnTo>
                    <a:lnTo>
                      <a:pt x="33" y="168"/>
                    </a:lnTo>
                    <a:lnTo>
                      <a:pt x="33" y="173"/>
                    </a:lnTo>
                    <a:lnTo>
                      <a:pt x="37" y="170"/>
                    </a:lnTo>
                    <a:lnTo>
                      <a:pt x="37" y="175"/>
                    </a:lnTo>
                    <a:lnTo>
                      <a:pt x="37" y="175"/>
                    </a:lnTo>
                    <a:close/>
                    <a:moveTo>
                      <a:pt x="55" y="175"/>
                    </a:moveTo>
                    <a:lnTo>
                      <a:pt x="57" y="180"/>
                    </a:lnTo>
                    <a:lnTo>
                      <a:pt x="60" y="182"/>
                    </a:lnTo>
                    <a:lnTo>
                      <a:pt x="62" y="178"/>
                    </a:lnTo>
                    <a:lnTo>
                      <a:pt x="58" y="172"/>
                    </a:lnTo>
                    <a:lnTo>
                      <a:pt x="55" y="175"/>
                    </a:lnTo>
                    <a:lnTo>
                      <a:pt x="55" y="175"/>
                    </a:lnTo>
                    <a:close/>
                    <a:moveTo>
                      <a:pt x="72" y="246"/>
                    </a:moveTo>
                    <a:lnTo>
                      <a:pt x="77" y="250"/>
                    </a:lnTo>
                    <a:lnTo>
                      <a:pt x="83" y="245"/>
                    </a:lnTo>
                    <a:lnTo>
                      <a:pt x="78" y="246"/>
                    </a:lnTo>
                    <a:lnTo>
                      <a:pt x="77" y="241"/>
                    </a:lnTo>
                    <a:lnTo>
                      <a:pt x="72" y="243"/>
                    </a:lnTo>
                    <a:lnTo>
                      <a:pt x="72" y="243"/>
                    </a:lnTo>
                    <a:lnTo>
                      <a:pt x="72" y="246"/>
                    </a:lnTo>
                    <a:lnTo>
                      <a:pt x="72" y="246"/>
                    </a:lnTo>
                    <a:close/>
                    <a:moveTo>
                      <a:pt x="67" y="223"/>
                    </a:moveTo>
                    <a:lnTo>
                      <a:pt x="68" y="218"/>
                    </a:lnTo>
                    <a:lnTo>
                      <a:pt x="77" y="211"/>
                    </a:lnTo>
                    <a:lnTo>
                      <a:pt x="75" y="215"/>
                    </a:lnTo>
                    <a:lnTo>
                      <a:pt x="77" y="216"/>
                    </a:lnTo>
                    <a:lnTo>
                      <a:pt x="70" y="223"/>
                    </a:lnTo>
                    <a:lnTo>
                      <a:pt x="67" y="223"/>
                    </a:lnTo>
                    <a:lnTo>
                      <a:pt x="67" y="223"/>
                    </a:lnTo>
                    <a:close/>
                    <a:moveTo>
                      <a:pt x="57" y="348"/>
                    </a:moveTo>
                    <a:lnTo>
                      <a:pt x="60" y="346"/>
                    </a:lnTo>
                    <a:lnTo>
                      <a:pt x="58" y="344"/>
                    </a:lnTo>
                    <a:lnTo>
                      <a:pt x="62" y="341"/>
                    </a:lnTo>
                    <a:lnTo>
                      <a:pt x="62" y="343"/>
                    </a:lnTo>
                    <a:lnTo>
                      <a:pt x="65" y="339"/>
                    </a:lnTo>
                    <a:lnTo>
                      <a:pt x="67" y="339"/>
                    </a:lnTo>
                    <a:lnTo>
                      <a:pt x="68" y="336"/>
                    </a:lnTo>
                    <a:lnTo>
                      <a:pt x="73" y="338"/>
                    </a:lnTo>
                    <a:lnTo>
                      <a:pt x="77" y="336"/>
                    </a:lnTo>
                    <a:lnTo>
                      <a:pt x="80" y="336"/>
                    </a:lnTo>
                    <a:lnTo>
                      <a:pt x="81" y="336"/>
                    </a:lnTo>
                    <a:lnTo>
                      <a:pt x="83" y="338"/>
                    </a:lnTo>
                    <a:lnTo>
                      <a:pt x="85" y="338"/>
                    </a:lnTo>
                    <a:lnTo>
                      <a:pt x="88" y="339"/>
                    </a:lnTo>
                    <a:lnTo>
                      <a:pt x="93" y="339"/>
                    </a:lnTo>
                    <a:lnTo>
                      <a:pt x="91" y="338"/>
                    </a:lnTo>
                    <a:lnTo>
                      <a:pt x="95" y="336"/>
                    </a:lnTo>
                    <a:lnTo>
                      <a:pt x="96" y="334"/>
                    </a:lnTo>
                    <a:lnTo>
                      <a:pt x="95" y="331"/>
                    </a:lnTo>
                    <a:lnTo>
                      <a:pt x="98" y="328"/>
                    </a:lnTo>
                    <a:lnTo>
                      <a:pt x="100" y="328"/>
                    </a:lnTo>
                    <a:lnTo>
                      <a:pt x="101" y="326"/>
                    </a:lnTo>
                    <a:lnTo>
                      <a:pt x="110" y="324"/>
                    </a:lnTo>
                    <a:lnTo>
                      <a:pt x="113" y="324"/>
                    </a:lnTo>
                    <a:lnTo>
                      <a:pt x="120" y="328"/>
                    </a:lnTo>
                    <a:lnTo>
                      <a:pt x="121" y="328"/>
                    </a:lnTo>
                    <a:lnTo>
                      <a:pt x="126" y="328"/>
                    </a:lnTo>
                    <a:lnTo>
                      <a:pt x="130" y="329"/>
                    </a:lnTo>
                    <a:lnTo>
                      <a:pt x="131" y="326"/>
                    </a:lnTo>
                    <a:lnTo>
                      <a:pt x="136" y="323"/>
                    </a:lnTo>
                    <a:lnTo>
                      <a:pt x="140" y="324"/>
                    </a:lnTo>
                    <a:lnTo>
                      <a:pt x="145" y="321"/>
                    </a:lnTo>
                    <a:lnTo>
                      <a:pt x="148" y="321"/>
                    </a:lnTo>
                    <a:lnTo>
                      <a:pt x="150" y="321"/>
                    </a:lnTo>
                    <a:lnTo>
                      <a:pt x="153" y="319"/>
                    </a:lnTo>
                    <a:lnTo>
                      <a:pt x="153" y="321"/>
                    </a:lnTo>
                    <a:lnTo>
                      <a:pt x="156" y="323"/>
                    </a:lnTo>
                    <a:lnTo>
                      <a:pt x="160" y="321"/>
                    </a:lnTo>
                    <a:lnTo>
                      <a:pt x="168" y="321"/>
                    </a:lnTo>
                    <a:lnTo>
                      <a:pt x="173" y="319"/>
                    </a:lnTo>
                    <a:lnTo>
                      <a:pt x="178" y="321"/>
                    </a:lnTo>
                    <a:lnTo>
                      <a:pt x="179" y="321"/>
                    </a:lnTo>
                    <a:lnTo>
                      <a:pt x="184" y="319"/>
                    </a:lnTo>
                    <a:lnTo>
                      <a:pt x="188" y="318"/>
                    </a:lnTo>
                    <a:lnTo>
                      <a:pt x="191" y="316"/>
                    </a:lnTo>
                    <a:lnTo>
                      <a:pt x="193" y="314"/>
                    </a:lnTo>
                    <a:lnTo>
                      <a:pt x="196" y="316"/>
                    </a:lnTo>
                    <a:lnTo>
                      <a:pt x="196" y="313"/>
                    </a:lnTo>
                    <a:lnTo>
                      <a:pt x="201" y="309"/>
                    </a:lnTo>
                    <a:lnTo>
                      <a:pt x="204" y="309"/>
                    </a:lnTo>
                    <a:lnTo>
                      <a:pt x="204" y="306"/>
                    </a:lnTo>
                    <a:lnTo>
                      <a:pt x="204" y="303"/>
                    </a:lnTo>
                    <a:lnTo>
                      <a:pt x="204" y="301"/>
                    </a:lnTo>
                    <a:lnTo>
                      <a:pt x="198" y="301"/>
                    </a:lnTo>
                    <a:lnTo>
                      <a:pt x="194" y="303"/>
                    </a:lnTo>
                    <a:lnTo>
                      <a:pt x="191" y="303"/>
                    </a:lnTo>
                    <a:lnTo>
                      <a:pt x="188" y="301"/>
                    </a:lnTo>
                    <a:lnTo>
                      <a:pt x="186" y="301"/>
                    </a:lnTo>
                    <a:lnTo>
                      <a:pt x="188" y="299"/>
                    </a:lnTo>
                    <a:lnTo>
                      <a:pt x="188" y="299"/>
                    </a:lnTo>
                    <a:lnTo>
                      <a:pt x="189" y="299"/>
                    </a:lnTo>
                    <a:lnTo>
                      <a:pt x="184" y="298"/>
                    </a:lnTo>
                    <a:lnTo>
                      <a:pt x="181" y="299"/>
                    </a:lnTo>
                    <a:lnTo>
                      <a:pt x="186" y="296"/>
                    </a:lnTo>
                    <a:lnTo>
                      <a:pt x="189" y="296"/>
                    </a:lnTo>
                    <a:lnTo>
                      <a:pt x="193" y="294"/>
                    </a:lnTo>
                    <a:lnTo>
                      <a:pt x="193" y="293"/>
                    </a:lnTo>
                    <a:lnTo>
                      <a:pt x="188" y="293"/>
                    </a:lnTo>
                    <a:lnTo>
                      <a:pt x="191" y="289"/>
                    </a:lnTo>
                    <a:lnTo>
                      <a:pt x="193" y="288"/>
                    </a:lnTo>
                    <a:lnTo>
                      <a:pt x="196" y="289"/>
                    </a:lnTo>
                    <a:lnTo>
                      <a:pt x="199" y="288"/>
                    </a:lnTo>
                    <a:lnTo>
                      <a:pt x="199" y="286"/>
                    </a:lnTo>
                    <a:lnTo>
                      <a:pt x="198" y="286"/>
                    </a:lnTo>
                    <a:lnTo>
                      <a:pt x="199" y="284"/>
                    </a:lnTo>
                    <a:lnTo>
                      <a:pt x="196" y="284"/>
                    </a:lnTo>
                    <a:lnTo>
                      <a:pt x="198" y="281"/>
                    </a:lnTo>
                    <a:lnTo>
                      <a:pt x="199" y="281"/>
                    </a:lnTo>
                    <a:lnTo>
                      <a:pt x="201" y="283"/>
                    </a:lnTo>
                    <a:lnTo>
                      <a:pt x="203" y="280"/>
                    </a:lnTo>
                    <a:lnTo>
                      <a:pt x="206" y="280"/>
                    </a:lnTo>
                    <a:lnTo>
                      <a:pt x="206" y="273"/>
                    </a:lnTo>
                    <a:lnTo>
                      <a:pt x="209" y="266"/>
                    </a:lnTo>
                    <a:lnTo>
                      <a:pt x="208" y="265"/>
                    </a:lnTo>
                    <a:lnTo>
                      <a:pt x="206" y="260"/>
                    </a:lnTo>
                    <a:lnTo>
                      <a:pt x="198" y="253"/>
                    </a:lnTo>
                    <a:lnTo>
                      <a:pt x="186" y="253"/>
                    </a:lnTo>
                    <a:lnTo>
                      <a:pt x="179" y="253"/>
                    </a:lnTo>
                    <a:lnTo>
                      <a:pt x="179" y="258"/>
                    </a:lnTo>
                    <a:lnTo>
                      <a:pt x="178" y="261"/>
                    </a:lnTo>
                    <a:lnTo>
                      <a:pt x="173" y="256"/>
                    </a:lnTo>
                    <a:lnTo>
                      <a:pt x="170" y="256"/>
                    </a:lnTo>
                    <a:lnTo>
                      <a:pt x="176" y="250"/>
                    </a:lnTo>
                    <a:lnTo>
                      <a:pt x="176" y="246"/>
                    </a:lnTo>
                    <a:lnTo>
                      <a:pt x="171" y="238"/>
                    </a:lnTo>
                    <a:lnTo>
                      <a:pt x="168" y="238"/>
                    </a:lnTo>
                    <a:lnTo>
                      <a:pt x="163" y="235"/>
                    </a:lnTo>
                    <a:lnTo>
                      <a:pt x="161" y="231"/>
                    </a:lnTo>
                    <a:lnTo>
                      <a:pt x="160" y="231"/>
                    </a:lnTo>
                    <a:lnTo>
                      <a:pt x="158" y="233"/>
                    </a:lnTo>
                    <a:lnTo>
                      <a:pt x="155" y="231"/>
                    </a:lnTo>
                    <a:lnTo>
                      <a:pt x="153" y="231"/>
                    </a:lnTo>
                    <a:lnTo>
                      <a:pt x="156" y="231"/>
                    </a:lnTo>
                    <a:lnTo>
                      <a:pt x="158" y="231"/>
                    </a:lnTo>
                    <a:lnTo>
                      <a:pt x="161" y="231"/>
                    </a:lnTo>
                    <a:lnTo>
                      <a:pt x="165" y="231"/>
                    </a:lnTo>
                    <a:lnTo>
                      <a:pt x="166" y="233"/>
                    </a:lnTo>
                    <a:lnTo>
                      <a:pt x="168" y="233"/>
                    </a:lnTo>
                    <a:lnTo>
                      <a:pt x="171" y="233"/>
                    </a:lnTo>
                    <a:lnTo>
                      <a:pt x="165" y="226"/>
                    </a:lnTo>
                    <a:lnTo>
                      <a:pt x="161" y="223"/>
                    </a:lnTo>
                    <a:lnTo>
                      <a:pt x="163" y="220"/>
                    </a:lnTo>
                    <a:lnTo>
                      <a:pt x="165" y="220"/>
                    </a:lnTo>
                    <a:lnTo>
                      <a:pt x="161" y="218"/>
                    </a:lnTo>
                    <a:lnTo>
                      <a:pt x="160" y="216"/>
                    </a:lnTo>
                    <a:lnTo>
                      <a:pt x="160" y="215"/>
                    </a:lnTo>
                    <a:lnTo>
                      <a:pt x="155" y="210"/>
                    </a:lnTo>
                    <a:lnTo>
                      <a:pt x="150" y="206"/>
                    </a:lnTo>
                    <a:lnTo>
                      <a:pt x="141" y="205"/>
                    </a:lnTo>
                    <a:lnTo>
                      <a:pt x="141" y="201"/>
                    </a:lnTo>
                    <a:lnTo>
                      <a:pt x="140" y="201"/>
                    </a:lnTo>
                    <a:lnTo>
                      <a:pt x="136" y="193"/>
                    </a:lnTo>
                    <a:lnTo>
                      <a:pt x="133" y="188"/>
                    </a:lnTo>
                    <a:lnTo>
                      <a:pt x="131" y="178"/>
                    </a:lnTo>
                    <a:lnTo>
                      <a:pt x="130" y="175"/>
                    </a:lnTo>
                    <a:lnTo>
                      <a:pt x="126" y="175"/>
                    </a:lnTo>
                    <a:lnTo>
                      <a:pt x="120" y="167"/>
                    </a:lnTo>
                    <a:lnTo>
                      <a:pt x="116" y="165"/>
                    </a:lnTo>
                    <a:lnTo>
                      <a:pt x="113" y="163"/>
                    </a:lnTo>
                    <a:lnTo>
                      <a:pt x="108" y="162"/>
                    </a:lnTo>
                    <a:lnTo>
                      <a:pt x="106" y="163"/>
                    </a:lnTo>
                    <a:lnTo>
                      <a:pt x="101" y="165"/>
                    </a:lnTo>
                    <a:lnTo>
                      <a:pt x="96" y="163"/>
                    </a:lnTo>
                    <a:lnTo>
                      <a:pt x="93" y="163"/>
                    </a:lnTo>
                    <a:lnTo>
                      <a:pt x="88" y="163"/>
                    </a:lnTo>
                    <a:lnTo>
                      <a:pt x="88" y="160"/>
                    </a:lnTo>
                    <a:lnTo>
                      <a:pt x="90" y="162"/>
                    </a:lnTo>
                    <a:lnTo>
                      <a:pt x="95" y="162"/>
                    </a:lnTo>
                    <a:lnTo>
                      <a:pt x="100" y="160"/>
                    </a:lnTo>
                    <a:lnTo>
                      <a:pt x="101" y="157"/>
                    </a:lnTo>
                    <a:lnTo>
                      <a:pt x="106" y="157"/>
                    </a:lnTo>
                    <a:lnTo>
                      <a:pt x="110" y="155"/>
                    </a:lnTo>
                    <a:lnTo>
                      <a:pt x="106" y="153"/>
                    </a:lnTo>
                    <a:lnTo>
                      <a:pt x="106" y="150"/>
                    </a:lnTo>
                    <a:lnTo>
                      <a:pt x="105" y="148"/>
                    </a:lnTo>
                    <a:lnTo>
                      <a:pt x="98" y="152"/>
                    </a:lnTo>
                    <a:lnTo>
                      <a:pt x="96" y="152"/>
                    </a:lnTo>
                    <a:lnTo>
                      <a:pt x="101" y="148"/>
                    </a:lnTo>
                    <a:lnTo>
                      <a:pt x="106" y="148"/>
                    </a:lnTo>
                    <a:lnTo>
                      <a:pt x="110" y="145"/>
                    </a:lnTo>
                    <a:lnTo>
                      <a:pt x="111" y="143"/>
                    </a:lnTo>
                    <a:lnTo>
                      <a:pt x="113" y="142"/>
                    </a:lnTo>
                    <a:lnTo>
                      <a:pt x="116" y="137"/>
                    </a:lnTo>
                    <a:lnTo>
                      <a:pt x="118" y="133"/>
                    </a:lnTo>
                    <a:lnTo>
                      <a:pt x="118" y="132"/>
                    </a:lnTo>
                    <a:lnTo>
                      <a:pt x="120" y="128"/>
                    </a:lnTo>
                    <a:lnTo>
                      <a:pt x="120" y="127"/>
                    </a:lnTo>
                    <a:lnTo>
                      <a:pt x="121" y="122"/>
                    </a:lnTo>
                    <a:lnTo>
                      <a:pt x="125" y="118"/>
                    </a:lnTo>
                    <a:lnTo>
                      <a:pt x="125" y="115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08" y="112"/>
                    </a:lnTo>
                    <a:lnTo>
                      <a:pt x="103" y="110"/>
                    </a:lnTo>
                    <a:lnTo>
                      <a:pt x="101" y="112"/>
                    </a:lnTo>
                    <a:lnTo>
                      <a:pt x="98" y="112"/>
                    </a:lnTo>
                    <a:lnTo>
                      <a:pt x="95" y="110"/>
                    </a:lnTo>
                    <a:lnTo>
                      <a:pt x="91" y="110"/>
                    </a:lnTo>
                    <a:lnTo>
                      <a:pt x="91" y="112"/>
                    </a:lnTo>
                    <a:lnTo>
                      <a:pt x="88" y="113"/>
                    </a:lnTo>
                    <a:lnTo>
                      <a:pt x="85" y="115"/>
                    </a:lnTo>
                    <a:lnTo>
                      <a:pt x="83" y="115"/>
                    </a:lnTo>
                    <a:lnTo>
                      <a:pt x="80" y="117"/>
                    </a:lnTo>
                    <a:lnTo>
                      <a:pt x="78" y="117"/>
                    </a:lnTo>
                    <a:lnTo>
                      <a:pt x="83" y="112"/>
                    </a:lnTo>
                    <a:lnTo>
                      <a:pt x="86" y="107"/>
                    </a:lnTo>
                    <a:lnTo>
                      <a:pt x="83" y="108"/>
                    </a:lnTo>
                    <a:lnTo>
                      <a:pt x="80" y="107"/>
                    </a:lnTo>
                    <a:lnTo>
                      <a:pt x="81" y="105"/>
                    </a:lnTo>
                    <a:lnTo>
                      <a:pt x="83" y="103"/>
                    </a:lnTo>
                    <a:lnTo>
                      <a:pt x="93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0" y="88"/>
                    </a:lnTo>
                    <a:lnTo>
                      <a:pt x="98" y="87"/>
                    </a:lnTo>
                    <a:lnTo>
                      <a:pt x="100" y="84"/>
                    </a:lnTo>
                    <a:lnTo>
                      <a:pt x="100" y="82"/>
                    </a:lnTo>
                    <a:lnTo>
                      <a:pt x="95" y="82"/>
                    </a:lnTo>
                    <a:lnTo>
                      <a:pt x="93" y="84"/>
                    </a:lnTo>
                    <a:lnTo>
                      <a:pt x="90" y="84"/>
                    </a:lnTo>
                    <a:lnTo>
                      <a:pt x="85" y="85"/>
                    </a:lnTo>
                    <a:lnTo>
                      <a:pt x="81" y="84"/>
                    </a:lnTo>
                    <a:lnTo>
                      <a:pt x="78" y="85"/>
                    </a:lnTo>
                    <a:lnTo>
                      <a:pt x="77" y="85"/>
                    </a:lnTo>
                    <a:lnTo>
                      <a:pt x="73" y="87"/>
                    </a:lnTo>
                    <a:lnTo>
                      <a:pt x="75" y="85"/>
                    </a:lnTo>
                    <a:lnTo>
                      <a:pt x="72" y="85"/>
                    </a:lnTo>
                    <a:lnTo>
                      <a:pt x="68" y="88"/>
                    </a:lnTo>
                    <a:lnTo>
                      <a:pt x="70" y="85"/>
                    </a:lnTo>
                    <a:lnTo>
                      <a:pt x="63" y="84"/>
                    </a:lnTo>
                    <a:lnTo>
                      <a:pt x="63" y="85"/>
                    </a:lnTo>
                    <a:lnTo>
                      <a:pt x="62" y="87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2" y="93"/>
                    </a:lnTo>
                    <a:lnTo>
                      <a:pt x="57" y="93"/>
                    </a:lnTo>
                    <a:lnTo>
                      <a:pt x="58" y="97"/>
                    </a:lnTo>
                    <a:lnTo>
                      <a:pt x="57" y="100"/>
                    </a:lnTo>
                    <a:lnTo>
                      <a:pt x="55" y="100"/>
                    </a:lnTo>
                    <a:lnTo>
                      <a:pt x="60" y="103"/>
                    </a:lnTo>
                    <a:lnTo>
                      <a:pt x="62" y="107"/>
                    </a:lnTo>
                    <a:lnTo>
                      <a:pt x="57" y="105"/>
                    </a:lnTo>
                    <a:lnTo>
                      <a:pt x="55" y="105"/>
                    </a:lnTo>
                    <a:lnTo>
                      <a:pt x="52" y="103"/>
                    </a:lnTo>
                    <a:lnTo>
                      <a:pt x="52" y="105"/>
                    </a:lnTo>
                    <a:lnTo>
                      <a:pt x="52" y="107"/>
                    </a:lnTo>
                    <a:lnTo>
                      <a:pt x="52" y="108"/>
                    </a:lnTo>
                    <a:lnTo>
                      <a:pt x="50" y="105"/>
                    </a:lnTo>
                    <a:lnTo>
                      <a:pt x="48" y="108"/>
                    </a:lnTo>
                    <a:lnTo>
                      <a:pt x="50" y="110"/>
                    </a:lnTo>
                    <a:lnTo>
                      <a:pt x="48" y="113"/>
                    </a:lnTo>
                    <a:lnTo>
                      <a:pt x="52" y="115"/>
                    </a:lnTo>
                    <a:lnTo>
                      <a:pt x="53" y="115"/>
                    </a:lnTo>
                    <a:lnTo>
                      <a:pt x="50" y="117"/>
                    </a:lnTo>
                    <a:lnTo>
                      <a:pt x="47" y="115"/>
                    </a:lnTo>
                    <a:lnTo>
                      <a:pt x="48" y="120"/>
                    </a:lnTo>
                    <a:lnTo>
                      <a:pt x="48" y="122"/>
                    </a:lnTo>
                    <a:lnTo>
                      <a:pt x="53" y="120"/>
                    </a:lnTo>
                    <a:lnTo>
                      <a:pt x="50" y="122"/>
                    </a:lnTo>
                    <a:lnTo>
                      <a:pt x="50" y="123"/>
                    </a:lnTo>
                    <a:lnTo>
                      <a:pt x="52" y="123"/>
                    </a:lnTo>
                    <a:lnTo>
                      <a:pt x="55" y="123"/>
                    </a:lnTo>
                    <a:lnTo>
                      <a:pt x="53" y="123"/>
                    </a:lnTo>
                    <a:lnTo>
                      <a:pt x="55" y="125"/>
                    </a:lnTo>
                    <a:lnTo>
                      <a:pt x="53" y="125"/>
                    </a:lnTo>
                    <a:lnTo>
                      <a:pt x="52" y="125"/>
                    </a:lnTo>
                    <a:lnTo>
                      <a:pt x="50" y="127"/>
                    </a:lnTo>
                    <a:lnTo>
                      <a:pt x="52" y="128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52" y="132"/>
                    </a:lnTo>
                    <a:lnTo>
                      <a:pt x="52" y="133"/>
                    </a:lnTo>
                    <a:lnTo>
                      <a:pt x="47" y="132"/>
                    </a:lnTo>
                    <a:lnTo>
                      <a:pt x="47" y="135"/>
                    </a:lnTo>
                    <a:lnTo>
                      <a:pt x="48" y="135"/>
                    </a:lnTo>
                    <a:lnTo>
                      <a:pt x="47" y="137"/>
                    </a:lnTo>
                    <a:lnTo>
                      <a:pt x="45" y="138"/>
                    </a:lnTo>
                    <a:lnTo>
                      <a:pt x="42" y="138"/>
                    </a:lnTo>
                    <a:lnTo>
                      <a:pt x="38" y="140"/>
                    </a:lnTo>
                    <a:lnTo>
                      <a:pt x="40" y="142"/>
                    </a:lnTo>
                    <a:lnTo>
                      <a:pt x="45" y="142"/>
                    </a:lnTo>
                    <a:lnTo>
                      <a:pt x="47" y="142"/>
                    </a:lnTo>
                    <a:lnTo>
                      <a:pt x="47" y="143"/>
                    </a:lnTo>
                    <a:lnTo>
                      <a:pt x="43" y="143"/>
                    </a:lnTo>
                    <a:lnTo>
                      <a:pt x="47" y="147"/>
                    </a:lnTo>
                    <a:lnTo>
                      <a:pt x="48" y="145"/>
                    </a:lnTo>
                    <a:lnTo>
                      <a:pt x="50" y="147"/>
                    </a:lnTo>
                    <a:lnTo>
                      <a:pt x="60" y="138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7" y="143"/>
                    </a:lnTo>
                    <a:lnTo>
                      <a:pt x="55" y="148"/>
                    </a:lnTo>
                    <a:lnTo>
                      <a:pt x="55" y="150"/>
                    </a:lnTo>
                    <a:lnTo>
                      <a:pt x="52" y="155"/>
                    </a:lnTo>
                    <a:lnTo>
                      <a:pt x="53" y="155"/>
                    </a:lnTo>
                    <a:lnTo>
                      <a:pt x="50" y="162"/>
                    </a:lnTo>
                    <a:lnTo>
                      <a:pt x="52" y="165"/>
                    </a:lnTo>
                    <a:lnTo>
                      <a:pt x="50" y="168"/>
                    </a:lnTo>
                    <a:lnTo>
                      <a:pt x="50" y="170"/>
                    </a:lnTo>
                    <a:lnTo>
                      <a:pt x="53" y="170"/>
                    </a:lnTo>
                    <a:lnTo>
                      <a:pt x="50" y="173"/>
                    </a:lnTo>
                    <a:lnTo>
                      <a:pt x="48" y="180"/>
                    </a:lnTo>
                    <a:lnTo>
                      <a:pt x="47" y="182"/>
                    </a:lnTo>
                    <a:lnTo>
                      <a:pt x="47" y="183"/>
                    </a:lnTo>
                    <a:lnTo>
                      <a:pt x="52" y="183"/>
                    </a:lnTo>
                    <a:lnTo>
                      <a:pt x="52" y="180"/>
                    </a:lnTo>
                    <a:lnTo>
                      <a:pt x="53" y="175"/>
                    </a:lnTo>
                    <a:lnTo>
                      <a:pt x="53" y="173"/>
                    </a:lnTo>
                    <a:lnTo>
                      <a:pt x="57" y="170"/>
                    </a:lnTo>
                    <a:lnTo>
                      <a:pt x="53" y="162"/>
                    </a:lnTo>
                    <a:lnTo>
                      <a:pt x="55" y="162"/>
                    </a:lnTo>
                    <a:lnTo>
                      <a:pt x="62" y="155"/>
                    </a:lnTo>
                    <a:lnTo>
                      <a:pt x="57" y="162"/>
                    </a:lnTo>
                    <a:lnTo>
                      <a:pt x="57" y="167"/>
                    </a:lnTo>
                    <a:lnTo>
                      <a:pt x="58" y="167"/>
                    </a:lnTo>
                    <a:lnTo>
                      <a:pt x="58" y="165"/>
                    </a:lnTo>
                    <a:lnTo>
                      <a:pt x="62" y="162"/>
                    </a:lnTo>
                    <a:lnTo>
                      <a:pt x="63" y="167"/>
                    </a:lnTo>
                    <a:lnTo>
                      <a:pt x="65" y="162"/>
                    </a:lnTo>
                    <a:lnTo>
                      <a:pt x="65" y="158"/>
                    </a:lnTo>
                    <a:lnTo>
                      <a:pt x="67" y="157"/>
                    </a:lnTo>
                    <a:lnTo>
                      <a:pt x="67" y="162"/>
                    </a:lnTo>
                    <a:lnTo>
                      <a:pt x="72" y="165"/>
                    </a:lnTo>
                    <a:lnTo>
                      <a:pt x="67" y="163"/>
                    </a:lnTo>
                    <a:lnTo>
                      <a:pt x="65" y="170"/>
                    </a:lnTo>
                    <a:lnTo>
                      <a:pt x="67" y="175"/>
                    </a:lnTo>
                    <a:lnTo>
                      <a:pt x="70" y="175"/>
                    </a:lnTo>
                    <a:lnTo>
                      <a:pt x="70" y="178"/>
                    </a:lnTo>
                    <a:lnTo>
                      <a:pt x="67" y="182"/>
                    </a:lnTo>
                    <a:lnTo>
                      <a:pt x="63" y="191"/>
                    </a:lnTo>
                    <a:lnTo>
                      <a:pt x="63" y="196"/>
                    </a:lnTo>
                    <a:lnTo>
                      <a:pt x="60" y="193"/>
                    </a:lnTo>
                    <a:lnTo>
                      <a:pt x="60" y="198"/>
                    </a:lnTo>
                    <a:lnTo>
                      <a:pt x="65" y="205"/>
                    </a:lnTo>
                    <a:lnTo>
                      <a:pt x="63" y="198"/>
                    </a:lnTo>
                    <a:lnTo>
                      <a:pt x="67" y="198"/>
                    </a:lnTo>
                    <a:lnTo>
                      <a:pt x="75" y="203"/>
                    </a:lnTo>
                    <a:lnTo>
                      <a:pt x="75" y="200"/>
                    </a:lnTo>
                    <a:lnTo>
                      <a:pt x="72" y="196"/>
                    </a:lnTo>
                    <a:lnTo>
                      <a:pt x="75" y="196"/>
                    </a:lnTo>
                    <a:lnTo>
                      <a:pt x="81" y="200"/>
                    </a:lnTo>
                    <a:lnTo>
                      <a:pt x="86" y="200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1" y="193"/>
                    </a:lnTo>
                    <a:lnTo>
                      <a:pt x="103" y="195"/>
                    </a:lnTo>
                    <a:lnTo>
                      <a:pt x="96" y="196"/>
                    </a:lnTo>
                    <a:lnTo>
                      <a:pt x="91" y="208"/>
                    </a:lnTo>
                    <a:lnTo>
                      <a:pt x="96" y="218"/>
                    </a:lnTo>
                    <a:lnTo>
                      <a:pt x="100" y="216"/>
                    </a:lnTo>
                    <a:lnTo>
                      <a:pt x="100" y="221"/>
                    </a:lnTo>
                    <a:lnTo>
                      <a:pt x="103" y="218"/>
                    </a:lnTo>
                    <a:lnTo>
                      <a:pt x="108" y="218"/>
                    </a:lnTo>
                    <a:lnTo>
                      <a:pt x="106" y="223"/>
                    </a:lnTo>
                    <a:lnTo>
                      <a:pt x="108" y="225"/>
                    </a:lnTo>
                    <a:lnTo>
                      <a:pt x="103" y="228"/>
                    </a:lnTo>
                    <a:lnTo>
                      <a:pt x="105" y="233"/>
                    </a:lnTo>
                    <a:lnTo>
                      <a:pt x="101" y="238"/>
                    </a:lnTo>
                    <a:lnTo>
                      <a:pt x="105" y="241"/>
                    </a:lnTo>
                    <a:lnTo>
                      <a:pt x="108" y="245"/>
                    </a:lnTo>
                    <a:lnTo>
                      <a:pt x="111" y="245"/>
                    </a:lnTo>
                    <a:lnTo>
                      <a:pt x="110" y="246"/>
                    </a:lnTo>
                    <a:lnTo>
                      <a:pt x="106" y="246"/>
                    </a:lnTo>
                    <a:lnTo>
                      <a:pt x="103" y="243"/>
                    </a:lnTo>
                    <a:lnTo>
                      <a:pt x="101" y="243"/>
                    </a:lnTo>
                    <a:lnTo>
                      <a:pt x="103" y="246"/>
                    </a:lnTo>
                    <a:lnTo>
                      <a:pt x="105" y="248"/>
                    </a:lnTo>
                    <a:lnTo>
                      <a:pt x="101" y="248"/>
                    </a:lnTo>
                    <a:lnTo>
                      <a:pt x="98" y="245"/>
                    </a:lnTo>
                    <a:lnTo>
                      <a:pt x="91" y="246"/>
                    </a:lnTo>
                    <a:lnTo>
                      <a:pt x="88" y="246"/>
                    </a:lnTo>
                    <a:lnTo>
                      <a:pt x="80" y="250"/>
                    </a:lnTo>
                    <a:lnTo>
                      <a:pt x="75" y="255"/>
                    </a:lnTo>
                    <a:lnTo>
                      <a:pt x="70" y="258"/>
                    </a:lnTo>
                    <a:lnTo>
                      <a:pt x="67" y="261"/>
                    </a:lnTo>
                    <a:lnTo>
                      <a:pt x="72" y="261"/>
                    </a:lnTo>
                    <a:lnTo>
                      <a:pt x="73" y="261"/>
                    </a:lnTo>
                    <a:lnTo>
                      <a:pt x="73" y="260"/>
                    </a:lnTo>
                    <a:lnTo>
                      <a:pt x="81" y="258"/>
                    </a:lnTo>
                    <a:lnTo>
                      <a:pt x="81" y="261"/>
                    </a:lnTo>
                    <a:lnTo>
                      <a:pt x="83" y="265"/>
                    </a:lnTo>
                    <a:lnTo>
                      <a:pt x="80" y="266"/>
                    </a:lnTo>
                    <a:lnTo>
                      <a:pt x="81" y="270"/>
                    </a:lnTo>
                    <a:lnTo>
                      <a:pt x="85" y="270"/>
                    </a:lnTo>
                    <a:lnTo>
                      <a:pt x="78" y="278"/>
                    </a:lnTo>
                    <a:lnTo>
                      <a:pt x="75" y="280"/>
                    </a:lnTo>
                    <a:lnTo>
                      <a:pt x="72" y="283"/>
                    </a:lnTo>
                    <a:lnTo>
                      <a:pt x="70" y="283"/>
                    </a:lnTo>
                    <a:lnTo>
                      <a:pt x="65" y="286"/>
                    </a:lnTo>
                    <a:lnTo>
                      <a:pt x="60" y="286"/>
                    </a:lnTo>
                    <a:lnTo>
                      <a:pt x="55" y="289"/>
                    </a:lnTo>
                    <a:lnTo>
                      <a:pt x="60" y="289"/>
                    </a:lnTo>
                    <a:lnTo>
                      <a:pt x="60" y="293"/>
                    </a:lnTo>
                    <a:lnTo>
                      <a:pt x="57" y="294"/>
                    </a:lnTo>
                    <a:lnTo>
                      <a:pt x="62" y="294"/>
                    </a:lnTo>
                    <a:lnTo>
                      <a:pt x="62" y="296"/>
                    </a:lnTo>
                    <a:lnTo>
                      <a:pt x="63" y="298"/>
                    </a:lnTo>
                    <a:lnTo>
                      <a:pt x="67" y="296"/>
                    </a:lnTo>
                    <a:lnTo>
                      <a:pt x="70" y="294"/>
                    </a:lnTo>
                    <a:lnTo>
                      <a:pt x="77" y="293"/>
                    </a:lnTo>
                    <a:lnTo>
                      <a:pt x="77" y="294"/>
                    </a:lnTo>
                    <a:lnTo>
                      <a:pt x="81" y="296"/>
                    </a:lnTo>
                    <a:lnTo>
                      <a:pt x="78" y="298"/>
                    </a:lnTo>
                    <a:lnTo>
                      <a:pt x="78" y="299"/>
                    </a:lnTo>
                    <a:lnTo>
                      <a:pt x="85" y="299"/>
                    </a:lnTo>
                    <a:lnTo>
                      <a:pt x="85" y="298"/>
                    </a:lnTo>
                    <a:lnTo>
                      <a:pt x="88" y="298"/>
                    </a:lnTo>
                    <a:lnTo>
                      <a:pt x="91" y="301"/>
                    </a:lnTo>
                    <a:lnTo>
                      <a:pt x="95" y="304"/>
                    </a:lnTo>
                    <a:lnTo>
                      <a:pt x="101" y="304"/>
                    </a:lnTo>
                    <a:lnTo>
                      <a:pt x="105" y="301"/>
                    </a:lnTo>
                    <a:lnTo>
                      <a:pt x="108" y="299"/>
                    </a:lnTo>
                    <a:lnTo>
                      <a:pt x="113" y="298"/>
                    </a:lnTo>
                    <a:lnTo>
                      <a:pt x="115" y="296"/>
                    </a:lnTo>
                    <a:lnTo>
                      <a:pt x="118" y="294"/>
                    </a:lnTo>
                    <a:lnTo>
                      <a:pt x="113" y="299"/>
                    </a:lnTo>
                    <a:lnTo>
                      <a:pt x="108" y="304"/>
                    </a:lnTo>
                    <a:lnTo>
                      <a:pt x="106" y="311"/>
                    </a:lnTo>
                    <a:lnTo>
                      <a:pt x="103" y="311"/>
                    </a:lnTo>
                    <a:lnTo>
                      <a:pt x="100" y="311"/>
                    </a:lnTo>
                    <a:lnTo>
                      <a:pt x="96" y="309"/>
                    </a:lnTo>
                    <a:lnTo>
                      <a:pt x="86" y="309"/>
                    </a:lnTo>
                    <a:lnTo>
                      <a:pt x="80" y="311"/>
                    </a:lnTo>
                    <a:lnTo>
                      <a:pt x="80" y="314"/>
                    </a:lnTo>
                    <a:lnTo>
                      <a:pt x="77" y="316"/>
                    </a:lnTo>
                    <a:lnTo>
                      <a:pt x="72" y="316"/>
                    </a:lnTo>
                    <a:lnTo>
                      <a:pt x="72" y="324"/>
                    </a:lnTo>
                    <a:lnTo>
                      <a:pt x="68" y="328"/>
                    </a:lnTo>
                    <a:lnTo>
                      <a:pt x="67" y="329"/>
                    </a:lnTo>
                    <a:lnTo>
                      <a:pt x="62" y="331"/>
                    </a:lnTo>
                    <a:lnTo>
                      <a:pt x="60" y="334"/>
                    </a:lnTo>
                    <a:lnTo>
                      <a:pt x="58" y="334"/>
                    </a:lnTo>
                    <a:lnTo>
                      <a:pt x="57" y="336"/>
                    </a:lnTo>
                    <a:lnTo>
                      <a:pt x="52" y="341"/>
                    </a:lnTo>
                    <a:lnTo>
                      <a:pt x="50" y="339"/>
                    </a:lnTo>
                    <a:lnTo>
                      <a:pt x="45" y="343"/>
                    </a:lnTo>
                    <a:lnTo>
                      <a:pt x="45" y="346"/>
                    </a:lnTo>
                    <a:lnTo>
                      <a:pt x="50" y="346"/>
                    </a:lnTo>
                    <a:lnTo>
                      <a:pt x="50" y="343"/>
                    </a:lnTo>
                    <a:lnTo>
                      <a:pt x="55" y="344"/>
                    </a:lnTo>
                    <a:lnTo>
                      <a:pt x="57" y="3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0" name="Freeform 64">
                <a:extLst>
                  <a:ext uri="{FF2B5EF4-FFF2-40B4-BE49-F238E27FC236}">
                    <a16:creationId xmlns:a16="http://schemas.microsoft.com/office/drawing/2014/main" id="{E850CD29-0501-094B-BB0E-71B831DF4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431" y="2630560"/>
                <a:ext cx="168029" cy="136962"/>
              </a:xfrm>
              <a:custGeom>
                <a:avLst/>
                <a:gdLst/>
                <a:ahLst/>
                <a:cxnLst>
                  <a:cxn ang="0">
                    <a:pos x="248" y="130"/>
                  </a:cxn>
                  <a:cxn ang="0">
                    <a:pos x="228" y="140"/>
                  </a:cxn>
                  <a:cxn ang="0">
                    <a:pos x="234" y="125"/>
                  </a:cxn>
                  <a:cxn ang="0">
                    <a:pos x="253" y="103"/>
                  </a:cxn>
                  <a:cxn ang="0">
                    <a:pos x="261" y="100"/>
                  </a:cxn>
                  <a:cxn ang="0">
                    <a:pos x="264" y="76"/>
                  </a:cxn>
                  <a:cxn ang="0">
                    <a:pos x="271" y="57"/>
                  </a:cxn>
                  <a:cxn ang="0">
                    <a:pos x="249" y="55"/>
                  </a:cxn>
                  <a:cxn ang="0">
                    <a:pos x="233" y="47"/>
                  </a:cxn>
                  <a:cxn ang="0">
                    <a:pos x="214" y="40"/>
                  </a:cxn>
                  <a:cxn ang="0">
                    <a:pos x="196" y="32"/>
                  </a:cxn>
                  <a:cxn ang="0">
                    <a:pos x="181" y="20"/>
                  </a:cxn>
                  <a:cxn ang="0">
                    <a:pos x="163" y="2"/>
                  </a:cxn>
                  <a:cxn ang="0">
                    <a:pos x="143" y="7"/>
                  </a:cxn>
                  <a:cxn ang="0">
                    <a:pos x="133" y="33"/>
                  </a:cxn>
                  <a:cxn ang="0">
                    <a:pos x="107" y="42"/>
                  </a:cxn>
                  <a:cxn ang="0">
                    <a:pos x="90" y="50"/>
                  </a:cxn>
                  <a:cxn ang="0">
                    <a:pos x="80" y="42"/>
                  </a:cxn>
                  <a:cxn ang="0">
                    <a:pos x="65" y="45"/>
                  </a:cxn>
                  <a:cxn ang="0">
                    <a:pos x="70" y="62"/>
                  </a:cxn>
                  <a:cxn ang="0">
                    <a:pos x="58" y="68"/>
                  </a:cxn>
                  <a:cxn ang="0">
                    <a:pos x="37" y="63"/>
                  </a:cxn>
                  <a:cxn ang="0">
                    <a:pos x="18" y="67"/>
                  </a:cxn>
                  <a:cxn ang="0">
                    <a:pos x="2" y="78"/>
                  </a:cxn>
                  <a:cxn ang="0">
                    <a:pos x="4" y="78"/>
                  </a:cxn>
                  <a:cxn ang="0">
                    <a:pos x="9" y="85"/>
                  </a:cxn>
                  <a:cxn ang="0">
                    <a:pos x="9" y="95"/>
                  </a:cxn>
                  <a:cxn ang="0">
                    <a:pos x="30" y="96"/>
                  </a:cxn>
                  <a:cxn ang="0">
                    <a:pos x="43" y="100"/>
                  </a:cxn>
                  <a:cxn ang="0">
                    <a:pos x="52" y="108"/>
                  </a:cxn>
                  <a:cxn ang="0">
                    <a:pos x="63" y="108"/>
                  </a:cxn>
                  <a:cxn ang="0">
                    <a:pos x="57" y="121"/>
                  </a:cxn>
                  <a:cxn ang="0">
                    <a:pos x="80" y="135"/>
                  </a:cxn>
                  <a:cxn ang="0">
                    <a:pos x="78" y="151"/>
                  </a:cxn>
                  <a:cxn ang="0">
                    <a:pos x="87" y="158"/>
                  </a:cxn>
                  <a:cxn ang="0">
                    <a:pos x="82" y="178"/>
                  </a:cxn>
                  <a:cxn ang="0">
                    <a:pos x="72" y="213"/>
                  </a:cxn>
                  <a:cxn ang="0">
                    <a:pos x="82" y="223"/>
                  </a:cxn>
                  <a:cxn ang="0">
                    <a:pos x="113" y="233"/>
                  </a:cxn>
                  <a:cxn ang="0">
                    <a:pos x="143" y="231"/>
                  </a:cxn>
                  <a:cxn ang="0">
                    <a:pos x="171" y="238"/>
                  </a:cxn>
                  <a:cxn ang="0">
                    <a:pos x="186" y="208"/>
                  </a:cxn>
                  <a:cxn ang="0">
                    <a:pos x="206" y="213"/>
                  </a:cxn>
                  <a:cxn ang="0">
                    <a:pos x="244" y="223"/>
                  </a:cxn>
                  <a:cxn ang="0">
                    <a:pos x="268" y="201"/>
                  </a:cxn>
                  <a:cxn ang="0">
                    <a:pos x="253" y="174"/>
                  </a:cxn>
                  <a:cxn ang="0">
                    <a:pos x="253" y="153"/>
                  </a:cxn>
                  <a:cxn ang="0">
                    <a:pos x="306" y="266"/>
                  </a:cxn>
                  <a:cxn ang="0">
                    <a:pos x="299" y="258"/>
                  </a:cxn>
                  <a:cxn ang="0">
                    <a:pos x="294" y="249"/>
                  </a:cxn>
                  <a:cxn ang="0">
                    <a:pos x="294" y="241"/>
                  </a:cxn>
                  <a:cxn ang="0">
                    <a:pos x="307" y="231"/>
                  </a:cxn>
                  <a:cxn ang="0">
                    <a:pos x="312" y="221"/>
                  </a:cxn>
                  <a:cxn ang="0">
                    <a:pos x="312" y="256"/>
                  </a:cxn>
                </a:cxnLst>
                <a:rect l="0" t="0" r="r" b="b"/>
                <a:pathLst>
                  <a:path w="316" h="266">
                    <a:moveTo>
                      <a:pt x="254" y="145"/>
                    </a:moveTo>
                    <a:lnTo>
                      <a:pt x="254" y="141"/>
                    </a:lnTo>
                    <a:lnTo>
                      <a:pt x="251" y="140"/>
                    </a:lnTo>
                    <a:lnTo>
                      <a:pt x="249" y="135"/>
                    </a:lnTo>
                    <a:lnTo>
                      <a:pt x="248" y="130"/>
                    </a:lnTo>
                    <a:lnTo>
                      <a:pt x="239" y="130"/>
                    </a:lnTo>
                    <a:lnTo>
                      <a:pt x="236" y="133"/>
                    </a:lnTo>
                    <a:lnTo>
                      <a:pt x="239" y="138"/>
                    </a:lnTo>
                    <a:lnTo>
                      <a:pt x="233" y="140"/>
                    </a:lnTo>
                    <a:lnTo>
                      <a:pt x="228" y="140"/>
                    </a:lnTo>
                    <a:lnTo>
                      <a:pt x="228" y="136"/>
                    </a:lnTo>
                    <a:lnTo>
                      <a:pt x="229" y="135"/>
                    </a:lnTo>
                    <a:lnTo>
                      <a:pt x="233" y="135"/>
                    </a:lnTo>
                    <a:lnTo>
                      <a:pt x="233" y="131"/>
                    </a:lnTo>
                    <a:lnTo>
                      <a:pt x="234" y="125"/>
                    </a:lnTo>
                    <a:lnTo>
                      <a:pt x="239" y="115"/>
                    </a:lnTo>
                    <a:lnTo>
                      <a:pt x="244" y="115"/>
                    </a:lnTo>
                    <a:lnTo>
                      <a:pt x="248" y="108"/>
                    </a:lnTo>
                    <a:lnTo>
                      <a:pt x="253" y="106"/>
                    </a:lnTo>
                    <a:lnTo>
                      <a:pt x="253" y="103"/>
                    </a:lnTo>
                    <a:lnTo>
                      <a:pt x="248" y="100"/>
                    </a:lnTo>
                    <a:lnTo>
                      <a:pt x="249" y="96"/>
                    </a:lnTo>
                    <a:lnTo>
                      <a:pt x="256" y="96"/>
                    </a:lnTo>
                    <a:lnTo>
                      <a:pt x="258" y="100"/>
                    </a:lnTo>
                    <a:lnTo>
                      <a:pt x="261" y="100"/>
                    </a:lnTo>
                    <a:lnTo>
                      <a:pt x="269" y="98"/>
                    </a:lnTo>
                    <a:lnTo>
                      <a:pt x="268" y="93"/>
                    </a:lnTo>
                    <a:lnTo>
                      <a:pt x="263" y="91"/>
                    </a:lnTo>
                    <a:lnTo>
                      <a:pt x="263" y="85"/>
                    </a:lnTo>
                    <a:lnTo>
                      <a:pt x="264" y="76"/>
                    </a:lnTo>
                    <a:lnTo>
                      <a:pt x="268" y="75"/>
                    </a:lnTo>
                    <a:lnTo>
                      <a:pt x="268" y="71"/>
                    </a:lnTo>
                    <a:lnTo>
                      <a:pt x="271" y="65"/>
                    </a:lnTo>
                    <a:lnTo>
                      <a:pt x="276" y="60"/>
                    </a:lnTo>
                    <a:lnTo>
                      <a:pt x="271" y="57"/>
                    </a:lnTo>
                    <a:lnTo>
                      <a:pt x="268" y="57"/>
                    </a:lnTo>
                    <a:lnTo>
                      <a:pt x="261" y="53"/>
                    </a:lnTo>
                    <a:lnTo>
                      <a:pt x="258" y="55"/>
                    </a:lnTo>
                    <a:lnTo>
                      <a:pt x="254" y="55"/>
                    </a:lnTo>
                    <a:lnTo>
                      <a:pt x="249" y="55"/>
                    </a:lnTo>
                    <a:lnTo>
                      <a:pt x="246" y="55"/>
                    </a:lnTo>
                    <a:lnTo>
                      <a:pt x="241" y="52"/>
                    </a:lnTo>
                    <a:lnTo>
                      <a:pt x="241" y="50"/>
                    </a:lnTo>
                    <a:lnTo>
                      <a:pt x="236" y="47"/>
                    </a:lnTo>
                    <a:lnTo>
                      <a:pt x="233" y="47"/>
                    </a:lnTo>
                    <a:lnTo>
                      <a:pt x="228" y="47"/>
                    </a:lnTo>
                    <a:lnTo>
                      <a:pt x="224" y="42"/>
                    </a:lnTo>
                    <a:lnTo>
                      <a:pt x="221" y="42"/>
                    </a:lnTo>
                    <a:lnTo>
                      <a:pt x="218" y="43"/>
                    </a:lnTo>
                    <a:lnTo>
                      <a:pt x="214" y="40"/>
                    </a:lnTo>
                    <a:lnTo>
                      <a:pt x="209" y="40"/>
                    </a:lnTo>
                    <a:lnTo>
                      <a:pt x="203" y="33"/>
                    </a:lnTo>
                    <a:lnTo>
                      <a:pt x="201" y="33"/>
                    </a:lnTo>
                    <a:lnTo>
                      <a:pt x="198" y="32"/>
                    </a:lnTo>
                    <a:lnTo>
                      <a:pt x="196" y="32"/>
                    </a:lnTo>
                    <a:lnTo>
                      <a:pt x="193" y="33"/>
                    </a:lnTo>
                    <a:lnTo>
                      <a:pt x="188" y="30"/>
                    </a:lnTo>
                    <a:lnTo>
                      <a:pt x="188" y="23"/>
                    </a:lnTo>
                    <a:lnTo>
                      <a:pt x="185" y="23"/>
                    </a:lnTo>
                    <a:lnTo>
                      <a:pt x="181" y="20"/>
                    </a:lnTo>
                    <a:lnTo>
                      <a:pt x="178" y="20"/>
                    </a:lnTo>
                    <a:lnTo>
                      <a:pt x="171" y="15"/>
                    </a:lnTo>
                    <a:lnTo>
                      <a:pt x="170" y="12"/>
                    </a:lnTo>
                    <a:lnTo>
                      <a:pt x="165" y="10"/>
                    </a:lnTo>
                    <a:lnTo>
                      <a:pt x="163" y="2"/>
                    </a:lnTo>
                    <a:lnTo>
                      <a:pt x="161" y="0"/>
                    </a:lnTo>
                    <a:lnTo>
                      <a:pt x="160" y="2"/>
                    </a:lnTo>
                    <a:lnTo>
                      <a:pt x="151" y="5"/>
                    </a:lnTo>
                    <a:lnTo>
                      <a:pt x="150" y="3"/>
                    </a:lnTo>
                    <a:lnTo>
                      <a:pt x="143" y="7"/>
                    </a:lnTo>
                    <a:lnTo>
                      <a:pt x="141" y="12"/>
                    </a:lnTo>
                    <a:lnTo>
                      <a:pt x="141" y="17"/>
                    </a:lnTo>
                    <a:lnTo>
                      <a:pt x="141" y="25"/>
                    </a:lnTo>
                    <a:lnTo>
                      <a:pt x="133" y="30"/>
                    </a:lnTo>
                    <a:lnTo>
                      <a:pt x="133" y="33"/>
                    </a:lnTo>
                    <a:lnTo>
                      <a:pt x="126" y="35"/>
                    </a:lnTo>
                    <a:lnTo>
                      <a:pt x="121" y="35"/>
                    </a:lnTo>
                    <a:lnTo>
                      <a:pt x="118" y="33"/>
                    </a:lnTo>
                    <a:lnTo>
                      <a:pt x="108" y="38"/>
                    </a:lnTo>
                    <a:lnTo>
                      <a:pt x="107" y="42"/>
                    </a:lnTo>
                    <a:lnTo>
                      <a:pt x="108" y="45"/>
                    </a:lnTo>
                    <a:lnTo>
                      <a:pt x="111" y="47"/>
                    </a:lnTo>
                    <a:lnTo>
                      <a:pt x="107" y="50"/>
                    </a:lnTo>
                    <a:lnTo>
                      <a:pt x="100" y="52"/>
                    </a:lnTo>
                    <a:lnTo>
                      <a:pt x="90" y="50"/>
                    </a:lnTo>
                    <a:lnTo>
                      <a:pt x="87" y="48"/>
                    </a:lnTo>
                    <a:lnTo>
                      <a:pt x="82" y="50"/>
                    </a:lnTo>
                    <a:lnTo>
                      <a:pt x="82" y="47"/>
                    </a:lnTo>
                    <a:lnTo>
                      <a:pt x="78" y="45"/>
                    </a:lnTo>
                    <a:lnTo>
                      <a:pt x="80" y="42"/>
                    </a:lnTo>
                    <a:lnTo>
                      <a:pt x="75" y="40"/>
                    </a:lnTo>
                    <a:lnTo>
                      <a:pt x="72" y="42"/>
                    </a:lnTo>
                    <a:lnTo>
                      <a:pt x="65" y="40"/>
                    </a:lnTo>
                    <a:lnTo>
                      <a:pt x="63" y="40"/>
                    </a:lnTo>
                    <a:lnTo>
                      <a:pt x="65" y="45"/>
                    </a:lnTo>
                    <a:lnTo>
                      <a:pt x="63" y="47"/>
                    </a:lnTo>
                    <a:lnTo>
                      <a:pt x="72" y="53"/>
                    </a:lnTo>
                    <a:lnTo>
                      <a:pt x="70" y="55"/>
                    </a:lnTo>
                    <a:lnTo>
                      <a:pt x="72" y="58"/>
                    </a:lnTo>
                    <a:lnTo>
                      <a:pt x="70" y="62"/>
                    </a:lnTo>
                    <a:lnTo>
                      <a:pt x="73" y="65"/>
                    </a:lnTo>
                    <a:lnTo>
                      <a:pt x="73" y="70"/>
                    </a:lnTo>
                    <a:lnTo>
                      <a:pt x="65" y="68"/>
                    </a:lnTo>
                    <a:lnTo>
                      <a:pt x="62" y="70"/>
                    </a:lnTo>
                    <a:lnTo>
                      <a:pt x="58" y="68"/>
                    </a:lnTo>
                    <a:lnTo>
                      <a:pt x="53" y="70"/>
                    </a:lnTo>
                    <a:lnTo>
                      <a:pt x="52" y="68"/>
                    </a:lnTo>
                    <a:lnTo>
                      <a:pt x="47" y="71"/>
                    </a:lnTo>
                    <a:lnTo>
                      <a:pt x="40" y="63"/>
                    </a:lnTo>
                    <a:lnTo>
                      <a:pt x="37" y="63"/>
                    </a:lnTo>
                    <a:lnTo>
                      <a:pt x="30" y="63"/>
                    </a:lnTo>
                    <a:lnTo>
                      <a:pt x="27" y="68"/>
                    </a:lnTo>
                    <a:lnTo>
                      <a:pt x="23" y="67"/>
                    </a:lnTo>
                    <a:lnTo>
                      <a:pt x="20" y="68"/>
                    </a:lnTo>
                    <a:lnTo>
                      <a:pt x="18" y="67"/>
                    </a:lnTo>
                    <a:lnTo>
                      <a:pt x="13" y="68"/>
                    </a:lnTo>
                    <a:lnTo>
                      <a:pt x="10" y="70"/>
                    </a:lnTo>
                    <a:lnTo>
                      <a:pt x="4" y="71"/>
                    </a:lnTo>
                    <a:lnTo>
                      <a:pt x="0" y="75"/>
                    </a:lnTo>
                    <a:lnTo>
                      <a:pt x="2" y="78"/>
                    </a:lnTo>
                    <a:lnTo>
                      <a:pt x="5" y="76"/>
                    </a:lnTo>
                    <a:lnTo>
                      <a:pt x="10" y="76"/>
                    </a:lnTo>
                    <a:lnTo>
                      <a:pt x="12" y="78"/>
                    </a:lnTo>
                    <a:lnTo>
                      <a:pt x="7" y="78"/>
                    </a:lnTo>
                    <a:lnTo>
                      <a:pt x="4" y="78"/>
                    </a:lnTo>
                    <a:lnTo>
                      <a:pt x="5" y="83"/>
                    </a:lnTo>
                    <a:lnTo>
                      <a:pt x="7" y="80"/>
                    </a:lnTo>
                    <a:lnTo>
                      <a:pt x="10" y="80"/>
                    </a:lnTo>
                    <a:lnTo>
                      <a:pt x="10" y="83"/>
                    </a:lnTo>
                    <a:lnTo>
                      <a:pt x="9" y="85"/>
                    </a:lnTo>
                    <a:lnTo>
                      <a:pt x="4" y="85"/>
                    </a:lnTo>
                    <a:lnTo>
                      <a:pt x="4" y="86"/>
                    </a:lnTo>
                    <a:lnTo>
                      <a:pt x="9" y="86"/>
                    </a:lnTo>
                    <a:lnTo>
                      <a:pt x="10" y="91"/>
                    </a:lnTo>
                    <a:lnTo>
                      <a:pt x="9" y="95"/>
                    </a:lnTo>
                    <a:lnTo>
                      <a:pt x="13" y="91"/>
                    </a:lnTo>
                    <a:lnTo>
                      <a:pt x="17" y="91"/>
                    </a:lnTo>
                    <a:lnTo>
                      <a:pt x="20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33" y="96"/>
                    </a:lnTo>
                    <a:lnTo>
                      <a:pt x="38" y="100"/>
                    </a:lnTo>
                    <a:lnTo>
                      <a:pt x="42" y="96"/>
                    </a:lnTo>
                    <a:lnTo>
                      <a:pt x="45" y="96"/>
                    </a:lnTo>
                    <a:lnTo>
                      <a:pt x="43" y="100"/>
                    </a:lnTo>
                    <a:lnTo>
                      <a:pt x="45" y="101"/>
                    </a:lnTo>
                    <a:lnTo>
                      <a:pt x="48" y="100"/>
                    </a:lnTo>
                    <a:lnTo>
                      <a:pt x="52" y="101"/>
                    </a:lnTo>
                    <a:lnTo>
                      <a:pt x="50" y="105"/>
                    </a:lnTo>
                    <a:lnTo>
                      <a:pt x="52" y="108"/>
                    </a:lnTo>
                    <a:lnTo>
                      <a:pt x="55" y="108"/>
                    </a:lnTo>
                    <a:lnTo>
                      <a:pt x="60" y="106"/>
                    </a:lnTo>
                    <a:lnTo>
                      <a:pt x="63" y="106"/>
                    </a:lnTo>
                    <a:lnTo>
                      <a:pt x="67" y="110"/>
                    </a:lnTo>
                    <a:lnTo>
                      <a:pt x="63" y="108"/>
                    </a:lnTo>
                    <a:lnTo>
                      <a:pt x="58" y="108"/>
                    </a:lnTo>
                    <a:lnTo>
                      <a:pt x="57" y="111"/>
                    </a:lnTo>
                    <a:lnTo>
                      <a:pt x="58" y="113"/>
                    </a:lnTo>
                    <a:lnTo>
                      <a:pt x="60" y="118"/>
                    </a:lnTo>
                    <a:lnTo>
                      <a:pt x="57" y="121"/>
                    </a:lnTo>
                    <a:lnTo>
                      <a:pt x="58" y="123"/>
                    </a:lnTo>
                    <a:lnTo>
                      <a:pt x="62" y="125"/>
                    </a:lnTo>
                    <a:lnTo>
                      <a:pt x="68" y="131"/>
                    </a:lnTo>
                    <a:lnTo>
                      <a:pt x="75" y="131"/>
                    </a:lnTo>
                    <a:lnTo>
                      <a:pt x="80" y="135"/>
                    </a:lnTo>
                    <a:lnTo>
                      <a:pt x="80" y="138"/>
                    </a:lnTo>
                    <a:lnTo>
                      <a:pt x="82" y="141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8" y="151"/>
                    </a:lnTo>
                    <a:lnTo>
                      <a:pt x="82" y="151"/>
                    </a:lnTo>
                    <a:lnTo>
                      <a:pt x="90" y="156"/>
                    </a:lnTo>
                    <a:lnTo>
                      <a:pt x="95" y="169"/>
                    </a:lnTo>
                    <a:lnTo>
                      <a:pt x="88" y="163"/>
                    </a:lnTo>
                    <a:lnTo>
                      <a:pt x="87" y="158"/>
                    </a:lnTo>
                    <a:lnTo>
                      <a:pt x="82" y="156"/>
                    </a:lnTo>
                    <a:lnTo>
                      <a:pt x="80" y="158"/>
                    </a:lnTo>
                    <a:lnTo>
                      <a:pt x="78" y="168"/>
                    </a:lnTo>
                    <a:lnTo>
                      <a:pt x="78" y="176"/>
                    </a:lnTo>
                    <a:lnTo>
                      <a:pt x="82" y="178"/>
                    </a:lnTo>
                    <a:lnTo>
                      <a:pt x="78" y="181"/>
                    </a:lnTo>
                    <a:lnTo>
                      <a:pt x="77" y="196"/>
                    </a:lnTo>
                    <a:lnTo>
                      <a:pt x="73" y="208"/>
                    </a:lnTo>
                    <a:lnTo>
                      <a:pt x="67" y="211"/>
                    </a:lnTo>
                    <a:lnTo>
                      <a:pt x="72" y="213"/>
                    </a:lnTo>
                    <a:lnTo>
                      <a:pt x="72" y="214"/>
                    </a:lnTo>
                    <a:lnTo>
                      <a:pt x="75" y="214"/>
                    </a:lnTo>
                    <a:lnTo>
                      <a:pt x="75" y="219"/>
                    </a:lnTo>
                    <a:lnTo>
                      <a:pt x="75" y="223"/>
                    </a:lnTo>
                    <a:lnTo>
                      <a:pt x="82" y="223"/>
                    </a:lnTo>
                    <a:lnTo>
                      <a:pt x="92" y="226"/>
                    </a:lnTo>
                    <a:lnTo>
                      <a:pt x="97" y="231"/>
                    </a:lnTo>
                    <a:lnTo>
                      <a:pt x="102" y="228"/>
                    </a:lnTo>
                    <a:lnTo>
                      <a:pt x="107" y="233"/>
                    </a:lnTo>
                    <a:lnTo>
                      <a:pt x="113" y="233"/>
                    </a:lnTo>
                    <a:lnTo>
                      <a:pt x="116" y="234"/>
                    </a:lnTo>
                    <a:lnTo>
                      <a:pt x="121" y="231"/>
                    </a:lnTo>
                    <a:lnTo>
                      <a:pt x="131" y="231"/>
                    </a:lnTo>
                    <a:lnTo>
                      <a:pt x="136" y="233"/>
                    </a:lnTo>
                    <a:lnTo>
                      <a:pt x="143" y="231"/>
                    </a:lnTo>
                    <a:lnTo>
                      <a:pt x="150" y="236"/>
                    </a:lnTo>
                    <a:lnTo>
                      <a:pt x="161" y="234"/>
                    </a:lnTo>
                    <a:lnTo>
                      <a:pt x="170" y="239"/>
                    </a:lnTo>
                    <a:lnTo>
                      <a:pt x="171" y="239"/>
                    </a:lnTo>
                    <a:lnTo>
                      <a:pt x="171" y="238"/>
                    </a:lnTo>
                    <a:lnTo>
                      <a:pt x="170" y="231"/>
                    </a:lnTo>
                    <a:lnTo>
                      <a:pt x="171" y="224"/>
                    </a:lnTo>
                    <a:lnTo>
                      <a:pt x="173" y="219"/>
                    </a:lnTo>
                    <a:lnTo>
                      <a:pt x="178" y="216"/>
                    </a:lnTo>
                    <a:lnTo>
                      <a:pt x="186" y="208"/>
                    </a:lnTo>
                    <a:lnTo>
                      <a:pt x="190" y="208"/>
                    </a:lnTo>
                    <a:lnTo>
                      <a:pt x="191" y="209"/>
                    </a:lnTo>
                    <a:lnTo>
                      <a:pt x="198" y="209"/>
                    </a:lnTo>
                    <a:lnTo>
                      <a:pt x="203" y="213"/>
                    </a:lnTo>
                    <a:lnTo>
                      <a:pt x="206" y="213"/>
                    </a:lnTo>
                    <a:lnTo>
                      <a:pt x="211" y="211"/>
                    </a:lnTo>
                    <a:lnTo>
                      <a:pt x="214" y="209"/>
                    </a:lnTo>
                    <a:lnTo>
                      <a:pt x="229" y="218"/>
                    </a:lnTo>
                    <a:lnTo>
                      <a:pt x="233" y="221"/>
                    </a:lnTo>
                    <a:lnTo>
                      <a:pt x="244" y="223"/>
                    </a:lnTo>
                    <a:lnTo>
                      <a:pt x="248" y="218"/>
                    </a:lnTo>
                    <a:lnTo>
                      <a:pt x="248" y="216"/>
                    </a:lnTo>
                    <a:lnTo>
                      <a:pt x="251" y="211"/>
                    </a:lnTo>
                    <a:lnTo>
                      <a:pt x="266" y="201"/>
                    </a:lnTo>
                    <a:lnTo>
                      <a:pt x="268" y="201"/>
                    </a:lnTo>
                    <a:lnTo>
                      <a:pt x="266" y="196"/>
                    </a:lnTo>
                    <a:lnTo>
                      <a:pt x="269" y="189"/>
                    </a:lnTo>
                    <a:lnTo>
                      <a:pt x="261" y="189"/>
                    </a:lnTo>
                    <a:lnTo>
                      <a:pt x="254" y="184"/>
                    </a:lnTo>
                    <a:lnTo>
                      <a:pt x="253" y="174"/>
                    </a:lnTo>
                    <a:lnTo>
                      <a:pt x="248" y="168"/>
                    </a:lnTo>
                    <a:lnTo>
                      <a:pt x="251" y="165"/>
                    </a:lnTo>
                    <a:lnTo>
                      <a:pt x="256" y="165"/>
                    </a:lnTo>
                    <a:lnTo>
                      <a:pt x="258" y="156"/>
                    </a:lnTo>
                    <a:lnTo>
                      <a:pt x="253" y="153"/>
                    </a:lnTo>
                    <a:lnTo>
                      <a:pt x="253" y="148"/>
                    </a:lnTo>
                    <a:lnTo>
                      <a:pt x="254" y="145"/>
                    </a:lnTo>
                    <a:lnTo>
                      <a:pt x="254" y="145"/>
                    </a:lnTo>
                    <a:lnTo>
                      <a:pt x="254" y="145"/>
                    </a:lnTo>
                    <a:close/>
                    <a:moveTo>
                      <a:pt x="306" y="266"/>
                    </a:moveTo>
                    <a:lnTo>
                      <a:pt x="298" y="263"/>
                    </a:lnTo>
                    <a:lnTo>
                      <a:pt x="298" y="261"/>
                    </a:lnTo>
                    <a:lnTo>
                      <a:pt x="299" y="259"/>
                    </a:lnTo>
                    <a:lnTo>
                      <a:pt x="301" y="259"/>
                    </a:lnTo>
                    <a:lnTo>
                      <a:pt x="299" y="258"/>
                    </a:lnTo>
                    <a:lnTo>
                      <a:pt x="298" y="258"/>
                    </a:lnTo>
                    <a:lnTo>
                      <a:pt x="298" y="254"/>
                    </a:lnTo>
                    <a:lnTo>
                      <a:pt x="294" y="253"/>
                    </a:lnTo>
                    <a:lnTo>
                      <a:pt x="293" y="251"/>
                    </a:lnTo>
                    <a:lnTo>
                      <a:pt x="294" y="249"/>
                    </a:lnTo>
                    <a:lnTo>
                      <a:pt x="294" y="248"/>
                    </a:lnTo>
                    <a:lnTo>
                      <a:pt x="291" y="246"/>
                    </a:lnTo>
                    <a:lnTo>
                      <a:pt x="291" y="243"/>
                    </a:lnTo>
                    <a:lnTo>
                      <a:pt x="293" y="243"/>
                    </a:lnTo>
                    <a:lnTo>
                      <a:pt x="294" y="241"/>
                    </a:lnTo>
                    <a:lnTo>
                      <a:pt x="291" y="238"/>
                    </a:lnTo>
                    <a:lnTo>
                      <a:pt x="294" y="233"/>
                    </a:lnTo>
                    <a:lnTo>
                      <a:pt x="303" y="231"/>
                    </a:lnTo>
                    <a:lnTo>
                      <a:pt x="304" y="228"/>
                    </a:lnTo>
                    <a:lnTo>
                      <a:pt x="307" y="231"/>
                    </a:lnTo>
                    <a:lnTo>
                      <a:pt x="309" y="231"/>
                    </a:lnTo>
                    <a:lnTo>
                      <a:pt x="311" y="228"/>
                    </a:lnTo>
                    <a:lnTo>
                      <a:pt x="309" y="224"/>
                    </a:lnTo>
                    <a:lnTo>
                      <a:pt x="309" y="221"/>
                    </a:lnTo>
                    <a:lnTo>
                      <a:pt x="312" y="221"/>
                    </a:lnTo>
                    <a:lnTo>
                      <a:pt x="312" y="226"/>
                    </a:lnTo>
                    <a:lnTo>
                      <a:pt x="312" y="233"/>
                    </a:lnTo>
                    <a:lnTo>
                      <a:pt x="316" y="241"/>
                    </a:lnTo>
                    <a:lnTo>
                      <a:pt x="312" y="251"/>
                    </a:lnTo>
                    <a:lnTo>
                      <a:pt x="312" y="256"/>
                    </a:lnTo>
                    <a:lnTo>
                      <a:pt x="309" y="264"/>
                    </a:lnTo>
                    <a:lnTo>
                      <a:pt x="306" y="2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1" name="Freeform 65">
                <a:extLst>
                  <a:ext uri="{FF2B5EF4-FFF2-40B4-BE49-F238E27FC236}">
                    <a16:creationId xmlns:a16="http://schemas.microsoft.com/office/drawing/2014/main" id="{D21C051D-2E06-AD49-95A3-7D21E25310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605" y="2843265"/>
                <a:ext cx="4281" cy="3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5" y="7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7">
                    <a:moveTo>
                      <a:pt x="0" y="0"/>
                    </a:moveTo>
                    <a:lnTo>
                      <a:pt x="0" y="4"/>
                    </a:lnTo>
                    <a:lnTo>
                      <a:pt x="5" y="7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2" name="Freeform 66">
                <a:extLst>
                  <a:ext uri="{FF2B5EF4-FFF2-40B4-BE49-F238E27FC236}">
                    <a16:creationId xmlns:a16="http://schemas.microsoft.com/office/drawing/2014/main" id="{6534D5F8-FCCC-C544-A8DC-995D72B36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92072" y="2687627"/>
                <a:ext cx="147694" cy="146300"/>
              </a:xfrm>
              <a:custGeom>
                <a:avLst/>
                <a:gdLst/>
                <a:ahLst/>
                <a:cxnLst>
                  <a:cxn ang="0">
                    <a:pos x="6" y="73"/>
                  </a:cxn>
                  <a:cxn ang="0">
                    <a:pos x="10" y="45"/>
                  </a:cxn>
                  <a:cxn ang="0">
                    <a:pos x="21" y="30"/>
                  </a:cxn>
                  <a:cxn ang="0">
                    <a:pos x="50" y="30"/>
                  </a:cxn>
                  <a:cxn ang="0">
                    <a:pos x="71" y="24"/>
                  </a:cxn>
                  <a:cxn ang="0">
                    <a:pos x="88" y="4"/>
                  </a:cxn>
                  <a:cxn ang="0">
                    <a:pos x="121" y="5"/>
                  </a:cxn>
                  <a:cxn ang="0">
                    <a:pos x="154" y="24"/>
                  </a:cxn>
                  <a:cxn ang="0">
                    <a:pos x="146" y="40"/>
                  </a:cxn>
                  <a:cxn ang="0">
                    <a:pos x="124" y="50"/>
                  </a:cxn>
                  <a:cxn ang="0">
                    <a:pos x="128" y="72"/>
                  </a:cxn>
                  <a:cxn ang="0">
                    <a:pos x="149" y="92"/>
                  </a:cxn>
                  <a:cxn ang="0">
                    <a:pos x="171" y="120"/>
                  </a:cxn>
                  <a:cxn ang="0">
                    <a:pos x="194" y="138"/>
                  </a:cxn>
                  <a:cxn ang="0">
                    <a:pos x="221" y="142"/>
                  </a:cxn>
                  <a:cxn ang="0">
                    <a:pos x="221" y="155"/>
                  </a:cxn>
                  <a:cxn ang="0">
                    <a:pos x="269" y="176"/>
                  </a:cxn>
                  <a:cxn ang="0">
                    <a:pos x="272" y="195"/>
                  </a:cxn>
                  <a:cxn ang="0">
                    <a:pos x="262" y="186"/>
                  </a:cxn>
                  <a:cxn ang="0">
                    <a:pos x="246" y="178"/>
                  </a:cxn>
                  <a:cxn ang="0">
                    <a:pos x="236" y="190"/>
                  </a:cxn>
                  <a:cxn ang="0">
                    <a:pos x="237" y="201"/>
                  </a:cxn>
                  <a:cxn ang="0">
                    <a:pos x="244" y="221"/>
                  </a:cxn>
                  <a:cxn ang="0">
                    <a:pos x="227" y="245"/>
                  </a:cxn>
                  <a:cxn ang="0">
                    <a:pos x="212" y="240"/>
                  </a:cxn>
                  <a:cxn ang="0">
                    <a:pos x="221" y="226"/>
                  </a:cxn>
                  <a:cxn ang="0">
                    <a:pos x="221" y="208"/>
                  </a:cxn>
                  <a:cxn ang="0">
                    <a:pos x="207" y="191"/>
                  </a:cxn>
                  <a:cxn ang="0">
                    <a:pos x="194" y="181"/>
                  </a:cxn>
                  <a:cxn ang="0">
                    <a:pos x="182" y="171"/>
                  </a:cxn>
                  <a:cxn ang="0">
                    <a:pos x="162" y="160"/>
                  </a:cxn>
                  <a:cxn ang="0">
                    <a:pos x="146" y="155"/>
                  </a:cxn>
                  <a:cxn ang="0">
                    <a:pos x="118" y="132"/>
                  </a:cxn>
                  <a:cxn ang="0">
                    <a:pos x="96" y="112"/>
                  </a:cxn>
                  <a:cxn ang="0">
                    <a:pos x="81" y="92"/>
                  </a:cxn>
                  <a:cxn ang="0">
                    <a:pos x="64" y="77"/>
                  </a:cxn>
                  <a:cxn ang="0">
                    <a:pos x="20" y="90"/>
                  </a:cxn>
                  <a:cxn ang="0">
                    <a:pos x="41" y="160"/>
                  </a:cxn>
                  <a:cxn ang="0">
                    <a:pos x="38" y="163"/>
                  </a:cxn>
                  <a:cxn ang="0">
                    <a:pos x="99" y="128"/>
                  </a:cxn>
                  <a:cxn ang="0">
                    <a:pos x="89" y="117"/>
                  </a:cxn>
                  <a:cxn ang="0">
                    <a:pos x="79" y="115"/>
                  </a:cxn>
                  <a:cxn ang="0">
                    <a:pos x="58" y="216"/>
                  </a:cxn>
                  <a:cxn ang="0">
                    <a:pos x="71" y="213"/>
                  </a:cxn>
                  <a:cxn ang="0">
                    <a:pos x="66" y="181"/>
                  </a:cxn>
                  <a:cxn ang="0">
                    <a:pos x="64" y="161"/>
                  </a:cxn>
                  <a:cxn ang="0">
                    <a:pos x="43" y="170"/>
                  </a:cxn>
                  <a:cxn ang="0">
                    <a:pos x="41" y="181"/>
                  </a:cxn>
                  <a:cxn ang="0">
                    <a:pos x="46" y="195"/>
                  </a:cxn>
                  <a:cxn ang="0">
                    <a:pos x="46" y="220"/>
                  </a:cxn>
                  <a:cxn ang="0">
                    <a:pos x="206" y="273"/>
                  </a:cxn>
                  <a:cxn ang="0">
                    <a:pos x="211" y="243"/>
                  </a:cxn>
                  <a:cxn ang="0">
                    <a:pos x="187" y="246"/>
                  </a:cxn>
                  <a:cxn ang="0">
                    <a:pos x="151" y="245"/>
                  </a:cxn>
                  <a:cxn ang="0">
                    <a:pos x="144" y="258"/>
                  </a:cxn>
                  <a:cxn ang="0">
                    <a:pos x="179" y="271"/>
                  </a:cxn>
                  <a:cxn ang="0">
                    <a:pos x="202" y="281"/>
                  </a:cxn>
                </a:cxnLst>
                <a:rect l="0" t="0" r="r" b="b"/>
                <a:pathLst>
                  <a:path w="275" h="281">
                    <a:moveTo>
                      <a:pt x="20" y="90"/>
                    </a:moveTo>
                    <a:lnTo>
                      <a:pt x="18" y="85"/>
                    </a:lnTo>
                    <a:lnTo>
                      <a:pt x="21" y="78"/>
                    </a:lnTo>
                    <a:lnTo>
                      <a:pt x="13" y="78"/>
                    </a:lnTo>
                    <a:lnTo>
                      <a:pt x="6" y="73"/>
                    </a:lnTo>
                    <a:lnTo>
                      <a:pt x="5" y="63"/>
                    </a:lnTo>
                    <a:lnTo>
                      <a:pt x="0" y="57"/>
                    </a:lnTo>
                    <a:lnTo>
                      <a:pt x="3" y="54"/>
                    </a:lnTo>
                    <a:lnTo>
                      <a:pt x="8" y="54"/>
                    </a:lnTo>
                    <a:lnTo>
                      <a:pt x="10" y="45"/>
                    </a:lnTo>
                    <a:lnTo>
                      <a:pt x="5" y="42"/>
                    </a:lnTo>
                    <a:lnTo>
                      <a:pt x="5" y="37"/>
                    </a:lnTo>
                    <a:lnTo>
                      <a:pt x="6" y="34"/>
                    </a:lnTo>
                    <a:lnTo>
                      <a:pt x="11" y="37"/>
                    </a:lnTo>
                    <a:lnTo>
                      <a:pt x="21" y="30"/>
                    </a:lnTo>
                    <a:lnTo>
                      <a:pt x="28" y="32"/>
                    </a:lnTo>
                    <a:lnTo>
                      <a:pt x="36" y="19"/>
                    </a:lnTo>
                    <a:lnTo>
                      <a:pt x="43" y="22"/>
                    </a:lnTo>
                    <a:lnTo>
                      <a:pt x="41" y="27"/>
                    </a:lnTo>
                    <a:lnTo>
                      <a:pt x="50" y="30"/>
                    </a:lnTo>
                    <a:lnTo>
                      <a:pt x="51" y="35"/>
                    </a:lnTo>
                    <a:lnTo>
                      <a:pt x="56" y="27"/>
                    </a:lnTo>
                    <a:lnTo>
                      <a:pt x="56" y="20"/>
                    </a:lnTo>
                    <a:lnTo>
                      <a:pt x="66" y="24"/>
                    </a:lnTo>
                    <a:lnTo>
                      <a:pt x="71" y="24"/>
                    </a:lnTo>
                    <a:lnTo>
                      <a:pt x="74" y="27"/>
                    </a:lnTo>
                    <a:lnTo>
                      <a:pt x="76" y="19"/>
                    </a:lnTo>
                    <a:lnTo>
                      <a:pt x="86" y="17"/>
                    </a:lnTo>
                    <a:lnTo>
                      <a:pt x="83" y="9"/>
                    </a:lnTo>
                    <a:lnTo>
                      <a:pt x="88" y="4"/>
                    </a:lnTo>
                    <a:lnTo>
                      <a:pt x="96" y="7"/>
                    </a:lnTo>
                    <a:lnTo>
                      <a:pt x="109" y="0"/>
                    </a:lnTo>
                    <a:lnTo>
                      <a:pt x="114" y="2"/>
                    </a:lnTo>
                    <a:lnTo>
                      <a:pt x="123" y="0"/>
                    </a:lnTo>
                    <a:lnTo>
                      <a:pt x="121" y="5"/>
                    </a:lnTo>
                    <a:lnTo>
                      <a:pt x="134" y="12"/>
                    </a:lnTo>
                    <a:lnTo>
                      <a:pt x="148" y="14"/>
                    </a:lnTo>
                    <a:lnTo>
                      <a:pt x="156" y="14"/>
                    </a:lnTo>
                    <a:lnTo>
                      <a:pt x="159" y="17"/>
                    </a:lnTo>
                    <a:lnTo>
                      <a:pt x="154" y="24"/>
                    </a:lnTo>
                    <a:lnTo>
                      <a:pt x="156" y="27"/>
                    </a:lnTo>
                    <a:lnTo>
                      <a:pt x="153" y="32"/>
                    </a:lnTo>
                    <a:lnTo>
                      <a:pt x="154" y="39"/>
                    </a:lnTo>
                    <a:lnTo>
                      <a:pt x="149" y="39"/>
                    </a:lnTo>
                    <a:lnTo>
                      <a:pt x="146" y="40"/>
                    </a:lnTo>
                    <a:lnTo>
                      <a:pt x="143" y="42"/>
                    </a:lnTo>
                    <a:lnTo>
                      <a:pt x="136" y="42"/>
                    </a:lnTo>
                    <a:lnTo>
                      <a:pt x="131" y="47"/>
                    </a:lnTo>
                    <a:lnTo>
                      <a:pt x="126" y="47"/>
                    </a:lnTo>
                    <a:lnTo>
                      <a:pt x="124" y="50"/>
                    </a:lnTo>
                    <a:lnTo>
                      <a:pt x="128" y="55"/>
                    </a:lnTo>
                    <a:lnTo>
                      <a:pt x="131" y="58"/>
                    </a:lnTo>
                    <a:lnTo>
                      <a:pt x="126" y="63"/>
                    </a:lnTo>
                    <a:lnTo>
                      <a:pt x="124" y="65"/>
                    </a:lnTo>
                    <a:lnTo>
                      <a:pt x="128" y="72"/>
                    </a:lnTo>
                    <a:lnTo>
                      <a:pt x="128" y="77"/>
                    </a:lnTo>
                    <a:lnTo>
                      <a:pt x="131" y="80"/>
                    </a:lnTo>
                    <a:lnTo>
                      <a:pt x="141" y="85"/>
                    </a:lnTo>
                    <a:lnTo>
                      <a:pt x="148" y="88"/>
                    </a:lnTo>
                    <a:lnTo>
                      <a:pt x="149" y="92"/>
                    </a:lnTo>
                    <a:lnTo>
                      <a:pt x="166" y="107"/>
                    </a:lnTo>
                    <a:lnTo>
                      <a:pt x="166" y="110"/>
                    </a:lnTo>
                    <a:lnTo>
                      <a:pt x="167" y="112"/>
                    </a:lnTo>
                    <a:lnTo>
                      <a:pt x="167" y="117"/>
                    </a:lnTo>
                    <a:lnTo>
                      <a:pt x="171" y="120"/>
                    </a:lnTo>
                    <a:lnTo>
                      <a:pt x="176" y="125"/>
                    </a:lnTo>
                    <a:lnTo>
                      <a:pt x="179" y="130"/>
                    </a:lnTo>
                    <a:lnTo>
                      <a:pt x="186" y="135"/>
                    </a:lnTo>
                    <a:lnTo>
                      <a:pt x="189" y="137"/>
                    </a:lnTo>
                    <a:lnTo>
                      <a:pt x="194" y="138"/>
                    </a:lnTo>
                    <a:lnTo>
                      <a:pt x="197" y="140"/>
                    </a:lnTo>
                    <a:lnTo>
                      <a:pt x="207" y="140"/>
                    </a:lnTo>
                    <a:lnTo>
                      <a:pt x="211" y="142"/>
                    </a:lnTo>
                    <a:lnTo>
                      <a:pt x="216" y="140"/>
                    </a:lnTo>
                    <a:lnTo>
                      <a:pt x="221" y="142"/>
                    </a:lnTo>
                    <a:lnTo>
                      <a:pt x="219" y="145"/>
                    </a:lnTo>
                    <a:lnTo>
                      <a:pt x="214" y="148"/>
                    </a:lnTo>
                    <a:lnTo>
                      <a:pt x="214" y="152"/>
                    </a:lnTo>
                    <a:lnTo>
                      <a:pt x="216" y="155"/>
                    </a:lnTo>
                    <a:lnTo>
                      <a:pt x="221" y="155"/>
                    </a:lnTo>
                    <a:lnTo>
                      <a:pt x="231" y="156"/>
                    </a:lnTo>
                    <a:lnTo>
                      <a:pt x="249" y="165"/>
                    </a:lnTo>
                    <a:lnTo>
                      <a:pt x="257" y="170"/>
                    </a:lnTo>
                    <a:lnTo>
                      <a:pt x="260" y="175"/>
                    </a:lnTo>
                    <a:lnTo>
                      <a:pt x="269" y="176"/>
                    </a:lnTo>
                    <a:lnTo>
                      <a:pt x="274" y="180"/>
                    </a:lnTo>
                    <a:lnTo>
                      <a:pt x="275" y="183"/>
                    </a:lnTo>
                    <a:lnTo>
                      <a:pt x="274" y="188"/>
                    </a:lnTo>
                    <a:lnTo>
                      <a:pt x="272" y="191"/>
                    </a:lnTo>
                    <a:lnTo>
                      <a:pt x="272" y="195"/>
                    </a:lnTo>
                    <a:lnTo>
                      <a:pt x="272" y="195"/>
                    </a:lnTo>
                    <a:lnTo>
                      <a:pt x="270" y="196"/>
                    </a:lnTo>
                    <a:lnTo>
                      <a:pt x="267" y="195"/>
                    </a:lnTo>
                    <a:lnTo>
                      <a:pt x="264" y="191"/>
                    </a:lnTo>
                    <a:lnTo>
                      <a:pt x="262" y="186"/>
                    </a:lnTo>
                    <a:lnTo>
                      <a:pt x="262" y="183"/>
                    </a:lnTo>
                    <a:lnTo>
                      <a:pt x="259" y="183"/>
                    </a:lnTo>
                    <a:lnTo>
                      <a:pt x="252" y="181"/>
                    </a:lnTo>
                    <a:lnTo>
                      <a:pt x="251" y="180"/>
                    </a:lnTo>
                    <a:lnTo>
                      <a:pt x="246" y="178"/>
                    </a:lnTo>
                    <a:lnTo>
                      <a:pt x="242" y="178"/>
                    </a:lnTo>
                    <a:lnTo>
                      <a:pt x="241" y="180"/>
                    </a:lnTo>
                    <a:lnTo>
                      <a:pt x="239" y="185"/>
                    </a:lnTo>
                    <a:lnTo>
                      <a:pt x="236" y="188"/>
                    </a:lnTo>
                    <a:lnTo>
                      <a:pt x="236" y="190"/>
                    </a:lnTo>
                    <a:lnTo>
                      <a:pt x="236" y="193"/>
                    </a:lnTo>
                    <a:lnTo>
                      <a:pt x="232" y="196"/>
                    </a:lnTo>
                    <a:lnTo>
                      <a:pt x="232" y="200"/>
                    </a:lnTo>
                    <a:lnTo>
                      <a:pt x="234" y="201"/>
                    </a:lnTo>
                    <a:lnTo>
                      <a:pt x="237" y="201"/>
                    </a:lnTo>
                    <a:lnTo>
                      <a:pt x="244" y="208"/>
                    </a:lnTo>
                    <a:lnTo>
                      <a:pt x="246" y="210"/>
                    </a:lnTo>
                    <a:lnTo>
                      <a:pt x="244" y="216"/>
                    </a:lnTo>
                    <a:lnTo>
                      <a:pt x="246" y="218"/>
                    </a:lnTo>
                    <a:lnTo>
                      <a:pt x="244" y="221"/>
                    </a:lnTo>
                    <a:lnTo>
                      <a:pt x="241" y="221"/>
                    </a:lnTo>
                    <a:lnTo>
                      <a:pt x="236" y="226"/>
                    </a:lnTo>
                    <a:lnTo>
                      <a:pt x="236" y="236"/>
                    </a:lnTo>
                    <a:lnTo>
                      <a:pt x="229" y="241"/>
                    </a:lnTo>
                    <a:lnTo>
                      <a:pt x="227" y="245"/>
                    </a:lnTo>
                    <a:lnTo>
                      <a:pt x="224" y="250"/>
                    </a:lnTo>
                    <a:lnTo>
                      <a:pt x="217" y="250"/>
                    </a:lnTo>
                    <a:lnTo>
                      <a:pt x="212" y="245"/>
                    </a:lnTo>
                    <a:lnTo>
                      <a:pt x="212" y="241"/>
                    </a:lnTo>
                    <a:lnTo>
                      <a:pt x="212" y="240"/>
                    </a:lnTo>
                    <a:lnTo>
                      <a:pt x="216" y="240"/>
                    </a:lnTo>
                    <a:lnTo>
                      <a:pt x="219" y="236"/>
                    </a:lnTo>
                    <a:lnTo>
                      <a:pt x="219" y="231"/>
                    </a:lnTo>
                    <a:lnTo>
                      <a:pt x="219" y="228"/>
                    </a:lnTo>
                    <a:lnTo>
                      <a:pt x="221" y="226"/>
                    </a:lnTo>
                    <a:lnTo>
                      <a:pt x="222" y="226"/>
                    </a:lnTo>
                    <a:lnTo>
                      <a:pt x="226" y="223"/>
                    </a:lnTo>
                    <a:lnTo>
                      <a:pt x="226" y="220"/>
                    </a:lnTo>
                    <a:lnTo>
                      <a:pt x="222" y="216"/>
                    </a:lnTo>
                    <a:lnTo>
                      <a:pt x="221" y="208"/>
                    </a:lnTo>
                    <a:lnTo>
                      <a:pt x="217" y="205"/>
                    </a:lnTo>
                    <a:lnTo>
                      <a:pt x="217" y="198"/>
                    </a:lnTo>
                    <a:lnTo>
                      <a:pt x="214" y="191"/>
                    </a:lnTo>
                    <a:lnTo>
                      <a:pt x="211" y="190"/>
                    </a:lnTo>
                    <a:lnTo>
                      <a:pt x="207" y="191"/>
                    </a:lnTo>
                    <a:lnTo>
                      <a:pt x="202" y="190"/>
                    </a:lnTo>
                    <a:lnTo>
                      <a:pt x="201" y="186"/>
                    </a:lnTo>
                    <a:lnTo>
                      <a:pt x="196" y="186"/>
                    </a:lnTo>
                    <a:lnTo>
                      <a:pt x="192" y="183"/>
                    </a:lnTo>
                    <a:lnTo>
                      <a:pt x="194" y="181"/>
                    </a:lnTo>
                    <a:lnTo>
                      <a:pt x="194" y="178"/>
                    </a:lnTo>
                    <a:lnTo>
                      <a:pt x="191" y="175"/>
                    </a:lnTo>
                    <a:lnTo>
                      <a:pt x="187" y="173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79" y="170"/>
                    </a:lnTo>
                    <a:lnTo>
                      <a:pt x="176" y="170"/>
                    </a:lnTo>
                    <a:lnTo>
                      <a:pt x="172" y="168"/>
                    </a:lnTo>
                    <a:lnTo>
                      <a:pt x="167" y="160"/>
                    </a:lnTo>
                    <a:lnTo>
                      <a:pt x="162" y="160"/>
                    </a:lnTo>
                    <a:lnTo>
                      <a:pt x="158" y="158"/>
                    </a:lnTo>
                    <a:lnTo>
                      <a:pt x="154" y="160"/>
                    </a:lnTo>
                    <a:lnTo>
                      <a:pt x="151" y="160"/>
                    </a:lnTo>
                    <a:lnTo>
                      <a:pt x="149" y="156"/>
                    </a:lnTo>
                    <a:lnTo>
                      <a:pt x="146" y="155"/>
                    </a:lnTo>
                    <a:lnTo>
                      <a:pt x="141" y="153"/>
                    </a:lnTo>
                    <a:lnTo>
                      <a:pt x="131" y="148"/>
                    </a:lnTo>
                    <a:lnTo>
                      <a:pt x="121" y="137"/>
                    </a:lnTo>
                    <a:lnTo>
                      <a:pt x="119" y="135"/>
                    </a:lnTo>
                    <a:lnTo>
                      <a:pt x="118" y="132"/>
                    </a:lnTo>
                    <a:lnTo>
                      <a:pt x="113" y="127"/>
                    </a:lnTo>
                    <a:lnTo>
                      <a:pt x="106" y="127"/>
                    </a:lnTo>
                    <a:lnTo>
                      <a:pt x="106" y="122"/>
                    </a:lnTo>
                    <a:lnTo>
                      <a:pt x="99" y="117"/>
                    </a:lnTo>
                    <a:lnTo>
                      <a:pt x="96" y="112"/>
                    </a:lnTo>
                    <a:lnTo>
                      <a:pt x="89" y="110"/>
                    </a:lnTo>
                    <a:lnTo>
                      <a:pt x="89" y="103"/>
                    </a:lnTo>
                    <a:lnTo>
                      <a:pt x="86" y="102"/>
                    </a:lnTo>
                    <a:lnTo>
                      <a:pt x="86" y="98"/>
                    </a:lnTo>
                    <a:lnTo>
                      <a:pt x="81" y="92"/>
                    </a:lnTo>
                    <a:lnTo>
                      <a:pt x="79" y="88"/>
                    </a:lnTo>
                    <a:lnTo>
                      <a:pt x="78" y="85"/>
                    </a:lnTo>
                    <a:lnTo>
                      <a:pt x="76" y="82"/>
                    </a:lnTo>
                    <a:lnTo>
                      <a:pt x="69" y="80"/>
                    </a:lnTo>
                    <a:lnTo>
                      <a:pt x="64" y="77"/>
                    </a:lnTo>
                    <a:lnTo>
                      <a:pt x="48" y="73"/>
                    </a:lnTo>
                    <a:lnTo>
                      <a:pt x="36" y="80"/>
                    </a:lnTo>
                    <a:lnTo>
                      <a:pt x="36" y="83"/>
                    </a:lnTo>
                    <a:lnTo>
                      <a:pt x="31" y="88"/>
                    </a:lnTo>
                    <a:lnTo>
                      <a:pt x="20" y="90"/>
                    </a:lnTo>
                    <a:lnTo>
                      <a:pt x="20" y="90"/>
                    </a:lnTo>
                    <a:close/>
                    <a:moveTo>
                      <a:pt x="38" y="163"/>
                    </a:moveTo>
                    <a:lnTo>
                      <a:pt x="40" y="163"/>
                    </a:lnTo>
                    <a:lnTo>
                      <a:pt x="40" y="161"/>
                    </a:lnTo>
                    <a:lnTo>
                      <a:pt x="41" y="160"/>
                    </a:lnTo>
                    <a:lnTo>
                      <a:pt x="40" y="158"/>
                    </a:lnTo>
                    <a:lnTo>
                      <a:pt x="38" y="160"/>
                    </a:lnTo>
                    <a:lnTo>
                      <a:pt x="38" y="161"/>
                    </a:lnTo>
                    <a:lnTo>
                      <a:pt x="38" y="163"/>
                    </a:lnTo>
                    <a:lnTo>
                      <a:pt x="38" y="163"/>
                    </a:lnTo>
                    <a:close/>
                    <a:moveTo>
                      <a:pt x="99" y="128"/>
                    </a:moveTo>
                    <a:lnTo>
                      <a:pt x="101" y="130"/>
                    </a:lnTo>
                    <a:lnTo>
                      <a:pt x="101" y="128"/>
                    </a:lnTo>
                    <a:lnTo>
                      <a:pt x="99" y="128"/>
                    </a:lnTo>
                    <a:lnTo>
                      <a:pt x="99" y="128"/>
                    </a:lnTo>
                    <a:close/>
                    <a:moveTo>
                      <a:pt x="79" y="115"/>
                    </a:moveTo>
                    <a:lnTo>
                      <a:pt x="78" y="118"/>
                    </a:lnTo>
                    <a:lnTo>
                      <a:pt x="81" y="118"/>
                    </a:lnTo>
                    <a:lnTo>
                      <a:pt x="84" y="117"/>
                    </a:lnTo>
                    <a:lnTo>
                      <a:pt x="89" y="117"/>
                    </a:lnTo>
                    <a:lnTo>
                      <a:pt x="88" y="115"/>
                    </a:lnTo>
                    <a:lnTo>
                      <a:pt x="86" y="112"/>
                    </a:lnTo>
                    <a:lnTo>
                      <a:pt x="84" y="113"/>
                    </a:lnTo>
                    <a:lnTo>
                      <a:pt x="79" y="115"/>
                    </a:lnTo>
                    <a:lnTo>
                      <a:pt x="79" y="115"/>
                    </a:lnTo>
                    <a:close/>
                    <a:moveTo>
                      <a:pt x="50" y="223"/>
                    </a:moveTo>
                    <a:lnTo>
                      <a:pt x="51" y="221"/>
                    </a:lnTo>
                    <a:lnTo>
                      <a:pt x="55" y="223"/>
                    </a:lnTo>
                    <a:lnTo>
                      <a:pt x="58" y="221"/>
                    </a:lnTo>
                    <a:lnTo>
                      <a:pt x="58" y="216"/>
                    </a:lnTo>
                    <a:lnTo>
                      <a:pt x="59" y="213"/>
                    </a:lnTo>
                    <a:lnTo>
                      <a:pt x="64" y="215"/>
                    </a:lnTo>
                    <a:lnTo>
                      <a:pt x="66" y="216"/>
                    </a:lnTo>
                    <a:lnTo>
                      <a:pt x="69" y="216"/>
                    </a:lnTo>
                    <a:lnTo>
                      <a:pt x="71" y="213"/>
                    </a:lnTo>
                    <a:lnTo>
                      <a:pt x="71" y="205"/>
                    </a:lnTo>
                    <a:lnTo>
                      <a:pt x="73" y="203"/>
                    </a:lnTo>
                    <a:lnTo>
                      <a:pt x="71" y="195"/>
                    </a:lnTo>
                    <a:lnTo>
                      <a:pt x="73" y="186"/>
                    </a:lnTo>
                    <a:lnTo>
                      <a:pt x="66" y="181"/>
                    </a:lnTo>
                    <a:lnTo>
                      <a:pt x="73" y="178"/>
                    </a:lnTo>
                    <a:lnTo>
                      <a:pt x="73" y="175"/>
                    </a:lnTo>
                    <a:lnTo>
                      <a:pt x="71" y="170"/>
                    </a:lnTo>
                    <a:lnTo>
                      <a:pt x="68" y="166"/>
                    </a:lnTo>
                    <a:lnTo>
                      <a:pt x="64" y="161"/>
                    </a:lnTo>
                    <a:lnTo>
                      <a:pt x="63" y="163"/>
                    </a:lnTo>
                    <a:lnTo>
                      <a:pt x="59" y="160"/>
                    </a:lnTo>
                    <a:lnTo>
                      <a:pt x="56" y="160"/>
                    </a:lnTo>
                    <a:lnTo>
                      <a:pt x="46" y="170"/>
                    </a:lnTo>
                    <a:lnTo>
                      <a:pt x="43" y="170"/>
                    </a:lnTo>
                    <a:lnTo>
                      <a:pt x="38" y="166"/>
                    </a:lnTo>
                    <a:lnTo>
                      <a:pt x="38" y="171"/>
                    </a:lnTo>
                    <a:lnTo>
                      <a:pt x="36" y="175"/>
                    </a:lnTo>
                    <a:lnTo>
                      <a:pt x="40" y="178"/>
                    </a:lnTo>
                    <a:lnTo>
                      <a:pt x="41" y="181"/>
                    </a:lnTo>
                    <a:lnTo>
                      <a:pt x="45" y="183"/>
                    </a:lnTo>
                    <a:lnTo>
                      <a:pt x="45" y="188"/>
                    </a:lnTo>
                    <a:lnTo>
                      <a:pt x="41" y="191"/>
                    </a:lnTo>
                    <a:lnTo>
                      <a:pt x="43" y="195"/>
                    </a:lnTo>
                    <a:lnTo>
                      <a:pt x="46" y="195"/>
                    </a:lnTo>
                    <a:lnTo>
                      <a:pt x="46" y="196"/>
                    </a:lnTo>
                    <a:lnTo>
                      <a:pt x="45" y="200"/>
                    </a:lnTo>
                    <a:lnTo>
                      <a:pt x="41" y="208"/>
                    </a:lnTo>
                    <a:lnTo>
                      <a:pt x="45" y="210"/>
                    </a:lnTo>
                    <a:lnTo>
                      <a:pt x="46" y="220"/>
                    </a:lnTo>
                    <a:lnTo>
                      <a:pt x="50" y="223"/>
                    </a:lnTo>
                    <a:lnTo>
                      <a:pt x="50" y="223"/>
                    </a:lnTo>
                    <a:close/>
                    <a:moveTo>
                      <a:pt x="202" y="281"/>
                    </a:moveTo>
                    <a:lnTo>
                      <a:pt x="202" y="274"/>
                    </a:lnTo>
                    <a:lnTo>
                      <a:pt x="206" y="273"/>
                    </a:lnTo>
                    <a:lnTo>
                      <a:pt x="204" y="268"/>
                    </a:lnTo>
                    <a:lnTo>
                      <a:pt x="201" y="263"/>
                    </a:lnTo>
                    <a:lnTo>
                      <a:pt x="204" y="251"/>
                    </a:lnTo>
                    <a:lnTo>
                      <a:pt x="209" y="248"/>
                    </a:lnTo>
                    <a:lnTo>
                      <a:pt x="211" y="243"/>
                    </a:lnTo>
                    <a:lnTo>
                      <a:pt x="206" y="238"/>
                    </a:lnTo>
                    <a:lnTo>
                      <a:pt x="201" y="243"/>
                    </a:lnTo>
                    <a:lnTo>
                      <a:pt x="197" y="243"/>
                    </a:lnTo>
                    <a:lnTo>
                      <a:pt x="192" y="241"/>
                    </a:lnTo>
                    <a:lnTo>
                      <a:pt x="187" y="246"/>
                    </a:lnTo>
                    <a:lnTo>
                      <a:pt x="176" y="245"/>
                    </a:lnTo>
                    <a:lnTo>
                      <a:pt x="167" y="248"/>
                    </a:lnTo>
                    <a:lnTo>
                      <a:pt x="161" y="246"/>
                    </a:lnTo>
                    <a:lnTo>
                      <a:pt x="156" y="243"/>
                    </a:lnTo>
                    <a:lnTo>
                      <a:pt x="151" y="245"/>
                    </a:lnTo>
                    <a:lnTo>
                      <a:pt x="148" y="246"/>
                    </a:lnTo>
                    <a:lnTo>
                      <a:pt x="146" y="245"/>
                    </a:lnTo>
                    <a:lnTo>
                      <a:pt x="141" y="246"/>
                    </a:lnTo>
                    <a:lnTo>
                      <a:pt x="139" y="253"/>
                    </a:lnTo>
                    <a:lnTo>
                      <a:pt x="144" y="258"/>
                    </a:lnTo>
                    <a:lnTo>
                      <a:pt x="151" y="258"/>
                    </a:lnTo>
                    <a:lnTo>
                      <a:pt x="159" y="263"/>
                    </a:lnTo>
                    <a:lnTo>
                      <a:pt x="164" y="264"/>
                    </a:lnTo>
                    <a:lnTo>
                      <a:pt x="169" y="268"/>
                    </a:lnTo>
                    <a:lnTo>
                      <a:pt x="179" y="271"/>
                    </a:lnTo>
                    <a:lnTo>
                      <a:pt x="182" y="271"/>
                    </a:lnTo>
                    <a:lnTo>
                      <a:pt x="186" y="274"/>
                    </a:lnTo>
                    <a:lnTo>
                      <a:pt x="187" y="278"/>
                    </a:lnTo>
                    <a:lnTo>
                      <a:pt x="199" y="281"/>
                    </a:lnTo>
                    <a:lnTo>
                      <a:pt x="202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3" name="Freeform 67">
                <a:extLst>
                  <a:ext uri="{FF2B5EF4-FFF2-40B4-BE49-F238E27FC236}">
                    <a16:creationId xmlns:a16="http://schemas.microsoft.com/office/drawing/2014/main" id="{8DC9AF45-BF1A-8B4C-BFA6-27D95C428A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778" y="2734319"/>
                <a:ext cx="147694" cy="105834"/>
              </a:xfrm>
              <a:custGeom>
                <a:avLst/>
                <a:gdLst/>
                <a:ahLst/>
                <a:cxnLst>
                  <a:cxn ang="0">
                    <a:pos x="175" y="13"/>
                  </a:cxn>
                  <a:cxn ang="0">
                    <a:pos x="178" y="22"/>
                  </a:cxn>
                  <a:cxn ang="0">
                    <a:pos x="200" y="30"/>
                  </a:cxn>
                  <a:cxn ang="0">
                    <a:pos x="216" y="32"/>
                  </a:cxn>
                  <a:cxn ang="0">
                    <a:pos x="234" y="30"/>
                  </a:cxn>
                  <a:cxn ang="0">
                    <a:pos x="253" y="35"/>
                  </a:cxn>
                  <a:cxn ang="0">
                    <a:pos x="274" y="38"/>
                  </a:cxn>
                  <a:cxn ang="0">
                    <a:pos x="273" y="50"/>
                  </a:cxn>
                  <a:cxn ang="0">
                    <a:pos x="261" y="65"/>
                  </a:cxn>
                  <a:cxn ang="0">
                    <a:pos x="256" y="70"/>
                  </a:cxn>
                  <a:cxn ang="0">
                    <a:pos x="233" y="76"/>
                  </a:cxn>
                  <a:cxn ang="0">
                    <a:pos x="229" y="85"/>
                  </a:cxn>
                  <a:cxn ang="0">
                    <a:pos x="226" y="86"/>
                  </a:cxn>
                  <a:cxn ang="0">
                    <a:pos x="211" y="98"/>
                  </a:cxn>
                  <a:cxn ang="0">
                    <a:pos x="203" y="121"/>
                  </a:cxn>
                  <a:cxn ang="0">
                    <a:pos x="214" y="135"/>
                  </a:cxn>
                  <a:cxn ang="0">
                    <a:pos x="201" y="146"/>
                  </a:cxn>
                  <a:cxn ang="0">
                    <a:pos x="195" y="164"/>
                  </a:cxn>
                  <a:cxn ang="0">
                    <a:pos x="170" y="174"/>
                  </a:cxn>
                  <a:cxn ang="0">
                    <a:pos x="160" y="184"/>
                  </a:cxn>
                  <a:cxn ang="0">
                    <a:pos x="148" y="188"/>
                  </a:cxn>
                  <a:cxn ang="0">
                    <a:pos x="138" y="188"/>
                  </a:cxn>
                  <a:cxn ang="0">
                    <a:pos x="118" y="186"/>
                  </a:cxn>
                  <a:cxn ang="0">
                    <a:pos x="93" y="194"/>
                  </a:cxn>
                  <a:cxn ang="0">
                    <a:pos x="82" y="204"/>
                  </a:cxn>
                  <a:cxn ang="0">
                    <a:pos x="62" y="186"/>
                  </a:cxn>
                  <a:cxn ang="0">
                    <a:pos x="45" y="176"/>
                  </a:cxn>
                  <a:cxn ang="0">
                    <a:pos x="38" y="164"/>
                  </a:cxn>
                  <a:cxn ang="0">
                    <a:pos x="50" y="146"/>
                  </a:cxn>
                  <a:cxn ang="0">
                    <a:pos x="48" y="133"/>
                  </a:cxn>
                  <a:cxn ang="0">
                    <a:pos x="37" y="110"/>
                  </a:cxn>
                  <a:cxn ang="0">
                    <a:pos x="53" y="101"/>
                  </a:cxn>
                  <a:cxn ang="0">
                    <a:pos x="55" y="78"/>
                  </a:cxn>
                  <a:cxn ang="0">
                    <a:pos x="67" y="65"/>
                  </a:cxn>
                  <a:cxn ang="0">
                    <a:pos x="62" y="50"/>
                  </a:cxn>
                  <a:cxn ang="0">
                    <a:pos x="33" y="50"/>
                  </a:cxn>
                  <a:cxn ang="0">
                    <a:pos x="23" y="45"/>
                  </a:cxn>
                  <a:cxn ang="0">
                    <a:pos x="9" y="45"/>
                  </a:cxn>
                  <a:cxn ang="0">
                    <a:pos x="13" y="37"/>
                  </a:cxn>
                  <a:cxn ang="0">
                    <a:pos x="9" y="33"/>
                  </a:cxn>
                  <a:cxn ang="0">
                    <a:pos x="5" y="27"/>
                  </a:cxn>
                  <a:cxn ang="0">
                    <a:pos x="0" y="20"/>
                  </a:cxn>
                  <a:cxn ang="0">
                    <a:pos x="15" y="13"/>
                  </a:cxn>
                  <a:cxn ang="0">
                    <a:pos x="23" y="8"/>
                  </a:cxn>
                  <a:cxn ang="0">
                    <a:pos x="33" y="3"/>
                  </a:cxn>
                  <a:cxn ang="0">
                    <a:pos x="48" y="7"/>
                  </a:cxn>
                  <a:cxn ang="0">
                    <a:pos x="63" y="7"/>
                  </a:cxn>
                  <a:cxn ang="0">
                    <a:pos x="78" y="3"/>
                  </a:cxn>
                  <a:cxn ang="0">
                    <a:pos x="110" y="12"/>
                  </a:cxn>
                  <a:cxn ang="0">
                    <a:pos x="131" y="10"/>
                  </a:cxn>
                  <a:cxn ang="0">
                    <a:pos x="150" y="8"/>
                  </a:cxn>
                  <a:cxn ang="0">
                    <a:pos x="168" y="12"/>
                  </a:cxn>
                  <a:cxn ang="0">
                    <a:pos x="244" y="136"/>
                  </a:cxn>
                  <a:cxn ang="0">
                    <a:pos x="248" y="126"/>
                  </a:cxn>
                  <a:cxn ang="0">
                    <a:pos x="244" y="136"/>
                  </a:cxn>
                </a:cxnLst>
                <a:rect l="0" t="0" r="r" b="b"/>
                <a:pathLst>
                  <a:path w="276" h="204">
                    <a:moveTo>
                      <a:pt x="170" y="10"/>
                    </a:moveTo>
                    <a:lnTo>
                      <a:pt x="175" y="12"/>
                    </a:lnTo>
                    <a:lnTo>
                      <a:pt x="175" y="13"/>
                    </a:lnTo>
                    <a:lnTo>
                      <a:pt x="178" y="13"/>
                    </a:lnTo>
                    <a:lnTo>
                      <a:pt x="178" y="18"/>
                    </a:lnTo>
                    <a:lnTo>
                      <a:pt x="178" y="22"/>
                    </a:lnTo>
                    <a:lnTo>
                      <a:pt x="185" y="22"/>
                    </a:lnTo>
                    <a:lnTo>
                      <a:pt x="195" y="25"/>
                    </a:lnTo>
                    <a:lnTo>
                      <a:pt x="200" y="30"/>
                    </a:lnTo>
                    <a:lnTo>
                      <a:pt x="205" y="27"/>
                    </a:lnTo>
                    <a:lnTo>
                      <a:pt x="210" y="32"/>
                    </a:lnTo>
                    <a:lnTo>
                      <a:pt x="216" y="32"/>
                    </a:lnTo>
                    <a:lnTo>
                      <a:pt x="219" y="33"/>
                    </a:lnTo>
                    <a:lnTo>
                      <a:pt x="224" y="30"/>
                    </a:lnTo>
                    <a:lnTo>
                      <a:pt x="234" y="30"/>
                    </a:lnTo>
                    <a:lnTo>
                      <a:pt x="239" y="32"/>
                    </a:lnTo>
                    <a:lnTo>
                      <a:pt x="246" y="30"/>
                    </a:lnTo>
                    <a:lnTo>
                      <a:pt x="253" y="35"/>
                    </a:lnTo>
                    <a:lnTo>
                      <a:pt x="264" y="33"/>
                    </a:lnTo>
                    <a:lnTo>
                      <a:pt x="273" y="38"/>
                    </a:lnTo>
                    <a:lnTo>
                      <a:pt x="274" y="38"/>
                    </a:lnTo>
                    <a:lnTo>
                      <a:pt x="276" y="42"/>
                    </a:lnTo>
                    <a:lnTo>
                      <a:pt x="271" y="43"/>
                    </a:lnTo>
                    <a:lnTo>
                      <a:pt x="273" y="50"/>
                    </a:lnTo>
                    <a:lnTo>
                      <a:pt x="273" y="55"/>
                    </a:lnTo>
                    <a:lnTo>
                      <a:pt x="269" y="60"/>
                    </a:lnTo>
                    <a:lnTo>
                      <a:pt x="261" y="65"/>
                    </a:lnTo>
                    <a:lnTo>
                      <a:pt x="261" y="65"/>
                    </a:lnTo>
                    <a:lnTo>
                      <a:pt x="256" y="70"/>
                    </a:lnTo>
                    <a:lnTo>
                      <a:pt x="256" y="70"/>
                    </a:lnTo>
                    <a:lnTo>
                      <a:pt x="249" y="71"/>
                    </a:lnTo>
                    <a:lnTo>
                      <a:pt x="239" y="71"/>
                    </a:lnTo>
                    <a:lnTo>
                      <a:pt x="233" y="76"/>
                    </a:lnTo>
                    <a:lnTo>
                      <a:pt x="228" y="78"/>
                    </a:lnTo>
                    <a:lnTo>
                      <a:pt x="231" y="80"/>
                    </a:lnTo>
                    <a:lnTo>
                      <a:pt x="229" y="85"/>
                    </a:lnTo>
                    <a:lnTo>
                      <a:pt x="226" y="88"/>
                    </a:lnTo>
                    <a:lnTo>
                      <a:pt x="224" y="86"/>
                    </a:lnTo>
                    <a:lnTo>
                      <a:pt x="226" y="86"/>
                    </a:lnTo>
                    <a:lnTo>
                      <a:pt x="223" y="85"/>
                    </a:lnTo>
                    <a:lnTo>
                      <a:pt x="216" y="96"/>
                    </a:lnTo>
                    <a:lnTo>
                      <a:pt x="211" y="98"/>
                    </a:lnTo>
                    <a:lnTo>
                      <a:pt x="203" y="113"/>
                    </a:lnTo>
                    <a:lnTo>
                      <a:pt x="200" y="116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8" y="128"/>
                    </a:lnTo>
                    <a:lnTo>
                      <a:pt x="214" y="135"/>
                    </a:lnTo>
                    <a:lnTo>
                      <a:pt x="210" y="140"/>
                    </a:lnTo>
                    <a:lnTo>
                      <a:pt x="201" y="141"/>
                    </a:lnTo>
                    <a:lnTo>
                      <a:pt x="201" y="146"/>
                    </a:lnTo>
                    <a:lnTo>
                      <a:pt x="193" y="156"/>
                    </a:lnTo>
                    <a:lnTo>
                      <a:pt x="193" y="163"/>
                    </a:lnTo>
                    <a:lnTo>
                      <a:pt x="195" y="164"/>
                    </a:lnTo>
                    <a:lnTo>
                      <a:pt x="193" y="168"/>
                    </a:lnTo>
                    <a:lnTo>
                      <a:pt x="185" y="168"/>
                    </a:lnTo>
                    <a:lnTo>
                      <a:pt x="170" y="174"/>
                    </a:lnTo>
                    <a:lnTo>
                      <a:pt x="170" y="179"/>
                    </a:lnTo>
                    <a:lnTo>
                      <a:pt x="165" y="188"/>
                    </a:lnTo>
                    <a:lnTo>
                      <a:pt x="160" y="184"/>
                    </a:lnTo>
                    <a:lnTo>
                      <a:pt x="155" y="181"/>
                    </a:lnTo>
                    <a:lnTo>
                      <a:pt x="151" y="184"/>
                    </a:lnTo>
                    <a:lnTo>
                      <a:pt x="148" y="188"/>
                    </a:lnTo>
                    <a:lnTo>
                      <a:pt x="145" y="186"/>
                    </a:lnTo>
                    <a:lnTo>
                      <a:pt x="140" y="184"/>
                    </a:lnTo>
                    <a:lnTo>
                      <a:pt x="138" y="188"/>
                    </a:lnTo>
                    <a:lnTo>
                      <a:pt x="131" y="186"/>
                    </a:lnTo>
                    <a:lnTo>
                      <a:pt x="121" y="184"/>
                    </a:lnTo>
                    <a:lnTo>
                      <a:pt x="118" y="186"/>
                    </a:lnTo>
                    <a:lnTo>
                      <a:pt x="108" y="186"/>
                    </a:lnTo>
                    <a:lnTo>
                      <a:pt x="102" y="194"/>
                    </a:lnTo>
                    <a:lnTo>
                      <a:pt x="93" y="194"/>
                    </a:lnTo>
                    <a:lnTo>
                      <a:pt x="88" y="198"/>
                    </a:lnTo>
                    <a:lnTo>
                      <a:pt x="88" y="201"/>
                    </a:lnTo>
                    <a:lnTo>
                      <a:pt x="82" y="204"/>
                    </a:lnTo>
                    <a:lnTo>
                      <a:pt x="73" y="203"/>
                    </a:lnTo>
                    <a:lnTo>
                      <a:pt x="67" y="196"/>
                    </a:lnTo>
                    <a:lnTo>
                      <a:pt x="62" y="186"/>
                    </a:lnTo>
                    <a:lnTo>
                      <a:pt x="62" y="184"/>
                    </a:lnTo>
                    <a:lnTo>
                      <a:pt x="52" y="176"/>
                    </a:lnTo>
                    <a:lnTo>
                      <a:pt x="45" y="176"/>
                    </a:lnTo>
                    <a:lnTo>
                      <a:pt x="42" y="174"/>
                    </a:lnTo>
                    <a:lnTo>
                      <a:pt x="42" y="169"/>
                    </a:lnTo>
                    <a:lnTo>
                      <a:pt x="38" y="164"/>
                    </a:lnTo>
                    <a:lnTo>
                      <a:pt x="43" y="155"/>
                    </a:lnTo>
                    <a:lnTo>
                      <a:pt x="48" y="150"/>
                    </a:lnTo>
                    <a:lnTo>
                      <a:pt x="50" y="146"/>
                    </a:lnTo>
                    <a:lnTo>
                      <a:pt x="45" y="146"/>
                    </a:lnTo>
                    <a:lnTo>
                      <a:pt x="42" y="140"/>
                    </a:lnTo>
                    <a:lnTo>
                      <a:pt x="48" y="133"/>
                    </a:lnTo>
                    <a:lnTo>
                      <a:pt x="48" y="123"/>
                    </a:lnTo>
                    <a:lnTo>
                      <a:pt x="43" y="121"/>
                    </a:lnTo>
                    <a:lnTo>
                      <a:pt x="37" y="110"/>
                    </a:lnTo>
                    <a:lnTo>
                      <a:pt x="42" y="108"/>
                    </a:lnTo>
                    <a:lnTo>
                      <a:pt x="47" y="110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53" y="93"/>
                    </a:lnTo>
                    <a:lnTo>
                      <a:pt x="55" y="78"/>
                    </a:lnTo>
                    <a:lnTo>
                      <a:pt x="53" y="73"/>
                    </a:lnTo>
                    <a:lnTo>
                      <a:pt x="63" y="65"/>
                    </a:lnTo>
                    <a:lnTo>
                      <a:pt x="67" y="65"/>
                    </a:lnTo>
                    <a:lnTo>
                      <a:pt x="68" y="62"/>
                    </a:lnTo>
                    <a:lnTo>
                      <a:pt x="63" y="55"/>
                    </a:lnTo>
                    <a:lnTo>
                      <a:pt x="62" y="50"/>
                    </a:lnTo>
                    <a:lnTo>
                      <a:pt x="50" y="48"/>
                    </a:lnTo>
                    <a:lnTo>
                      <a:pt x="47" y="52"/>
                    </a:lnTo>
                    <a:lnTo>
                      <a:pt x="33" y="50"/>
                    </a:lnTo>
                    <a:lnTo>
                      <a:pt x="25" y="53"/>
                    </a:lnTo>
                    <a:lnTo>
                      <a:pt x="22" y="50"/>
                    </a:lnTo>
                    <a:lnTo>
                      <a:pt x="23" y="45"/>
                    </a:lnTo>
                    <a:lnTo>
                      <a:pt x="18" y="45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13" y="40"/>
                    </a:lnTo>
                    <a:lnTo>
                      <a:pt x="10" y="40"/>
                    </a:lnTo>
                    <a:lnTo>
                      <a:pt x="13" y="37"/>
                    </a:lnTo>
                    <a:lnTo>
                      <a:pt x="10" y="35"/>
                    </a:lnTo>
                    <a:lnTo>
                      <a:pt x="12" y="30"/>
                    </a:lnTo>
                    <a:lnTo>
                      <a:pt x="9" y="33"/>
                    </a:lnTo>
                    <a:lnTo>
                      <a:pt x="7" y="33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5" y="23"/>
                    </a:lnTo>
                    <a:lnTo>
                      <a:pt x="2" y="25"/>
                    </a:lnTo>
                    <a:lnTo>
                      <a:pt x="0" y="20"/>
                    </a:lnTo>
                    <a:lnTo>
                      <a:pt x="4" y="15"/>
                    </a:lnTo>
                    <a:lnTo>
                      <a:pt x="12" y="12"/>
                    </a:lnTo>
                    <a:lnTo>
                      <a:pt x="15" y="13"/>
                    </a:lnTo>
                    <a:lnTo>
                      <a:pt x="23" y="13"/>
                    </a:lnTo>
                    <a:lnTo>
                      <a:pt x="27" y="10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32" y="2"/>
                    </a:lnTo>
                    <a:lnTo>
                      <a:pt x="33" y="3"/>
                    </a:lnTo>
                    <a:lnTo>
                      <a:pt x="37" y="0"/>
                    </a:lnTo>
                    <a:lnTo>
                      <a:pt x="43" y="2"/>
                    </a:lnTo>
                    <a:lnTo>
                      <a:pt x="48" y="7"/>
                    </a:lnTo>
                    <a:lnTo>
                      <a:pt x="52" y="3"/>
                    </a:lnTo>
                    <a:lnTo>
                      <a:pt x="57" y="3"/>
                    </a:lnTo>
                    <a:lnTo>
                      <a:pt x="63" y="7"/>
                    </a:lnTo>
                    <a:lnTo>
                      <a:pt x="70" y="3"/>
                    </a:lnTo>
                    <a:lnTo>
                      <a:pt x="77" y="2"/>
                    </a:lnTo>
                    <a:lnTo>
                      <a:pt x="78" y="3"/>
                    </a:lnTo>
                    <a:lnTo>
                      <a:pt x="85" y="7"/>
                    </a:lnTo>
                    <a:lnTo>
                      <a:pt x="102" y="10"/>
                    </a:lnTo>
                    <a:lnTo>
                      <a:pt x="110" y="12"/>
                    </a:lnTo>
                    <a:lnTo>
                      <a:pt x="121" y="7"/>
                    </a:lnTo>
                    <a:lnTo>
                      <a:pt x="130" y="7"/>
                    </a:lnTo>
                    <a:lnTo>
                      <a:pt x="131" y="10"/>
                    </a:lnTo>
                    <a:lnTo>
                      <a:pt x="141" y="12"/>
                    </a:lnTo>
                    <a:lnTo>
                      <a:pt x="145" y="8"/>
                    </a:lnTo>
                    <a:lnTo>
                      <a:pt x="150" y="8"/>
                    </a:lnTo>
                    <a:lnTo>
                      <a:pt x="163" y="15"/>
                    </a:lnTo>
                    <a:lnTo>
                      <a:pt x="165" y="12"/>
                    </a:lnTo>
                    <a:lnTo>
                      <a:pt x="168" y="12"/>
                    </a:lnTo>
                    <a:lnTo>
                      <a:pt x="170" y="10"/>
                    </a:lnTo>
                    <a:lnTo>
                      <a:pt x="170" y="10"/>
                    </a:lnTo>
                    <a:close/>
                    <a:moveTo>
                      <a:pt x="244" y="136"/>
                    </a:moveTo>
                    <a:lnTo>
                      <a:pt x="246" y="131"/>
                    </a:lnTo>
                    <a:lnTo>
                      <a:pt x="249" y="130"/>
                    </a:lnTo>
                    <a:lnTo>
                      <a:pt x="248" y="126"/>
                    </a:lnTo>
                    <a:lnTo>
                      <a:pt x="241" y="128"/>
                    </a:lnTo>
                    <a:lnTo>
                      <a:pt x="239" y="133"/>
                    </a:lnTo>
                    <a:lnTo>
                      <a:pt x="244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4" name="Freeform 68">
                <a:extLst>
                  <a:ext uri="{FF2B5EF4-FFF2-40B4-BE49-F238E27FC236}">
                    <a16:creationId xmlns:a16="http://schemas.microsoft.com/office/drawing/2014/main" id="{51A6A960-FA3D-B242-BE63-C3309086A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0497" y="2757146"/>
                <a:ext cx="40669" cy="70556"/>
              </a:xfrm>
              <a:custGeom>
                <a:avLst/>
                <a:gdLst/>
                <a:ahLst/>
                <a:cxnLst>
                  <a:cxn ang="0">
                    <a:pos x="50" y="124"/>
                  </a:cxn>
                  <a:cxn ang="0">
                    <a:pos x="51" y="110"/>
                  </a:cxn>
                  <a:cxn ang="0">
                    <a:pos x="58" y="101"/>
                  </a:cxn>
                  <a:cxn ang="0">
                    <a:pos x="50" y="95"/>
                  </a:cxn>
                  <a:cxn ang="0">
                    <a:pos x="56" y="78"/>
                  </a:cxn>
                  <a:cxn ang="0">
                    <a:pos x="45" y="65"/>
                  </a:cxn>
                  <a:cxn ang="0">
                    <a:pos x="55" y="65"/>
                  </a:cxn>
                  <a:cxn ang="0">
                    <a:pos x="56" y="53"/>
                  </a:cxn>
                  <a:cxn ang="0">
                    <a:pos x="63" y="33"/>
                  </a:cxn>
                  <a:cxn ang="0">
                    <a:pos x="71" y="20"/>
                  </a:cxn>
                  <a:cxn ang="0">
                    <a:pos x="76" y="17"/>
                  </a:cxn>
                  <a:cxn ang="0">
                    <a:pos x="70" y="5"/>
                  </a:cxn>
                  <a:cxn ang="0">
                    <a:pos x="55" y="7"/>
                  </a:cxn>
                  <a:cxn ang="0">
                    <a:pos x="33" y="8"/>
                  </a:cxn>
                  <a:cxn ang="0">
                    <a:pos x="31" y="0"/>
                  </a:cxn>
                  <a:cxn ang="0">
                    <a:pos x="17" y="2"/>
                  </a:cxn>
                  <a:cxn ang="0">
                    <a:pos x="20" y="13"/>
                  </a:cxn>
                  <a:cxn ang="0">
                    <a:pos x="20" y="28"/>
                  </a:cxn>
                  <a:cxn ang="0">
                    <a:pos x="21" y="38"/>
                  </a:cxn>
                  <a:cxn ang="0">
                    <a:pos x="17" y="48"/>
                  </a:cxn>
                  <a:cxn ang="0">
                    <a:pos x="10" y="61"/>
                  </a:cxn>
                  <a:cxn ang="0">
                    <a:pos x="3" y="75"/>
                  </a:cxn>
                  <a:cxn ang="0">
                    <a:pos x="0" y="90"/>
                  </a:cxn>
                  <a:cxn ang="0">
                    <a:pos x="8" y="86"/>
                  </a:cxn>
                  <a:cxn ang="0">
                    <a:pos x="12" y="86"/>
                  </a:cxn>
                  <a:cxn ang="0">
                    <a:pos x="7" y="93"/>
                  </a:cxn>
                  <a:cxn ang="0">
                    <a:pos x="8" y="100"/>
                  </a:cxn>
                  <a:cxn ang="0">
                    <a:pos x="18" y="96"/>
                  </a:cxn>
                  <a:cxn ang="0">
                    <a:pos x="17" y="105"/>
                  </a:cxn>
                  <a:cxn ang="0">
                    <a:pos x="15" y="121"/>
                  </a:cxn>
                  <a:cxn ang="0">
                    <a:pos x="12" y="133"/>
                  </a:cxn>
                  <a:cxn ang="0">
                    <a:pos x="20" y="129"/>
                  </a:cxn>
                  <a:cxn ang="0">
                    <a:pos x="35" y="134"/>
                  </a:cxn>
                  <a:cxn ang="0">
                    <a:pos x="48" y="131"/>
                  </a:cxn>
                  <a:cxn ang="0">
                    <a:pos x="50" y="129"/>
                  </a:cxn>
                </a:cxnLst>
                <a:rect l="0" t="0" r="r" b="b"/>
                <a:pathLst>
                  <a:path w="76" h="134">
                    <a:moveTo>
                      <a:pt x="50" y="129"/>
                    </a:moveTo>
                    <a:lnTo>
                      <a:pt x="50" y="124"/>
                    </a:lnTo>
                    <a:lnTo>
                      <a:pt x="46" y="119"/>
                    </a:lnTo>
                    <a:lnTo>
                      <a:pt x="51" y="110"/>
                    </a:lnTo>
                    <a:lnTo>
                      <a:pt x="56" y="105"/>
                    </a:lnTo>
                    <a:lnTo>
                      <a:pt x="58" y="101"/>
                    </a:lnTo>
                    <a:lnTo>
                      <a:pt x="53" y="101"/>
                    </a:lnTo>
                    <a:lnTo>
                      <a:pt x="50" y="95"/>
                    </a:lnTo>
                    <a:lnTo>
                      <a:pt x="56" y="88"/>
                    </a:lnTo>
                    <a:lnTo>
                      <a:pt x="56" y="78"/>
                    </a:lnTo>
                    <a:lnTo>
                      <a:pt x="51" y="76"/>
                    </a:lnTo>
                    <a:lnTo>
                      <a:pt x="45" y="65"/>
                    </a:lnTo>
                    <a:lnTo>
                      <a:pt x="50" y="63"/>
                    </a:lnTo>
                    <a:lnTo>
                      <a:pt x="55" y="65"/>
                    </a:lnTo>
                    <a:lnTo>
                      <a:pt x="61" y="56"/>
                    </a:lnTo>
                    <a:lnTo>
                      <a:pt x="56" y="53"/>
                    </a:lnTo>
                    <a:lnTo>
                      <a:pt x="61" y="48"/>
                    </a:lnTo>
                    <a:lnTo>
                      <a:pt x="63" y="33"/>
                    </a:lnTo>
                    <a:lnTo>
                      <a:pt x="61" y="28"/>
                    </a:lnTo>
                    <a:lnTo>
                      <a:pt x="71" y="20"/>
                    </a:lnTo>
                    <a:lnTo>
                      <a:pt x="75" y="20"/>
                    </a:lnTo>
                    <a:lnTo>
                      <a:pt x="76" y="17"/>
                    </a:lnTo>
                    <a:lnTo>
                      <a:pt x="71" y="10"/>
                    </a:lnTo>
                    <a:lnTo>
                      <a:pt x="70" y="5"/>
                    </a:lnTo>
                    <a:lnTo>
                      <a:pt x="58" y="3"/>
                    </a:lnTo>
                    <a:lnTo>
                      <a:pt x="55" y="7"/>
                    </a:lnTo>
                    <a:lnTo>
                      <a:pt x="41" y="5"/>
                    </a:lnTo>
                    <a:lnTo>
                      <a:pt x="33" y="8"/>
                    </a:lnTo>
                    <a:lnTo>
                      <a:pt x="30" y="5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2"/>
                    </a:lnTo>
                    <a:lnTo>
                      <a:pt x="17" y="5"/>
                    </a:lnTo>
                    <a:lnTo>
                      <a:pt x="20" y="13"/>
                    </a:lnTo>
                    <a:lnTo>
                      <a:pt x="18" y="26"/>
                    </a:lnTo>
                    <a:lnTo>
                      <a:pt x="20" y="28"/>
                    </a:lnTo>
                    <a:lnTo>
                      <a:pt x="18" y="35"/>
                    </a:lnTo>
                    <a:lnTo>
                      <a:pt x="21" y="38"/>
                    </a:lnTo>
                    <a:lnTo>
                      <a:pt x="18" y="41"/>
                    </a:lnTo>
                    <a:lnTo>
                      <a:pt x="17" y="48"/>
                    </a:lnTo>
                    <a:lnTo>
                      <a:pt x="15" y="55"/>
                    </a:lnTo>
                    <a:lnTo>
                      <a:pt x="10" y="61"/>
                    </a:lnTo>
                    <a:lnTo>
                      <a:pt x="10" y="66"/>
                    </a:lnTo>
                    <a:lnTo>
                      <a:pt x="3" y="75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5" y="90"/>
                    </a:lnTo>
                    <a:lnTo>
                      <a:pt x="8" y="86"/>
                    </a:lnTo>
                    <a:lnTo>
                      <a:pt x="13" y="85"/>
                    </a:lnTo>
                    <a:lnTo>
                      <a:pt x="12" y="86"/>
                    </a:lnTo>
                    <a:lnTo>
                      <a:pt x="13" y="90"/>
                    </a:lnTo>
                    <a:lnTo>
                      <a:pt x="7" y="93"/>
                    </a:lnTo>
                    <a:lnTo>
                      <a:pt x="7" y="96"/>
                    </a:lnTo>
                    <a:lnTo>
                      <a:pt x="8" y="100"/>
                    </a:lnTo>
                    <a:lnTo>
                      <a:pt x="12" y="96"/>
                    </a:lnTo>
                    <a:lnTo>
                      <a:pt x="18" y="96"/>
                    </a:lnTo>
                    <a:lnTo>
                      <a:pt x="15" y="100"/>
                    </a:lnTo>
                    <a:lnTo>
                      <a:pt x="17" y="105"/>
                    </a:lnTo>
                    <a:lnTo>
                      <a:pt x="15" y="110"/>
                    </a:lnTo>
                    <a:lnTo>
                      <a:pt x="15" y="121"/>
                    </a:lnTo>
                    <a:lnTo>
                      <a:pt x="13" y="129"/>
                    </a:lnTo>
                    <a:lnTo>
                      <a:pt x="12" y="133"/>
                    </a:lnTo>
                    <a:lnTo>
                      <a:pt x="13" y="133"/>
                    </a:lnTo>
                    <a:lnTo>
                      <a:pt x="20" y="129"/>
                    </a:lnTo>
                    <a:lnTo>
                      <a:pt x="30" y="133"/>
                    </a:lnTo>
                    <a:lnTo>
                      <a:pt x="35" y="134"/>
                    </a:lnTo>
                    <a:lnTo>
                      <a:pt x="41" y="131"/>
                    </a:lnTo>
                    <a:lnTo>
                      <a:pt x="48" y="131"/>
                    </a:lnTo>
                    <a:lnTo>
                      <a:pt x="50" y="129"/>
                    </a:lnTo>
                    <a:lnTo>
                      <a:pt x="50" y="1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5" name="Freeform 69">
                <a:extLst>
                  <a:ext uri="{FF2B5EF4-FFF2-40B4-BE49-F238E27FC236}">
                    <a16:creationId xmlns:a16="http://schemas.microsoft.com/office/drawing/2014/main" id="{541FC79D-D2FA-7A45-8691-F939C61164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4750" y="2760258"/>
                <a:ext cx="111306" cy="88195"/>
              </a:xfrm>
              <a:custGeom>
                <a:avLst/>
                <a:gdLst/>
                <a:ahLst/>
                <a:cxnLst>
                  <a:cxn ang="0">
                    <a:pos x="131" y="16"/>
                  </a:cxn>
                  <a:cxn ang="0">
                    <a:pos x="98" y="15"/>
                  </a:cxn>
                  <a:cxn ang="0">
                    <a:pos x="52" y="23"/>
                  </a:cxn>
                  <a:cxn ang="0">
                    <a:pos x="17" y="60"/>
                  </a:cxn>
                  <a:cxn ang="0">
                    <a:pos x="37" y="91"/>
                  </a:cxn>
                  <a:cxn ang="0">
                    <a:pos x="66" y="100"/>
                  </a:cxn>
                  <a:cxn ang="0">
                    <a:pos x="71" y="105"/>
                  </a:cxn>
                  <a:cxn ang="0">
                    <a:pos x="38" y="110"/>
                  </a:cxn>
                  <a:cxn ang="0">
                    <a:pos x="60" y="138"/>
                  </a:cxn>
                  <a:cxn ang="0">
                    <a:pos x="73" y="146"/>
                  </a:cxn>
                  <a:cxn ang="0">
                    <a:pos x="83" y="131"/>
                  </a:cxn>
                  <a:cxn ang="0">
                    <a:pos x="88" y="123"/>
                  </a:cxn>
                  <a:cxn ang="0">
                    <a:pos x="81" y="111"/>
                  </a:cxn>
                  <a:cxn ang="0">
                    <a:pos x="101" y="106"/>
                  </a:cxn>
                  <a:cxn ang="0">
                    <a:pos x="75" y="85"/>
                  </a:cxn>
                  <a:cxn ang="0">
                    <a:pos x="80" y="70"/>
                  </a:cxn>
                  <a:cxn ang="0">
                    <a:pos x="73" y="58"/>
                  </a:cxn>
                  <a:cxn ang="0">
                    <a:pos x="75" y="38"/>
                  </a:cxn>
                  <a:cxn ang="0">
                    <a:pos x="88" y="43"/>
                  </a:cxn>
                  <a:cxn ang="0">
                    <a:pos x="105" y="43"/>
                  </a:cxn>
                  <a:cxn ang="0">
                    <a:pos x="105" y="31"/>
                  </a:cxn>
                  <a:cxn ang="0">
                    <a:pos x="130" y="25"/>
                  </a:cxn>
                  <a:cxn ang="0">
                    <a:pos x="156" y="5"/>
                  </a:cxn>
                  <a:cxn ang="0">
                    <a:pos x="10" y="70"/>
                  </a:cxn>
                  <a:cxn ang="0">
                    <a:pos x="5" y="58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22" y="105"/>
                  </a:cxn>
                  <a:cxn ang="0">
                    <a:pos x="33" y="114"/>
                  </a:cxn>
                  <a:cxn ang="0">
                    <a:pos x="33" y="113"/>
                  </a:cxn>
                  <a:cxn ang="0">
                    <a:pos x="183" y="168"/>
                  </a:cxn>
                  <a:cxn ang="0">
                    <a:pos x="196" y="159"/>
                  </a:cxn>
                  <a:cxn ang="0">
                    <a:pos x="209" y="146"/>
                  </a:cxn>
                  <a:cxn ang="0">
                    <a:pos x="196" y="159"/>
                  </a:cxn>
                  <a:cxn ang="0">
                    <a:pos x="166" y="143"/>
                  </a:cxn>
                  <a:cxn ang="0">
                    <a:pos x="174" y="113"/>
                  </a:cxn>
                  <a:cxn ang="0">
                    <a:pos x="163" y="113"/>
                  </a:cxn>
                  <a:cxn ang="0">
                    <a:pos x="151" y="96"/>
                  </a:cxn>
                  <a:cxn ang="0">
                    <a:pos x="148" y="78"/>
                  </a:cxn>
                  <a:cxn ang="0">
                    <a:pos x="161" y="71"/>
                  </a:cxn>
                  <a:cxn ang="0">
                    <a:pos x="154" y="71"/>
                  </a:cxn>
                  <a:cxn ang="0">
                    <a:pos x="140" y="35"/>
                  </a:cxn>
                  <a:cxn ang="0">
                    <a:pos x="131" y="50"/>
                  </a:cxn>
                  <a:cxn ang="0">
                    <a:pos x="125" y="50"/>
                  </a:cxn>
                  <a:cxn ang="0">
                    <a:pos x="115" y="33"/>
                  </a:cxn>
                  <a:cxn ang="0">
                    <a:pos x="96" y="80"/>
                  </a:cxn>
                  <a:cxn ang="0">
                    <a:pos x="88" y="75"/>
                  </a:cxn>
                  <a:cxn ang="0">
                    <a:pos x="118" y="83"/>
                  </a:cxn>
                  <a:cxn ang="0">
                    <a:pos x="154" y="121"/>
                  </a:cxn>
                  <a:cxn ang="0">
                    <a:pos x="115" y="143"/>
                  </a:cxn>
                  <a:cxn ang="0">
                    <a:pos x="118" y="123"/>
                  </a:cxn>
                  <a:cxn ang="0">
                    <a:pos x="116" y="119"/>
                  </a:cxn>
                  <a:cxn ang="0">
                    <a:pos x="135" y="133"/>
                  </a:cxn>
                  <a:cxn ang="0">
                    <a:pos x="141" y="133"/>
                  </a:cxn>
                  <a:cxn ang="0">
                    <a:pos x="135" y="116"/>
                  </a:cxn>
                  <a:cxn ang="0">
                    <a:pos x="126" y="111"/>
                  </a:cxn>
                  <a:cxn ang="0">
                    <a:pos x="76" y="81"/>
                  </a:cxn>
                  <a:cxn ang="0">
                    <a:pos x="103" y="86"/>
                  </a:cxn>
                  <a:cxn ang="0">
                    <a:pos x="120" y="105"/>
                  </a:cxn>
                  <a:cxn ang="0">
                    <a:pos x="105" y="96"/>
                  </a:cxn>
                  <a:cxn ang="0">
                    <a:pos x="85" y="85"/>
                  </a:cxn>
                  <a:cxn ang="0">
                    <a:pos x="88" y="151"/>
                  </a:cxn>
                  <a:cxn ang="0">
                    <a:pos x="85" y="144"/>
                  </a:cxn>
                </a:cxnLst>
                <a:rect l="0" t="0" r="r" b="b"/>
                <a:pathLst>
                  <a:path w="209" h="171">
                    <a:moveTo>
                      <a:pt x="156" y="0"/>
                    </a:moveTo>
                    <a:lnTo>
                      <a:pt x="154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36" y="13"/>
                    </a:lnTo>
                    <a:lnTo>
                      <a:pt x="131" y="16"/>
                    </a:lnTo>
                    <a:lnTo>
                      <a:pt x="128" y="13"/>
                    </a:lnTo>
                    <a:lnTo>
                      <a:pt x="123" y="13"/>
                    </a:lnTo>
                    <a:lnTo>
                      <a:pt x="120" y="16"/>
                    </a:lnTo>
                    <a:lnTo>
                      <a:pt x="115" y="16"/>
                    </a:lnTo>
                    <a:lnTo>
                      <a:pt x="115" y="12"/>
                    </a:lnTo>
                    <a:lnTo>
                      <a:pt x="108" y="12"/>
                    </a:lnTo>
                    <a:lnTo>
                      <a:pt x="101" y="12"/>
                    </a:lnTo>
                    <a:lnTo>
                      <a:pt x="98" y="15"/>
                    </a:lnTo>
                    <a:lnTo>
                      <a:pt x="91" y="16"/>
                    </a:lnTo>
                    <a:lnTo>
                      <a:pt x="83" y="16"/>
                    </a:lnTo>
                    <a:lnTo>
                      <a:pt x="81" y="15"/>
                    </a:lnTo>
                    <a:lnTo>
                      <a:pt x="78" y="18"/>
                    </a:lnTo>
                    <a:lnTo>
                      <a:pt x="73" y="18"/>
                    </a:lnTo>
                    <a:lnTo>
                      <a:pt x="68" y="21"/>
                    </a:lnTo>
                    <a:lnTo>
                      <a:pt x="56" y="20"/>
                    </a:lnTo>
                    <a:lnTo>
                      <a:pt x="52" y="23"/>
                    </a:lnTo>
                    <a:lnTo>
                      <a:pt x="50" y="25"/>
                    </a:lnTo>
                    <a:lnTo>
                      <a:pt x="43" y="26"/>
                    </a:lnTo>
                    <a:lnTo>
                      <a:pt x="33" y="33"/>
                    </a:lnTo>
                    <a:lnTo>
                      <a:pt x="33" y="38"/>
                    </a:lnTo>
                    <a:lnTo>
                      <a:pt x="30" y="45"/>
                    </a:lnTo>
                    <a:lnTo>
                      <a:pt x="20" y="48"/>
                    </a:lnTo>
                    <a:lnTo>
                      <a:pt x="20" y="53"/>
                    </a:lnTo>
                    <a:lnTo>
                      <a:pt x="17" y="60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3" y="68"/>
                    </a:lnTo>
                    <a:lnTo>
                      <a:pt x="22" y="73"/>
                    </a:lnTo>
                    <a:lnTo>
                      <a:pt x="27" y="80"/>
                    </a:lnTo>
                    <a:lnTo>
                      <a:pt x="30" y="80"/>
                    </a:lnTo>
                    <a:lnTo>
                      <a:pt x="30" y="83"/>
                    </a:lnTo>
                    <a:lnTo>
                      <a:pt x="37" y="91"/>
                    </a:lnTo>
                    <a:lnTo>
                      <a:pt x="38" y="96"/>
                    </a:lnTo>
                    <a:lnTo>
                      <a:pt x="42" y="98"/>
                    </a:lnTo>
                    <a:lnTo>
                      <a:pt x="45" y="93"/>
                    </a:lnTo>
                    <a:lnTo>
                      <a:pt x="48" y="98"/>
                    </a:lnTo>
                    <a:lnTo>
                      <a:pt x="55" y="98"/>
                    </a:lnTo>
                    <a:lnTo>
                      <a:pt x="56" y="95"/>
                    </a:lnTo>
                    <a:lnTo>
                      <a:pt x="60" y="96"/>
                    </a:lnTo>
                    <a:lnTo>
                      <a:pt x="66" y="100"/>
                    </a:lnTo>
                    <a:lnTo>
                      <a:pt x="71" y="98"/>
                    </a:lnTo>
                    <a:lnTo>
                      <a:pt x="71" y="100"/>
                    </a:lnTo>
                    <a:lnTo>
                      <a:pt x="75" y="100"/>
                    </a:lnTo>
                    <a:lnTo>
                      <a:pt x="76" y="101"/>
                    </a:lnTo>
                    <a:lnTo>
                      <a:pt x="83" y="103"/>
                    </a:lnTo>
                    <a:lnTo>
                      <a:pt x="78" y="105"/>
                    </a:lnTo>
                    <a:lnTo>
                      <a:pt x="75" y="108"/>
                    </a:lnTo>
                    <a:lnTo>
                      <a:pt x="71" y="105"/>
                    </a:lnTo>
                    <a:lnTo>
                      <a:pt x="68" y="105"/>
                    </a:lnTo>
                    <a:lnTo>
                      <a:pt x="58" y="98"/>
                    </a:lnTo>
                    <a:lnTo>
                      <a:pt x="53" y="100"/>
                    </a:lnTo>
                    <a:lnTo>
                      <a:pt x="50" y="103"/>
                    </a:lnTo>
                    <a:lnTo>
                      <a:pt x="45" y="100"/>
                    </a:lnTo>
                    <a:lnTo>
                      <a:pt x="42" y="105"/>
                    </a:lnTo>
                    <a:lnTo>
                      <a:pt x="40" y="105"/>
                    </a:lnTo>
                    <a:lnTo>
                      <a:pt x="38" y="110"/>
                    </a:lnTo>
                    <a:lnTo>
                      <a:pt x="43" y="114"/>
                    </a:lnTo>
                    <a:lnTo>
                      <a:pt x="48" y="116"/>
                    </a:lnTo>
                    <a:lnTo>
                      <a:pt x="53" y="121"/>
                    </a:lnTo>
                    <a:lnTo>
                      <a:pt x="55" y="124"/>
                    </a:lnTo>
                    <a:lnTo>
                      <a:pt x="52" y="126"/>
                    </a:lnTo>
                    <a:lnTo>
                      <a:pt x="53" y="129"/>
                    </a:lnTo>
                    <a:lnTo>
                      <a:pt x="56" y="134"/>
                    </a:lnTo>
                    <a:lnTo>
                      <a:pt x="60" y="138"/>
                    </a:lnTo>
                    <a:lnTo>
                      <a:pt x="61" y="136"/>
                    </a:lnTo>
                    <a:lnTo>
                      <a:pt x="60" y="133"/>
                    </a:lnTo>
                    <a:lnTo>
                      <a:pt x="61" y="129"/>
                    </a:lnTo>
                    <a:lnTo>
                      <a:pt x="63" y="134"/>
                    </a:lnTo>
                    <a:lnTo>
                      <a:pt x="70" y="136"/>
                    </a:lnTo>
                    <a:lnTo>
                      <a:pt x="71" y="139"/>
                    </a:lnTo>
                    <a:lnTo>
                      <a:pt x="70" y="143"/>
                    </a:lnTo>
                    <a:lnTo>
                      <a:pt x="73" y="146"/>
                    </a:lnTo>
                    <a:lnTo>
                      <a:pt x="73" y="141"/>
                    </a:lnTo>
                    <a:lnTo>
                      <a:pt x="75" y="136"/>
                    </a:lnTo>
                    <a:lnTo>
                      <a:pt x="80" y="136"/>
                    </a:lnTo>
                    <a:lnTo>
                      <a:pt x="81" y="139"/>
                    </a:lnTo>
                    <a:lnTo>
                      <a:pt x="88" y="144"/>
                    </a:lnTo>
                    <a:lnTo>
                      <a:pt x="86" y="139"/>
                    </a:lnTo>
                    <a:lnTo>
                      <a:pt x="86" y="136"/>
                    </a:lnTo>
                    <a:lnTo>
                      <a:pt x="83" y="131"/>
                    </a:lnTo>
                    <a:lnTo>
                      <a:pt x="80" y="124"/>
                    </a:lnTo>
                    <a:lnTo>
                      <a:pt x="78" y="121"/>
                    </a:lnTo>
                    <a:lnTo>
                      <a:pt x="78" y="119"/>
                    </a:lnTo>
                    <a:lnTo>
                      <a:pt x="81" y="119"/>
                    </a:lnTo>
                    <a:lnTo>
                      <a:pt x="86" y="121"/>
                    </a:lnTo>
                    <a:lnTo>
                      <a:pt x="85" y="123"/>
                    </a:lnTo>
                    <a:lnTo>
                      <a:pt x="86" y="124"/>
                    </a:lnTo>
                    <a:lnTo>
                      <a:pt x="88" y="123"/>
                    </a:lnTo>
                    <a:lnTo>
                      <a:pt x="95" y="123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18"/>
                    </a:lnTo>
                    <a:lnTo>
                      <a:pt x="90" y="118"/>
                    </a:lnTo>
                    <a:lnTo>
                      <a:pt x="86" y="116"/>
                    </a:lnTo>
                    <a:lnTo>
                      <a:pt x="86" y="114"/>
                    </a:lnTo>
                    <a:lnTo>
                      <a:pt x="81" y="111"/>
                    </a:lnTo>
                    <a:lnTo>
                      <a:pt x="86" y="108"/>
                    </a:lnTo>
                    <a:lnTo>
                      <a:pt x="90" y="110"/>
                    </a:lnTo>
                    <a:lnTo>
                      <a:pt x="93" y="106"/>
                    </a:lnTo>
                    <a:lnTo>
                      <a:pt x="100" y="111"/>
                    </a:lnTo>
                    <a:lnTo>
                      <a:pt x="100" y="113"/>
                    </a:lnTo>
                    <a:lnTo>
                      <a:pt x="105" y="113"/>
                    </a:lnTo>
                    <a:lnTo>
                      <a:pt x="106" y="111"/>
                    </a:lnTo>
                    <a:lnTo>
                      <a:pt x="101" y="106"/>
                    </a:lnTo>
                    <a:lnTo>
                      <a:pt x="103" y="101"/>
                    </a:lnTo>
                    <a:lnTo>
                      <a:pt x="101" y="98"/>
                    </a:lnTo>
                    <a:lnTo>
                      <a:pt x="90" y="91"/>
                    </a:lnTo>
                    <a:lnTo>
                      <a:pt x="86" y="91"/>
                    </a:lnTo>
                    <a:lnTo>
                      <a:pt x="85" y="88"/>
                    </a:lnTo>
                    <a:lnTo>
                      <a:pt x="81" y="88"/>
                    </a:lnTo>
                    <a:lnTo>
                      <a:pt x="80" y="86"/>
                    </a:lnTo>
                    <a:lnTo>
                      <a:pt x="75" y="85"/>
                    </a:lnTo>
                    <a:lnTo>
                      <a:pt x="70" y="81"/>
                    </a:lnTo>
                    <a:lnTo>
                      <a:pt x="75" y="81"/>
                    </a:lnTo>
                    <a:lnTo>
                      <a:pt x="78" y="78"/>
                    </a:lnTo>
                    <a:lnTo>
                      <a:pt x="78" y="75"/>
                    </a:lnTo>
                    <a:lnTo>
                      <a:pt x="73" y="75"/>
                    </a:lnTo>
                    <a:lnTo>
                      <a:pt x="76" y="71"/>
                    </a:lnTo>
                    <a:lnTo>
                      <a:pt x="76" y="68"/>
                    </a:lnTo>
                    <a:lnTo>
                      <a:pt x="80" y="70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1" y="76"/>
                    </a:lnTo>
                    <a:lnTo>
                      <a:pt x="85" y="76"/>
                    </a:lnTo>
                    <a:lnTo>
                      <a:pt x="86" y="71"/>
                    </a:lnTo>
                    <a:lnTo>
                      <a:pt x="83" y="68"/>
                    </a:lnTo>
                    <a:lnTo>
                      <a:pt x="75" y="60"/>
                    </a:lnTo>
                    <a:lnTo>
                      <a:pt x="73" y="58"/>
                    </a:lnTo>
                    <a:lnTo>
                      <a:pt x="71" y="55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66" y="40"/>
                    </a:lnTo>
                    <a:lnTo>
                      <a:pt x="70" y="35"/>
                    </a:lnTo>
                    <a:lnTo>
                      <a:pt x="76" y="33"/>
                    </a:lnTo>
                    <a:lnTo>
                      <a:pt x="76" y="38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81" y="43"/>
                    </a:lnTo>
                    <a:lnTo>
                      <a:pt x="83" y="48"/>
                    </a:lnTo>
                    <a:lnTo>
                      <a:pt x="88" y="53"/>
                    </a:lnTo>
                    <a:lnTo>
                      <a:pt x="93" y="51"/>
                    </a:lnTo>
                    <a:lnTo>
                      <a:pt x="90" y="50"/>
                    </a:lnTo>
                    <a:lnTo>
                      <a:pt x="86" y="46"/>
                    </a:lnTo>
                    <a:lnTo>
                      <a:pt x="88" y="43"/>
                    </a:lnTo>
                    <a:lnTo>
                      <a:pt x="93" y="45"/>
                    </a:lnTo>
                    <a:lnTo>
                      <a:pt x="96" y="50"/>
                    </a:lnTo>
                    <a:lnTo>
                      <a:pt x="100" y="51"/>
                    </a:lnTo>
                    <a:lnTo>
                      <a:pt x="101" y="48"/>
                    </a:lnTo>
                    <a:lnTo>
                      <a:pt x="98" y="46"/>
                    </a:lnTo>
                    <a:lnTo>
                      <a:pt x="95" y="45"/>
                    </a:lnTo>
                    <a:lnTo>
                      <a:pt x="95" y="41"/>
                    </a:lnTo>
                    <a:lnTo>
                      <a:pt x="105" y="43"/>
                    </a:lnTo>
                    <a:lnTo>
                      <a:pt x="108" y="45"/>
                    </a:lnTo>
                    <a:lnTo>
                      <a:pt x="108" y="43"/>
                    </a:lnTo>
                    <a:lnTo>
                      <a:pt x="103" y="40"/>
                    </a:lnTo>
                    <a:lnTo>
                      <a:pt x="98" y="38"/>
                    </a:lnTo>
                    <a:lnTo>
                      <a:pt x="95" y="35"/>
                    </a:lnTo>
                    <a:lnTo>
                      <a:pt x="96" y="31"/>
                    </a:lnTo>
                    <a:lnTo>
                      <a:pt x="101" y="33"/>
                    </a:lnTo>
                    <a:lnTo>
                      <a:pt x="105" y="31"/>
                    </a:lnTo>
                    <a:lnTo>
                      <a:pt x="106" y="25"/>
                    </a:lnTo>
                    <a:lnTo>
                      <a:pt x="110" y="23"/>
                    </a:lnTo>
                    <a:lnTo>
                      <a:pt x="116" y="28"/>
                    </a:lnTo>
                    <a:lnTo>
                      <a:pt x="120" y="28"/>
                    </a:lnTo>
                    <a:lnTo>
                      <a:pt x="125" y="23"/>
                    </a:lnTo>
                    <a:lnTo>
                      <a:pt x="125" y="21"/>
                    </a:lnTo>
                    <a:lnTo>
                      <a:pt x="126" y="21"/>
                    </a:lnTo>
                    <a:lnTo>
                      <a:pt x="130" y="25"/>
                    </a:lnTo>
                    <a:lnTo>
                      <a:pt x="140" y="25"/>
                    </a:lnTo>
                    <a:lnTo>
                      <a:pt x="146" y="26"/>
                    </a:lnTo>
                    <a:lnTo>
                      <a:pt x="153" y="26"/>
                    </a:lnTo>
                    <a:lnTo>
                      <a:pt x="154" y="20"/>
                    </a:lnTo>
                    <a:lnTo>
                      <a:pt x="154" y="16"/>
                    </a:lnTo>
                    <a:lnTo>
                      <a:pt x="159" y="13"/>
                    </a:lnTo>
                    <a:lnTo>
                      <a:pt x="161" y="7"/>
                    </a:lnTo>
                    <a:lnTo>
                      <a:pt x="156" y="5"/>
                    </a:lnTo>
                    <a:lnTo>
                      <a:pt x="156" y="0"/>
                    </a:lnTo>
                    <a:lnTo>
                      <a:pt x="156" y="0"/>
                    </a:lnTo>
                    <a:close/>
                    <a:moveTo>
                      <a:pt x="5" y="58"/>
                    </a:moveTo>
                    <a:lnTo>
                      <a:pt x="5" y="63"/>
                    </a:lnTo>
                    <a:lnTo>
                      <a:pt x="8" y="66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0" y="70"/>
                    </a:lnTo>
                    <a:lnTo>
                      <a:pt x="7" y="68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3" y="58"/>
                    </a:lnTo>
                    <a:lnTo>
                      <a:pt x="5" y="58"/>
                    </a:lnTo>
                    <a:lnTo>
                      <a:pt x="5" y="58"/>
                    </a:lnTo>
                    <a:close/>
                    <a:moveTo>
                      <a:pt x="25" y="90"/>
                    </a:moveTo>
                    <a:lnTo>
                      <a:pt x="25" y="88"/>
                    </a:lnTo>
                    <a:lnTo>
                      <a:pt x="27" y="85"/>
                    </a:lnTo>
                    <a:lnTo>
                      <a:pt x="28" y="85"/>
                    </a:lnTo>
                    <a:lnTo>
                      <a:pt x="28" y="88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90"/>
                    </a:lnTo>
                    <a:close/>
                    <a:moveTo>
                      <a:pt x="25" y="96"/>
                    </a:moveTo>
                    <a:lnTo>
                      <a:pt x="25" y="91"/>
                    </a:lnTo>
                    <a:lnTo>
                      <a:pt x="28" y="95"/>
                    </a:lnTo>
                    <a:lnTo>
                      <a:pt x="30" y="96"/>
                    </a:lnTo>
                    <a:lnTo>
                      <a:pt x="28" y="98"/>
                    </a:lnTo>
                    <a:lnTo>
                      <a:pt x="30" y="101"/>
                    </a:lnTo>
                    <a:lnTo>
                      <a:pt x="32" y="103"/>
                    </a:lnTo>
                    <a:lnTo>
                      <a:pt x="32" y="105"/>
                    </a:lnTo>
                    <a:lnTo>
                      <a:pt x="30" y="106"/>
                    </a:lnTo>
                    <a:lnTo>
                      <a:pt x="28" y="105"/>
                    </a:lnTo>
                    <a:lnTo>
                      <a:pt x="25" y="105"/>
                    </a:lnTo>
                    <a:lnTo>
                      <a:pt x="25" y="101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2" y="105"/>
                    </a:lnTo>
                    <a:lnTo>
                      <a:pt x="20" y="101"/>
                    </a:lnTo>
                    <a:lnTo>
                      <a:pt x="20" y="98"/>
                    </a:lnTo>
                    <a:lnTo>
                      <a:pt x="23" y="96"/>
                    </a:lnTo>
                    <a:lnTo>
                      <a:pt x="25" y="96"/>
                    </a:lnTo>
                    <a:lnTo>
                      <a:pt x="25" y="96"/>
                    </a:lnTo>
                    <a:close/>
                    <a:moveTo>
                      <a:pt x="33" y="113"/>
                    </a:moveTo>
                    <a:lnTo>
                      <a:pt x="35" y="114"/>
                    </a:lnTo>
                    <a:lnTo>
                      <a:pt x="33" y="114"/>
                    </a:lnTo>
                    <a:lnTo>
                      <a:pt x="32" y="116"/>
                    </a:lnTo>
                    <a:lnTo>
                      <a:pt x="30" y="114"/>
                    </a:lnTo>
                    <a:lnTo>
                      <a:pt x="27" y="111"/>
                    </a:lnTo>
                    <a:lnTo>
                      <a:pt x="27" y="110"/>
                    </a:lnTo>
                    <a:lnTo>
                      <a:pt x="28" y="108"/>
                    </a:lnTo>
                    <a:lnTo>
                      <a:pt x="32" y="110"/>
                    </a:lnTo>
                    <a:lnTo>
                      <a:pt x="33" y="113"/>
                    </a:lnTo>
                    <a:lnTo>
                      <a:pt x="33" y="113"/>
                    </a:lnTo>
                    <a:close/>
                    <a:moveTo>
                      <a:pt x="184" y="161"/>
                    </a:moveTo>
                    <a:lnTo>
                      <a:pt x="184" y="159"/>
                    </a:lnTo>
                    <a:lnTo>
                      <a:pt x="184" y="158"/>
                    </a:lnTo>
                    <a:lnTo>
                      <a:pt x="184" y="159"/>
                    </a:lnTo>
                    <a:lnTo>
                      <a:pt x="184" y="161"/>
                    </a:lnTo>
                    <a:lnTo>
                      <a:pt x="184" y="161"/>
                    </a:lnTo>
                    <a:close/>
                    <a:moveTo>
                      <a:pt x="183" y="171"/>
                    </a:moveTo>
                    <a:lnTo>
                      <a:pt x="183" y="168"/>
                    </a:lnTo>
                    <a:lnTo>
                      <a:pt x="181" y="164"/>
                    </a:lnTo>
                    <a:lnTo>
                      <a:pt x="184" y="161"/>
                    </a:lnTo>
                    <a:lnTo>
                      <a:pt x="184" y="164"/>
                    </a:lnTo>
                    <a:lnTo>
                      <a:pt x="186" y="168"/>
                    </a:lnTo>
                    <a:lnTo>
                      <a:pt x="184" y="171"/>
                    </a:lnTo>
                    <a:lnTo>
                      <a:pt x="183" y="171"/>
                    </a:lnTo>
                    <a:lnTo>
                      <a:pt x="183" y="171"/>
                    </a:lnTo>
                    <a:close/>
                    <a:moveTo>
                      <a:pt x="196" y="159"/>
                    </a:moveTo>
                    <a:lnTo>
                      <a:pt x="194" y="158"/>
                    </a:lnTo>
                    <a:lnTo>
                      <a:pt x="196" y="154"/>
                    </a:lnTo>
                    <a:lnTo>
                      <a:pt x="194" y="154"/>
                    </a:lnTo>
                    <a:lnTo>
                      <a:pt x="194" y="151"/>
                    </a:lnTo>
                    <a:lnTo>
                      <a:pt x="201" y="148"/>
                    </a:lnTo>
                    <a:lnTo>
                      <a:pt x="206" y="146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8" y="148"/>
                    </a:lnTo>
                    <a:lnTo>
                      <a:pt x="206" y="151"/>
                    </a:lnTo>
                    <a:lnTo>
                      <a:pt x="204" y="153"/>
                    </a:lnTo>
                    <a:lnTo>
                      <a:pt x="204" y="154"/>
                    </a:lnTo>
                    <a:lnTo>
                      <a:pt x="203" y="154"/>
                    </a:lnTo>
                    <a:lnTo>
                      <a:pt x="199" y="156"/>
                    </a:lnTo>
                    <a:lnTo>
                      <a:pt x="198" y="158"/>
                    </a:lnTo>
                    <a:lnTo>
                      <a:pt x="196" y="159"/>
                    </a:lnTo>
                    <a:lnTo>
                      <a:pt x="196" y="159"/>
                    </a:lnTo>
                    <a:close/>
                    <a:moveTo>
                      <a:pt x="163" y="144"/>
                    </a:moveTo>
                    <a:lnTo>
                      <a:pt x="161" y="143"/>
                    </a:lnTo>
                    <a:lnTo>
                      <a:pt x="163" y="141"/>
                    </a:lnTo>
                    <a:lnTo>
                      <a:pt x="166" y="139"/>
                    </a:lnTo>
                    <a:lnTo>
                      <a:pt x="168" y="141"/>
                    </a:lnTo>
                    <a:lnTo>
                      <a:pt x="166" y="143"/>
                    </a:lnTo>
                    <a:lnTo>
                      <a:pt x="166" y="143"/>
                    </a:lnTo>
                    <a:lnTo>
                      <a:pt x="163" y="144"/>
                    </a:lnTo>
                    <a:lnTo>
                      <a:pt x="163" y="144"/>
                    </a:lnTo>
                    <a:close/>
                    <a:moveTo>
                      <a:pt x="163" y="113"/>
                    </a:moveTo>
                    <a:lnTo>
                      <a:pt x="168" y="110"/>
                    </a:lnTo>
                    <a:lnTo>
                      <a:pt x="169" y="111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4" y="113"/>
                    </a:lnTo>
                    <a:lnTo>
                      <a:pt x="176" y="114"/>
                    </a:lnTo>
                    <a:lnTo>
                      <a:pt x="173" y="114"/>
                    </a:lnTo>
                    <a:lnTo>
                      <a:pt x="171" y="116"/>
                    </a:lnTo>
                    <a:lnTo>
                      <a:pt x="169" y="116"/>
                    </a:lnTo>
                    <a:lnTo>
                      <a:pt x="168" y="114"/>
                    </a:lnTo>
                    <a:lnTo>
                      <a:pt x="164" y="114"/>
                    </a:lnTo>
                    <a:lnTo>
                      <a:pt x="161" y="114"/>
                    </a:lnTo>
                    <a:lnTo>
                      <a:pt x="163" y="113"/>
                    </a:lnTo>
                    <a:lnTo>
                      <a:pt x="163" y="113"/>
                    </a:lnTo>
                    <a:close/>
                    <a:moveTo>
                      <a:pt x="154" y="90"/>
                    </a:moveTo>
                    <a:lnTo>
                      <a:pt x="156" y="96"/>
                    </a:lnTo>
                    <a:lnTo>
                      <a:pt x="154" y="100"/>
                    </a:lnTo>
                    <a:lnTo>
                      <a:pt x="151" y="101"/>
                    </a:lnTo>
                    <a:lnTo>
                      <a:pt x="150" y="98"/>
                    </a:lnTo>
                    <a:lnTo>
                      <a:pt x="150" y="96"/>
                    </a:lnTo>
                    <a:lnTo>
                      <a:pt x="151" y="96"/>
                    </a:lnTo>
                    <a:lnTo>
                      <a:pt x="151" y="93"/>
                    </a:lnTo>
                    <a:lnTo>
                      <a:pt x="148" y="91"/>
                    </a:lnTo>
                    <a:lnTo>
                      <a:pt x="148" y="90"/>
                    </a:lnTo>
                    <a:lnTo>
                      <a:pt x="151" y="88"/>
                    </a:lnTo>
                    <a:lnTo>
                      <a:pt x="154" y="90"/>
                    </a:lnTo>
                    <a:lnTo>
                      <a:pt x="154" y="90"/>
                    </a:lnTo>
                    <a:lnTo>
                      <a:pt x="154" y="90"/>
                    </a:lnTo>
                    <a:close/>
                    <a:moveTo>
                      <a:pt x="148" y="78"/>
                    </a:moveTo>
                    <a:lnTo>
                      <a:pt x="145" y="75"/>
                    </a:lnTo>
                    <a:lnTo>
                      <a:pt x="146" y="71"/>
                    </a:lnTo>
                    <a:lnTo>
                      <a:pt x="153" y="70"/>
                    </a:lnTo>
                    <a:lnTo>
                      <a:pt x="154" y="68"/>
                    </a:lnTo>
                    <a:lnTo>
                      <a:pt x="159" y="68"/>
                    </a:lnTo>
                    <a:lnTo>
                      <a:pt x="161" y="68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5"/>
                    </a:lnTo>
                    <a:lnTo>
                      <a:pt x="161" y="80"/>
                    </a:lnTo>
                    <a:lnTo>
                      <a:pt x="156" y="80"/>
                    </a:lnTo>
                    <a:lnTo>
                      <a:pt x="153" y="78"/>
                    </a:lnTo>
                    <a:lnTo>
                      <a:pt x="154" y="76"/>
                    </a:lnTo>
                    <a:lnTo>
                      <a:pt x="156" y="75"/>
                    </a:lnTo>
                    <a:lnTo>
                      <a:pt x="158" y="71"/>
                    </a:lnTo>
                    <a:lnTo>
                      <a:pt x="154" y="71"/>
                    </a:lnTo>
                    <a:lnTo>
                      <a:pt x="153" y="75"/>
                    </a:lnTo>
                    <a:lnTo>
                      <a:pt x="151" y="78"/>
                    </a:lnTo>
                    <a:lnTo>
                      <a:pt x="150" y="78"/>
                    </a:lnTo>
                    <a:lnTo>
                      <a:pt x="148" y="78"/>
                    </a:lnTo>
                    <a:lnTo>
                      <a:pt x="148" y="78"/>
                    </a:lnTo>
                    <a:close/>
                    <a:moveTo>
                      <a:pt x="136" y="38"/>
                    </a:moveTo>
                    <a:lnTo>
                      <a:pt x="136" y="36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3" y="38"/>
                    </a:lnTo>
                    <a:lnTo>
                      <a:pt x="141" y="40"/>
                    </a:lnTo>
                    <a:lnTo>
                      <a:pt x="136" y="38"/>
                    </a:lnTo>
                    <a:lnTo>
                      <a:pt x="136" y="38"/>
                    </a:lnTo>
                    <a:close/>
                    <a:moveTo>
                      <a:pt x="126" y="48"/>
                    </a:moveTo>
                    <a:lnTo>
                      <a:pt x="130" y="48"/>
                    </a:lnTo>
                    <a:lnTo>
                      <a:pt x="131" y="50"/>
                    </a:lnTo>
                    <a:lnTo>
                      <a:pt x="133" y="48"/>
                    </a:lnTo>
                    <a:lnTo>
                      <a:pt x="136" y="50"/>
                    </a:lnTo>
                    <a:lnTo>
                      <a:pt x="133" y="51"/>
                    </a:lnTo>
                    <a:lnTo>
                      <a:pt x="133" y="56"/>
                    </a:lnTo>
                    <a:lnTo>
                      <a:pt x="130" y="55"/>
                    </a:lnTo>
                    <a:lnTo>
                      <a:pt x="128" y="55"/>
                    </a:lnTo>
                    <a:lnTo>
                      <a:pt x="126" y="53"/>
                    </a:lnTo>
                    <a:lnTo>
                      <a:pt x="125" y="50"/>
                    </a:lnTo>
                    <a:lnTo>
                      <a:pt x="126" y="48"/>
                    </a:lnTo>
                    <a:lnTo>
                      <a:pt x="126" y="48"/>
                    </a:lnTo>
                    <a:close/>
                    <a:moveTo>
                      <a:pt x="115" y="30"/>
                    </a:moveTo>
                    <a:lnTo>
                      <a:pt x="116" y="30"/>
                    </a:lnTo>
                    <a:lnTo>
                      <a:pt x="120" y="31"/>
                    </a:lnTo>
                    <a:lnTo>
                      <a:pt x="120" y="33"/>
                    </a:lnTo>
                    <a:lnTo>
                      <a:pt x="116" y="35"/>
                    </a:lnTo>
                    <a:lnTo>
                      <a:pt x="115" y="33"/>
                    </a:lnTo>
                    <a:lnTo>
                      <a:pt x="113" y="35"/>
                    </a:lnTo>
                    <a:lnTo>
                      <a:pt x="115" y="30"/>
                    </a:lnTo>
                    <a:lnTo>
                      <a:pt x="115" y="30"/>
                    </a:lnTo>
                    <a:close/>
                    <a:moveTo>
                      <a:pt x="91" y="75"/>
                    </a:moveTo>
                    <a:lnTo>
                      <a:pt x="93" y="73"/>
                    </a:lnTo>
                    <a:lnTo>
                      <a:pt x="96" y="75"/>
                    </a:lnTo>
                    <a:lnTo>
                      <a:pt x="96" y="78"/>
                    </a:lnTo>
                    <a:lnTo>
                      <a:pt x="96" y="80"/>
                    </a:lnTo>
                    <a:lnTo>
                      <a:pt x="91" y="75"/>
                    </a:lnTo>
                    <a:lnTo>
                      <a:pt x="91" y="75"/>
                    </a:lnTo>
                    <a:close/>
                    <a:moveTo>
                      <a:pt x="88" y="75"/>
                    </a:moveTo>
                    <a:lnTo>
                      <a:pt x="90" y="73"/>
                    </a:lnTo>
                    <a:lnTo>
                      <a:pt x="90" y="75"/>
                    </a:lnTo>
                    <a:lnTo>
                      <a:pt x="90" y="76"/>
                    </a:lnTo>
                    <a:lnTo>
                      <a:pt x="88" y="75"/>
                    </a:lnTo>
                    <a:lnTo>
                      <a:pt x="88" y="75"/>
                    </a:lnTo>
                    <a:close/>
                    <a:moveTo>
                      <a:pt x="115" y="80"/>
                    </a:moveTo>
                    <a:lnTo>
                      <a:pt x="116" y="78"/>
                    </a:lnTo>
                    <a:lnTo>
                      <a:pt x="120" y="81"/>
                    </a:lnTo>
                    <a:lnTo>
                      <a:pt x="121" y="81"/>
                    </a:lnTo>
                    <a:lnTo>
                      <a:pt x="121" y="85"/>
                    </a:lnTo>
                    <a:lnTo>
                      <a:pt x="120" y="86"/>
                    </a:lnTo>
                    <a:lnTo>
                      <a:pt x="120" y="83"/>
                    </a:lnTo>
                    <a:lnTo>
                      <a:pt x="118" y="83"/>
                    </a:lnTo>
                    <a:lnTo>
                      <a:pt x="115" y="80"/>
                    </a:lnTo>
                    <a:lnTo>
                      <a:pt x="115" y="80"/>
                    </a:lnTo>
                    <a:close/>
                    <a:moveTo>
                      <a:pt x="154" y="121"/>
                    </a:moveTo>
                    <a:lnTo>
                      <a:pt x="153" y="119"/>
                    </a:lnTo>
                    <a:lnTo>
                      <a:pt x="153" y="116"/>
                    </a:lnTo>
                    <a:lnTo>
                      <a:pt x="159" y="116"/>
                    </a:lnTo>
                    <a:lnTo>
                      <a:pt x="158" y="118"/>
                    </a:lnTo>
                    <a:lnTo>
                      <a:pt x="154" y="121"/>
                    </a:lnTo>
                    <a:lnTo>
                      <a:pt x="154" y="121"/>
                    </a:lnTo>
                    <a:close/>
                    <a:moveTo>
                      <a:pt x="115" y="143"/>
                    </a:moveTo>
                    <a:lnTo>
                      <a:pt x="116" y="139"/>
                    </a:lnTo>
                    <a:lnTo>
                      <a:pt x="120" y="139"/>
                    </a:lnTo>
                    <a:lnTo>
                      <a:pt x="120" y="143"/>
                    </a:lnTo>
                    <a:lnTo>
                      <a:pt x="116" y="143"/>
                    </a:lnTo>
                    <a:lnTo>
                      <a:pt x="115" y="143"/>
                    </a:lnTo>
                    <a:lnTo>
                      <a:pt x="115" y="143"/>
                    </a:lnTo>
                    <a:close/>
                    <a:moveTo>
                      <a:pt x="116" y="129"/>
                    </a:moveTo>
                    <a:lnTo>
                      <a:pt x="118" y="128"/>
                    </a:lnTo>
                    <a:lnTo>
                      <a:pt x="118" y="131"/>
                    </a:lnTo>
                    <a:lnTo>
                      <a:pt x="116" y="129"/>
                    </a:lnTo>
                    <a:lnTo>
                      <a:pt x="116" y="129"/>
                    </a:lnTo>
                    <a:close/>
                    <a:moveTo>
                      <a:pt x="116" y="126"/>
                    </a:moveTo>
                    <a:lnTo>
                      <a:pt x="116" y="121"/>
                    </a:lnTo>
                    <a:lnTo>
                      <a:pt x="118" y="123"/>
                    </a:lnTo>
                    <a:lnTo>
                      <a:pt x="118" y="124"/>
                    </a:lnTo>
                    <a:lnTo>
                      <a:pt x="118" y="124"/>
                    </a:lnTo>
                    <a:lnTo>
                      <a:pt x="116" y="126"/>
                    </a:lnTo>
                    <a:lnTo>
                      <a:pt x="116" y="126"/>
                    </a:lnTo>
                    <a:close/>
                    <a:moveTo>
                      <a:pt x="113" y="119"/>
                    </a:moveTo>
                    <a:lnTo>
                      <a:pt x="113" y="119"/>
                    </a:lnTo>
                    <a:lnTo>
                      <a:pt x="115" y="118"/>
                    </a:lnTo>
                    <a:lnTo>
                      <a:pt x="116" y="119"/>
                    </a:lnTo>
                    <a:lnTo>
                      <a:pt x="113" y="119"/>
                    </a:lnTo>
                    <a:lnTo>
                      <a:pt x="113" y="119"/>
                    </a:lnTo>
                    <a:close/>
                    <a:moveTo>
                      <a:pt x="135" y="133"/>
                    </a:moveTo>
                    <a:lnTo>
                      <a:pt x="133" y="131"/>
                    </a:lnTo>
                    <a:lnTo>
                      <a:pt x="135" y="128"/>
                    </a:lnTo>
                    <a:lnTo>
                      <a:pt x="136" y="128"/>
                    </a:lnTo>
                    <a:lnTo>
                      <a:pt x="138" y="131"/>
                    </a:lnTo>
                    <a:lnTo>
                      <a:pt x="135" y="133"/>
                    </a:lnTo>
                    <a:lnTo>
                      <a:pt x="135" y="133"/>
                    </a:lnTo>
                    <a:close/>
                    <a:moveTo>
                      <a:pt x="141" y="133"/>
                    </a:moveTo>
                    <a:lnTo>
                      <a:pt x="140" y="129"/>
                    </a:lnTo>
                    <a:lnTo>
                      <a:pt x="143" y="128"/>
                    </a:lnTo>
                    <a:lnTo>
                      <a:pt x="145" y="128"/>
                    </a:lnTo>
                    <a:lnTo>
                      <a:pt x="146" y="129"/>
                    </a:lnTo>
                    <a:lnTo>
                      <a:pt x="143" y="133"/>
                    </a:lnTo>
                    <a:lnTo>
                      <a:pt x="141" y="133"/>
                    </a:lnTo>
                    <a:lnTo>
                      <a:pt x="141" y="133"/>
                    </a:lnTo>
                    <a:close/>
                    <a:moveTo>
                      <a:pt x="140" y="123"/>
                    </a:moveTo>
                    <a:lnTo>
                      <a:pt x="140" y="121"/>
                    </a:lnTo>
                    <a:lnTo>
                      <a:pt x="141" y="121"/>
                    </a:lnTo>
                    <a:lnTo>
                      <a:pt x="140" y="123"/>
                    </a:lnTo>
                    <a:lnTo>
                      <a:pt x="140" y="123"/>
                    </a:lnTo>
                    <a:close/>
                    <a:moveTo>
                      <a:pt x="133" y="118"/>
                    </a:moveTo>
                    <a:lnTo>
                      <a:pt x="135" y="116"/>
                    </a:lnTo>
                    <a:lnTo>
                      <a:pt x="138" y="118"/>
                    </a:lnTo>
                    <a:lnTo>
                      <a:pt x="138" y="121"/>
                    </a:lnTo>
                    <a:lnTo>
                      <a:pt x="135" y="119"/>
                    </a:lnTo>
                    <a:lnTo>
                      <a:pt x="133" y="118"/>
                    </a:lnTo>
                    <a:lnTo>
                      <a:pt x="133" y="118"/>
                    </a:lnTo>
                    <a:close/>
                    <a:moveTo>
                      <a:pt x="121" y="108"/>
                    </a:moveTo>
                    <a:lnTo>
                      <a:pt x="125" y="108"/>
                    </a:lnTo>
                    <a:lnTo>
                      <a:pt x="126" y="111"/>
                    </a:lnTo>
                    <a:lnTo>
                      <a:pt x="130" y="114"/>
                    </a:lnTo>
                    <a:lnTo>
                      <a:pt x="130" y="116"/>
                    </a:lnTo>
                    <a:lnTo>
                      <a:pt x="128" y="116"/>
                    </a:lnTo>
                    <a:lnTo>
                      <a:pt x="123" y="113"/>
                    </a:lnTo>
                    <a:lnTo>
                      <a:pt x="121" y="111"/>
                    </a:lnTo>
                    <a:lnTo>
                      <a:pt x="121" y="108"/>
                    </a:lnTo>
                    <a:lnTo>
                      <a:pt x="121" y="108"/>
                    </a:lnTo>
                    <a:close/>
                    <a:moveTo>
                      <a:pt x="76" y="81"/>
                    </a:moveTo>
                    <a:lnTo>
                      <a:pt x="80" y="80"/>
                    </a:lnTo>
                    <a:lnTo>
                      <a:pt x="86" y="78"/>
                    </a:lnTo>
                    <a:lnTo>
                      <a:pt x="90" y="81"/>
                    </a:lnTo>
                    <a:lnTo>
                      <a:pt x="95" y="83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1" y="86"/>
                    </a:lnTo>
                    <a:lnTo>
                      <a:pt x="103" y="86"/>
                    </a:lnTo>
                    <a:lnTo>
                      <a:pt x="108" y="91"/>
                    </a:lnTo>
                    <a:lnTo>
                      <a:pt x="110" y="95"/>
                    </a:lnTo>
                    <a:lnTo>
                      <a:pt x="110" y="96"/>
                    </a:lnTo>
                    <a:lnTo>
                      <a:pt x="111" y="98"/>
                    </a:lnTo>
                    <a:lnTo>
                      <a:pt x="111" y="101"/>
                    </a:lnTo>
                    <a:lnTo>
                      <a:pt x="115" y="105"/>
                    </a:lnTo>
                    <a:lnTo>
                      <a:pt x="115" y="103"/>
                    </a:lnTo>
                    <a:lnTo>
                      <a:pt x="120" y="105"/>
                    </a:lnTo>
                    <a:lnTo>
                      <a:pt x="118" y="108"/>
                    </a:lnTo>
                    <a:lnTo>
                      <a:pt x="116" y="108"/>
                    </a:lnTo>
                    <a:lnTo>
                      <a:pt x="113" y="108"/>
                    </a:lnTo>
                    <a:lnTo>
                      <a:pt x="110" y="106"/>
                    </a:lnTo>
                    <a:lnTo>
                      <a:pt x="108" y="105"/>
                    </a:lnTo>
                    <a:lnTo>
                      <a:pt x="110" y="101"/>
                    </a:lnTo>
                    <a:lnTo>
                      <a:pt x="106" y="100"/>
                    </a:lnTo>
                    <a:lnTo>
                      <a:pt x="105" y="96"/>
                    </a:lnTo>
                    <a:lnTo>
                      <a:pt x="103" y="95"/>
                    </a:lnTo>
                    <a:lnTo>
                      <a:pt x="100" y="95"/>
                    </a:lnTo>
                    <a:lnTo>
                      <a:pt x="95" y="91"/>
                    </a:lnTo>
                    <a:lnTo>
                      <a:pt x="93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86" y="86"/>
                    </a:lnTo>
                    <a:lnTo>
                      <a:pt x="85" y="85"/>
                    </a:lnTo>
                    <a:lnTo>
                      <a:pt x="83" y="83"/>
                    </a:lnTo>
                    <a:lnTo>
                      <a:pt x="80" y="83"/>
                    </a:lnTo>
                    <a:lnTo>
                      <a:pt x="76" y="81"/>
                    </a:lnTo>
                    <a:lnTo>
                      <a:pt x="76" y="81"/>
                    </a:lnTo>
                    <a:close/>
                    <a:moveTo>
                      <a:pt x="83" y="146"/>
                    </a:moveTo>
                    <a:lnTo>
                      <a:pt x="85" y="146"/>
                    </a:lnTo>
                    <a:lnTo>
                      <a:pt x="85" y="149"/>
                    </a:lnTo>
                    <a:lnTo>
                      <a:pt x="88" y="151"/>
                    </a:lnTo>
                    <a:lnTo>
                      <a:pt x="86" y="154"/>
                    </a:lnTo>
                    <a:lnTo>
                      <a:pt x="83" y="154"/>
                    </a:lnTo>
                    <a:lnTo>
                      <a:pt x="83" y="151"/>
                    </a:lnTo>
                    <a:lnTo>
                      <a:pt x="83" y="149"/>
                    </a:lnTo>
                    <a:lnTo>
                      <a:pt x="83" y="146"/>
                    </a:lnTo>
                    <a:lnTo>
                      <a:pt x="83" y="146"/>
                    </a:lnTo>
                    <a:close/>
                    <a:moveTo>
                      <a:pt x="83" y="143"/>
                    </a:moveTo>
                    <a:lnTo>
                      <a:pt x="85" y="144"/>
                    </a:lnTo>
                    <a:lnTo>
                      <a:pt x="83" y="144"/>
                    </a:lnTo>
                    <a:lnTo>
                      <a:pt x="83" y="14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6" name="Freeform 72">
                <a:extLst>
                  <a:ext uri="{FF2B5EF4-FFF2-40B4-BE49-F238E27FC236}">
                    <a16:creationId xmlns:a16="http://schemas.microsoft.com/office/drawing/2014/main" id="{D70420FF-D384-FA40-A341-386D188BFB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4787" y="2763372"/>
                <a:ext cx="46020" cy="3424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3"/>
                  </a:cxn>
                  <a:cxn ang="0">
                    <a:pos x="18" y="0"/>
                  </a:cxn>
                  <a:cxn ang="0">
                    <a:pos x="22" y="1"/>
                  </a:cxn>
                  <a:cxn ang="0">
                    <a:pos x="35" y="1"/>
                  </a:cxn>
                  <a:cxn ang="0">
                    <a:pos x="40" y="6"/>
                  </a:cxn>
                  <a:cxn ang="0">
                    <a:pos x="50" y="6"/>
                  </a:cxn>
                  <a:cxn ang="0">
                    <a:pos x="55" y="11"/>
                  </a:cxn>
                  <a:cxn ang="0">
                    <a:pos x="53" y="16"/>
                  </a:cxn>
                  <a:cxn ang="0">
                    <a:pos x="53" y="19"/>
                  </a:cxn>
                  <a:cxn ang="0">
                    <a:pos x="63" y="28"/>
                  </a:cxn>
                  <a:cxn ang="0">
                    <a:pos x="63" y="33"/>
                  </a:cxn>
                  <a:cxn ang="0">
                    <a:pos x="60" y="34"/>
                  </a:cxn>
                  <a:cxn ang="0">
                    <a:pos x="63" y="41"/>
                  </a:cxn>
                  <a:cxn ang="0">
                    <a:pos x="73" y="48"/>
                  </a:cxn>
                  <a:cxn ang="0">
                    <a:pos x="82" y="48"/>
                  </a:cxn>
                  <a:cxn ang="0">
                    <a:pos x="87" y="53"/>
                  </a:cxn>
                  <a:cxn ang="0">
                    <a:pos x="80" y="53"/>
                  </a:cxn>
                  <a:cxn ang="0">
                    <a:pos x="85" y="59"/>
                  </a:cxn>
                  <a:cxn ang="0">
                    <a:pos x="83" y="61"/>
                  </a:cxn>
                  <a:cxn ang="0">
                    <a:pos x="83" y="66"/>
                  </a:cxn>
                  <a:cxn ang="0">
                    <a:pos x="77" y="66"/>
                  </a:cxn>
                  <a:cxn ang="0">
                    <a:pos x="67" y="53"/>
                  </a:cxn>
                  <a:cxn ang="0">
                    <a:pos x="60" y="51"/>
                  </a:cxn>
                  <a:cxn ang="0">
                    <a:pos x="57" y="43"/>
                  </a:cxn>
                  <a:cxn ang="0">
                    <a:pos x="52" y="43"/>
                  </a:cxn>
                  <a:cxn ang="0">
                    <a:pos x="50" y="46"/>
                  </a:cxn>
                  <a:cxn ang="0">
                    <a:pos x="43" y="39"/>
                  </a:cxn>
                  <a:cxn ang="0">
                    <a:pos x="38" y="43"/>
                  </a:cxn>
                  <a:cxn ang="0">
                    <a:pos x="35" y="43"/>
                  </a:cxn>
                  <a:cxn ang="0">
                    <a:pos x="33" y="39"/>
                  </a:cxn>
                  <a:cxn ang="0">
                    <a:pos x="28" y="36"/>
                  </a:cxn>
                  <a:cxn ang="0">
                    <a:pos x="23" y="36"/>
                  </a:cxn>
                  <a:cxn ang="0">
                    <a:pos x="17" y="36"/>
                  </a:cxn>
                  <a:cxn ang="0">
                    <a:pos x="10" y="33"/>
                  </a:cxn>
                  <a:cxn ang="0">
                    <a:pos x="10" y="23"/>
                  </a:cxn>
                  <a:cxn ang="0">
                    <a:pos x="10" y="16"/>
                  </a:cxn>
                  <a:cxn ang="0">
                    <a:pos x="8" y="11"/>
                  </a:cxn>
                  <a:cxn ang="0">
                    <a:pos x="4" y="11"/>
                  </a:cxn>
                  <a:cxn ang="0">
                    <a:pos x="4" y="8"/>
                  </a:cxn>
                  <a:cxn ang="0">
                    <a:pos x="0" y="5"/>
                  </a:cxn>
                </a:cxnLst>
                <a:rect l="0" t="0" r="r" b="b"/>
                <a:pathLst>
                  <a:path w="87" h="66">
                    <a:moveTo>
                      <a:pt x="0" y="5"/>
                    </a:moveTo>
                    <a:lnTo>
                      <a:pt x="7" y="3"/>
                    </a:lnTo>
                    <a:lnTo>
                      <a:pt x="18" y="0"/>
                    </a:lnTo>
                    <a:lnTo>
                      <a:pt x="22" y="1"/>
                    </a:lnTo>
                    <a:lnTo>
                      <a:pt x="35" y="1"/>
                    </a:lnTo>
                    <a:lnTo>
                      <a:pt x="40" y="6"/>
                    </a:lnTo>
                    <a:lnTo>
                      <a:pt x="50" y="6"/>
                    </a:lnTo>
                    <a:lnTo>
                      <a:pt x="55" y="11"/>
                    </a:lnTo>
                    <a:lnTo>
                      <a:pt x="53" y="16"/>
                    </a:lnTo>
                    <a:lnTo>
                      <a:pt x="53" y="19"/>
                    </a:lnTo>
                    <a:lnTo>
                      <a:pt x="63" y="28"/>
                    </a:lnTo>
                    <a:lnTo>
                      <a:pt x="63" y="33"/>
                    </a:lnTo>
                    <a:lnTo>
                      <a:pt x="60" y="34"/>
                    </a:lnTo>
                    <a:lnTo>
                      <a:pt x="63" y="41"/>
                    </a:lnTo>
                    <a:lnTo>
                      <a:pt x="73" y="48"/>
                    </a:lnTo>
                    <a:lnTo>
                      <a:pt x="82" y="48"/>
                    </a:lnTo>
                    <a:lnTo>
                      <a:pt x="87" y="53"/>
                    </a:lnTo>
                    <a:lnTo>
                      <a:pt x="80" y="53"/>
                    </a:lnTo>
                    <a:lnTo>
                      <a:pt x="85" y="59"/>
                    </a:lnTo>
                    <a:lnTo>
                      <a:pt x="83" y="61"/>
                    </a:lnTo>
                    <a:lnTo>
                      <a:pt x="83" y="66"/>
                    </a:lnTo>
                    <a:lnTo>
                      <a:pt x="77" y="66"/>
                    </a:lnTo>
                    <a:lnTo>
                      <a:pt x="67" y="53"/>
                    </a:lnTo>
                    <a:lnTo>
                      <a:pt x="60" y="51"/>
                    </a:lnTo>
                    <a:lnTo>
                      <a:pt x="57" y="43"/>
                    </a:lnTo>
                    <a:lnTo>
                      <a:pt x="52" y="43"/>
                    </a:lnTo>
                    <a:lnTo>
                      <a:pt x="50" y="46"/>
                    </a:lnTo>
                    <a:lnTo>
                      <a:pt x="43" y="39"/>
                    </a:lnTo>
                    <a:lnTo>
                      <a:pt x="38" y="43"/>
                    </a:lnTo>
                    <a:lnTo>
                      <a:pt x="35" y="43"/>
                    </a:lnTo>
                    <a:lnTo>
                      <a:pt x="33" y="39"/>
                    </a:lnTo>
                    <a:lnTo>
                      <a:pt x="28" y="36"/>
                    </a:lnTo>
                    <a:lnTo>
                      <a:pt x="23" y="36"/>
                    </a:lnTo>
                    <a:lnTo>
                      <a:pt x="17" y="36"/>
                    </a:lnTo>
                    <a:lnTo>
                      <a:pt x="10" y="33"/>
                    </a:lnTo>
                    <a:lnTo>
                      <a:pt x="10" y="23"/>
                    </a:lnTo>
                    <a:lnTo>
                      <a:pt x="10" y="16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4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7" name="Freeform 73">
                <a:extLst>
                  <a:ext uri="{FF2B5EF4-FFF2-40B4-BE49-F238E27FC236}">
                    <a16:creationId xmlns:a16="http://schemas.microsoft.com/office/drawing/2014/main" id="{D7C9591B-FF94-9E4F-8DEE-AACCAAF56B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8597" y="2756108"/>
                <a:ext cx="240806" cy="84045"/>
              </a:xfrm>
              <a:custGeom>
                <a:avLst/>
                <a:gdLst/>
                <a:ahLst/>
                <a:cxnLst>
                  <a:cxn ang="0">
                    <a:pos x="21" y="15"/>
                  </a:cxn>
                  <a:cxn ang="0">
                    <a:pos x="34" y="0"/>
                  </a:cxn>
                  <a:cxn ang="0">
                    <a:pos x="63" y="18"/>
                  </a:cxn>
                  <a:cxn ang="0">
                    <a:pos x="59" y="29"/>
                  </a:cxn>
                  <a:cxn ang="0">
                    <a:pos x="24" y="44"/>
                  </a:cxn>
                  <a:cxn ang="0">
                    <a:pos x="19" y="41"/>
                  </a:cxn>
                  <a:cxn ang="0">
                    <a:pos x="6" y="34"/>
                  </a:cxn>
                  <a:cxn ang="0">
                    <a:pos x="342" y="26"/>
                  </a:cxn>
                  <a:cxn ang="0">
                    <a:pos x="313" y="23"/>
                  </a:cxn>
                  <a:cxn ang="0">
                    <a:pos x="274" y="26"/>
                  </a:cxn>
                  <a:cxn ang="0">
                    <a:pos x="242" y="18"/>
                  </a:cxn>
                  <a:cxn ang="0">
                    <a:pos x="222" y="10"/>
                  </a:cxn>
                  <a:cxn ang="0">
                    <a:pos x="196" y="1"/>
                  </a:cxn>
                  <a:cxn ang="0">
                    <a:pos x="154" y="8"/>
                  </a:cxn>
                  <a:cxn ang="0">
                    <a:pos x="129" y="23"/>
                  </a:cxn>
                  <a:cxn ang="0">
                    <a:pos x="99" y="24"/>
                  </a:cxn>
                  <a:cxn ang="0">
                    <a:pos x="79" y="36"/>
                  </a:cxn>
                  <a:cxn ang="0">
                    <a:pos x="69" y="44"/>
                  </a:cxn>
                  <a:cxn ang="0">
                    <a:pos x="58" y="48"/>
                  </a:cxn>
                  <a:cxn ang="0">
                    <a:pos x="33" y="46"/>
                  </a:cxn>
                  <a:cxn ang="0">
                    <a:pos x="14" y="69"/>
                  </a:cxn>
                  <a:cxn ang="0">
                    <a:pos x="33" y="71"/>
                  </a:cxn>
                  <a:cxn ang="0">
                    <a:pos x="31" y="88"/>
                  </a:cxn>
                  <a:cxn ang="0">
                    <a:pos x="33" y="96"/>
                  </a:cxn>
                  <a:cxn ang="0">
                    <a:pos x="19" y="99"/>
                  </a:cxn>
                  <a:cxn ang="0">
                    <a:pos x="29" y="113"/>
                  </a:cxn>
                  <a:cxn ang="0">
                    <a:pos x="39" y="129"/>
                  </a:cxn>
                  <a:cxn ang="0">
                    <a:pos x="44" y="139"/>
                  </a:cxn>
                  <a:cxn ang="0">
                    <a:pos x="46" y="144"/>
                  </a:cxn>
                  <a:cxn ang="0">
                    <a:pos x="59" y="147"/>
                  </a:cxn>
                  <a:cxn ang="0">
                    <a:pos x="76" y="144"/>
                  </a:cxn>
                  <a:cxn ang="0">
                    <a:pos x="86" y="151"/>
                  </a:cxn>
                  <a:cxn ang="0">
                    <a:pos x="108" y="156"/>
                  </a:cxn>
                  <a:cxn ang="0">
                    <a:pos x="122" y="147"/>
                  </a:cxn>
                  <a:cxn ang="0">
                    <a:pos x="164" y="157"/>
                  </a:cxn>
                  <a:cxn ang="0">
                    <a:pos x="206" y="154"/>
                  </a:cxn>
                  <a:cxn ang="0">
                    <a:pos x="244" y="144"/>
                  </a:cxn>
                  <a:cxn ang="0">
                    <a:pos x="245" y="151"/>
                  </a:cxn>
                  <a:cxn ang="0">
                    <a:pos x="264" y="159"/>
                  </a:cxn>
                  <a:cxn ang="0">
                    <a:pos x="279" y="144"/>
                  </a:cxn>
                  <a:cxn ang="0">
                    <a:pos x="317" y="139"/>
                  </a:cxn>
                  <a:cxn ang="0">
                    <a:pos x="355" y="132"/>
                  </a:cxn>
                  <a:cxn ang="0">
                    <a:pos x="397" y="131"/>
                  </a:cxn>
                  <a:cxn ang="0">
                    <a:pos x="435" y="124"/>
                  </a:cxn>
                  <a:cxn ang="0">
                    <a:pos x="446" y="121"/>
                  </a:cxn>
                  <a:cxn ang="0">
                    <a:pos x="436" y="93"/>
                  </a:cxn>
                  <a:cxn ang="0">
                    <a:pos x="426" y="68"/>
                  </a:cxn>
                  <a:cxn ang="0">
                    <a:pos x="426" y="51"/>
                  </a:cxn>
                  <a:cxn ang="0">
                    <a:pos x="407" y="26"/>
                  </a:cxn>
                  <a:cxn ang="0">
                    <a:pos x="380" y="13"/>
                  </a:cxn>
                  <a:cxn ang="0">
                    <a:pos x="362" y="8"/>
                  </a:cxn>
                  <a:cxn ang="0">
                    <a:pos x="56" y="151"/>
                  </a:cxn>
                  <a:cxn ang="0">
                    <a:pos x="10" y="49"/>
                  </a:cxn>
                </a:cxnLst>
                <a:rect l="0" t="0" r="r" b="b"/>
                <a:pathLst>
                  <a:path w="450" h="162">
                    <a:moveTo>
                      <a:pt x="6" y="34"/>
                    </a:moveTo>
                    <a:lnTo>
                      <a:pt x="13" y="34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9" y="21"/>
                    </a:lnTo>
                    <a:lnTo>
                      <a:pt x="21" y="15"/>
                    </a:lnTo>
                    <a:lnTo>
                      <a:pt x="16" y="13"/>
                    </a:lnTo>
                    <a:lnTo>
                      <a:pt x="16" y="8"/>
                    </a:lnTo>
                    <a:lnTo>
                      <a:pt x="21" y="3"/>
                    </a:lnTo>
                    <a:lnTo>
                      <a:pt x="24" y="3"/>
                    </a:lnTo>
                    <a:lnTo>
                      <a:pt x="28" y="0"/>
                    </a:lnTo>
                    <a:lnTo>
                      <a:pt x="34" y="0"/>
                    </a:lnTo>
                    <a:lnTo>
                      <a:pt x="41" y="5"/>
                    </a:lnTo>
                    <a:lnTo>
                      <a:pt x="44" y="3"/>
                    </a:lnTo>
                    <a:lnTo>
                      <a:pt x="49" y="3"/>
                    </a:lnTo>
                    <a:lnTo>
                      <a:pt x="51" y="11"/>
                    </a:lnTo>
                    <a:lnTo>
                      <a:pt x="58" y="18"/>
                    </a:lnTo>
                    <a:lnTo>
                      <a:pt x="63" y="18"/>
                    </a:lnTo>
                    <a:lnTo>
                      <a:pt x="69" y="23"/>
                    </a:lnTo>
                    <a:lnTo>
                      <a:pt x="74" y="26"/>
                    </a:lnTo>
                    <a:lnTo>
                      <a:pt x="74" y="28"/>
                    </a:lnTo>
                    <a:lnTo>
                      <a:pt x="69" y="33"/>
                    </a:lnTo>
                    <a:lnTo>
                      <a:pt x="63" y="31"/>
                    </a:lnTo>
                    <a:lnTo>
                      <a:pt x="59" y="29"/>
                    </a:lnTo>
                    <a:lnTo>
                      <a:pt x="54" y="29"/>
                    </a:lnTo>
                    <a:lnTo>
                      <a:pt x="53" y="31"/>
                    </a:lnTo>
                    <a:lnTo>
                      <a:pt x="44" y="31"/>
                    </a:lnTo>
                    <a:lnTo>
                      <a:pt x="39" y="33"/>
                    </a:lnTo>
                    <a:lnTo>
                      <a:pt x="36" y="39"/>
                    </a:lnTo>
                    <a:lnTo>
                      <a:pt x="24" y="44"/>
                    </a:lnTo>
                    <a:lnTo>
                      <a:pt x="14" y="53"/>
                    </a:lnTo>
                    <a:lnTo>
                      <a:pt x="13" y="49"/>
                    </a:lnTo>
                    <a:lnTo>
                      <a:pt x="16" y="43"/>
                    </a:lnTo>
                    <a:lnTo>
                      <a:pt x="18" y="43"/>
                    </a:lnTo>
                    <a:lnTo>
                      <a:pt x="23" y="41"/>
                    </a:lnTo>
                    <a:lnTo>
                      <a:pt x="19" y="41"/>
                    </a:lnTo>
                    <a:lnTo>
                      <a:pt x="16" y="39"/>
                    </a:lnTo>
                    <a:lnTo>
                      <a:pt x="13" y="41"/>
                    </a:lnTo>
                    <a:lnTo>
                      <a:pt x="10" y="39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  <a:moveTo>
                      <a:pt x="362" y="8"/>
                    </a:moveTo>
                    <a:lnTo>
                      <a:pt x="362" y="10"/>
                    </a:lnTo>
                    <a:lnTo>
                      <a:pt x="358" y="15"/>
                    </a:lnTo>
                    <a:lnTo>
                      <a:pt x="352" y="18"/>
                    </a:lnTo>
                    <a:lnTo>
                      <a:pt x="343" y="23"/>
                    </a:lnTo>
                    <a:lnTo>
                      <a:pt x="342" y="26"/>
                    </a:lnTo>
                    <a:lnTo>
                      <a:pt x="335" y="26"/>
                    </a:lnTo>
                    <a:lnTo>
                      <a:pt x="332" y="28"/>
                    </a:lnTo>
                    <a:lnTo>
                      <a:pt x="322" y="26"/>
                    </a:lnTo>
                    <a:lnTo>
                      <a:pt x="318" y="24"/>
                    </a:lnTo>
                    <a:lnTo>
                      <a:pt x="315" y="24"/>
                    </a:lnTo>
                    <a:lnTo>
                      <a:pt x="313" y="23"/>
                    </a:lnTo>
                    <a:lnTo>
                      <a:pt x="310" y="24"/>
                    </a:lnTo>
                    <a:lnTo>
                      <a:pt x="300" y="26"/>
                    </a:lnTo>
                    <a:lnTo>
                      <a:pt x="290" y="29"/>
                    </a:lnTo>
                    <a:lnTo>
                      <a:pt x="282" y="28"/>
                    </a:lnTo>
                    <a:lnTo>
                      <a:pt x="277" y="24"/>
                    </a:lnTo>
                    <a:lnTo>
                      <a:pt x="274" y="26"/>
                    </a:lnTo>
                    <a:lnTo>
                      <a:pt x="264" y="23"/>
                    </a:lnTo>
                    <a:lnTo>
                      <a:pt x="260" y="21"/>
                    </a:lnTo>
                    <a:lnTo>
                      <a:pt x="250" y="16"/>
                    </a:lnTo>
                    <a:lnTo>
                      <a:pt x="249" y="16"/>
                    </a:lnTo>
                    <a:lnTo>
                      <a:pt x="247" y="20"/>
                    </a:lnTo>
                    <a:lnTo>
                      <a:pt x="242" y="18"/>
                    </a:lnTo>
                    <a:lnTo>
                      <a:pt x="239" y="13"/>
                    </a:lnTo>
                    <a:lnTo>
                      <a:pt x="237" y="8"/>
                    </a:lnTo>
                    <a:lnTo>
                      <a:pt x="234" y="5"/>
                    </a:lnTo>
                    <a:lnTo>
                      <a:pt x="230" y="5"/>
                    </a:lnTo>
                    <a:lnTo>
                      <a:pt x="224" y="11"/>
                    </a:lnTo>
                    <a:lnTo>
                      <a:pt x="222" y="10"/>
                    </a:lnTo>
                    <a:lnTo>
                      <a:pt x="220" y="11"/>
                    </a:lnTo>
                    <a:lnTo>
                      <a:pt x="212" y="5"/>
                    </a:lnTo>
                    <a:lnTo>
                      <a:pt x="211" y="0"/>
                    </a:lnTo>
                    <a:lnTo>
                      <a:pt x="209" y="0"/>
                    </a:lnTo>
                    <a:lnTo>
                      <a:pt x="204" y="1"/>
                    </a:lnTo>
                    <a:lnTo>
                      <a:pt x="196" y="1"/>
                    </a:lnTo>
                    <a:lnTo>
                      <a:pt x="192" y="1"/>
                    </a:lnTo>
                    <a:lnTo>
                      <a:pt x="187" y="1"/>
                    </a:lnTo>
                    <a:lnTo>
                      <a:pt x="176" y="1"/>
                    </a:lnTo>
                    <a:lnTo>
                      <a:pt x="169" y="3"/>
                    </a:lnTo>
                    <a:lnTo>
                      <a:pt x="159" y="6"/>
                    </a:lnTo>
                    <a:lnTo>
                      <a:pt x="154" y="8"/>
                    </a:lnTo>
                    <a:lnTo>
                      <a:pt x="144" y="10"/>
                    </a:lnTo>
                    <a:lnTo>
                      <a:pt x="142" y="11"/>
                    </a:lnTo>
                    <a:lnTo>
                      <a:pt x="137" y="13"/>
                    </a:lnTo>
                    <a:lnTo>
                      <a:pt x="134" y="16"/>
                    </a:lnTo>
                    <a:lnTo>
                      <a:pt x="131" y="18"/>
                    </a:lnTo>
                    <a:lnTo>
                      <a:pt x="129" y="23"/>
                    </a:lnTo>
                    <a:lnTo>
                      <a:pt x="127" y="24"/>
                    </a:lnTo>
                    <a:lnTo>
                      <a:pt x="127" y="26"/>
                    </a:lnTo>
                    <a:lnTo>
                      <a:pt x="119" y="28"/>
                    </a:lnTo>
                    <a:lnTo>
                      <a:pt x="106" y="23"/>
                    </a:lnTo>
                    <a:lnTo>
                      <a:pt x="101" y="23"/>
                    </a:lnTo>
                    <a:lnTo>
                      <a:pt x="99" y="24"/>
                    </a:lnTo>
                    <a:lnTo>
                      <a:pt x="94" y="24"/>
                    </a:lnTo>
                    <a:lnTo>
                      <a:pt x="86" y="26"/>
                    </a:lnTo>
                    <a:lnTo>
                      <a:pt x="83" y="24"/>
                    </a:lnTo>
                    <a:lnTo>
                      <a:pt x="76" y="26"/>
                    </a:lnTo>
                    <a:lnTo>
                      <a:pt x="76" y="29"/>
                    </a:lnTo>
                    <a:lnTo>
                      <a:pt x="79" y="36"/>
                    </a:lnTo>
                    <a:lnTo>
                      <a:pt x="86" y="36"/>
                    </a:lnTo>
                    <a:lnTo>
                      <a:pt x="93" y="36"/>
                    </a:lnTo>
                    <a:lnTo>
                      <a:pt x="91" y="39"/>
                    </a:lnTo>
                    <a:lnTo>
                      <a:pt x="81" y="39"/>
                    </a:lnTo>
                    <a:lnTo>
                      <a:pt x="73" y="41"/>
                    </a:lnTo>
                    <a:lnTo>
                      <a:pt x="69" y="44"/>
                    </a:lnTo>
                    <a:lnTo>
                      <a:pt x="71" y="48"/>
                    </a:lnTo>
                    <a:lnTo>
                      <a:pt x="76" y="46"/>
                    </a:lnTo>
                    <a:lnTo>
                      <a:pt x="78" y="48"/>
                    </a:lnTo>
                    <a:lnTo>
                      <a:pt x="74" y="49"/>
                    </a:lnTo>
                    <a:lnTo>
                      <a:pt x="63" y="49"/>
                    </a:lnTo>
                    <a:lnTo>
                      <a:pt x="58" y="48"/>
                    </a:lnTo>
                    <a:lnTo>
                      <a:pt x="53" y="49"/>
                    </a:lnTo>
                    <a:lnTo>
                      <a:pt x="49" y="46"/>
                    </a:lnTo>
                    <a:lnTo>
                      <a:pt x="46" y="46"/>
                    </a:lnTo>
                    <a:lnTo>
                      <a:pt x="43" y="51"/>
                    </a:lnTo>
                    <a:lnTo>
                      <a:pt x="38" y="51"/>
                    </a:lnTo>
                    <a:lnTo>
                      <a:pt x="33" y="46"/>
                    </a:lnTo>
                    <a:lnTo>
                      <a:pt x="26" y="46"/>
                    </a:lnTo>
                    <a:lnTo>
                      <a:pt x="16" y="54"/>
                    </a:lnTo>
                    <a:lnTo>
                      <a:pt x="14" y="58"/>
                    </a:lnTo>
                    <a:lnTo>
                      <a:pt x="13" y="61"/>
                    </a:lnTo>
                    <a:lnTo>
                      <a:pt x="14" y="64"/>
                    </a:lnTo>
                    <a:lnTo>
                      <a:pt x="14" y="69"/>
                    </a:lnTo>
                    <a:lnTo>
                      <a:pt x="13" y="71"/>
                    </a:lnTo>
                    <a:lnTo>
                      <a:pt x="14" y="73"/>
                    </a:lnTo>
                    <a:lnTo>
                      <a:pt x="21" y="71"/>
                    </a:lnTo>
                    <a:lnTo>
                      <a:pt x="23" y="73"/>
                    </a:lnTo>
                    <a:lnTo>
                      <a:pt x="28" y="71"/>
                    </a:lnTo>
                    <a:lnTo>
                      <a:pt x="33" y="71"/>
                    </a:lnTo>
                    <a:lnTo>
                      <a:pt x="28" y="76"/>
                    </a:lnTo>
                    <a:lnTo>
                      <a:pt x="28" y="79"/>
                    </a:lnTo>
                    <a:lnTo>
                      <a:pt x="29" y="83"/>
                    </a:lnTo>
                    <a:lnTo>
                      <a:pt x="29" y="86"/>
                    </a:lnTo>
                    <a:lnTo>
                      <a:pt x="29" y="88"/>
                    </a:lnTo>
                    <a:lnTo>
                      <a:pt x="31" y="88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3" y="91"/>
                    </a:lnTo>
                    <a:lnTo>
                      <a:pt x="28" y="94"/>
                    </a:lnTo>
                    <a:lnTo>
                      <a:pt x="29" y="96"/>
                    </a:lnTo>
                    <a:lnTo>
                      <a:pt x="33" y="96"/>
                    </a:lnTo>
                    <a:lnTo>
                      <a:pt x="29" y="98"/>
                    </a:lnTo>
                    <a:lnTo>
                      <a:pt x="28" y="101"/>
                    </a:lnTo>
                    <a:lnTo>
                      <a:pt x="24" y="101"/>
                    </a:lnTo>
                    <a:lnTo>
                      <a:pt x="21" y="96"/>
                    </a:lnTo>
                    <a:lnTo>
                      <a:pt x="19" y="94"/>
                    </a:lnTo>
                    <a:lnTo>
                      <a:pt x="19" y="99"/>
                    </a:lnTo>
                    <a:lnTo>
                      <a:pt x="21" y="103"/>
                    </a:lnTo>
                    <a:lnTo>
                      <a:pt x="19" y="104"/>
                    </a:lnTo>
                    <a:lnTo>
                      <a:pt x="19" y="108"/>
                    </a:lnTo>
                    <a:lnTo>
                      <a:pt x="23" y="111"/>
                    </a:lnTo>
                    <a:lnTo>
                      <a:pt x="24" y="109"/>
                    </a:lnTo>
                    <a:lnTo>
                      <a:pt x="29" y="113"/>
                    </a:lnTo>
                    <a:lnTo>
                      <a:pt x="33" y="111"/>
                    </a:lnTo>
                    <a:lnTo>
                      <a:pt x="38" y="114"/>
                    </a:lnTo>
                    <a:lnTo>
                      <a:pt x="39" y="119"/>
                    </a:lnTo>
                    <a:lnTo>
                      <a:pt x="36" y="122"/>
                    </a:lnTo>
                    <a:lnTo>
                      <a:pt x="39" y="126"/>
                    </a:lnTo>
                    <a:lnTo>
                      <a:pt x="39" y="129"/>
                    </a:lnTo>
                    <a:lnTo>
                      <a:pt x="43" y="129"/>
                    </a:lnTo>
                    <a:lnTo>
                      <a:pt x="48" y="134"/>
                    </a:lnTo>
                    <a:lnTo>
                      <a:pt x="46" y="137"/>
                    </a:lnTo>
                    <a:lnTo>
                      <a:pt x="43" y="136"/>
                    </a:lnTo>
                    <a:lnTo>
                      <a:pt x="41" y="139"/>
                    </a:lnTo>
                    <a:lnTo>
                      <a:pt x="44" y="139"/>
                    </a:lnTo>
                    <a:lnTo>
                      <a:pt x="53" y="137"/>
                    </a:lnTo>
                    <a:lnTo>
                      <a:pt x="63" y="137"/>
                    </a:lnTo>
                    <a:lnTo>
                      <a:pt x="61" y="141"/>
                    </a:lnTo>
                    <a:lnTo>
                      <a:pt x="59" y="142"/>
                    </a:lnTo>
                    <a:lnTo>
                      <a:pt x="54" y="144"/>
                    </a:lnTo>
                    <a:lnTo>
                      <a:pt x="46" y="144"/>
                    </a:lnTo>
                    <a:lnTo>
                      <a:pt x="44" y="147"/>
                    </a:lnTo>
                    <a:lnTo>
                      <a:pt x="48" y="147"/>
                    </a:lnTo>
                    <a:lnTo>
                      <a:pt x="51" y="146"/>
                    </a:lnTo>
                    <a:lnTo>
                      <a:pt x="56" y="146"/>
                    </a:lnTo>
                    <a:lnTo>
                      <a:pt x="59" y="144"/>
                    </a:lnTo>
                    <a:lnTo>
                      <a:pt x="59" y="147"/>
                    </a:lnTo>
                    <a:lnTo>
                      <a:pt x="61" y="149"/>
                    </a:lnTo>
                    <a:lnTo>
                      <a:pt x="63" y="146"/>
                    </a:lnTo>
                    <a:lnTo>
                      <a:pt x="66" y="142"/>
                    </a:lnTo>
                    <a:lnTo>
                      <a:pt x="69" y="142"/>
                    </a:lnTo>
                    <a:lnTo>
                      <a:pt x="73" y="144"/>
                    </a:lnTo>
                    <a:lnTo>
                      <a:pt x="76" y="144"/>
                    </a:lnTo>
                    <a:lnTo>
                      <a:pt x="79" y="147"/>
                    </a:lnTo>
                    <a:lnTo>
                      <a:pt x="83" y="144"/>
                    </a:lnTo>
                    <a:lnTo>
                      <a:pt x="86" y="146"/>
                    </a:lnTo>
                    <a:lnTo>
                      <a:pt x="86" y="147"/>
                    </a:lnTo>
                    <a:lnTo>
                      <a:pt x="84" y="147"/>
                    </a:lnTo>
                    <a:lnTo>
                      <a:pt x="86" y="151"/>
                    </a:lnTo>
                    <a:lnTo>
                      <a:pt x="86" y="154"/>
                    </a:lnTo>
                    <a:lnTo>
                      <a:pt x="91" y="157"/>
                    </a:lnTo>
                    <a:lnTo>
                      <a:pt x="93" y="157"/>
                    </a:lnTo>
                    <a:lnTo>
                      <a:pt x="99" y="159"/>
                    </a:lnTo>
                    <a:lnTo>
                      <a:pt x="104" y="159"/>
                    </a:lnTo>
                    <a:lnTo>
                      <a:pt x="108" y="156"/>
                    </a:lnTo>
                    <a:lnTo>
                      <a:pt x="113" y="156"/>
                    </a:lnTo>
                    <a:lnTo>
                      <a:pt x="114" y="154"/>
                    </a:lnTo>
                    <a:lnTo>
                      <a:pt x="119" y="156"/>
                    </a:lnTo>
                    <a:lnTo>
                      <a:pt x="122" y="154"/>
                    </a:lnTo>
                    <a:lnTo>
                      <a:pt x="121" y="149"/>
                    </a:lnTo>
                    <a:lnTo>
                      <a:pt x="122" y="147"/>
                    </a:lnTo>
                    <a:lnTo>
                      <a:pt x="121" y="142"/>
                    </a:lnTo>
                    <a:lnTo>
                      <a:pt x="132" y="141"/>
                    </a:lnTo>
                    <a:lnTo>
                      <a:pt x="141" y="142"/>
                    </a:lnTo>
                    <a:lnTo>
                      <a:pt x="152" y="147"/>
                    </a:lnTo>
                    <a:lnTo>
                      <a:pt x="156" y="147"/>
                    </a:lnTo>
                    <a:lnTo>
                      <a:pt x="164" y="157"/>
                    </a:lnTo>
                    <a:lnTo>
                      <a:pt x="171" y="161"/>
                    </a:lnTo>
                    <a:lnTo>
                      <a:pt x="192" y="157"/>
                    </a:lnTo>
                    <a:lnTo>
                      <a:pt x="199" y="156"/>
                    </a:lnTo>
                    <a:lnTo>
                      <a:pt x="202" y="156"/>
                    </a:lnTo>
                    <a:lnTo>
                      <a:pt x="202" y="156"/>
                    </a:lnTo>
                    <a:lnTo>
                      <a:pt x="206" y="154"/>
                    </a:lnTo>
                    <a:lnTo>
                      <a:pt x="207" y="151"/>
                    </a:lnTo>
                    <a:lnTo>
                      <a:pt x="217" y="141"/>
                    </a:lnTo>
                    <a:lnTo>
                      <a:pt x="220" y="139"/>
                    </a:lnTo>
                    <a:lnTo>
                      <a:pt x="230" y="142"/>
                    </a:lnTo>
                    <a:lnTo>
                      <a:pt x="235" y="146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9" y="139"/>
                    </a:lnTo>
                    <a:lnTo>
                      <a:pt x="254" y="139"/>
                    </a:lnTo>
                    <a:lnTo>
                      <a:pt x="254" y="142"/>
                    </a:lnTo>
                    <a:lnTo>
                      <a:pt x="250" y="147"/>
                    </a:lnTo>
                    <a:lnTo>
                      <a:pt x="245" y="151"/>
                    </a:lnTo>
                    <a:lnTo>
                      <a:pt x="245" y="154"/>
                    </a:lnTo>
                    <a:lnTo>
                      <a:pt x="250" y="159"/>
                    </a:lnTo>
                    <a:lnTo>
                      <a:pt x="249" y="161"/>
                    </a:lnTo>
                    <a:lnTo>
                      <a:pt x="254" y="162"/>
                    </a:lnTo>
                    <a:lnTo>
                      <a:pt x="259" y="161"/>
                    </a:lnTo>
                    <a:lnTo>
                      <a:pt x="264" y="159"/>
                    </a:lnTo>
                    <a:lnTo>
                      <a:pt x="264" y="156"/>
                    </a:lnTo>
                    <a:lnTo>
                      <a:pt x="265" y="152"/>
                    </a:lnTo>
                    <a:lnTo>
                      <a:pt x="267" y="146"/>
                    </a:lnTo>
                    <a:lnTo>
                      <a:pt x="267" y="141"/>
                    </a:lnTo>
                    <a:lnTo>
                      <a:pt x="275" y="142"/>
                    </a:lnTo>
                    <a:lnTo>
                      <a:pt x="279" y="144"/>
                    </a:lnTo>
                    <a:lnTo>
                      <a:pt x="290" y="139"/>
                    </a:lnTo>
                    <a:lnTo>
                      <a:pt x="294" y="139"/>
                    </a:lnTo>
                    <a:lnTo>
                      <a:pt x="297" y="137"/>
                    </a:lnTo>
                    <a:lnTo>
                      <a:pt x="310" y="136"/>
                    </a:lnTo>
                    <a:lnTo>
                      <a:pt x="313" y="137"/>
                    </a:lnTo>
                    <a:lnTo>
                      <a:pt x="317" y="139"/>
                    </a:lnTo>
                    <a:lnTo>
                      <a:pt x="323" y="141"/>
                    </a:lnTo>
                    <a:lnTo>
                      <a:pt x="335" y="141"/>
                    </a:lnTo>
                    <a:lnTo>
                      <a:pt x="337" y="139"/>
                    </a:lnTo>
                    <a:lnTo>
                      <a:pt x="342" y="137"/>
                    </a:lnTo>
                    <a:lnTo>
                      <a:pt x="347" y="134"/>
                    </a:lnTo>
                    <a:lnTo>
                      <a:pt x="355" y="132"/>
                    </a:lnTo>
                    <a:lnTo>
                      <a:pt x="362" y="132"/>
                    </a:lnTo>
                    <a:lnTo>
                      <a:pt x="365" y="131"/>
                    </a:lnTo>
                    <a:lnTo>
                      <a:pt x="378" y="132"/>
                    </a:lnTo>
                    <a:lnTo>
                      <a:pt x="387" y="129"/>
                    </a:lnTo>
                    <a:lnTo>
                      <a:pt x="395" y="129"/>
                    </a:lnTo>
                    <a:lnTo>
                      <a:pt x="397" y="131"/>
                    </a:lnTo>
                    <a:lnTo>
                      <a:pt x="403" y="126"/>
                    </a:lnTo>
                    <a:lnTo>
                      <a:pt x="408" y="126"/>
                    </a:lnTo>
                    <a:lnTo>
                      <a:pt x="411" y="124"/>
                    </a:lnTo>
                    <a:lnTo>
                      <a:pt x="421" y="124"/>
                    </a:lnTo>
                    <a:lnTo>
                      <a:pt x="430" y="126"/>
                    </a:lnTo>
                    <a:lnTo>
                      <a:pt x="435" y="124"/>
                    </a:lnTo>
                    <a:lnTo>
                      <a:pt x="438" y="126"/>
                    </a:lnTo>
                    <a:lnTo>
                      <a:pt x="438" y="129"/>
                    </a:lnTo>
                    <a:lnTo>
                      <a:pt x="443" y="131"/>
                    </a:lnTo>
                    <a:lnTo>
                      <a:pt x="448" y="131"/>
                    </a:lnTo>
                    <a:lnTo>
                      <a:pt x="450" y="126"/>
                    </a:lnTo>
                    <a:lnTo>
                      <a:pt x="446" y="121"/>
                    </a:lnTo>
                    <a:lnTo>
                      <a:pt x="441" y="113"/>
                    </a:lnTo>
                    <a:lnTo>
                      <a:pt x="435" y="111"/>
                    </a:lnTo>
                    <a:lnTo>
                      <a:pt x="436" y="108"/>
                    </a:lnTo>
                    <a:lnTo>
                      <a:pt x="435" y="103"/>
                    </a:lnTo>
                    <a:lnTo>
                      <a:pt x="438" y="96"/>
                    </a:lnTo>
                    <a:lnTo>
                      <a:pt x="436" y="93"/>
                    </a:lnTo>
                    <a:lnTo>
                      <a:pt x="431" y="93"/>
                    </a:lnTo>
                    <a:lnTo>
                      <a:pt x="431" y="86"/>
                    </a:lnTo>
                    <a:lnTo>
                      <a:pt x="431" y="81"/>
                    </a:lnTo>
                    <a:lnTo>
                      <a:pt x="430" y="73"/>
                    </a:lnTo>
                    <a:lnTo>
                      <a:pt x="426" y="69"/>
                    </a:lnTo>
                    <a:lnTo>
                      <a:pt x="426" y="68"/>
                    </a:lnTo>
                    <a:lnTo>
                      <a:pt x="433" y="66"/>
                    </a:lnTo>
                    <a:lnTo>
                      <a:pt x="436" y="61"/>
                    </a:lnTo>
                    <a:lnTo>
                      <a:pt x="438" y="59"/>
                    </a:lnTo>
                    <a:lnTo>
                      <a:pt x="436" y="54"/>
                    </a:lnTo>
                    <a:lnTo>
                      <a:pt x="431" y="51"/>
                    </a:lnTo>
                    <a:lnTo>
                      <a:pt x="426" y="51"/>
                    </a:lnTo>
                    <a:lnTo>
                      <a:pt x="420" y="51"/>
                    </a:lnTo>
                    <a:lnTo>
                      <a:pt x="413" y="48"/>
                    </a:lnTo>
                    <a:lnTo>
                      <a:pt x="413" y="38"/>
                    </a:lnTo>
                    <a:lnTo>
                      <a:pt x="413" y="31"/>
                    </a:lnTo>
                    <a:lnTo>
                      <a:pt x="411" y="26"/>
                    </a:lnTo>
                    <a:lnTo>
                      <a:pt x="407" y="26"/>
                    </a:lnTo>
                    <a:lnTo>
                      <a:pt x="407" y="23"/>
                    </a:lnTo>
                    <a:lnTo>
                      <a:pt x="403" y="20"/>
                    </a:lnTo>
                    <a:lnTo>
                      <a:pt x="398" y="18"/>
                    </a:lnTo>
                    <a:lnTo>
                      <a:pt x="388" y="11"/>
                    </a:lnTo>
                    <a:lnTo>
                      <a:pt x="383" y="10"/>
                    </a:lnTo>
                    <a:lnTo>
                      <a:pt x="380" y="13"/>
                    </a:lnTo>
                    <a:lnTo>
                      <a:pt x="378" y="13"/>
                    </a:lnTo>
                    <a:lnTo>
                      <a:pt x="372" y="11"/>
                    </a:lnTo>
                    <a:lnTo>
                      <a:pt x="368" y="13"/>
                    </a:lnTo>
                    <a:lnTo>
                      <a:pt x="367" y="13"/>
                    </a:lnTo>
                    <a:lnTo>
                      <a:pt x="365" y="8"/>
                    </a:lnTo>
                    <a:lnTo>
                      <a:pt x="362" y="8"/>
                    </a:lnTo>
                    <a:lnTo>
                      <a:pt x="362" y="8"/>
                    </a:lnTo>
                    <a:close/>
                    <a:moveTo>
                      <a:pt x="53" y="151"/>
                    </a:moveTo>
                    <a:lnTo>
                      <a:pt x="54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6" y="151"/>
                    </a:lnTo>
                    <a:lnTo>
                      <a:pt x="53" y="151"/>
                    </a:lnTo>
                    <a:lnTo>
                      <a:pt x="53" y="151"/>
                    </a:lnTo>
                    <a:close/>
                    <a:moveTo>
                      <a:pt x="0" y="53"/>
                    </a:moveTo>
                    <a:lnTo>
                      <a:pt x="3" y="53"/>
                    </a:lnTo>
                    <a:lnTo>
                      <a:pt x="8" y="53"/>
                    </a:lnTo>
                    <a:lnTo>
                      <a:pt x="10" y="49"/>
                    </a:lnTo>
                    <a:lnTo>
                      <a:pt x="6" y="49"/>
                    </a:lnTo>
                    <a:lnTo>
                      <a:pt x="5" y="51"/>
                    </a:lnTo>
                    <a:lnTo>
                      <a:pt x="1" y="51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48" name="Freeform 144">
                <a:extLst>
                  <a:ext uri="{FF2B5EF4-FFF2-40B4-BE49-F238E27FC236}">
                    <a16:creationId xmlns:a16="http://schemas.microsoft.com/office/drawing/2014/main" id="{DA8269EC-B847-ED42-AC91-3A1897D85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6014" y="2358712"/>
                <a:ext cx="114516" cy="63293"/>
              </a:xfrm>
              <a:custGeom>
                <a:avLst/>
                <a:gdLst/>
                <a:ahLst/>
                <a:cxnLst>
                  <a:cxn ang="0">
                    <a:pos x="78" y="121"/>
                  </a:cxn>
                  <a:cxn ang="0">
                    <a:pos x="68" y="106"/>
                  </a:cxn>
                  <a:cxn ang="0">
                    <a:pos x="93" y="118"/>
                  </a:cxn>
                  <a:cxn ang="0">
                    <a:pos x="115" y="109"/>
                  </a:cxn>
                  <a:cxn ang="0">
                    <a:pos x="133" y="103"/>
                  </a:cxn>
                  <a:cxn ang="0">
                    <a:pos x="143" y="100"/>
                  </a:cxn>
                  <a:cxn ang="0">
                    <a:pos x="153" y="101"/>
                  </a:cxn>
                  <a:cxn ang="0">
                    <a:pos x="180" y="81"/>
                  </a:cxn>
                  <a:cxn ang="0">
                    <a:pos x="193" y="81"/>
                  </a:cxn>
                  <a:cxn ang="0">
                    <a:pos x="194" y="68"/>
                  </a:cxn>
                  <a:cxn ang="0">
                    <a:pos x="208" y="66"/>
                  </a:cxn>
                  <a:cxn ang="0">
                    <a:pos x="203" y="48"/>
                  </a:cxn>
                  <a:cxn ang="0">
                    <a:pos x="199" y="38"/>
                  </a:cxn>
                  <a:cxn ang="0">
                    <a:pos x="193" y="35"/>
                  </a:cxn>
                  <a:cxn ang="0">
                    <a:pos x="194" y="18"/>
                  </a:cxn>
                  <a:cxn ang="0">
                    <a:pos x="190" y="10"/>
                  </a:cxn>
                  <a:cxn ang="0">
                    <a:pos x="181" y="13"/>
                  </a:cxn>
                  <a:cxn ang="0">
                    <a:pos x="173" y="8"/>
                  </a:cxn>
                  <a:cxn ang="0">
                    <a:pos x="158" y="8"/>
                  </a:cxn>
                  <a:cxn ang="0">
                    <a:pos x="150" y="13"/>
                  </a:cxn>
                  <a:cxn ang="0">
                    <a:pos x="131" y="13"/>
                  </a:cxn>
                  <a:cxn ang="0">
                    <a:pos x="126" y="28"/>
                  </a:cxn>
                  <a:cxn ang="0">
                    <a:pos x="116" y="18"/>
                  </a:cxn>
                  <a:cxn ang="0">
                    <a:pos x="103" y="25"/>
                  </a:cxn>
                  <a:cxn ang="0">
                    <a:pos x="90" y="15"/>
                  </a:cxn>
                  <a:cxn ang="0">
                    <a:pos x="83" y="36"/>
                  </a:cxn>
                  <a:cxn ang="0">
                    <a:pos x="70" y="43"/>
                  </a:cxn>
                  <a:cxn ang="0">
                    <a:pos x="60" y="41"/>
                  </a:cxn>
                  <a:cxn ang="0">
                    <a:pos x="58" y="25"/>
                  </a:cxn>
                  <a:cxn ang="0">
                    <a:pos x="63" y="16"/>
                  </a:cxn>
                  <a:cxn ang="0">
                    <a:pos x="50" y="5"/>
                  </a:cxn>
                  <a:cxn ang="0">
                    <a:pos x="30" y="3"/>
                  </a:cxn>
                  <a:cxn ang="0">
                    <a:pos x="42" y="5"/>
                  </a:cxn>
                  <a:cxn ang="0">
                    <a:pos x="35" y="8"/>
                  </a:cxn>
                  <a:cxn ang="0">
                    <a:pos x="43" y="18"/>
                  </a:cxn>
                  <a:cxn ang="0">
                    <a:pos x="30" y="10"/>
                  </a:cxn>
                  <a:cxn ang="0">
                    <a:pos x="20" y="13"/>
                  </a:cxn>
                  <a:cxn ang="0">
                    <a:pos x="23" y="21"/>
                  </a:cxn>
                  <a:cxn ang="0">
                    <a:pos x="20" y="26"/>
                  </a:cxn>
                  <a:cxn ang="0">
                    <a:pos x="10" y="25"/>
                  </a:cxn>
                  <a:cxn ang="0">
                    <a:pos x="7" y="30"/>
                  </a:cxn>
                  <a:cxn ang="0">
                    <a:pos x="15" y="40"/>
                  </a:cxn>
                  <a:cxn ang="0">
                    <a:pos x="27" y="35"/>
                  </a:cxn>
                  <a:cxn ang="0">
                    <a:pos x="38" y="35"/>
                  </a:cxn>
                  <a:cxn ang="0">
                    <a:pos x="47" y="35"/>
                  </a:cxn>
                  <a:cxn ang="0">
                    <a:pos x="53" y="41"/>
                  </a:cxn>
                  <a:cxn ang="0">
                    <a:pos x="37" y="48"/>
                  </a:cxn>
                  <a:cxn ang="0">
                    <a:pos x="53" y="50"/>
                  </a:cxn>
                  <a:cxn ang="0">
                    <a:pos x="33" y="55"/>
                  </a:cxn>
                  <a:cxn ang="0">
                    <a:pos x="30" y="53"/>
                  </a:cxn>
                  <a:cxn ang="0">
                    <a:pos x="10" y="55"/>
                  </a:cxn>
                  <a:cxn ang="0">
                    <a:pos x="15" y="65"/>
                  </a:cxn>
                  <a:cxn ang="0">
                    <a:pos x="37" y="66"/>
                  </a:cxn>
                  <a:cxn ang="0">
                    <a:pos x="42" y="76"/>
                  </a:cxn>
                  <a:cxn ang="0">
                    <a:pos x="45" y="85"/>
                  </a:cxn>
                  <a:cxn ang="0">
                    <a:pos x="50" y="83"/>
                  </a:cxn>
                  <a:cxn ang="0">
                    <a:pos x="37" y="91"/>
                  </a:cxn>
                  <a:cxn ang="0">
                    <a:pos x="25" y="90"/>
                  </a:cxn>
                  <a:cxn ang="0">
                    <a:pos x="32" y="103"/>
                  </a:cxn>
                  <a:cxn ang="0">
                    <a:pos x="57" y="103"/>
                  </a:cxn>
                </a:cxnLst>
                <a:rect l="0" t="0" r="r" b="b"/>
                <a:pathLst>
                  <a:path w="214" h="123">
                    <a:moveTo>
                      <a:pt x="75" y="123"/>
                    </a:moveTo>
                    <a:lnTo>
                      <a:pt x="73" y="119"/>
                    </a:lnTo>
                    <a:lnTo>
                      <a:pt x="75" y="118"/>
                    </a:lnTo>
                    <a:lnTo>
                      <a:pt x="77" y="116"/>
                    </a:lnTo>
                    <a:lnTo>
                      <a:pt x="78" y="121"/>
                    </a:lnTo>
                    <a:lnTo>
                      <a:pt x="75" y="123"/>
                    </a:lnTo>
                    <a:lnTo>
                      <a:pt x="75" y="123"/>
                    </a:lnTo>
                    <a:close/>
                    <a:moveTo>
                      <a:pt x="63" y="104"/>
                    </a:moveTo>
                    <a:lnTo>
                      <a:pt x="68" y="103"/>
                    </a:lnTo>
                    <a:lnTo>
                      <a:pt x="68" y="106"/>
                    </a:lnTo>
                    <a:lnTo>
                      <a:pt x="73" y="111"/>
                    </a:lnTo>
                    <a:lnTo>
                      <a:pt x="78" y="113"/>
                    </a:lnTo>
                    <a:lnTo>
                      <a:pt x="82" y="111"/>
                    </a:lnTo>
                    <a:lnTo>
                      <a:pt x="87" y="111"/>
                    </a:lnTo>
                    <a:lnTo>
                      <a:pt x="93" y="118"/>
                    </a:lnTo>
                    <a:lnTo>
                      <a:pt x="103" y="118"/>
                    </a:lnTo>
                    <a:lnTo>
                      <a:pt x="108" y="119"/>
                    </a:lnTo>
                    <a:lnTo>
                      <a:pt x="115" y="118"/>
                    </a:lnTo>
                    <a:lnTo>
                      <a:pt x="113" y="113"/>
                    </a:lnTo>
                    <a:lnTo>
                      <a:pt x="115" y="109"/>
                    </a:lnTo>
                    <a:lnTo>
                      <a:pt x="116" y="113"/>
                    </a:lnTo>
                    <a:lnTo>
                      <a:pt x="121" y="114"/>
                    </a:lnTo>
                    <a:lnTo>
                      <a:pt x="126" y="109"/>
                    </a:lnTo>
                    <a:lnTo>
                      <a:pt x="126" y="104"/>
                    </a:lnTo>
                    <a:lnTo>
                      <a:pt x="133" y="103"/>
                    </a:lnTo>
                    <a:lnTo>
                      <a:pt x="131" y="106"/>
                    </a:lnTo>
                    <a:lnTo>
                      <a:pt x="133" y="108"/>
                    </a:lnTo>
                    <a:lnTo>
                      <a:pt x="135" y="106"/>
                    </a:lnTo>
                    <a:lnTo>
                      <a:pt x="138" y="106"/>
                    </a:lnTo>
                    <a:lnTo>
                      <a:pt x="143" y="100"/>
                    </a:lnTo>
                    <a:lnTo>
                      <a:pt x="145" y="101"/>
                    </a:lnTo>
                    <a:lnTo>
                      <a:pt x="146" y="101"/>
                    </a:lnTo>
                    <a:lnTo>
                      <a:pt x="151" y="101"/>
                    </a:lnTo>
                    <a:lnTo>
                      <a:pt x="151" y="103"/>
                    </a:lnTo>
                    <a:lnTo>
                      <a:pt x="153" y="101"/>
                    </a:lnTo>
                    <a:lnTo>
                      <a:pt x="163" y="93"/>
                    </a:lnTo>
                    <a:lnTo>
                      <a:pt x="166" y="88"/>
                    </a:lnTo>
                    <a:lnTo>
                      <a:pt x="178" y="86"/>
                    </a:lnTo>
                    <a:lnTo>
                      <a:pt x="181" y="83"/>
                    </a:lnTo>
                    <a:lnTo>
                      <a:pt x="180" y="81"/>
                    </a:lnTo>
                    <a:lnTo>
                      <a:pt x="181" y="80"/>
                    </a:lnTo>
                    <a:lnTo>
                      <a:pt x="183" y="80"/>
                    </a:lnTo>
                    <a:lnTo>
                      <a:pt x="185" y="83"/>
                    </a:lnTo>
                    <a:lnTo>
                      <a:pt x="190" y="85"/>
                    </a:lnTo>
                    <a:lnTo>
                      <a:pt x="193" y="81"/>
                    </a:lnTo>
                    <a:lnTo>
                      <a:pt x="194" y="78"/>
                    </a:lnTo>
                    <a:lnTo>
                      <a:pt x="193" y="76"/>
                    </a:lnTo>
                    <a:lnTo>
                      <a:pt x="193" y="73"/>
                    </a:lnTo>
                    <a:lnTo>
                      <a:pt x="196" y="73"/>
                    </a:lnTo>
                    <a:lnTo>
                      <a:pt x="194" y="68"/>
                    </a:lnTo>
                    <a:lnTo>
                      <a:pt x="196" y="66"/>
                    </a:lnTo>
                    <a:lnTo>
                      <a:pt x="199" y="68"/>
                    </a:lnTo>
                    <a:lnTo>
                      <a:pt x="201" y="71"/>
                    </a:lnTo>
                    <a:lnTo>
                      <a:pt x="204" y="71"/>
                    </a:lnTo>
                    <a:lnTo>
                      <a:pt x="208" y="66"/>
                    </a:lnTo>
                    <a:lnTo>
                      <a:pt x="206" y="63"/>
                    </a:lnTo>
                    <a:lnTo>
                      <a:pt x="201" y="58"/>
                    </a:lnTo>
                    <a:lnTo>
                      <a:pt x="201" y="55"/>
                    </a:lnTo>
                    <a:lnTo>
                      <a:pt x="204" y="51"/>
                    </a:lnTo>
                    <a:lnTo>
                      <a:pt x="203" y="48"/>
                    </a:lnTo>
                    <a:lnTo>
                      <a:pt x="208" y="46"/>
                    </a:lnTo>
                    <a:lnTo>
                      <a:pt x="211" y="46"/>
                    </a:lnTo>
                    <a:lnTo>
                      <a:pt x="214" y="43"/>
                    </a:lnTo>
                    <a:lnTo>
                      <a:pt x="209" y="40"/>
                    </a:lnTo>
                    <a:lnTo>
                      <a:pt x="199" y="38"/>
                    </a:lnTo>
                    <a:lnTo>
                      <a:pt x="198" y="41"/>
                    </a:lnTo>
                    <a:lnTo>
                      <a:pt x="199" y="36"/>
                    </a:lnTo>
                    <a:lnTo>
                      <a:pt x="199" y="33"/>
                    </a:lnTo>
                    <a:lnTo>
                      <a:pt x="193" y="33"/>
                    </a:lnTo>
                    <a:lnTo>
                      <a:pt x="193" y="35"/>
                    </a:lnTo>
                    <a:lnTo>
                      <a:pt x="191" y="30"/>
                    </a:lnTo>
                    <a:lnTo>
                      <a:pt x="194" y="26"/>
                    </a:lnTo>
                    <a:lnTo>
                      <a:pt x="198" y="25"/>
                    </a:lnTo>
                    <a:lnTo>
                      <a:pt x="196" y="20"/>
                    </a:lnTo>
                    <a:lnTo>
                      <a:pt x="194" y="18"/>
                    </a:lnTo>
                    <a:lnTo>
                      <a:pt x="191" y="21"/>
                    </a:lnTo>
                    <a:lnTo>
                      <a:pt x="188" y="20"/>
                    </a:lnTo>
                    <a:lnTo>
                      <a:pt x="185" y="15"/>
                    </a:lnTo>
                    <a:lnTo>
                      <a:pt x="190" y="13"/>
                    </a:lnTo>
                    <a:lnTo>
                      <a:pt x="190" y="10"/>
                    </a:lnTo>
                    <a:lnTo>
                      <a:pt x="193" y="8"/>
                    </a:lnTo>
                    <a:lnTo>
                      <a:pt x="196" y="8"/>
                    </a:lnTo>
                    <a:lnTo>
                      <a:pt x="191" y="5"/>
                    </a:lnTo>
                    <a:lnTo>
                      <a:pt x="188" y="6"/>
                    </a:lnTo>
                    <a:lnTo>
                      <a:pt x="181" y="13"/>
                    </a:lnTo>
                    <a:lnTo>
                      <a:pt x="180" y="16"/>
                    </a:lnTo>
                    <a:lnTo>
                      <a:pt x="176" y="16"/>
                    </a:lnTo>
                    <a:lnTo>
                      <a:pt x="173" y="13"/>
                    </a:lnTo>
                    <a:lnTo>
                      <a:pt x="175" y="10"/>
                    </a:lnTo>
                    <a:lnTo>
                      <a:pt x="173" y="8"/>
                    </a:lnTo>
                    <a:lnTo>
                      <a:pt x="171" y="5"/>
                    </a:lnTo>
                    <a:lnTo>
                      <a:pt x="168" y="3"/>
                    </a:lnTo>
                    <a:lnTo>
                      <a:pt x="163" y="5"/>
                    </a:lnTo>
                    <a:lnTo>
                      <a:pt x="161" y="3"/>
                    </a:lnTo>
                    <a:lnTo>
                      <a:pt x="158" y="8"/>
                    </a:lnTo>
                    <a:lnTo>
                      <a:pt x="161" y="11"/>
                    </a:lnTo>
                    <a:lnTo>
                      <a:pt x="158" y="15"/>
                    </a:lnTo>
                    <a:lnTo>
                      <a:pt x="155" y="15"/>
                    </a:lnTo>
                    <a:lnTo>
                      <a:pt x="150" y="16"/>
                    </a:lnTo>
                    <a:lnTo>
                      <a:pt x="150" y="13"/>
                    </a:lnTo>
                    <a:lnTo>
                      <a:pt x="146" y="11"/>
                    </a:lnTo>
                    <a:lnTo>
                      <a:pt x="143" y="15"/>
                    </a:lnTo>
                    <a:lnTo>
                      <a:pt x="141" y="21"/>
                    </a:lnTo>
                    <a:lnTo>
                      <a:pt x="136" y="21"/>
                    </a:lnTo>
                    <a:lnTo>
                      <a:pt x="131" y="13"/>
                    </a:lnTo>
                    <a:lnTo>
                      <a:pt x="128" y="15"/>
                    </a:lnTo>
                    <a:lnTo>
                      <a:pt x="126" y="13"/>
                    </a:lnTo>
                    <a:lnTo>
                      <a:pt x="123" y="13"/>
                    </a:lnTo>
                    <a:lnTo>
                      <a:pt x="121" y="21"/>
                    </a:lnTo>
                    <a:lnTo>
                      <a:pt x="126" y="28"/>
                    </a:lnTo>
                    <a:lnTo>
                      <a:pt x="121" y="40"/>
                    </a:lnTo>
                    <a:lnTo>
                      <a:pt x="123" y="30"/>
                    </a:lnTo>
                    <a:lnTo>
                      <a:pt x="118" y="23"/>
                    </a:lnTo>
                    <a:lnTo>
                      <a:pt x="118" y="20"/>
                    </a:lnTo>
                    <a:lnTo>
                      <a:pt x="116" y="18"/>
                    </a:lnTo>
                    <a:lnTo>
                      <a:pt x="116" y="15"/>
                    </a:lnTo>
                    <a:lnTo>
                      <a:pt x="111" y="11"/>
                    </a:lnTo>
                    <a:lnTo>
                      <a:pt x="101" y="16"/>
                    </a:lnTo>
                    <a:lnTo>
                      <a:pt x="101" y="21"/>
                    </a:lnTo>
                    <a:lnTo>
                      <a:pt x="103" y="25"/>
                    </a:lnTo>
                    <a:lnTo>
                      <a:pt x="98" y="31"/>
                    </a:lnTo>
                    <a:lnTo>
                      <a:pt x="95" y="31"/>
                    </a:lnTo>
                    <a:lnTo>
                      <a:pt x="95" y="25"/>
                    </a:lnTo>
                    <a:lnTo>
                      <a:pt x="92" y="23"/>
                    </a:lnTo>
                    <a:lnTo>
                      <a:pt x="90" y="15"/>
                    </a:lnTo>
                    <a:lnTo>
                      <a:pt x="87" y="11"/>
                    </a:lnTo>
                    <a:lnTo>
                      <a:pt x="82" y="16"/>
                    </a:lnTo>
                    <a:lnTo>
                      <a:pt x="82" y="26"/>
                    </a:lnTo>
                    <a:lnTo>
                      <a:pt x="85" y="30"/>
                    </a:lnTo>
                    <a:lnTo>
                      <a:pt x="83" y="36"/>
                    </a:lnTo>
                    <a:lnTo>
                      <a:pt x="82" y="40"/>
                    </a:lnTo>
                    <a:lnTo>
                      <a:pt x="77" y="40"/>
                    </a:lnTo>
                    <a:lnTo>
                      <a:pt x="77" y="35"/>
                    </a:lnTo>
                    <a:lnTo>
                      <a:pt x="72" y="38"/>
                    </a:lnTo>
                    <a:lnTo>
                      <a:pt x="70" y="43"/>
                    </a:lnTo>
                    <a:lnTo>
                      <a:pt x="67" y="45"/>
                    </a:lnTo>
                    <a:lnTo>
                      <a:pt x="67" y="51"/>
                    </a:lnTo>
                    <a:lnTo>
                      <a:pt x="63" y="45"/>
                    </a:lnTo>
                    <a:lnTo>
                      <a:pt x="60" y="45"/>
                    </a:lnTo>
                    <a:lnTo>
                      <a:pt x="60" y="41"/>
                    </a:lnTo>
                    <a:lnTo>
                      <a:pt x="63" y="36"/>
                    </a:lnTo>
                    <a:lnTo>
                      <a:pt x="63" y="33"/>
                    </a:lnTo>
                    <a:lnTo>
                      <a:pt x="58" y="33"/>
                    </a:lnTo>
                    <a:lnTo>
                      <a:pt x="62" y="30"/>
                    </a:lnTo>
                    <a:lnTo>
                      <a:pt x="58" y="25"/>
                    </a:lnTo>
                    <a:lnTo>
                      <a:pt x="62" y="28"/>
                    </a:lnTo>
                    <a:lnTo>
                      <a:pt x="65" y="23"/>
                    </a:lnTo>
                    <a:lnTo>
                      <a:pt x="65" y="21"/>
                    </a:lnTo>
                    <a:lnTo>
                      <a:pt x="60" y="20"/>
                    </a:lnTo>
                    <a:lnTo>
                      <a:pt x="63" y="16"/>
                    </a:lnTo>
                    <a:lnTo>
                      <a:pt x="60" y="13"/>
                    </a:lnTo>
                    <a:lnTo>
                      <a:pt x="58" y="15"/>
                    </a:lnTo>
                    <a:lnTo>
                      <a:pt x="55" y="11"/>
                    </a:lnTo>
                    <a:lnTo>
                      <a:pt x="50" y="8"/>
                    </a:lnTo>
                    <a:lnTo>
                      <a:pt x="50" y="5"/>
                    </a:lnTo>
                    <a:lnTo>
                      <a:pt x="47" y="1"/>
                    </a:lnTo>
                    <a:lnTo>
                      <a:pt x="42" y="1"/>
                    </a:lnTo>
                    <a:lnTo>
                      <a:pt x="37" y="0"/>
                    </a:lnTo>
                    <a:lnTo>
                      <a:pt x="30" y="1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8" y="3"/>
                    </a:lnTo>
                    <a:lnTo>
                      <a:pt x="42" y="5"/>
                    </a:lnTo>
                    <a:lnTo>
                      <a:pt x="45" y="6"/>
                    </a:lnTo>
                    <a:lnTo>
                      <a:pt x="43" y="8"/>
                    </a:lnTo>
                    <a:lnTo>
                      <a:pt x="38" y="6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42" y="13"/>
                    </a:lnTo>
                    <a:lnTo>
                      <a:pt x="47" y="18"/>
                    </a:lnTo>
                    <a:lnTo>
                      <a:pt x="45" y="20"/>
                    </a:lnTo>
                    <a:lnTo>
                      <a:pt x="43" y="21"/>
                    </a:lnTo>
                    <a:lnTo>
                      <a:pt x="43" y="18"/>
                    </a:lnTo>
                    <a:lnTo>
                      <a:pt x="38" y="15"/>
                    </a:lnTo>
                    <a:lnTo>
                      <a:pt x="35" y="18"/>
                    </a:lnTo>
                    <a:lnTo>
                      <a:pt x="32" y="16"/>
                    </a:lnTo>
                    <a:lnTo>
                      <a:pt x="33" y="15"/>
                    </a:lnTo>
                    <a:lnTo>
                      <a:pt x="30" y="10"/>
                    </a:lnTo>
                    <a:lnTo>
                      <a:pt x="25" y="8"/>
                    </a:lnTo>
                    <a:lnTo>
                      <a:pt x="22" y="10"/>
                    </a:lnTo>
                    <a:lnTo>
                      <a:pt x="25" y="15"/>
                    </a:lnTo>
                    <a:lnTo>
                      <a:pt x="23" y="16"/>
                    </a:lnTo>
                    <a:lnTo>
                      <a:pt x="20" y="13"/>
                    </a:lnTo>
                    <a:lnTo>
                      <a:pt x="17" y="11"/>
                    </a:lnTo>
                    <a:lnTo>
                      <a:pt x="15" y="15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18" y="20"/>
                    </a:lnTo>
                    <a:lnTo>
                      <a:pt x="13" y="21"/>
                    </a:lnTo>
                    <a:lnTo>
                      <a:pt x="17" y="25"/>
                    </a:lnTo>
                    <a:lnTo>
                      <a:pt x="23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20" y="30"/>
                    </a:lnTo>
                    <a:lnTo>
                      <a:pt x="18" y="30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7" y="26"/>
                    </a:lnTo>
                    <a:lnTo>
                      <a:pt x="10" y="31"/>
                    </a:lnTo>
                    <a:lnTo>
                      <a:pt x="12" y="35"/>
                    </a:lnTo>
                    <a:lnTo>
                      <a:pt x="10" y="35"/>
                    </a:lnTo>
                    <a:lnTo>
                      <a:pt x="7" y="30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5" y="35"/>
                    </a:lnTo>
                    <a:lnTo>
                      <a:pt x="8" y="40"/>
                    </a:lnTo>
                    <a:lnTo>
                      <a:pt x="15" y="40"/>
                    </a:lnTo>
                    <a:lnTo>
                      <a:pt x="17" y="36"/>
                    </a:lnTo>
                    <a:lnTo>
                      <a:pt x="23" y="35"/>
                    </a:lnTo>
                    <a:lnTo>
                      <a:pt x="25" y="31"/>
                    </a:lnTo>
                    <a:lnTo>
                      <a:pt x="27" y="33"/>
                    </a:lnTo>
                    <a:lnTo>
                      <a:pt x="27" y="35"/>
                    </a:lnTo>
                    <a:lnTo>
                      <a:pt x="30" y="35"/>
                    </a:lnTo>
                    <a:lnTo>
                      <a:pt x="32" y="33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0" y="33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7" y="33"/>
                    </a:lnTo>
                    <a:lnTo>
                      <a:pt x="47" y="35"/>
                    </a:lnTo>
                    <a:lnTo>
                      <a:pt x="45" y="38"/>
                    </a:lnTo>
                    <a:lnTo>
                      <a:pt x="47" y="40"/>
                    </a:lnTo>
                    <a:lnTo>
                      <a:pt x="50" y="38"/>
                    </a:lnTo>
                    <a:lnTo>
                      <a:pt x="55" y="41"/>
                    </a:lnTo>
                    <a:lnTo>
                      <a:pt x="53" y="41"/>
                    </a:lnTo>
                    <a:lnTo>
                      <a:pt x="50" y="41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37" y="46"/>
                    </a:lnTo>
                    <a:lnTo>
                      <a:pt x="37" y="48"/>
                    </a:lnTo>
                    <a:lnTo>
                      <a:pt x="43" y="50"/>
                    </a:lnTo>
                    <a:lnTo>
                      <a:pt x="48" y="50"/>
                    </a:lnTo>
                    <a:lnTo>
                      <a:pt x="50" y="46"/>
                    </a:lnTo>
                    <a:lnTo>
                      <a:pt x="53" y="46"/>
                    </a:lnTo>
                    <a:lnTo>
                      <a:pt x="53" y="50"/>
                    </a:lnTo>
                    <a:lnTo>
                      <a:pt x="50" y="53"/>
                    </a:lnTo>
                    <a:lnTo>
                      <a:pt x="42" y="55"/>
                    </a:lnTo>
                    <a:lnTo>
                      <a:pt x="38" y="53"/>
                    </a:lnTo>
                    <a:lnTo>
                      <a:pt x="35" y="56"/>
                    </a:lnTo>
                    <a:lnTo>
                      <a:pt x="33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30" y="53"/>
                    </a:lnTo>
                    <a:lnTo>
                      <a:pt x="25" y="56"/>
                    </a:lnTo>
                    <a:lnTo>
                      <a:pt x="23" y="55"/>
                    </a:lnTo>
                    <a:lnTo>
                      <a:pt x="18" y="55"/>
                    </a:lnTo>
                    <a:lnTo>
                      <a:pt x="15" y="56"/>
                    </a:lnTo>
                    <a:lnTo>
                      <a:pt x="10" y="55"/>
                    </a:lnTo>
                    <a:lnTo>
                      <a:pt x="7" y="56"/>
                    </a:lnTo>
                    <a:lnTo>
                      <a:pt x="3" y="56"/>
                    </a:lnTo>
                    <a:lnTo>
                      <a:pt x="7" y="60"/>
                    </a:lnTo>
                    <a:lnTo>
                      <a:pt x="8" y="65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23" y="65"/>
                    </a:lnTo>
                    <a:lnTo>
                      <a:pt x="32" y="65"/>
                    </a:lnTo>
                    <a:lnTo>
                      <a:pt x="38" y="65"/>
                    </a:lnTo>
                    <a:lnTo>
                      <a:pt x="37" y="66"/>
                    </a:lnTo>
                    <a:lnTo>
                      <a:pt x="33" y="70"/>
                    </a:lnTo>
                    <a:lnTo>
                      <a:pt x="33" y="71"/>
                    </a:lnTo>
                    <a:lnTo>
                      <a:pt x="38" y="75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8" y="73"/>
                    </a:lnTo>
                    <a:lnTo>
                      <a:pt x="47" y="75"/>
                    </a:lnTo>
                    <a:lnTo>
                      <a:pt x="43" y="78"/>
                    </a:lnTo>
                    <a:lnTo>
                      <a:pt x="40" y="81"/>
                    </a:lnTo>
                    <a:lnTo>
                      <a:pt x="45" y="85"/>
                    </a:lnTo>
                    <a:lnTo>
                      <a:pt x="50" y="80"/>
                    </a:lnTo>
                    <a:lnTo>
                      <a:pt x="57" y="81"/>
                    </a:lnTo>
                    <a:lnTo>
                      <a:pt x="57" y="83"/>
                    </a:lnTo>
                    <a:lnTo>
                      <a:pt x="53" y="81"/>
                    </a:lnTo>
                    <a:lnTo>
                      <a:pt x="50" y="83"/>
                    </a:lnTo>
                    <a:lnTo>
                      <a:pt x="47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38" y="91"/>
                    </a:lnTo>
                    <a:lnTo>
                      <a:pt x="37" y="91"/>
                    </a:lnTo>
                    <a:lnTo>
                      <a:pt x="33" y="93"/>
                    </a:lnTo>
                    <a:lnTo>
                      <a:pt x="32" y="90"/>
                    </a:lnTo>
                    <a:lnTo>
                      <a:pt x="28" y="86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7" y="95"/>
                    </a:lnTo>
                    <a:lnTo>
                      <a:pt x="28" y="95"/>
                    </a:lnTo>
                    <a:lnTo>
                      <a:pt x="27" y="96"/>
                    </a:lnTo>
                    <a:lnTo>
                      <a:pt x="27" y="103"/>
                    </a:lnTo>
                    <a:lnTo>
                      <a:pt x="32" y="103"/>
                    </a:lnTo>
                    <a:lnTo>
                      <a:pt x="33" y="101"/>
                    </a:lnTo>
                    <a:lnTo>
                      <a:pt x="38" y="103"/>
                    </a:lnTo>
                    <a:lnTo>
                      <a:pt x="45" y="104"/>
                    </a:lnTo>
                    <a:lnTo>
                      <a:pt x="52" y="101"/>
                    </a:lnTo>
                    <a:lnTo>
                      <a:pt x="57" y="103"/>
                    </a:lnTo>
                    <a:lnTo>
                      <a:pt x="60" y="101"/>
                    </a:lnTo>
                    <a:lnTo>
                      <a:pt x="60" y="103"/>
                    </a:lnTo>
                    <a:lnTo>
                      <a:pt x="63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5D5B42C-884C-4E43-A607-DA004D25E041}"/>
                </a:ext>
              </a:extLst>
            </p:cNvPr>
            <p:cNvGrpSpPr/>
            <p:nvPr/>
          </p:nvGrpSpPr>
          <p:grpSpPr>
            <a:xfrm>
              <a:off x="4480005" y="1824354"/>
              <a:ext cx="1839757" cy="1294911"/>
              <a:chOff x="4480005" y="1824354"/>
              <a:chExt cx="1839757" cy="1294911"/>
            </a:xfrm>
            <a:grpFill/>
          </p:grpSpPr>
          <p:sp>
            <p:nvSpPr>
              <p:cNvPr id="92" name="Freeform 109">
                <a:extLst>
                  <a:ext uri="{FF2B5EF4-FFF2-40B4-BE49-F238E27FC236}">
                    <a16:creationId xmlns:a16="http://schemas.microsoft.com/office/drawing/2014/main" id="{4E3DBAD3-4164-C445-960B-FA86C8567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965" y="3107851"/>
                <a:ext cx="40669" cy="10376"/>
              </a:xfrm>
              <a:custGeom>
                <a:avLst/>
                <a:gdLst/>
                <a:ahLst/>
                <a:cxnLst>
                  <a:cxn ang="0">
                    <a:pos x="2" y="20"/>
                  </a:cxn>
                  <a:cxn ang="0">
                    <a:pos x="5" y="19"/>
                  </a:cxn>
                  <a:cxn ang="0">
                    <a:pos x="20" y="19"/>
                  </a:cxn>
                  <a:cxn ang="0">
                    <a:pos x="23" y="14"/>
                  </a:cxn>
                  <a:cxn ang="0">
                    <a:pos x="28" y="14"/>
                  </a:cxn>
                  <a:cxn ang="0">
                    <a:pos x="33" y="10"/>
                  </a:cxn>
                  <a:cxn ang="0">
                    <a:pos x="36" y="10"/>
                  </a:cxn>
                  <a:cxn ang="0">
                    <a:pos x="38" y="12"/>
                  </a:cxn>
                  <a:cxn ang="0">
                    <a:pos x="41" y="9"/>
                  </a:cxn>
                  <a:cxn ang="0">
                    <a:pos x="45" y="9"/>
                  </a:cxn>
                  <a:cxn ang="0">
                    <a:pos x="50" y="12"/>
                  </a:cxn>
                  <a:cxn ang="0">
                    <a:pos x="55" y="12"/>
                  </a:cxn>
                  <a:cxn ang="0">
                    <a:pos x="61" y="14"/>
                  </a:cxn>
                  <a:cxn ang="0">
                    <a:pos x="70" y="17"/>
                  </a:cxn>
                  <a:cxn ang="0">
                    <a:pos x="75" y="17"/>
                  </a:cxn>
                  <a:cxn ang="0">
                    <a:pos x="76" y="14"/>
                  </a:cxn>
                  <a:cxn ang="0">
                    <a:pos x="75" y="12"/>
                  </a:cxn>
                  <a:cxn ang="0">
                    <a:pos x="73" y="12"/>
                  </a:cxn>
                  <a:cxn ang="0">
                    <a:pos x="61" y="5"/>
                  </a:cxn>
                  <a:cxn ang="0">
                    <a:pos x="58" y="5"/>
                  </a:cxn>
                  <a:cxn ang="0">
                    <a:pos x="50" y="2"/>
                  </a:cxn>
                  <a:cxn ang="0">
                    <a:pos x="43" y="2"/>
                  </a:cxn>
                  <a:cxn ang="0">
                    <a:pos x="40" y="0"/>
                  </a:cxn>
                  <a:cxn ang="0">
                    <a:pos x="33" y="2"/>
                  </a:cxn>
                  <a:cxn ang="0">
                    <a:pos x="25" y="9"/>
                  </a:cxn>
                  <a:cxn ang="0">
                    <a:pos x="20" y="9"/>
                  </a:cxn>
                  <a:cxn ang="0">
                    <a:pos x="16" y="10"/>
                  </a:cxn>
                  <a:cxn ang="0">
                    <a:pos x="7" y="10"/>
                  </a:cxn>
                  <a:cxn ang="0">
                    <a:pos x="7" y="14"/>
                  </a:cxn>
                  <a:cxn ang="0">
                    <a:pos x="13" y="15"/>
                  </a:cxn>
                  <a:cxn ang="0">
                    <a:pos x="18" y="15"/>
                  </a:cxn>
                  <a:cxn ang="0">
                    <a:pos x="15" y="19"/>
                  </a:cxn>
                  <a:cxn ang="0">
                    <a:pos x="8" y="19"/>
                  </a:cxn>
                  <a:cxn ang="0">
                    <a:pos x="3" y="12"/>
                  </a:cxn>
                  <a:cxn ang="0">
                    <a:pos x="0" y="17"/>
                  </a:cxn>
                  <a:cxn ang="0">
                    <a:pos x="2" y="19"/>
                  </a:cxn>
                  <a:cxn ang="0">
                    <a:pos x="2" y="20"/>
                  </a:cxn>
                </a:cxnLst>
                <a:rect l="0" t="0" r="r" b="b"/>
                <a:pathLst>
                  <a:path w="76" h="20">
                    <a:moveTo>
                      <a:pt x="2" y="20"/>
                    </a:moveTo>
                    <a:lnTo>
                      <a:pt x="5" y="19"/>
                    </a:lnTo>
                    <a:lnTo>
                      <a:pt x="20" y="19"/>
                    </a:lnTo>
                    <a:lnTo>
                      <a:pt x="23" y="14"/>
                    </a:lnTo>
                    <a:lnTo>
                      <a:pt x="28" y="14"/>
                    </a:lnTo>
                    <a:lnTo>
                      <a:pt x="33" y="10"/>
                    </a:lnTo>
                    <a:lnTo>
                      <a:pt x="36" y="10"/>
                    </a:lnTo>
                    <a:lnTo>
                      <a:pt x="38" y="12"/>
                    </a:lnTo>
                    <a:lnTo>
                      <a:pt x="41" y="9"/>
                    </a:lnTo>
                    <a:lnTo>
                      <a:pt x="45" y="9"/>
                    </a:lnTo>
                    <a:lnTo>
                      <a:pt x="50" y="12"/>
                    </a:lnTo>
                    <a:lnTo>
                      <a:pt x="55" y="12"/>
                    </a:lnTo>
                    <a:lnTo>
                      <a:pt x="61" y="14"/>
                    </a:lnTo>
                    <a:lnTo>
                      <a:pt x="70" y="17"/>
                    </a:lnTo>
                    <a:lnTo>
                      <a:pt x="75" y="17"/>
                    </a:lnTo>
                    <a:lnTo>
                      <a:pt x="76" y="14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61" y="5"/>
                    </a:lnTo>
                    <a:lnTo>
                      <a:pt x="58" y="5"/>
                    </a:lnTo>
                    <a:lnTo>
                      <a:pt x="50" y="2"/>
                    </a:lnTo>
                    <a:lnTo>
                      <a:pt x="43" y="2"/>
                    </a:lnTo>
                    <a:lnTo>
                      <a:pt x="40" y="0"/>
                    </a:lnTo>
                    <a:lnTo>
                      <a:pt x="33" y="2"/>
                    </a:lnTo>
                    <a:lnTo>
                      <a:pt x="25" y="9"/>
                    </a:lnTo>
                    <a:lnTo>
                      <a:pt x="20" y="9"/>
                    </a:lnTo>
                    <a:lnTo>
                      <a:pt x="16" y="10"/>
                    </a:lnTo>
                    <a:lnTo>
                      <a:pt x="7" y="10"/>
                    </a:lnTo>
                    <a:lnTo>
                      <a:pt x="7" y="14"/>
                    </a:lnTo>
                    <a:lnTo>
                      <a:pt x="13" y="15"/>
                    </a:lnTo>
                    <a:lnTo>
                      <a:pt x="18" y="15"/>
                    </a:lnTo>
                    <a:lnTo>
                      <a:pt x="15" y="19"/>
                    </a:lnTo>
                    <a:lnTo>
                      <a:pt x="8" y="19"/>
                    </a:lnTo>
                    <a:lnTo>
                      <a:pt x="3" y="12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2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3" name="Freeform 145">
                <a:extLst>
                  <a:ext uri="{FF2B5EF4-FFF2-40B4-BE49-F238E27FC236}">
                    <a16:creationId xmlns:a16="http://schemas.microsoft.com/office/drawing/2014/main" id="{243D419B-1859-7042-9429-BD0B25275F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8816" y="3053896"/>
                <a:ext cx="27826" cy="8301"/>
              </a:xfrm>
              <a:custGeom>
                <a:avLst/>
                <a:gdLst/>
                <a:ahLst/>
                <a:cxnLst>
                  <a:cxn ang="0">
                    <a:pos x="41" y="14"/>
                  </a:cxn>
                  <a:cxn ang="0">
                    <a:pos x="44" y="9"/>
                  </a:cxn>
                  <a:cxn ang="0">
                    <a:pos x="51" y="10"/>
                  </a:cxn>
                  <a:cxn ang="0">
                    <a:pos x="49" y="12"/>
                  </a:cxn>
                  <a:cxn ang="0">
                    <a:pos x="41" y="14"/>
                  </a:cxn>
                  <a:cxn ang="0">
                    <a:pos x="41" y="14"/>
                  </a:cxn>
                  <a:cxn ang="0">
                    <a:pos x="36" y="2"/>
                  </a:cxn>
                  <a:cxn ang="0">
                    <a:pos x="33" y="0"/>
                  </a:cxn>
                  <a:cxn ang="0">
                    <a:pos x="23" y="2"/>
                  </a:cxn>
                  <a:cxn ang="0">
                    <a:pos x="5" y="0"/>
                  </a:cxn>
                  <a:cxn ang="0">
                    <a:pos x="3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13" y="15"/>
                  </a:cxn>
                  <a:cxn ang="0">
                    <a:pos x="16" y="15"/>
                  </a:cxn>
                  <a:cxn ang="0">
                    <a:pos x="24" y="14"/>
                  </a:cxn>
                  <a:cxn ang="0">
                    <a:pos x="28" y="15"/>
                  </a:cxn>
                  <a:cxn ang="0">
                    <a:pos x="34" y="12"/>
                  </a:cxn>
                  <a:cxn ang="0">
                    <a:pos x="41" y="5"/>
                  </a:cxn>
                  <a:cxn ang="0">
                    <a:pos x="38" y="4"/>
                  </a:cxn>
                  <a:cxn ang="0">
                    <a:pos x="36" y="2"/>
                  </a:cxn>
                </a:cxnLst>
                <a:rect l="0" t="0" r="r" b="b"/>
                <a:pathLst>
                  <a:path w="51" h="15">
                    <a:moveTo>
                      <a:pt x="41" y="14"/>
                    </a:moveTo>
                    <a:lnTo>
                      <a:pt x="44" y="9"/>
                    </a:lnTo>
                    <a:lnTo>
                      <a:pt x="51" y="10"/>
                    </a:lnTo>
                    <a:lnTo>
                      <a:pt x="49" y="12"/>
                    </a:lnTo>
                    <a:lnTo>
                      <a:pt x="41" y="14"/>
                    </a:lnTo>
                    <a:lnTo>
                      <a:pt x="41" y="14"/>
                    </a:lnTo>
                    <a:close/>
                    <a:moveTo>
                      <a:pt x="36" y="2"/>
                    </a:moveTo>
                    <a:lnTo>
                      <a:pt x="33" y="0"/>
                    </a:lnTo>
                    <a:lnTo>
                      <a:pt x="23" y="2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4"/>
                    </a:lnTo>
                    <a:lnTo>
                      <a:pt x="13" y="15"/>
                    </a:lnTo>
                    <a:lnTo>
                      <a:pt x="16" y="15"/>
                    </a:lnTo>
                    <a:lnTo>
                      <a:pt x="24" y="14"/>
                    </a:lnTo>
                    <a:lnTo>
                      <a:pt x="28" y="15"/>
                    </a:lnTo>
                    <a:lnTo>
                      <a:pt x="34" y="12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4" name="Freeform 146">
                <a:extLst>
                  <a:ext uri="{FF2B5EF4-FFF2-40B4-BE49-F238E27FC236}">
                    <a16:creationId xmlns:a16="http://schemas.microsoft.com/office/drawing/2014/main" id="{CCCAF9B4-5DBA-6D4F-8307-739045B215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6741" y="3037295"/>
                <a:ext cx="50301" cy="29052"/>
              </a:xfrm>
              <a:custGeom>
                <a:avLst/>
                <a:gdLst/>
                <a:ahLst/>
                <a:cxnLst>
                  <a:cxn ang="0">
                    <a:pos x="87" y="42"/>
                  </a:cxn>
                  <a:cxn ang="0">
                    <a:pos x="88" y="45"/>
                  </a:cxn>
                  <a:cxn ang="0">
                    <a:pos x="83" y="40"/>
                  </a:cxn>
                  <a:cxn ang="0">
                    <a:pos x="85" y="40"/>
                  </a:cxn>
                  <a:cxn ang="0">
                    <a:pos x="12" y="7"/>
                  </a:cxn>
                  <a:cxn ang="0">
                    <a:pos x="10" y="15"/>
                  </a:cxn>
                  <a:cxn ang="0">
                    <a:pos x="5" y="22"/>
                  </a:cxn>
                  <a:cxn ang="0">
                    <a:pos x="7" y="28"/>
                  </a:cxn>
                  <a:cxn ang="0">
                    <a:pos x="7" y="35"/>
                  </a:cxn>
                  <a:cxn ang="0">
                    <a:pos x="2" y="42"/>
                  </a:cxn>
                  <a:cxn ang="0">
                    <a:pos x="7" y="47"/>
                  </a:cxn>
                  <a:cxn ang="0">
                    <a:pos x="9" y="53"/>
                  </a:cxn>
                  <a:cxn ang="0">
                    <a:pos x="14" y="57"/>
                  </a:cxn>
                  <a:cxn ang="0">
                    <a:pos x="22" y="43"/>
                  </a:cxn>
                  <a:cxn ang="0">
                    <a:pos x="24" y="37"/>
                  </a:cxn>
                  <a:cxn ang="0">
                    <a:pos x="30" y="40"/>
                  </a:cxn>
                  <a:cxn ang="0">
                    <a:pos x="37" y="37"/>
                  </a:cxn>
                  <a:cxn ang="0">
                    <a:pos x="40" y="42"/>
                  </a:cxn>
                  <a:cxn ang="0">
                    <a:pos x="53" y="35"/>
                  </a:cxn>
                  <a:cxn ang="0">
                    <a:pos x="67" y="35"/>
                  </a:cxn>
                  <a:cxn ang="0">
                    <a:pos x="75" y="37"/>
                  </a:cxn>
                  <a:cxn ang="0">
                    <a:pos x="88" y="38"/>
                  </a:cxn>
                  <a:cxn ang="0">
                    <a:pos x="92" y="35"/>
                  </a:cxn>
                  <a:cxn ang="0">
                    <a:pos x="92" y="28"/>
                  </a:cxn>
                  <a:cxn ang="0">
                    <a:pos x="78" y="23"/>
                  </a:cxn>
                  <a:cxn ang="0">
                    <a:pos x="68" y="22"/>
                  </a:cxn>
                  <a:cxn ang="0">
                    <a:pos x="55" y="15"/>
                  </a:cxn>
                  <a:cxn ang="0">
                    <a:pos x="53" y="13"/>
                  </a:cxn>
                  <a:cxn ang="0">
                    <a:pos x="72" y="17"/>
                  </a:cxn>
                  <a:cxn ang="0">
                    <a:pos x="73" y="13"/>
                  </a:cxn>
                  <a:cxn ang="0">
                    <a:pos x="62" y="12"/>
                  </a:cxn>
                  <a:cxn ang="0">
                    <a:pos x="53" y="5"/>
                  </a:cxn>
                  <a:cxn ang="0">
                    <a:pos x="48" y="3"/>
                  </a:cxn>
                  <a:cxn ang="0">
                    <a:pos x="25" y="2"/>
                  </a:cxn>
                  <a:cxn ang="0">
                    <a:pos x="14" y="2"/>
                  </a:cxn>
                </a:cxnLst>
                <a:rect l="0" t="0" r="r" b="b"/>
                <a:pathLst>
                  <a:path w="95" h="57">
                    <a:moveTo>
                      <a:pt x="85" y="40"/>
                    </a:moveTo>
                    <a:lnTo>
                      <a:pt x="87" y="42"/>
                    </a:lnTo>
                    <a:lnTo>
                      <a:pt x="92" y="42"/>
                    </a:lnTo>
                    <a:lnTo>
                      <a:pt x="88" y="45"/>
                    </a:lnTo>
                    <a:lnTo>
                      <a:pt x="85" y="43"/>
                    </a:lnTo>
                    <a:lnTo>
                      <a:pt x="83" y="40"/>
                    </a:lnTo>
                    <a:lnTo>
                      <a:pt x="85" y="40"/>
                    </a:lnTo>
                    <a:lnTo>
                      <a:pt x="85" y="40"/>
                    </a:lnTo>
                    <a:close/>
                    <a:moveTo>
                      <a:pt x="10" y="5"/>
                    </a:moveTo>
                    <a:lnTo>
                      <a:pt x="12" y="7"/>
                    </a:lnTo>
                    <a:lnTo>
                      <a:pt x="9" y="12"/>
                    </a:lnTo>
                    <a:lnTo>
                      <a:pt x="10" y="15"/>
                    </a:lnTo>
                    <a:lnTo>
                      <a:pt x="10" y="20"/>
                    </a:lnTo>
                    <a:lnTo>
                      <a:pt x="5" y="22"/>
                    </a:lnTo>
                    <a:lnTo>
                      <a:pt x="5" y="23"/>
                    </a:lnTo>
                    <a:lnTo>
                      <a:pt x="7" y="28"/>
                    </a:lnTo>
                    <a:lnTo>
                      <a:pt x="7" y="32"/>
                    </a:lnTo>
                    <a:lnTo>
                      <a:pt x="7" y="35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7" y="47"/>
                    </a:lnTo>
                    <a:lnTo>
                      <a:pt x="5" y="52"/>
                    </a:lnTo>
                    <a:lnTo>
                      <a:pt x="9" y="53"/>
                    </a:lnTo>
                    <a:lnTo>
                      <a:pt x="10" y="55"/>
                    </a:lnTo>
                    <a:lnTo>
                      <a:pt x="14" y="57"/>
                    </a:lnTo>
                    <a:lnTo>
                      <a:pt x="17" y="50"/>
                    </a:lnTo>
                    <a:lnTo>
                      <a:pt x="22" y="43"/>
                    </a:lnTo>
                    <a:lnTo>
                      <a:pt x="22" y="40"/>
                    </a:lnTo>
                    <a:lnTo>
                      <a:pt x="24" y="37"/>
                    </a:lnTo>
                    <a:lnTo>
                      <a:pt x="27" y="40"/>
                    </a:lnTo>
                    <a:lnTo>
                      <a:pt x="30" y="40"/>
                    </a:lnTo>
                    <a:lnTo>
                      <a:pt x="34" y="35"/>
                    </a:lnTo>
                    <a:lnTo>
                      <a:pt x="37" y="37"/>
                    </a:lnTo>
                    <a:lnTo>
                      <a:pt x="37" y="40"/>
                    </a:lnTo>
                    <a:lnTo>
                      <a:pt x="40" y="42"/>
                    </a:lnTo>
                    <a:lnTo>
                      <a:pt x="47" y="40"/>
                    </a:lnTo>
                    <a:lnTo>
                      <a:pt x="53" y="35"/>
                    </a:lnTo>
                    <a:lnTo>
                      <a:pt x="60" y="35"/>
                    </a:lnTo>
                    <a:lnTo>
                      <a:pt x="67" y="35"/>
                    </a:lnTo>
                    <a:lnTo>
                      <a:pt x="72" y="33"/>
                    </a:lnTo>
                    <a:lnTo>
                      <a:pt x="75" y="37"/>
                    </a:lnTo>
                    <a:lnTo>
                      <a:pt x="82" y="37"/>
                    </a:lnTo>
                    <a:lnTo>
                      <a:pt x="88" y="38"/>
                    </a:lnTo>
                    <a:lnTo>
                      <a:pt x="90" y="35"/>
                    </a:lnTo>
                    <a:lnTo>
                      <a:pt x="92" y="35"/>
                    </a:lnTo>
                    <a:lnTo>
                      <a:pt x="95" y="32"/>
                    </a:lnTo>
                    <a:lnTo>
                      <a:pt x="92" y="28"/>
                    </a:lnTo>
                    <a:lnTo>
                      <a:pt x="83" y="23"/>
                    </a:lnTo>
                    <a:lnTo>
                      <a:pt x="78" y="23"/>
                    </a:lnTo>
                    <a:lnTo>
                      <a:pt x="73" y="22"/>
                    </a:lnTo>
                    <a:lnTo>
                      <a:pt x="68" y="22"/>
                    </a:lnTo>
                    <a:lnTo>
                      <a:pt x="62" y="18"/>
                    </a:lnTo>
                    <a:lnTo>
                      <a:pt x="55" y="15"/>
                    </a:lnTo>
                    <a:lnTo>
                      <a:pt x="52" y="15"/>
                    </a:lnTo>
                    <a:lnTo>
                      <a:pt x="53" y="13"/>
                    </a:lnTo>
                    <a:lnTo>
                      <a:pt x="62" y="15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73" y="13"/>
                    </a:lnTo>
                    <a:lnTo>
                      <a:pt x="70" y="13"/>
                    </a:lnTo>
                    <a:lnTo>
                      <a:pt x="62" y="12"/>
                    </a:lnTo>
                    <a:lnTo>
                      <a:pt x="58" y="5"/>
                    </a:lnTo>
                    <a:lnTo>
                      <a:pt x="53" y="5"/>
                    </a:lnTo>
                    <a:lnTo>
                      <a:pt x="52" y="5"/>
                    </a:lnTo>
                    <a:lnTo>
                      <a:pt x="48" y="3"/>
                    </a:lnTo>
                    <a:lnTo>
                      <a:pt x="29" y="0"/>
                    </a:lnTo>
                    <a:lnTo>
                      <a:pt x="25" y="2"/>
                    </a:lnTo>
                    <a:lnTo>
                      <a:pt x="22" y="0"/>
                    </a:lnTo>
                    <a:lnTo>
                      <a:pt x="14" y="2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5" name="Freeform 147">
                <a:extLst>
                  <a:ext uri="{FF2B5EF4-FFF2-40B4-BE49-F238E27FC236}">
                    <a16:creationId xmlns:a16="http://schemas.microsoft.com/office/drawing/2014/main" id="{DF40F3DF-7FB7-E840-8231-9733978AAD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1795" y="1857557"/>
                <a:ext cx="547967" cy="617365"/>
              </a:xfrm>
              <a:custGeom>
                <a:avLst/>
                <a:gdLst/>
                <a:ahLst/>
                <a:cxnLst>
                  <a:cxn ang="0">
                    <a:pos x="260" y="1134"/>
                  </a:cxn>
                  <a:cxn ang="0">
                    <a:pos x="186" y="1099"/>
                  </a:cxn>
                  <a:cxn ang="0">
                    <a:pos x="171" y="1031"/>
                  </a:cxn>
                  <a:cxn ang="0">
                    <a:pos x="172" y="991"/>
                  </a:cxn>
                  <a:cxn ang="0">
                    <a:pos x="151" y="945"/>
                  </a:cxn>
                  <a:cxn ang="0">
                    <a:pos x="151" y="898"/>
                  </a:cxn>
                  <a:cxn ang="0">
                    <a:pos x="202" y="878"/>
                  </a:cxn>
                  <a:cxn ang="0">
                    <a:pos x="202" y="852"/>
                  </a:cxn>
                  <a:cxn ang="0">
                    <a:pos x="245" y="792"/>
                  </a:cxn>
                  <a:cxn ang="0">
                    <a:pos x="240" y="747"/>
                  </a:cxn>
                  <a:cxn ang="0">
                    <a:pos x="220" y="696"/>
                  </a:cxn>
                  <a:cxn ang="0">
                    <a:pos x="201" y="663"/>
                  </a:cxn>
                  <a:cxn ang="0">
                    <a:pos x="204" y="543"/>
                  </a:cxn>
                  <a:cxn ang="0">
                    <a:pos x="88" y="438"/>
                  </a:cxn>
                  <a:cxn ang="0">
                    <a:pos x="13" y="372"/>
                  </a:cxn>
                  <a:cxn ang="0">
                    <a:pos x="41" y="330"/>
                  </a:cxn>
                  <a:cxn ang="0">
                    <a:pos x="152" y="259"/>
                  </a:cxn>
                  <a:cxn ang="0">
                    <a:pos x="209" y="158"/>
                  </a:cxn>
                  <a:cxn ang="0">
                    <a:pos x="335" y="126"/>
                  </a:cxn>
                  <a:cxn ang="0">
                    <a:pos x="416" y="131"/>
                  </a:cxn>
                  <a:cxn ang="0">
                    <a:pos x="533" y="153"/>
                  </a:cxn>
                  <a:cxn ang="0">
                    <a:pos x="616" y="104"/>
                  </a:cxn>
                  <a:cxn ang="0">
                    <a:pos x="659" y="48"/>
                  </a:cxn>
                  <a:cxn ang="0">
                    <a:pos x="843" y="43"/>
                  </a:cxn>
                  <a:cxn ang="0">
                    <a:pos x="727" y="58"/>
                  </a:cxn>
                  <a:cxn ang="0">
                    <a:pos x="878" y="84"/>
                  </a:cxn>
                  <a:cxn ang="0">
                    <a:pos x="744" y="131"/>
                  </a:cxn>
                  <a:cxn ang="0">
                    <a:pos x="802" y="181"/>
                  </a:cxn>
                  <a:cxn ang="0">
                    <a:pos x="828" y="239"/>
                  </a:cxn>
                  <a:cxn ang="0">
                    <a:pos x="1023" y="202"/>
                  </a:cxn>
                  <a:cxn ang="0">
                    <a:pos x="950" y="277"/>
                  </a:cxn>
                  <a:cxn ang="0">
                    <a:pos x="868" y="412"/>
                  </a:cxn>
                  <a:cxn ang="0">
                    <a:pos x="868" y="488"/>
                  </a:cxn>
                  <a:cxn ang="0">
                    <a:pos x="830" y="535"/>
                  </a:cxn>
                  <a:cxn ang="0">
                    <a:pos x="817" y="581"/>
                  </a:cxn>
                  <a:cxn ang="0">
                    <a:pos x="820" y="636"/>
                  </a:cxn>
                  <a:cxn ang="0">
                    <a:pos x="755" y="649"/>
                  </a:cxn>
                  <a:cxn ang="0">
                    <a:pos x="720" y="684"/>
                  </a:cxn>
                  <a:cxn ang="0">
                    <a:pos x="795" y="747"/>
                  </a:cxn>
                  <a:cxn ang="0">
                    <a:pos x="744" y="762"/>
                  </a:cxn>
                  <a:cxn ang="0">
                    <a:pos x="679" y="772"/>
                  </a:cxn>
                  <a:cxn ang="0">
                    <a:pos x="760" y="815"/>
                  </a:cxn>
                  <a:cxn ang="0">
                    <a:pos x="674" y="873"/>
                  </a:cxn>
                  <a:cxn ang="0">
                    <a:pos x="571" y="902"/>
                  </a:cxn>
                  <a:cxn ang="0">
                    <a:pos x="468" y="966"/>
                  </a:cxn>
                  <a:cxn ang="0">
                    <a:pos x="383" y="995"/>
                  </a:cxn>
                  <a:cxn ang="0">
                    <a:pos x="358" y="1069"/>
                  </a:cxn>
                  <a:cxn ang="0">
                    <a:pos x="320" y="1124"/>
                  </a:cxn>
                  <a:cxn ang="0">
                    <a:pos x="290" y="1176"/>
                  </a:cxn>
                  <a:cxn ang="0">
                    <a:pos x="360" y="1081"/>
                  </a:cxn>
                  <a:cxn ang="0">
                    <a:pos x="709" y="797"/>
                  </a:cxn>
                  <a:cxn ang="0">
                    <a:pos x="790" y="689"/>
                  </a:cxn>
                  <a:cxn ang="0">
                    <a:pos x="863" y="608"/>
                  </a:cxn>
                  <a:cxn ang="0">
                    <a:pos x="842" y="511"/>
                  </a:cxn>
                  <a:cxn ang="0">
                    <a:pos x="897" y="284"/>
                  </a:cxn>
                  <a:cxn ang="0">
                    <a:pos x="636" y="28"/>
                  </a:cxn>
                  <a:cxn ang="0">
                    <a:pos x="526" y="133"/>
                  </a:cxn>
                  <a:cxn ang="0">
                    <a:pos x="187" y="528"/>
                  </a:cxn>
                  <a:cxn ang="0">
                    <a:pos x="192" y="618"/>
                  </a:cxn>
                  <a:cxn ang="0">
                    <a:pos x="177" y="682"/>
                  </a:cxn>
                  <a:cxn ang="0">
                    <a:pos x="151" y="963"/>
                  </a:cxn>
                  <a:cxn ang="0">
                    <a:pos x="230" y="747"/>
                  </a:cxn>
                  <a:cxn ang="0">
                    <a:pos x="201" y="805"/>
                  </a:cxn>
                </a:cxnLst>
                <a:rect l="0" t="0" r="r" b="b"/>
                <a:pathLst>
                  <a:path w="1024" h="1189">
                    <a:moveTo>
                      <a:pt x="304" y="1177"/>
                    </a:moveTo>
                    <a:lnTo>
                      <a:pt x="292" y="1172"/>
                    </a:lnTo>
                    <a:lnTo>
                      <a:pt x="287" y="1172"/>
                    </a:lnTo>
                    <a:lnTo>
                      <a:pt x="285" y="1171"/>
                    </a:lnTo>
                    <a:lnTo>
                      <a:pt x="287" y="1167"/>
                    </a:lnTo>
                    <a:lnTo>
                      <a:pt x="289" y="1167"/>
                    </a:lnTo>
                    <a:lnTo>
                      <a:pt x="287" y="1166"/>
                    </a:lnTo>
                    <a:lnTo>
                      <a:pt x="285" y="1166"/>
                    </a:lnTo>
                    <a:lnTo>
                      <a:pt x="284" y="1167"/>
                    </a:lnTo>
                    <a:lnTo>
                      <a:pt x="282" y="1167"/>
                    </a:lnTo>
                    <a:lnTo>
                      <a:pt x="282" y="1174"/>
                    </a:lnTo>
                    <a:lnTo>
                      <a:pt x="279" y="1172"/>
                    </a:lnTo>
                    <a:lnTo>
                      <a:pt x="277" y="1172"/>
                    </a:lnTo>
                    <a:lnTo>
                      <a:pt x="275" y="1174"/>
                    </a:lnTo>
                    <a:lnTo>
                      <a:pt x="275" y="1177"/>
                    </a:lnTo>
                    <a:lnTo>
                      <a:pt x="274" y="1179"/>
                    </a:lnTo>
                    <a:lnTo>
                      <a:pt x="272" y="1177"/>
                    </a:lnTo>
                    <a:lnTo>
                      <a:pt x="272" y="1174"/>
                    </a:lnTo>
                    <a:lnTo>
                      <a:pt x="274" y="1171"/>
                    </a:lnTo>
                    <a:lnTo>
                      <a:pt x="274" y="1167"/>
                    </a:lnTo>
                    <a:lnTo>
                      <a:pt x="279" y="1163"/>
                    </a:lnTo>
                    <a:lnTo>
                      <a:pt x="277" y="1161"/>
                    </a:lnTo>
                    <a:lnTo>
                      <a:pt x="275" y="1164"/>
                    </a:lnTo>
                    <a:lnTo>
                      <a:pt x="272" y="1171"/>
                    </a:lnTo>
                    <a:lnTo>
                      <a:pt x="267" y="1174"/>
                    </a:lnTo>
                    <a:lnTo>
                      <a:pt x="265" y="1172"/>
                    </a:lnTo>
                    <a:lnTo>
                      <a:pt x="267" y="1171"/>
                    </a:lnTo>
                    <a:lnTo>
                      <a:pt x="270" y="1167"/>
                    </a:lnTo>
                    <a:lnTo>
                      <a:pt x="272" y="1163"/>
                    </a:lnTo>
                    <a:lnTo>
                      <a:pt x="274" y="1159"/>
                    </a:lnTo>
                    <a:lnTo>
                      <a:pt x="272" y="1159"/>
                    </a:lnTo>
                    <a:lnTo>
                      <a:pt x="269" y="1159"/>
                    </a:lnTo>
                    <a:lnTo>
                      <a:pt x="267" y="1163"/>
                    </a:lnTo>
                    <a:lnTo>
                      <a:pt x="264" y="1164"/>
                    </a:lnTo>
                    <a:lnTo>
                      <a:pt x="264" y="1163"/>
                    </a:lnTo>
                    <a:lnTo>
                      <a:pt x="264" y="1159"/>
                    </a:lnTo>
                    <a:lnTo>
                      <a:pt x="267" y="1156"/>
                    </a:lnTo>
                    <a:lnTo>
                      <a:pt x="267" y="1156"/>
                    </a:lnTo>
                    <a:lnTo>
                      <a:pt x="264" y="1156"/>
                    </a:lnTo>
                    <a:lnTo>
                      <a:pt x="264" y="1158"/>
                    </a:lnTo>
                    <a:lnTo>
                      <a:pt x="260" y="1159"/>
                    </a:lnTo>
                    <a:lnTo>
                      <a:pt x="259" y="1163"/>
                    </a:lnTo>
                    <a:lnTo>
                      <a:pt x="257" y="1159"/>
                    </a:lnTo>
                    <a:lnTo>
                      <a:pt x="257" y="1158"/>
                    </a:lnTo>
                    <a:lnTo>
                      <a:pt x="255" y="1158"/>
                    </a:lnTo>
                    <a:lnTo>
                      <a:pt x="254" y="1159"/>
                    </a:lnTo>
                    <a:lnTo>
                      <a:pt x="250" y="1159"/>
                    </a:lnTo>
                    <a:lnTo>
                      <a:pt x="252" y="1158"/>
                    </a:lnTo>
                    <a:lnTo>
                      <a:pt x="259" y="1153"/>
                    </a:lnTo>
                    <a:lnTo>
                      <a:pt x="259" y="1149"/>
                    </a:lnTo>
                    <a:lnTo>
                      <a:pt x="262" y="1149"/>
                    </a:lnTo>
                    <a:lnTo>
                      <a:pt x="267" y="1146"/>
                    </a:lnTo>
                    <a:lnTo>
                      <a:pt x="265" y="1144"/>
                    </a:lnTo>
                    <a:lnTo>
                      <a:pt x="260" y="1148"/>
                    </a:lnTo>
                    <a:lnTo>
                      <a:pt x="257" y="1149"/>
                    </a:lnTo>
                    <a:lnTo>
                      <a:pt x="255" y="1148"/>
                    </a:lnTo>
                    <a:lnTo>
                      <a:pt x="257" y="1148"/>
                    </a:lnTo>
                    <a:lnTo>
                      <a:pt x="260" y="1146"/>
                    </a:lnTo>
                    <a:lnTo>
                      <a:pt x="265" y="1143"/>
                    </a:lnTo>
                    <a:lnTo>
                      <a:pt x="269" y="1141"/>
                    </a:lnTo>
                    <a:lnTo>
                      <a:pt x="272" y="1139"/>
                    </a:lnTo>
                    <a:lnTo>
                      <a:pt x="272" y="1136"/>
                    </a:lnTo>
                    <a:lnTo>
                      <a:pt x="270" y="1134"/>
                    </a:lnTo>
                    <a:lnTo>
                      <a:pt x="269" y="1134"/>
                    </a:lnTo>
                    <a:lnTo>
                      <a:pt x="264" y="1139"/>
                    </a:lnTo>
                    <a:lnTo>
                      <a:pt x="257" y="1144"/>
                    </a:lnTo>
                    <a:lnTo>
                      <a:pt x="252" y="1144"/>
                    </a:lnTo>
                    <a:lnTo>
                      <a:pt x="250" y="1144"/>
                    </a:lnTo>
                    <a:lnTo>
                      <a:pt x="254" y="1143"/>
                    </a:lnTo>
                    <a:lnTo>
                      <a:pt x="255" y="1141"/>
                    </a:lnTo>
                    <a:lnTo>
                      <a:pt x="259" y="1138"/>
                    </a:lnTo>
                    <a:lnTo>
                      <a:pt x="260" y="1134"/>
                    </a:lnTo>
                    <a:lnTo>
                      <a:pt x="259" y="1131"/>
                    </a:lnTo>
                    <a:lnTo>
                      <a:pt x="255" y="1129"/>
                    </a:lnTo>
                    <a:lnTo>
                      <a:pt x="254" y="1131"/>
                    </a:lnTo>
                    <a:lnTo>
                      <a:pt x="254" y="1133"/>
                    </a:lnTo>
                    <a:lnTo>
                      <a:pt x="255" y="1134"/>
                    </a:lnTo>
                    <a:lnTo>
                      <a:pt x="255" y="1136"/>
                    </a:lnTo>
                    <a:lnTo>
                      <a:pt x="252" y="1139"/>
                    </a:lnTo>
                    <a:lnTo>
                      <a:pt x="249" y="1138"/>
                    </a:lnTo>
                    <a:lnTo>
                      <a:pt x="245" y="1138"/>
                    </a:lnTo>
                    <a:lnTo>
                      <a:pt x="244" y="1138"/>
                    </a:lnTo>
                    <a:lnTo>
                      <a:pt x="240" y="1139"/>
                    </a:lnTo>
                    <a:lnTo>
                      <a:pt x="239" y="1143"/>
                    </a:lnTo>
                    <a:lnTo>
                      <a:pt x="235" y="1144"/>
                    </a:lnTo>
                    <a:lnTo>
                      <a:pt x="234" y="1143"/>
                    </a:lnTo>
                    <a:lnTo>
                      <a:pt x="232" y="1141"/>
                    </a:lnTo>
                    <a:lnTo>
                      <a:pt x="227" y="1141"/>
                    </a:lnTo>
                    <a:lnTo>
                      <a:pt x="225" y="1144"/>
                    </a:lnTo>
                    <a:lnTo>
                      <a:pt x="222" y="1143"/>
                    </a:lnTo>
                    <a:lnTo>
                      <a:pt x="220" y="1144"/>
                    </a:lnTo>
                    <a:lnTo>
                      <a:pt x="220" y="1146"/>
                    </a:lnTo>
                    <a:lnTo>
                      <a:pt x="220" y="1148"/>
                    </a:lnTo>
                    <a:lnTo>
                      <a:pt x="219" y="1148"/>
                    </a:lnTo>
                    <a:lnTo>
                      <a:pt x="212" y="1148"/>
                    </a:lnTo>
                    <a:lnTo>
                      <a:pt x="212" y="1144"/>
                    </a:lnTo>
                    <a:lnTo>
                      <a:pt x="214" y="1143"/>
                    </a:lnTo>
                    <a:lnTo>
                      <a:pt x="217" y="1141"/>
                    </a:lnTo>
                    <a:lnTo>
                      <a:pt x="220" y="1139"/>
                    </a:lnTo>
                    <a:lnTo>
                      <a:pt x="219" y="1138"/>
                    </a:lnTo>
                    <a:lnTo>
                      <a:pt x="215" y="1136"/>
                    </a:lnTo>
                    <a:lnTo>
                      <a:pt x="215" y="1133"/>
                    </a:lnTo>
                    <a:lnTo>
                      <a:pt x="212" y="1129"/>
                    </a:lnTo>
                    <a:lnTo>
                      <a:pt x="211" y="1128"/>
                    </a:lnTo>
                    <a:lnTo>
                      <a:pt x="209" y="1129"/>
                    </a:lnTo>
                    <a:lnTo>
                      <a:pt x="202" y="1133"/>
                    </a:lnTo>
                    <a:lnTo>
                      <a:pt x="199" y="1133"/>
                    </a:lnTo>
                    <a:lnTo>
                      <a:pt x="197" y="1129"/>
                    </a:lnTo>
                    <a:lnTo>
                      <a:pt x="202" y="1126"/>
                    </a:lnTo>
                    <a:lnTo>
                      <a:pt x="201" y="1124"/>
                    </a:lnTo>
                    <a:lnTo>
                      <a:pt x="197" y="1124"/>
                    </a:lnTo>
                    <a:lnTo>
                      <a:pt x="197" y="1123"/>
                    </a:lnTo>
                    <a:lnTo>
                      <a:pt x="202" y="1121"/>
                    </a:lnTo>
                    <a:lnTo>
                      <a:pt x="206" y="1121"/>
                    </a:lnTo>
                    <a:lnTo>
                      <a:pt x="207" y="1119"/>
                    </a:lnTo>
                    <a:lnTo>
                      <a:pt x="206" y="1116"/>
                    </a:lnTo>
                    <a:lnTo>
                      <a:pt x="204" y="1116"/>
                    </a:lnTo>
                    <a:lnTo>
                      <a:pt x="199" y="1118"/>
                    </a:lnTo>
                    <a:lnTo>
                      <a:pt x="196" y="1119"/>
                    </a:lnTo>
                    <a:lnTo>
                      <a:pt x="191" y="1121"/>
                    </a:lnTo>
                    <a:lnTo>
                      <a:pt x="187" y="1119"/>
                    </a:lnTo>
                    <a:lnTo>
                      <a:pt x="187" y="1118"/>
                    </a:lnTo>
                    <a:lnTo>
                      <a:pt x="191" y="1116"/>
                    </a:lnTo>
                    <a:lnTo>
                      <a:pt x="194" y="1114"/>
                    </a:lnTo>
                    <a:lnTo>
                      <a:pt x="192" y="1111"/>
                    </a:lnTo>
                    <a:lnTo>
                      <a:pt x="199" y="1109"/>
                    </a:lnTo>
                    <a:lnTo>
                      <a:pt x="201" y="1108"/>
                    </a:lnTo>
                    <a:lnTo>
                      <a:pt x="199" y="1106"/>
                    </a:lnTo>
                    <a:lnTo>
                      <a:pt x="194" y="1104"/>
                    </a:lnTo>
                    <a:lnTo>
                      <a:pt x="192" y="1106"/>
                    </a:lnTo>
                    <a:lnTo>
                      <a:pt x="189" y="1108"/>
                    </a:lnTo>
                    <a:lnTo>
                      <a:pt x="186" y="1106"/>
                    </a:lnTo>
                    <a:lnTo>
                      <a:pt x="187" y="1104"/>
                    </a:lnTo>
                    <a:lnTo>
                      <a:pt x="191" y="1103"/>
                    </a:lnTo>
                    <a:lnTo>
                      <a:pt x="194" y="1104"/>
                    </a:lnTo>
                    <a:lnTo>
                      <a:pt x="196" y="1101"/>
                    </a:lnTo>
                    <a:lnTo>
                      <a:pt x="199" y="1099"/>
                    </a:lnTo>
                    <a:lnTo>
                      <a:pt x="199" y="1098"/>
                    </a:lnTo>
                    <a:lnTo>
                      <a:pt x="201" y="1096"/>
                    </a:lnTo>
                    <a:lnTo>
                      <a:pt x="199" y="1094"/>
                    </a:lnTo>
                    <a:lnTo>
                      <a:pt x="192" y="1096"/>
                    </a:lnTo>
                    <a:lnTo>
                      <a:pt x="191" y="1098"/>
                    </a:lnTo>
                    <a:lnTo>
                      <a:pt x="189" y="1099"/>
                    </a:lnTo>
                    <a:lnTo>
                      <a:pt x="186" y="1099"/>
                    </a:lnTo>
                    <a:lnTo>
                      <a:pt x="187" y="1098"/>
                    </a:lnTo>
                    <a:lnTo>
                      <a:pt x="191" y="1096"/>
                    </a:lnTo>
                    <a:lnTo>
                      <a:pt x="191" y="1094"/>
                    </a:lnTo>
                    <a:lnTo>
                      <a:pt x="189" y="1093"/>
                    </a:lnTo>
                    <a:lnTo>
                      <a:pt x="191" y="1091"/>
                    </a:lnTo>
                    <a:lnTo>
                      <a:pt x="191" y="1089"/>
                    </a:lnTo>
                    <a:lnTo>
                      <a:pt x="189" y="1088"/>
                    </a:lnTo>
                    <a:lnTo>
                      <a:pt x="186" y="1088"/>
                    </a:lnTo>
                    <a:lnTo>
                      <a:pt x="186" y="1086"/>
                    </a:lnTo>
                    <a:lnTo>
                      <a:pt x="187" y="1084"/>
                    </a:lnTo>
                    <a:lnTo>
                      <a:pt x="186" y="1083"/>
                    </a:lnTo>
                    <a:lnTo>
                      <a:pt x="184" y="1081"/>
                    </a:lnTo>
                    <a:lnTo>
                      <a:pt x="182" y="1083"/>
                    </a:lnTo>
                    <a:lnTo>
                      <a:pt x="179" y="1083"/>
                    </a:lnTo>
                    <a:lnTo>
                      <a:pt x="177" y="1081"/>
                    </a:lnTo>
                    <a:lnTo>
                      <a:pt x="181" y="1078"/>
                    </a:lnTo>
                    <a:lnTo>
                      <a:pt x="182" y="1076"/>
                    </a:lnTo>
                    <a:lnTo>
                      <a:pt x="184" y="1076"/>
                    </a:lnTo>
                    <a:lnTo>
                      <a:pt x="189" y="1071"/>
                    </a:lnTo>
                    <a:lnTo>
                      <a:pt x="186" y="1068"/>
                    </a:lnTo>
                    <a:lnTo>
                      <a:pt x="187" y="1066"/>
                    </a:lnTo>
                    <a:lnTo>
                      <a:pt x="189" y="1065"/>
                    </a:lnTo>
                    <a:lnTo>
                      <a:pt x="187" y="1063"/>
                    </a:lnTo>
                    <a:lnTo>
                      <a:pt x="186" y="1065"/>
                    </a:lnTo>
                    <a:lnTo>
                      <a:pt x="184" y="1066"/>
                    </a:lnTo>
                    <a:lnTo>
                      <a:pt x="182" y="1063"/>
                    </a:lnTo>
                    <a:lnTo>
                      <a:pt x="179" y="1063"/>
                    </a:lnTo>
                    <a:lnTo>
                      <a:pt x="177" y="1065"/>
                    </a:lnTo>
                    <a:lnTo>
                      <a:pt x="176" y="1065"/>
                    </a:lnTo>
                    <a:lnTo>
                      <a:pt x="174" y="1060"/>
                    </a:lnTo>
                    <a:lnTo>
                      <a:pt x="176" y="1058"/>
                    </a:lnTo>
                    <a:lnTo>
                      <a:pt x="181" y="1056"/>
                    </a:lnTo>
                    <a:lnTo>
                      <a:pt x="182" y="1055"/>
                    </a:lnTo>
                    <a:lnTo>
                      <a:pt x="179" y="1053"/>
                    </a:lnTo>
                    <a:lnTo>
                      <a:pt x="176" y="1053"/>
                    </a:lnTo>
                    <a:lnTo>
                      <a:pt x="171" y="1055"/>
                    </a:lnTo>
                    <a:lnTo>
                      <a:pt x="169" y="1055"/>
                    </a:lnTo>
                    <a:lnTo>
                      <a:pt x="167" y="1053"/>
                    </a:lnTo>
                    <a:lnTo>
                      <a:pt x="169" y="1050"/>
                    </a:lnTo>
                    <a:lnTo>
                      <a:pt x="172" y="1050"/>
                    </a:lnTo>
                    <a:lnTo>
                      <a:pt x="176" y="1050"/>
                    </a:lnTo>
                    <a:lnTo>
                      <a:pt x="182" y="1050"/>
                    </a:lnTo>
                    <a:lnTo>
                      <a:pt x="184" y="1048"/>
                    </a:lnTo>
                    <a:lnTo>
                      <a:pt x="181" y="1048"/>
                    </a:lnTo>
                    <a:lnTo>
                      <a:pt x="179" y="1046"/>
                    </a:lnTo>
                    <a:lnTo>
                      <a:pt x="174" y="1046"/>
                    </a:lnTo>
                    <a:lnTo>
                      <a:pt x="172" y="1048"/>
                    </a:lnTo>
                    <a:lnTo>
                      <a:pt x="169" y="1048"/>
                    </a:lnTo>
                    <a:lnTo>
                      <a:pt x="167" y="1045"/>
                    </a:lnTo>
                    <a:lnTo>
                      <a:pt x="171" y="1043"/>
                    </a:lnTo>
                    <a:lnTo>
                      <a:pt x="177" y="1041"/>
                    </a:lnTo>
                    <a:lnTo>
                      <a:pt x="179" y="1041"/>
                    </a:lnTo>
                    <a:lnTo>
                      <a:pt x="177" y="1040"/>
                    </a:lnTo>
                    <a:lnTo>
                      <a:pt x="174" y="1040"/>
                    </a:lnTo>
                    <a:lnTo>
                      <a:pt x="171" y="1038"/>
                    </a:lnTo>
                    <a:lnTo>
                      <a:pt x="172" y="1038"/>
                    </a:lnTo>
                    <a:lnTo>
                      <a:pt x="176" y="1038"/>
                    </a:lnTo>
                    <a:lnTo>
                      <a:pt x="179" y="1040"/>
                    </a:lnTo>
                    <a:lnTo>
                      <a:pt x="184" y="1036"/>
                    </a:lnTo>
                    <a:lnTo>
                      <a:pt x="186" y="1035"/>
                    </a:lnTo>
                    <a:lnTo>
                      <a:pt x="184" y="1035"/>
                    </a:lnTo>
                    <a:lnTo>
                      <a:pt x="182" y="1035"/>
                    </a:lnTo>
                    <a:lnTo>
                      <a:pt x="179" y="1036"/>
                    </a:lnTo>
                    <a:lnTo>
                      <a:pt x="177" y="1036"/>
                    </a:lnTo>
                    <a:lnTo>
                      <a:pt x="176" y="1035"/>
                    </a:lnTo>
                    <a:lnTo>
                      <a:pt x="171" y="1035"/>
                    </a:lnTo>
                    <a:lnTo>
                      <a:pt x="169" y="1038"/>
                    </a:lnTo>
                    <a:lnTo>
                      <a:pt x="167" y="1040"/>
                    </a:lnTo>
                    <a:lnTo>
                      <a:pt x="164" y="1036"/>
                    </a:lnTo>
                    <a:lnTo>
                      <a:pt x="162" y="1035"/>
                    </a:lnTo>
                    <a:lnTo>
                      <a:pt x="166" y="1031"/>
                    </a:lnTo>
                    <a:lnTo>
                      <a:pt x="171" y="1031"/>
                    </a:lnTo>
                    <a:lnTo>
                      <a:pt x="174" y="1028"/>
                    </a:lnTo>
                    <a:lnTo>
                      <a:pt x="172" y="1028"/>
                    </a:lnTo>
                    <a:lnTo>
                      <a:pt x="169" y="1028"/>
                    </a:lnTo>
                    <a:lnTo>
                      <a:pt x="164" y="1028"/>
                    </a:lnTo>
                    <a:lnTo>
                      <a:pt x="164" y="1025"/>
                    </a:lnTo>
                    <a:lnTo>
                      <a:pt x="164" y="1021"/>
                    </a:lnTo>
                    <a:lnTo>
                      <a:pt x="169" y="1021"/>
                    </a:lnTo>
                    <a:lnTo>
                      <a:pt x="177" y="1021"/>
                    </a:lnTo>
                    <a:lnTo>
                      <a:pt x="184" y="1020"/>
                    </a:lnTo>
                    <a:lnTo>
                      <a:pt x="189" y="1020"/>
                    </a:lnTo>
                    <a:lnTo>
                      <a:pt x="192" y="1016"/>
                    </a:lnTo>
                    <a:lnTo>
                      <a:pt x="194" y="1016"/>
                    </a:lnTo>
                    <a:lnTo>
                      <a:pt x="189" y="1016"/>
                    </a:lnTo>
                    <a:lnTo>
                      <a:pt x="186" y="1015"/>
                    </a:lnTo>
                    <a:lnTo>
                      <a:pt x="182" y="1018"/>
                    </a:lnTo>
                    <a:lnTo>
                      <a:pt x="176" y="1018"/>
                    </a:lnTo>
                    <a:lnTo>
                      <a:pt x="171" y="1020"/>
                    </a:lnTo>
                    <a:lnTo>
                      <a:pt x="167" y="1020"/>
                    </a:lnTo>
                    <a:lnTo>
                      <a:pt x="166" y="1018"/>
                    </a:lnTo>
                    <a:lnTo>
                      <a:pt x="166" y="1018"/>
                    </a:lnTo>
                    <a:lnTo>
                      <a:pt x="174" y="1018"/>
                    </a:lnTo>
                    <a:lnTo>
                      <a:pt x="177" y="1016"/>
                    </a:lnTo>
                    <a:lnTo>
                      <a:pt x="181" y="1011"/>
                    </a:lnTo>
                    <a:lnTo>
                      <a:pt x="186" y="1010"/>
                    </a:lnTo>
                    <a:lnTo>
                      <a:pt x="187" y="1011"/>
                    </a:lnTo>
                    <a:lnTo>
                      <a:pt x="191" y="1013"/>
                    </a:lnTo>
                    <a:lnTo>
                      <a:pt x="192" y="1013"/>
                    </a:lnTo>
                    <a:lnTo>
                      <a:pt x="194" y="1011"/>
                    </a:lnTo>
                    <a:lnTo>
                      <a:pt x="192" y="1011"/>
                    </a:lnTo>
                    <a:lnTo>
                      <a:pt x="187" y="1008"/>
                    </a:lnTo>
                    <a:lnTo>
                      <a:pt x="186" y="1008"/>
                    </a:lnTo>
                    <a:lnTo>
                      <a:pt x="184" y="1006"/>
                    </a:lnTo>
                    <a:lnTo>
                      <a:pt x="186" y="1005"/>
                    </a:lnTo>
                    <a:lnTo>
                      <a:pt x="187" y="1005"/>
                    </a:lnTo>
                    <a:lnTo>
                      <a:pt x="189" y="1003"/>
                    </a:lnTo>
                    <a:lnTo>
                      <a:pt x="191" y="1003"/>
                    </a:lnTo>
                    <a:lnTo>
                      <a:pt x="194" y="1006"/>
                    </a:lnTo>
                    <a:lnTo>
                      <a:pt x="197" y="1010"/>
                    </a:lnTo>
                    <a:lnTo>
                      <a:pt x="201" y="1011"/>
                    </a:lnTo>
                    <a:lnTo>
                      <a:pt x="201" y="1011"/>
                    </a:lnTo>
                    <a:lnTo>
                      <a:pt x="199" y="1008"/>
                    </a:lnTo>
                    <a:lnTo>
                      <a:pt x="197" y="1006"/>
                    </a:lnTo>
                    <a:lnTo>
                      <a:pt x="197" y="1000"/>
                    </a:lnTo>
                    <a:lnTo>
                      <a:pt x="199" y="996"/>
                    </a:lnTo>
                    <a:lnTo>
                      <a:pt x="201" y="995"/>
                    </a:lnTo>
                    <a:lnTo>
                      <a:pt x="197" y="995"/>
                    </a:lnTo>
                    <a:lnTo>
                      <a:pt x="194" y="996"/>
                    </a:lnTo>
                    <a:lnTo>
                      <a:pt x="192" y="998"/>
                    </a:lnTo>
                    <a:lnTo>
                      <a:pt x="189" y="995"/>
                    </a:lnTo>
                    <a:lnTo>
                      <a:pt x="189" y="996"/>
                    </a:lnTo>
                    <a:lnTo>
                      <a:pt x="182" y="1001"/>
                    </a:lnTo>
                    <a:lnTo>
                      <a:pt x="179" y="1003"/>
                    </a:lnTo>
                    <a:lnTo>
                      <a:pt x="179" y="1001"/>
                    </a:lnTo>
                    <a:lnTo>
                      <a:pt x="179" y="1000"/>
                    </a:lnTo>
                    <a:lnTo>
                      <a:pt x="181" y="998"/>
                    </a:lnTo>
                    <a:lnTo>
                      <a:pt x="181" y="998"/>
                    </a:lnTo>
                    <a:lnTo>
                      <a:pt x="177" y="998"/>
                    </a:lnTo>
                    <a:lnTo>
                      <a:pt x="176" y="1001"/>
                    </a:lnTo>
                    <a:lnTo>
                      <a:pt x="174" y="1001"/>
                    </a:lnTo>
                    <a:lnTo>
                      <a:pt x="167" y="1006"/>
                    </a:lnTo>
                    <a:lnTo>
                      <a:pt x="166" y="1008"/>
                    </a:lnTo>
                    <a:lnTo>
                      <a:pt x="162" y="1013"/>
                    </a:lnTo>
                    <a:lnTo>
                      <a:pt x="161" y="1013"/>
                    </a:lnTo>
                    <a:lnTo>
                      <a:pt x="159" y="1008"/>
                    </a:lnTo>
                    <a:lnTo>
                      <a:pt x="159" y="1005"/>
                    </a:lnTo>
                    <a:lnTo>
                      <a:pt x="162" y="1001"/>
                    </a:lnTo>
                    <a:lnTo>
                      <a:pt x="159" y="1000"/>
                    </a:lnTo>
                    <a:lnTo>
                      <a:pt x="159" y="996"/>
                    </a:lnTo>
                    <a:lnTo>
                      <a:pt x="159" y="995"/>
                    </a:lnTo>
                    <a:lnTo>
                      <a:pt x="162" y="993"/>
                    </a:lnTo>
                    <a:lnTo>
                      <a:pt x="169" y="990"/>
                    </a:lnTo>
                    <a:lnTo>
                      <a:pt x="172" y="991"/>
                    </a:lnTo>
                    <a:lnTo>
                      <a:pt x="177" y="988"/>
                    </a:lnTo>
                    <a:lnTo>
                      <a:pt x="179" y="986"/>
                    </a:lnTo>
                    <a:lnTo>
                      <a:pt x="177" y="985"/>
                    </a:lnTo>
                    <a:lnTo>
                      <a:pt x="174" y="985"/>
                    </a:lnTo>
                    <a:lnTo>
                      <a:pt x="172" y="986"/>
                    </a:lnTo>
                    <a:lnTo>
                      <a:pt x="169" y="986"/>
                    </a:lnTo>
                    <a:lnTo>
                      <a:pt x="167" y="988"/>
                    </a:lnTo>
                    <a:lnTo>
                      <a:pt x="164" y="991"/>
                    </a:lnTo>
                    <a:lnTo>
                      <a:pt x="161" y="990"/>
                    </a:lnTo>
                    <a:lnTo>
                      <a:pt x="159" y="988"/>
                    </a:lnTo>
                    <a:lnTo>
                      <a:pt x="159" y="981"/>
                    </a:lnTo>
                    <a:lnTo>
                      <a:pt x="162" y="980"/>
                    </a:lnTo>
                    <a:lnTo>
                      <a:pt x="162" y="976"/>
                    </a:lnTo>
                    <a:lnTo>
                      <a:pt x="161" y="973"/>
                    </a:lnTo>
                    <a:lnTo>
                      <a:pt x="159" y="973"/>
                    </a:lnTo>
                    <a:lnTo>
                      <a:pt x="157" y="976"/>
                    </a:lnTo>
                    <a:lnTo>
                      <a:pt x="154" y="975"/>
                    </a:lnTo>
                    <a:lnTo>
                      <a:pt x="154" y="973"/>
                    </a:lnTo>
                    <a:lnTo>
                      <a:pt x="157" y="970"/>
                    </a:lnTo>
                    <a:lnTo>
                      <a:pt x="162" y="970"/>
                    </a:lnTo>
                    <a:lnTo>
                      <a:pt x="164" y="968"/>
                    </a:lnTo>
                    <a:lnTo>
                      <a:pt x="171" y="966"/>
                    </a:lnTo>
                    <a:lnTo>
                      <a:pt x="172" y="965"/>
                    </a:lnTo>
                    <a:lnTo>
                      <a:pt x="176" y="963"/>
                    </a:lnTo>
                    <a:lnTo>
                      <a:pt x="177" y="960"/>
                    </a:lnTo>
                    <a:lnTo>
                      <a:pt x="179" y="958"/>
                    </a:lnTo>
                    <a:lnTo>
                      <a:pt x="181" y="960"/>
                    </a:lnTo>
                    <a:lnTo>
                      <a:pt x="182" y="958"/>
                    </a:lnTo>
                    <a:lnTo>
                      <a:pt x="189" y="958"/>
                    </a:lnTo>
                    <a:lnTo>
                      <a:pt x="192" y="960"/>
                    </a:lnTo>
                    <a:lnTo>
                      <a:pt x="196" y="960"/>
                    </a:lnTo>
                    <a:lnTo>
                      <a:pt x="194" y="957"/>
                    </a:lnTo>
                    <a:lnTo>
                      <a:pt x="189" y="957"/>
                    </a:lnTo>
                    <a:lnTo>
                      <a:pt x="189" y="953"/>
                    </a:lnTo>
                    <a:lnTo>
                      <a:pt x="186" y="953"/>
                    </a:lnTo>
                    <a:lnTo>
                      <a:pt x="177" y="958"/>
                    </a:lnTo>
                    <a:lnTo>
                      <a:pt x="174" y="958"/>
                    </a:lnTo>
                    <a:lnTo>
                      <a:pt x="172" y="958"/>
                    </a:lnTo>
                    <a:lnTo>
                      <a:pt x="171" y="962"/>
                    </a:lnTo>
                    <a:lnTo>
                      <a:pt x="169" y="963"/>
                    </a:lnTo>
                    <a:lnTo>
                      <a:pt x="164" y="965"/>
                    </a:lnTo>
                    <a:lnTo>
                      <a:pt x="161" y="968"/>
                    </a:lnTo>
                    <a:lnTo>
                      <a:pt x="159" y="968"/>
                    </a:lnTo>
                    <a:lnTo>
                      <a:pt x="159" y="966"/>
                    </a:lnTo>
                    <a:lnTo>
                      <a:pt x="159" y="963"/>
                    </a:lnTo>
                    <a:lnTo>
                      <a:pt x="156" y="963"/>
                    </a:lnTo>
                    <a:lnTo>
                      <a:pt x="156" y="962"/>
                    </a:lnTo>
                    <a:lnTo>
                      <a:pt x="159" y="958"/>
                    </a:lnTo>
                    <a:lnTo>
                      <a:pt x="156" y="957"/>
                    </a:lnTo>
                    <a:lnTo>
                      <a:pt x="154" y="957"/>
                    </a:lnTo>
                    <a:lnTo>
                      <a:pt x="151" y="953"/>
                    </a:lnTo>
                    <a:lnTo>
                      <a:pt x="151" y="953"/>
                    </a:lnTo>
                    <a:lnTo>
                      <a:pt x="156" y="950"/>
                    </a:lnTo>
                    <a:lnTo>
                      <a:pt x="159" y="948"/>
                    </a:lnTo>
                    <a:lnTo>
                      <a:pt x="161" y="947"/>
                    </a:lnTo>
                    <a:lnTo>
                      <a:pt x="162" y="950"/>
                    </a:lnTo>
                    <a:lnTo>
                      <a:pt x="167" y="950"/>
                    </a:lnTo>
                    <a:lnTo>
                      <a:pt x="171" y="948"/>
                    </a:lnTo>
                    <a:lnTo>
                      <a:pt x="174" y="945"/>
                    </a:lnTo>
                    <a:lnTo>
                      <a:pt x="177" y="947"/>
                    </a:lnTo>
                    <a:lnTo>
                      <a:pt x="179" y="943"/>
                    </a:lnTo>
                    <a:lnTo>
                      <a:pt x="177" y="942"/>
                    </a:lnTo>
                    <a:lnTo>
                      <a:pt x="174" y="942"/>
                    </a:lnTo>
                    <a:lnTo>
                      <a:pt x="169" y="945"/>
                    </a:lnTo>
                    <a:lnTo>
                      <a:pt x="167" y="947"/>
                    </a:lnTo>
                    <a:lnTo>
                      <a:pt x="164" y="947"/>
                    </a:lnTo>
                    <a:lnTo>
                      <a:pt x="161" y="943"/>
                    </a:lnTo>
                    <a:lnTo>
                      <a:pt x="159" y="943"/>
                    </a:lnTo>
                    <a:lnTo>
                      <a:pt x="157" y="945"/>
                    </a:lnTo>
                    <a:lnTo>
                      <a:pt x="152" y="948"/>
                    </a:lnTo>
                    <a:lnTo>
                      <a:pt x="154" y="947"/>
                    </a:lnTo>
                    <a:lnTo>
                      <a:pt x="151" y="945"/>
                    </a:lnTo>
                    <a:lnTo>
                      <a:pt x="149" y="947"/>
                    </a:lnTo>
                    <a:lnTo>
                      <a:pt x="146" y="945"/>
                    </a:lnTo>
                    <a:lnTo>
                      <a:pt x="146" y="945"/>
                    </a:lnTo>
                    <a:lnTo>
                      <a:pt x="149" y="943"/>
                    </a:lnTo>
                    <a:lnTo>
                      <a:pt x="156" y="942"/>
                    </a:lnTo>
                    <a:lnTo>
                      <a:pt x="162" y="938"/>
                    </a:lnTo>
                    <a:lnTo>
                      <a:pt x="166" y="937"/>
                    </a:lnTo>
                    <a:lnTo>
                      <a:pt x="172" y="935"/>
                    </a:lnTo>
                    <a:lnTo>
                      <a:pt x="177" y="932"/>
                    </a:lnTo>
                    <a:lnTo>
                      <a:pt x="184" y="923"/>
                    </a:lnTo>
                    <a:lnTo>
                      <a:pt x="192" y="920"/>
                    </a:lnTo>
                    <a:lnTo>
                      <a:pt x="197" y="918"/>
                    </a:lnTo>
                    <a:lnTo>
                      <a:pt x="202" y="918"/>
                    </a:lnTo>
                    <a:lnTo>
                      <a:pt x="204" y="917"/>
                    </a:lnTo>
                    <a:lnTo>
                      <a:pt x="204" y="915"/>
                    </a:lnTo>
                    <a:lnTo>
                      <a:pt x="201" y="915"/>
                    </a:lnTo>
                    <a:lnTo>
                      <a:pt x="194" y="915"/>
                    </a:lnTo>
                    <a:lnTo>
                      <a:pt x="182" y="922"/>
                    </a:lnTo>
                    <a:lnTo>
                      <a:pt x="177" y="927"/>
                    </a:lnTo>
                    <a:lnTo>
                      <a:pt x="172" y="932"/>
                    </a:lnTo>
                    <a:lnTo>
                      <a:pt x="169" y="933"/>
                    </a:lnTo>
                    <a:lnTo>
                      <a:pt x="161" y="935"/>
                    </a:lnTo>
                    <a:lnTo>
                      <a:pt x="157" y="937"/>
                    </a:lnTo>
                    <a:lnTo>
                      <a:pt x="149" y="940"/>
                    </a:lnTo>
                    <a:lnTo>
                      <a:pt x="144" y="940"/>
                    </a:lnTo>
                    <a:lnTo>
                      <a:pt x="144" y="938"/>
                    </a:lnTo>
                    <a:lnTo>
                      <a:pt x="146" y="937"/>
                    </a:lnTo>
                    <a:lnTo>
                      <a:pt x="146" y="928"/>
                    </a:lnTo>
                    <a:lnTo>
                      <a:pt x="147" y="925"/>
                    </a:lnTo>
                    <a:lnTo>
                      <a:pt x="151" y="925"/>
                    </a:lnTo>
                    <a:lnTo>
                      <a:pt x="154" y="928"/>
                    </a:lnTo>
                    <a:lnTo>
                      <a:pt x="157" y="927"/>
                    </a:lnTo>
                    <a:lnTo>
                      <a:pt x="162" y="927"/>
                    </a:lnTo>
                    <a:lnTo>
                      <a:pt x="167" y="927"/>
                    </a:lnTo>
                    <a:lnTo>
                      <a:pt x="166" y="925"/>
                    </a:lnTo>
                    <a:lnTo>
                      <a:pt x="162" y="923"/>
                    </a:lnTo>
                    <a:lnTo>
                      <a:pt x="157" y="923"/>
                    </a:lnTo>
                    <a:lnTo>
                      <a:pt x="156" y="925"/>
                    </a:lnTo>
                    <a:lnTo>
                      <a:pt x="152" y="925"/>
                    </a:lnTo>
                    <a:lnTo>
                      <a:pt x="151" y="922"/>
                    </a:lnTo>
                    <a:lnTo>
                      <a:pt x="152" y="920"/>
                    </a:lnTo>
                    <a:lnTo>
                      <a:pt x="156" y="918"/>
                    </a:lnTo>
                    <a:lnTo>
                      <a:pt x="161" y="922"/>
                    </a:lnTo>
                    <a:lnTo>
                      <a:pt x="164" y="922"/>
                    </a:lnTo>
                    <a:lnTo>
                      <a:pt x="169" y="920"/>
                    </a:lnTo>
                    <a:lnTo>
                      <a:pt x="167" y="918"/>
                    </a:lnTo>
                    <a:lnTo>
                      <a:pt x="164" y="917"/>
                    </a:lnTo>
                    <a:lnTo>
                      <a:pt x="162" y="918"/>
                    </a:lnTo>
                    <a:lnTo>
                      <a:pt x="162" y="917"/>
                    </a:lnTo>
                    <a:lnTo>
                      <a:pt x="162" y="915"/>
                    </a:lnTo>
                    <a:lnTo>
                      <a:pt x="166" y="913"/>
                    </a:lnTo>
                    <a:lnTo>
                      <a:pt x="167" y="915"/>
                    </a:lnTo>
                    <a:lnTo>
                      <a:pt x="169" y="913"/>
                    </a:lnTo>
                    <a:lnTo>
                      <a:pt x="172" y="915"/>
                    </a:lnTo>
                    <a:lnTo>
                      <a:pt x="174" y="913"/>
                    </a:lnTo>
                    <a:lnTo>
                      <a:pt x="174" y="912"/>
                    </a:lnTo>
                    <a:lnTo>
                      <a:pt x="174" y="908"/>
                    </a:lnTo>
                    <a:lnTo>
                      <a:pt x="172" y="908"/>
                    </a:lnTo>
                    <a:lnTo>
                      <a:pt x="171" y="907"/>
                    </a:lnTo>
                    <a:lnTo>
                      <a:pt x="169" y="908"/>
                    </a:lnTo>
                    <a:lnTo>
                      <a:pt x="164" y="910"/>
                    </a:lnTo>
                    <a:lnTo>
                      <a:pt x="154" y="907"/>
                    </a:lnTo>
                    <a:lnTo>
                      <a:pt x="149" y="907"/>
                    </a:lnTo>
                    <a:lnTo>
                      <a:pt x="147" y="903"/>
                    </a:lnTo>
                    <a:lnTo>
                      <a:pt x="147" y="903"/>
                    </a:lnTo>
                    <a:lnTo>
                      <a:pt x="152" y="903"/>
                    </a:lnTo>
                    <a:lnTo>
                      <a:pt x="156" y="903"/>
                    </a:lnTo>
                    <a:lnTo>
                      <a:pt x="157" y="903"/>
                    </a:lnTo>
                    <a:lnTo>
                      <a:pt x="156" y="902"/>
                    </a:lnTo>
                    <a:lnTo>
                      <a:pt x="152" y="902"/>
                    </a:lnTo>
                    <a:lnTo>
                      <a:pt x="151" y="900"/>
                    </a:lnTo>
                    <a:lnTo>
                      <a:pt x="151" y="898"/>
                    </a:lnTo>
                    <a:lnTo>
                      <a:pt x="157" y="898"/>
                    </a:lnTo>
                    <a:lnTo>
                      <a:pt x="159" y="897"/>
                    </a:lnTo>
                    <a:lnTo>
                      <a:pt x="164" y="897"/>
                    </a:lnTo>
                    <a:lnTo>
                      <a:pt x="179" y="897"/>
                    </a:lnTo>
                    <a:lnTo>
                      <a:pt x="182" y="897"/>
                    </a:lnTo>
                    <a:lnTo>
                      <a:pt x="187" y="897"/>
                    </a:lnTo>
                    <a:lnTo>
                      <a:pt x="191" y="897"/>
                    </a:lnTo>
                    <a:lnTo>
                      <a:pt x="189" y="895"/>
                    </a:lnTo>
                    <a:lnTo>
                      <a:pt x="184" y="892"/>
                    </a:lnTo>
                    <a:lnTo>
                      <a:pt x="177" y="892"/>
                    </a:lnTo>
                    <a:lnTo>
                      <a:pt x="169" y="893"/>
                    </a:lnTo>
                    <a:lnTo>
                      <a:pt x="164" y="893"/>
                    </a:lnTo>
                    <a:lnTo>
                      <a:pt x="162" y="893"/>
                    </a:lnTo>
                    <a:lnTo>
                      <a:pt x="161" y="892"/>
                    </a:lnTo>
                    <a:lnTo>
                      <a:pt x="156" y="893"/>
                    </a:lnTo>
                    <a:lnTo>
                      <a:pt x="152" y="895"/>
                    </a:lnTo>
                    <a:lnTo>
                      <a:pt x="151" y="895"/>
                    </a:lnTo>
                    <a:lnTo>
                      <a:pt x="152" y="892"/>
                    </a:lnTo>
                    <a:lnTo>
                      <a:pt x="154" y="888"/>
                    </a:lnTo>
                    <a:lnTo>
                      <a:pt x="159" y="887"/>
                    </a:lnTo>
                    <a:lnTo>
                      <a:pt x="162" y="885"/>
                    </a:lnTo>
                    <a:lnTo>
                      <a:pt x="166" y="883"/>
                    </a:lnTo>
                    <a:lnTo>
                      <a:pt x="167" y="878"/>
                    </a:lnTo>
                    <a:lnTo>
                      <a:pt x="172" y="877"/>
                    </a:lnTo>
                    <a:lnTo>
                      <a:pt x="174" y="877"/>
                    </a:lnTo>
                    <a:lnTo>
                      <a:pt x="176" y="877"/>
                    </a:lnTo>
                    <a:lnTo>
                      <a:pt x="179" y="877"/>
                    </a:lnTo>
                    <a:lnTo>
                      <a:pt x="182" y="877"/>
                    </a:lnTo>
                    <a:lnTo>
                      <a:pt x="186" y="877"/>
                    </a:lnTo>
                    <a:lnTo>
                      <a:pt x="187" y="877"/>
                    </a:lnTo>
                    <a:lnTo>
                      <a:pt x="192" y="878"/>
                    </a:lnTo>
                    <a:lnTo>
                      <a:pt x="196" y="883"/>
                    </a:lnTo>
                    <a:lnTo>
                      <a:pt x="201" y="882"/>
                    </a:lnTo>
                    <a:lnTo>
                      <a:pt x="206" y="883"/>
                    </a:lnTo>
                    <a:lnTo>
                      <a:pt x="211" y="888"/>
                    </a:lnTo>
                    <a:lnTo>
                      <a:pt x="215" y="892"/>
                    </a:lnTo>
                    <a:lnTo>
                      <a:pt x="222" y="893"/>
                    </a:lnTo>
                    <a:lnTo>
                      <a:pt x="225" y="892"/>
                    </a:lnTo>
                    <a:lnTo>
                      <a:pt x="227" y="892"/>
                    </a:lnTo>
                    <a:lnTo>
                      <a:pt x="227" y="890"/>
                    </a:lnTo>
                    <a:lnTo>
                      <a:pt x="227" y="888"/>
                    </a:lnTo>
                    <a:lnTo>
                      <a:pt x="224" y="890"/>
                    </a:lnTo>
                    <a:lnTo>
                      <a:pt x="222" y="890"/>
                    </a:lnTo>
                    <a:lnTo>
                      <a:pt x="219" y="890"/>
                    </a:lnTo>
                    <a:lnTo>
                      <a:pt x="212" y="887"/>
                    </a:lnTo>
                    <a:lnTo>
                      <a:pt x="209" y="882"/>
                    </a:lnTo>
                    <a:lnTo>
                      <a:pt x="209" y="880"/>
                    </a:lnTo>
                    <a:lnTo>
                      <a:pt x="211" y="880"/>
                    </a:lnTo>
                    <a:lnTo>
                      <a:pt x="219" y="880"/>
                    </a:lnTo>
                    <a:lnTo>
                      <a:pt x="224" y="877"/>
                    </a:lnTo>
                    <a:lnTo>
                      <a:pt x="227" y="875"/>
                    </a:lnTo>
                    <a:lnTo>
                      <a:pt x="225" y="873"/>
                    </a:lnTo>
                    <a:lnTo>
                      <a:pt x="219" y="872"/>
                    </a:lnTo>
                    <a:lnTo>
                      <a:pt x="217" y="873"/>
                    </a:lnTo>
                    <a:lnTo>
                      <a:pt x="217" y="875"/>
                    </a:lnTo>
                    <a:lnTo>
                      <a:pt x="219" y="877"/>
                    </a:lnTo>
                    <a:lnTo>
                      <a:pt x="217" y="877"/>
                    </a:lnTo>
                    <a:lnTo>
                      <a:pt x="211" y="877"/>
                    </a:lnTo>
                    <a:lnTo>
                      <a:pt x="209" y="875"/>
                    </a:lnTo>
                    <a:lnTo>
                      <a:pt x="207" y="872"/>
                    </a:lnTo>
                    <a:lnTo>
                      <a:pt x="211" y="872"/>
                    </a:lnTo>
                    <a:lnTo>
                      <a:pt x="212" y="872"/>
                    </a:lnTo>
                    <a:lnTo>
                      <a:pt x="214" y="870"/>
                    </a:lnTo>
                    <a:lnTo>
                      <a:pt x="212" y="868"/>
                    </a:lnTo>
                    <a:lnTo>
                      <a:pt x="209" y="868"/>
                    </a:lnTo>
                    <a:lnTo>
                      <a:pt x="207" y="868"/>
                    </a:lnTo>
                    <a:lnTo>
                      <a:pt x="206" y="868"/>
                    </a:lnTo>
                    <a:lnTo>
                      <a:pt x="204" y="868"/>
                    </a:lnTo>
                    <a:lnTo>
                      <a:pt x="204" y="870"/>
                    </a:lnTo>
                    <a:lnTo>
                      <a:pt x="204" y="872"/>
                    </a:lnTo>
                    <a:lnTo>
                      <a:pt x="204" y="875"/>
                    </a:lnTo>
                    <a:lnTo>
                      <a:pt x="202" y="878"/>
                    </a:lnTo>
                    <a:lnTo>
                      <a:pt x="199" y="880"/>
                    </a:lnTo>
                    <a:lnTo>
                      <a:pt x="196" y="878"/>
                    </a:lnTo>
                    <a:lnTo>
                      <a:pt x="191" y="873"/>
                    </a:lnTo>
                    <a:lnTo>
                      <a:pt x="187" y="873"/>
                    </a:lnTo>
                    <a:lnTo>
                      <a:pt x="186" y="872"/>
                    </a:lnTo>
                    <a:lnTo>
                      <a:pt x="184" y="870"/>
                    </a:lnTo>
                    <a:lnTo>
                      <a:pt x="182" y="870"/>
                    </a:lnTo>
                    <a:lnTo>
                      <a:pt x="181" y="872"/>
                    </a:lnTo>
                    <a:lnTo>
                      <a:pt x="176" y="873"/>
                    </a:lnTo>
                    <a:lnTo>
                      <a:pt x="171" y="873"/>
                    </a:lnTo>
                    <a:lnTo>
                      <a:pt x="169" y="875"/>
                    </a:lnTo>
                    <a:lnTo>
                      <a:pt x="164" y="880"/>
                    </a:lnTo>
                    <a:lnTo>
                      <a:pt x="161" y="882"/>
                    </a:lnTo>
                    <a:lnTo>
                      <a:pt x="159" y="880"/>
                    </a:lnTo>
                    <a:lnTo>
                      <a:pt x="159" y="878"/>
                    </a:lnTo>
                    <a:lnTo>
                      <a:pt x="164" y="873"/>
                    </a:lnTo>
                    <a:lnTo>
                      <a:pt x="166" y="872"/>
                    </a:lnTo>
                    <a:lnTo>
                      <a:pt x="167" y="870"/>
                    </a:lnTo>
                    <a:lnTo>
                      <a:pt x="167" y="868"/>
                    </a:lnTo>
                    <a:lnTo>
                      <a:pt x="169" y="868"/>
                    </a:lnTo>
                    <a:lnTo>
                      <a:pt x="172" y="867"/>
                    </a:lnTo>
                    <a:lnTo>
                      <a:pt x="172" y="865"/>
                    </a:lnTo>
                    <a:lnTo>
                      <a:pt x="174" y="862"/>
                    </a:lnTo>
                    <a:lnTo>
                      <a:pt x="176" y="862"/>
                    </a:lnTo>
                    <a:lnTo>
                      <a:pt x="179" y="865"/>
                    </a:lnTo>
                    <a:lnTo>
                      <a:pt x="184" y="867"/>
                    </a:lnTo>
                    <a:lnTo>
                      <a:pt x="191" y="867"/>
                    </a:lnTo>
                    <a:lnTo>
                      <a:pt x="189" y="865"/>
                    </a:lnTo>
                    <a:lnTo>
                      <a:pt x="187" y="864"/>
                    </a:lnTo>
                    <a:lnTo>
                      <a:pt x="184" y="864"/>
                    </a:lnTo>
                    <a:lnTo>
                      <a:pt x="182" y="862"/>
                    </a:lnTo>
                    <a:lnTo>
                      <a:pt x="176" y="857"/>
                    </a:lnTo>
                    <a:lnTo>
                      <a:pt x="174" y="855"/>
                    </a:lnTo>
                    <a:lnTo>
                      <a:pt x="172" y="854"/>
                    </a:lnTo>
                    <a:lnTo>
                      <a:pt x="171" y="852"/>
                    </a:lnTo>
                    <a:lnTo>
                      <a:pt x="174" y="850"/>
                    </a:lnTo>
                    <a:lnTo>
                      <a:pt x="179" y="852"/>
                    </a:lnTo>
                    <a:lnTo>
                      <a:pt x="184" y="857"/>
                    </a:lnTo>
                    <a:lnTo>
                      <a:pt x="187" y="862"/>
                    </a:lnTo>
                    <a:lnTo>
                      <a:pt x="189" y="860"/>
                    </a:lnTo>
                    <a:lnTo>
                      <a:pt x="187" y="857"/>
                    </a:lnTo>
                    <a:lnTo>
                      <a:pt x="186" y="854"/>
                    </a:lnTo>
                    <a:lnTo>
                      <a:pt x="187" y="854"/>
                    </a:lnTo>
                    <a:lnTo>
                      <a:pt x="189" y="857"/>
                    </a:lnTo>
                    <a:lnTo>
                      <a:pt x="191" y="860"/>
                    </a:lnTo>
                    <a:lnTo>
                      <a:pt x="199" y="864"/>
                    </a:lnTo>
                    <a:lnTo>
                      <a:pt x="202" y="864"/>
                    </a:lnTo>
                    <a:lnTo>
                      <a:pt x="204" y="862"/>
                    </a:lnTo>
                    <a:lnTo>
                      <a:pt x="209" y="862"/>
                    </a:lnTo>
                    <a:lnTo>
                      <a:pt x="211" y="864"/>
                    </a:lnTo>
                    <a:lnTo>
                      <a:pt x="215" y="867"/>
                    </a:lnTo>
                    <a:lnTo>
                      <a:pt x="220" y="868"/>
                    </a:lnTo>
                    <a:lnTo>
                      <a:pt x="220" y="870"/>
                    </a:lnTo>
                    <a:lnTo>
                      <a:pt x="224" y="870"/>
                    </a:lnTo>
                    <a:lnTo>
                      <a:pt x="224" y="868"/>
                    </a:lnTo>
                    <a:lnTo>
                      <a:pt x="220" y="865"/>
                    </a:lnTo>
                    <a:lnTo>
                      <a:pt x="211" y="859"/>
                    </a:lnTo>
                    <a:lnTo>
                      <a:pt x="209" y="855"/>
                    </a:lnTo>
                    <a:lnTo>
                      <a:pt x="211" y="854"/>
                    </a:lnTo>
                    <a:lnTo>
                      <a:pt x="215" y="852"/>
                    </a:lnTo>
                    <a:lnTo>
                      <a:pt x="215" y="850"/>
                    </a:lnTo>
                    <a:lnTo>
                      <a:pt x="217" y="847"/>
                    </a:lnTo>
                    <a:lnTo>
                      <a:pt x="219" y="847"/>
                    </a:lnTo>
                    <a:lnTo>
                      <a:pt x="219" y="845"/>
                    </a:lnTo>
                    <a:lnTo>
                      <a:pt x="215" y="845"/>
                    </a:lnTo>
                    <a:lnTo>
                      <a:pt x="214" y="845"/>
                    </a:lnTo>
                    <a:lnTo>
                      <a:pt x="207" y="845"/>
                    </a:lnTo>
                    <a:lnTo>
                      <a:pt x="206" y="847"/>
                    </a:lnTo>
                    <a:lnTo>
                      <a:pt x="206" y="849"/>
                    </a:lnTo>
                    <a:lnTo>
                      <a:pt x="209" y="852"/>
                    </a:lnTo>
                    <a:lnTo>
                      <a:pt x="207" y="854"/>
                    </a:lnTo>
                    <a:lnTo>
                      <a:pt x="202" y="852"/>
                    </a:lnTo>
                    <a:lnTo>
                      <a:pt x="201" y="854"/>
                    </a:lnTo>
                    <a:lnTo>
                      <a:pt x="197" y="852"/>
                    </a:lnTo>
                    <a:lnTo>
                      <a:pt x="192" y="854"/>
                    </a:lnTo>
                    <a:lnTo>
                      <a:pt x="191" y="850"/>
                    </a:lnTo>
                    <a:lnTo>
                      <a:pt x="187" y="850"/>
                    </a:lnTo>
                    <a:lnTo>
                      <a:pt x="186" y="847"/>
                    </a:lnTo>
                    <a:lnTo>
                      <a:pt x="189" y="847"/>
                    </a:lnTo>
                    <a:lnTo>
                      <a:pt x="191" y="845"/>
                    </a:lnTo>
                    <a:lnTo>
                      <a:pt x="187" y="845"/>
                    </a:lnTo>
                    <a:lnTo>
                      <a:pt x="184" y="845"/>
                    </a:lnTo>
                    <a:lnTo>
                      <a:pt x="182" y="845"/>
                    </a:lnTo>
                    <a:lnTo>
                      <a:pt x="187" y="844"/>
                    </a:lnTo>
                    <a:lnTo>
                      <a:pt x="194" y="840"/>
                    </a:lnTo>
                    <a:lnTo>
                      <a:pt x="197" y="839"/>
                    </a:lnTo>
                    <a:lnTo>
                      <a:pt x="202" y="840"/>
                    </a:lnTo>
                    <a:lnTo>
                      <a:pt x="204" y="840"/>
                    </a:lnTo>
                    <a:lnTo>
                      <a:pt x="209" y="840"/>
                    </a:lnTo>
                    <a:lnTo>
                      <a:pt x="212" y="840"/>
                    </a:lnTo>
                    <a:lnTo>
                      <a:pt x="217" y="840"/>
                    </a:lnTo>
                    <a:lnTo>
                      <a:pt x="217" y="839"/>
                    </a:lnTo>
                    <a:lnTo>
                      <a:pt x="220" y="837"/>
                    </a:lnTo>
                    <a:lnTo>
                      <a:pt x="222" y="835"/>
                    </a:lnTo>
                    <a:lnTo>
                      <a:pt x="225" y="834"/>
                    </a:lnTo>
                    <a:lnTo>
                      <a:pt x="225" y="832"/>
                    </a:lnTo>
                    <a:lnTo>
                      <a:pt x="225" y="830"/>
                    </a:lnTo>
                    <a:lnTo>
                      <a:pt x="222" y="834"/>
                    </a:lnTo>
                    <a:lnTo>
                      <a:pt x="219" y="834"/>
                    </a:lnTo>
                    <a:lnTo>
                      <a:pt x="219" y="832"/>
                    </a:lnTo>
                    <a:lnTo>
                      <a:pt x="220" y="829"/>
                    </a:lnTo>
                    <a:lnTo>
                      <a:pt x="224" y="820"/>
                    </a:lnTo>
                    <a:lnTo>
                      <a:pt x="224" y="817"/>
                    </a:lnTo>
                    <a:lnTo>
                      <a:pt x="225" y="815"/>
                    </a:lnTo>
                    <a:lnTo>
                      <a:pt x="227" y="817"/>
                    </a:lnTo>
                    <a:lnTo>
                      <a:pt x="229" y="820"/>
                    </a:lnTo>
                    <a:lnTo>
                      <a:pt x="227" y="822"/>
                    </a:lnTo>
                    <a:lnTo>
                      <a:pt x="227" y="824"/>
                    </a:lnTo>
                    <a:lnTo>
                      <a:pt x="232" y="824"/>
                    </a:lnTo>
                    <a:lnTo>
                      <a:pt x="235" y="824"/>
                    </a:lnTo>
                    <a:lnTo>
                      <a:pt x="237" y="825"/>
                    </a:lnTo>
                    <a:lnTo>
                      <a:pt x="239" y="825"/>
                    </a:lnTo>
                    <a:lnTo>
                      <a:pt x="240" y="825"/>
                    </a:lnTo>
                    <a:lnTo>
                      <a:pt x="242" y="825"/>
                    </a:lnTo>
                    <a:lnTo>
                      <a:pt x="244" y="825"/>
                    </a:lnTo>
                    <a:lnTo>
                      <a:pt x="244" y="824"/>
                    </a:lnTo>
                    <a:lnTo>
                      <a:pt x="240" y="822"/>
                    </a:lnTo>
                    <a:lnTo>
                      <a:pt x="235" y="822"/>
                    </a:lnTo>
                    <a:lnTo>
                      <a:pt x="235" y="820"/>
                    </a:lnTo>
                    <a:lnTo>
                      <a:pt x="239" y="819"/>
                    </a:lnTo>
                    <a:lnTo>
                      <a:pt x="244" y="819"/>
                    </a:lnTo>
                    <a:lnTo>
                      <a:pt x="244" y="817"/>
                    </a:lnTo>
                    <a:lnTo>
                      <a:pt x="240" y="815"/>
                    </a:lnTo>
                    <a:lnTo>
                      <a:pt x="239" y="815"/>
                    </a:lnTo>
                    <a:lnTo>
                      <a:pt x="237" y="814"/>
                    </a:lnTo>
                    <a:lnTo>
                      <a:pt x="235" y="814"/>
                    </a:lnTo>
                    <a:lnTo>
                      <a:pt x="234" y="814"/>
                    </a:lnTo>
                    <a:lnTo>
                      <a:pt x="232" y="814"/>
                    </a:lnTo>
                    <a:lnTo>
                      <a:pt x="229" y="814"/>
                    </a:lnTo>
                    <a:lnTo>
                      <a:pt x="229" y="812"/>
                    </a:lnTo>
                    <a:lnTo>
                      <a:pt x="230" y="809"/>
                    </a:lnTo>
                    <a:lnTo>
                      <a:pt x="232" y="809"/>
                    </a:lnTo>
                    <a:lnTo>
                      <a:pt x="235" y="804"/>
                    </a:lnTo>
                    <a:lnTo>
                      <a:pt x="239" y="802"/>
                    </a:lnTo>
                    <a:lnTo>
                      <a:pt x="240" y="804"/>
                    </a:lnTo>
                    <a:lnTo>
                      <a:pt x="242" y="802"/>
                    </a:lnTo>
                    <a:lnTo>
                      <a:pt x="245" y="802"/>
                    </a:lnTo>
                    <a:lnTo>
                      <a:pt x="245" y="800"/>
                    </a:lnTo>
                    <a:lnTo>
                      <a:pt x="242" y="800"/>
                    </a:lnTo>
                    <a:lnTo>
                      <a:pt x="239" y="800"/>
                    </a:lnTo>
                    <a:lnTo>
                      <a:pt x="237" y="799"/>
                    </a:lnTo>
                    <a:lnTo>
                      <a:pt x="239" y="797"/>
                    </a:lnTo>
                    <a:lnTo>
                      <a:pt x="242" y="795"/>
                    </a:lnTo>
                    <a:lnTo>
                      <a:pt x="245" y="792"/>
                    </a:lnTo>
                    <a:lnTo>
                      <a:pt x="249" y="792"/>
                    </a:lnTo>
                    <a:lnTo>
                      <a:pt x="249" y="790"/>
                    </a:lnTo>
                    <a:lnTo>
                      <a:pt x="252" y="789"/>
                    </a:lnTo>
                    <a:lnTo>
                      <a:pt x="249" y="785"/>
                    </a:lnTo>
                    <a:lnTo>
                      <a:pt x="247" y="785"/>
                    </a:lnTo>
                    <a:lnTo>
                      <a:pt x="247" y="784"/>
                    </a:lnTo>
                    <a:lnTo>
                      <a:pt x="250" y="784"/>
                    </a:lnTo>
                    <a:lnTo>
                      <a:pt x="252" y="784"/>
                    </a:lnTo>
                    <a:lnTo>
                      <a:pt x="252" y="780"/>
                    </a:lnTo>
                    <a:lnTo>
                      <a:pt x="250" y="779"/>
                    </a:lnTo>
                    <a:lnTo>
                      <a:pt x="245" y="780"/>
                    </a:lnTo>
                    <a:lnTo>
                      <a:pt x="242" y="782"/>
                    </a:lnTo>
                    <a:lnTo>
                      <a:pt x="237" y="782"/>
                    </a:lnTo>
                    <a:lnTo>
                      <a:pt x="235" y="780"/>
                    </a:lnTo>
                    <a:lnTo>
                      <a:pt x="232" y="780"/>
                    </a:lnTo>
                    <a:lnTo>
                      <a:pt x="229" y="780"/>
                    </a:lnTo>
                    <a:lnTo>
                      <a:pt x="225" y="779"/>
                    </a:lnTo>
                    <a:lnTo>
                      <a:pt x="224" y="779"/>
                    </a:lnTo>
                    <a:lnTo>
                      <a:pt x="220" y="779"/>
                    </a:lnTo>
                    <a:lnTo>
                      <a:pt x="217" y="775"/>
                    </a:lnTo>
                    <a:lnTo>
                      <a:pt x="214" y="775"/>
                    </a:lnTo>
                    <a:lnTo>
                      <a:pt x="211" y="774"/>
                    </a:lnTo>
                    <a:lnTo>
                      <a:pt x="211" y="772"/>
                    </a:lnTo>
                    <a:lnTo>
                      <a:pt x="209" y="769"/>
                    </a:lnTo>
                    <a:lnTo>
                      <a:pt x="204" y="766"/>
                    </a:lnTo>
                    <a:lnTo>
                      <a:pt x="196" y="762"/>
                    </a:lnTo>
                    <a:lnTo>
                      <a:pt x="189" y="761"/>
                    </a:lnTo>
                    <a:lnTo>
                      <a:pt x="184" y="756"/>
                    </a:lnTo>
                    <a:lnTo>
                      <a:pt x="184" y="754"/>
                    </a:lnTo>
                    <a:lnTo>
                      <a:pt x="182" y="747"/>
                    </a:lnTo>
                    <a:lnTo>
                      <a:pt x="179" y="744"/>
                    </a:lnTo>
                    <a:lnTo>
                      <a:pt x="177" y="742"/>
                    </a:lnTo>
                    <a:lnTo>
                      <a:pt x="177" y="741"/>
                    </a:lnTo>
                    <a:lnTo>
                      <a:pt x="182" y="737"/>
                    </a:lnTo>
                    <a:lnTo>
                      <a:pt x="187" y="736"/>
                    </a:lnTo>
                    <a:lnTo>
                      <a:pt x="189" y="736"/>
                    </a:lnTo>
                    <a:lnTo>
                      <a:pt x="192" y="737"/>
                    </a:lnTo>
                    <a:lnTo>
                      <a:pt x="196" y="737"/>
                    </a:lnTo>
                    <a:lnTo>
                      <a:pt x="201" y="741"/>
                    </a:lnTo>
                    <a:lnTo>
                      <a:pt x="206" y="741"/>
                    </a:lnTo>
                    <a:lnTo>
                      <a:pt x="209" y="742"/>
                    </a:lnTo>
                    <a:lnTo>
                      <a:pt x="211" y="742"/>
                    </a:lnTo>
                    <a:lnTo>
                      <a:pt x="215" y="742"/>
                    </a:lnTo>
                    <a:lnTo>
                      <a:pt x="219" y="744"/>
                    </a:lnTo>
                    <a:lnTo>
                      <a:pt x="222" y="746"/>
                    </a:lnTo>
                    <a:lnTo>
                      <a:pt x="224" y="747"/>
                    </a:lnTo>
                    <a:lnTo>
                      <a:pt x="227" y="749"/>
                    </a:lnTo>
                    <a:lnTo>
                      <a:pt x="230" y="757"/>
                    </a:lnTo>
                    <a:lnTo>
                      <a:pt x="234" y="761"/>
                    </a:lnTo>
                    <a:lnTo>
                      <a:pt x="237" y="764"/>
                    </a:lnTo>
                    <a:lnTo>
                      <a:pt x="240" y="767"/>
                    </a:lnTo>
                    <a:lnTo>
                      <a:pt x="245" y="769"/>
                    </a:lnTo>
                    <a:lnTo>
                      <a:pt x="247" y="767"/>
                    </a:lnTo>
                    <a:lnTo>
                      <a:pt x="250" y="764"/>
                    </a:lnTo>
                    <a:lnTo>
                      <a:pt x="249" y="764"/>
                    </a:lnTo>
                    <a:lnTo>
                      <a:pt x="247" y="764"/>
                    </a:lnTo>
                    <a:lnTo>
                      <a:pt x="244" y="764"/>
                    </a:lnTo>
                    <a:lnTo>
                      <a:pt x="242" y="762"/>
                    </a:lnTo>
                    <a:lnTo>
                      <a:pt x="237" y="757"/>
                    </a:lnTo>
                    <a:lnTo>
                      <a:pt x="237" y="756"/>
                    </a:lnTo>
                    <a:lnTo>
                      <a:pt x="239" y="756"/>
                    </a:lnTo>
                    <a:lnTo>
                      <a:pt x="242" y="759"/>
                    </a:lnTo>
                    <a:lnTo>
                      <a:pt x="245" y="759"/>
                    </a:lnTo>
                    <a:lnTo>
                      <a:pt x="245" y="757"/>
                    </a:lnTo>
                    <a:lnTo>
                      <a:pt x="247" y="757"/>
                    </a:lnTo>
                    <a:lnTo>
                      <a:pt x="249" y="756"/>
                    </a:lnTo>
                    <a:lnTo>
                      <a:pt x="242" y="752"/>
                    </a:lnTo>
                    <a:lnTo>
                      <a:pt x="237" y="747"/>
                    </a:lnTo>
                    <a:lnTo>
                      <a:pt x="235" y="746"/>
                    </a:lnTo>
                    <a:lnTo>
                      <a:pt x="237" y="744"/>
                    </a:lnTo>
                    <a:lnTo>
                      <a:pt x="239" y="744"/>
                    </a:lnTo>
                    <a:lnTo>
                      <a:pt x="240" y="747"/>
                    </a:lnTo>
                    <a:lnTo>
                      <a:pt x="244" y="749"/>
                    </a:lnTo>
                    <a:lnTo>
                      <a:pt x="242" y="744"/>
                    </a:lnTo>
                    <a:lnTo>
                      <a:pt x="237" y="739"/>
                    </a:lnTo>
                    <a:lnTo>
                      <a:pt x="234" y="737"/>
                    </a:lnTo>
                    <a:lnTo>
                      <a:pt x="232" y="734"/>
                    </a:lnTo>
                    <a:lnTo>
                      <a:pt x="232" y="732"/>
                    </a:lnTo>
                    <a:lnTo>
                      <a:pt x="237" y="734"/>
                    </a:lnTo>
                    <a:lnTo>
                      <a:pt x="247" y="737"/>
                    </a:lnTo>
                    <a:lnTo>
                      <a:pt x="249" y="736"/>
                    </a:lnTo>
                    <a:lnTo>
                      <a:pt x="249" y="734"/>
                    </a:lnTo>
                    <a:lnTo>
                      <a:pt x="245" y="729"/>
                    </a:lnTo>
                    <a:lnTo>
                      <a:pt x="244" y="729"/>
                    </a:lnTo>
                    <a:lnTo>
                      <a:pt x="240" y="731"/>
                    </a:lnTo>
                    <a:lnTo>
                      <a:pt x="237" y="731"/>
                    </a:lnTo>
                    <a:lnTo>
                      <a:pt x="232" y="731"/>
                    </a:lnTo>
                    <a:lnTo>
                      <a:pt x="232" y="729"/>
                    </a:lnTo>
                    <a:lnTo>
                      <a:pt x="234" y="727"/>
                    </a:lnTo>
                    <a:lnTo>
                      <a:pt x="239" y="724"/>
                    </a:lnTo>
                    <a:lnTo>
                      <a:pt x="240" y="726"/>
                    </a:lnTo>
                    <a:lnTo>
                      <a:pt x="244" y="727"/>
                    </a:lnTo>
                    <a:lnTo>
                      <a:pt x="245" y="726"/>
                    </a:lnTo>
                    <a:lnTo>
                      <a:pt x="245" y="722"/>
                    </a:lnTo>
                    <a:lnTo>
                      <a:pt x="242" y="719"/>
                    </a:lnTo>
                    <a:lnTo>
                      <a:pt x="240" y="721"/>
                    </a:lnTo>
                    <a:lnTo>
                      <a:pt x="239" y="721"/>
                    </a:lnTo>
                    <a:lnTo>
                      <a:pt x="235" y="722"/>
                    </a:lnTo>
                    <a:lnTo>
                      <a:pt x="234" y="722"/>
                    </a:lnTo>
                    <a:lnTo>
                      <a:pt x="227" y="727"/>
                    </a:lnTo>
                    <a:lnTo>
                      <a:pt x="225" y="727"/>
                    </a:lnTo>
                    <a:lnTo>
                      <a:pt x="225" y="726"/>
                    </a:lnTo>
                    <a:lnTo>
                      <a:pt x="227" y="724"/>
                    </a:lnTo>
                    <a:lnTo>
                      <a:pt x="229" y="721"/>
                    </a:lnTo>
                    <a:lnTo>
                      <a:pt x="232" y="717"/>
                    </a:lnTo>
                    <a:lnTo>
                      <a:pt x="234" y="717"/>
                    </a:lnTo>
                    <a:lnTo>
                      <a:pt x="237" y="717"/>
                    </a:lnTo>
                    <a:lnTo>
                      <a:pt x="240" y="716"/>
                    </a:lnTo>
                    <a:lnTo>
                      <a:pt x="242" y="714"/>
                    </a:lnTo>
                    <a:lnTo>
                      <a:pt x="244" y="712"/>
                    </a:lnTo>
                    <a:lnTo>
                      <a:pt x="244" y="712"/>
                    </a:lnTo>
                    <a:lnTo>
                      <a:pt x="237" y="712"/>
                    </a:lnTo>
                    <a:lnTo>
                      <a:pt x="235" y="714"/>
                    </a:lnTo>
                    <a:lnTo>
                      <a:pt x="232" y="716"/>
                    </a:lnTo>
                    <a:lnTo>
                      <a:pt x="229" y="714"/>
                    </a:lnTo>
                    <a:lnTo>
                      <a:pt x="224" y="714"/>
                    </a:lnTo>
                    <a:lnTo>
                      <a:pt x="222" y="714"/>
                    </a:lnTo>
                    <a:lnTo>
                      <a:pt x="222" y="711"/>
                    </a:lnTo>
                    <a:lnTo>
                      <a:pt x="225" y="709"/>
                    </a:lnTo>
                    <a:lnTo>
                      <a:pt x="229" y="707"/>
                    </a:lnTo>
                    <a:lnTo>
                      <a:pt x="234" y="707"/>
                    </a:lnTo>
                    <a:lnTo>
                      <a:pt x="242" y="706"/>
                    </a:lnTo>
                    <a:lnTo>
                      <a:pt x="247" y="702"/>
                    </a:lnTo>
                    <a:lnTo>
                      <a:pt x="247" y="701"/>
                    </a:lnTo>
                    <a:lnTo>
                      <a:pt x="245" y="701"/>
                    </a:lnTo>
                    <a:lnTo>
                      <a:pt x="244" y="701"/>
                    </a:lnTo>
                    <a:lnTo>
                      <a:pt x="240" y="702"/>
                    </a:lnTo>
                    <a:lnTo>
                      <a:pt x="237" y="704"/>
                    </a:lnTo>
                    <a:lnTo>
                      <a:pt x="234" y="702"/>
                    </a:lnTo>
                    <a:lnTo>
                      <a:pt x="232" y="699"/>
                    </a:lnTo>
                    <a:lnTo>
                      <a:pt x="229" y="699"/>
                    </a:lnTo>
                    <a:lnTo>
                      <a:pt x="225" y="699"/>
                    </a:lnTo>
                    <a:lnTo>
                      <a:pt x="224" y="697"/>
                    </a:lnTo>
                    <a:lnTo>
                      <a:pt x="224" y="696"/>
                    </a:lnTo>
                    <a:lnTo>
                      <a:pt x="227" y="694"/>
                    </a:lnTo>
                    <a:lnTo>
                      <a:pt x="229" y="689"/>
                    </a:lnTo>
                    <a:lnTo>
                      <a:pt x="232" y="687"/>
                    </a:lnTo>
                    <a:lnTo>
                      <a:pt x="235" y="686"/>
                    </a:lnTo>
                    <a:lnTo>
                      <a:pt x="234" y="684"/>
                    </a:lnTo>
                    <a:lnTo>
                      <a:pt x="232" y="684"/>
                    </a:lnTo>
                    <a:lnTo>
                      <a:pt x="229" y="686"/>
                    </a:lnTo>
                    <a:lnTo>
                      <a:pt x="225" y="691"/>
                    </a:lnTo>
                    <a:lnTo>
                      <a:pt x="224" y="692"/>
                    </a:lnTo>
                    <a:lnTo>
                      <a:pt x="220" y="696"/>
                    </a:lnTo>
                    <a:lnTo>
                      <a:pt x="220" y="696"/>
                    </a:lnTo>
                    <a:lnTo>
                      <a:pt x="217" y="696"/>
                    </a:lnTo>
                    <a:lnTo>
                      <a:pt x="219" y="692"/>
                    </a:lnTo>
                    <a:lnTo>
                      <a:pt x="219" y="687"/>
                    </a:lnTo>
                    <a:lnTo>
                      <a:pt x="219" y="682"/>
                    </a:lnTo>
                    <a:lnTo>
                      <a:pt x="217" y="677"/>
                    </a:lnTo>
                    <a:lnTo>
                      <a:pt x="217" y="674"/>
                    </a:lnTo>
                    <a:lnTo>
                      <a:pt x="219" y="671"/>
                    </a:lnTo>
                    <a:lnTo>
                      <a:pt x="219" y="668"/>
                    </a:lnTo>
                    <a:lnTo>
                      <a:pt x="217" y="668"/>
                    </a:lnTo>
                    <a:lnTo>
                      <a:pt x="215" y="669"/>
                    </a:lnTo>
                    <a:lnTo>
                      <a:pt x="214" y="677"/>
                    </a:lnTo>
                    <a:lnTo>
                      <a:pt x="215" y="681"/>
                    </a:lnTo>
                    <a:lnTo>
                      <a:pt x="217" y="684"/>
                    </a:lnTo>
                    <a:lnTo>
                      <a:pt x="217" y="687"/>
                    </a:lnTo>
                    <a:lnTo>
                      <a:pt x="217" y="694"/>
                    </a:lnTo>
                    <a:lnTo>
                      <a:pt x="215" y="697"/>
                    </a:lnTo>
                    <a:lnTo>
                      <a:pt x="214" y="697"/>
                    </a:lnTo>
                    <a:lnTo>
                      <a:pt x="211" y="694"/>
                    </a:lnTo>
                    <a:lnTo>
                      <a:pt x="209" y="692"/>
                    </a:lnTo>
                    <a:lnTo>
                      <a:pt x="207" y="697"/>
                    </a:lnTo>
                    <a:lnTo>
                      <a:pt x="207" y="699"/>
                    </a:lnTo>
                    <a:lnTo>
                      <a:pt x="206" y="699"/>
                    </a:lnTo>
                    <a:lnTo>
                      <a:pt x="202" y="699"/>
                    </a:lnTo>
                    <a:lnTo>
                      <a:pt x="206" y="701"/>
                    </a:lnTo>
                    <a:lnTo>
                      <a:pt x="206" y="704"/>
                    </a:lnTo>
                    <a:lnTo>
                      <a:pt x="204" y="707"/>
                    </a:lnTo>
                    <a:lnTo>
                      <a:pt x="202" y="709"/>
                    </a:lnTo>
                    <a:lnTo>
                      <a:pt x="199" y="711"/>
                    </a:lnTo>
                    <a:lnTo>
                      <a:pt x="197" y="709"/>
                    </a:lnTo>
                    <a:lnTo>
                      <a:pt x="196" y="711"/>
                    </a:lnTo>
                    <a:lnTo>
                      <a:pt x="192" y="712"/>
                    </a:lnTo>
                    <a:lnTo>
                      <a:pt x="186" y="712"/>
                    </a:lnTo>
                    <a:lnTo>
                      <a:pt x="184" y="711"/>
                    </a:lnTo>
                    <a:lnTo>
                      <a:pt x="184" y="707"/>
                    </a:lnTo>
                    <a:lnTo>
                      <a:pt x="182" y="706"/>
                    </a:lnTo>
                    <a:lnTo>
                      <a:pt x="181" y="704"/>
                    </a:lnTo>
                    <a:lnTo>
                      <a:pt x="179" y="704"/>
                    </a:lnTo>
                    <a:lnTo>
                      <a:pt x="177" y="707"/>
                    </a:lnTo>
                    <a:lnTo>
                      <a:pt x="177" y="707"/>
                    </a:lnTo>
                    <a:lnTo>
                      <a:pt x="176" y="702"/>
                    </a:lnTo>
                    <a:lnTo>
                      <a:pt x="176" y="699"/>
                    </a:lnTo>
                    <a:lnTo>
                      <a:pt x="176" y="696"/>
                    </a:lnTo>
                    <a:lnTo>
                      <a:pt x="174" y="694"/>
                    </a:lnTo>
                    <a:lnTo>
                      <a:pt x="174" y="692"/>
                    </a:lnTo>
                    <a:lnTo>
                      <a:pt x="177" y="691"/>
                    </a:lnTo>
                    <a:lnTo>
                      <a:pt x="182" y="691"/>
                    </a:lnTo>
                    <a:lnTo>
                      <a:pt x="184" y="691"/>
                    </a:lnTo>
                    <a:lnTo>
                      <a:pt x="186" y="687"/>
                    </a:lnTo>
                    <a:lnTo>
                      <a:pt x="187" y="687"/>
                    </a:lnTo>
                    <a:lnTo>
                      <a:pt x="196" y="686"/>
                    </a:lnTo>
                    <a:lnTo>
                      <a:pt x="197" y="687"/>
                    </a:lnTo>
                    <a:lnTo>
                      <a:pt x="202" y="681"/>
                    </a:lnTo>
                    <a:lnTo>
                      <a:pt x="207" y="676"/>
                    </a:lnTo>
                    <a:lnTo>
                      <a:pt x="207" y="674"/>
                    </a:lnTo>
                    <a:lnTo>
                      <a:pt x="206" y="672"/>
                    </a:lnTo>
                    <a:lnTo>
                      <a:pt x="202" y="674"/>
                    </a:lnTo>
                    <a:lnTo>
                      <a:pt x="201" y="679"/>
                    </a:lnTo>
                    <a:lnTo>
                      <a:pt x="197" y="682"/>
                    </a:lnTo>
                    <a:lnTo>
                      <a:pt x="192" y="684"/>
                    </a:lnTo>
                    <a:lnTo>
                      <a:pt x="186" y="682"/>
                    </a:lnTo>
                    <a:lnTo>
                      <a:pt x="182" y="681"/>
                    </a:lnTo>
                    <a:lnTo>
                      <a:pt x="182" y="677"/>
                    </a:lnTo>
                    <a:lnTo>
                      <a:pt x="187" y="676"/>
                    </a:lnTo>
                    <a:lnTo>
                      <a:pt x="192" y="671"/>
                    </a:lnTo>
                    <a:lnTo>
                      <a:pt x="196" y="671"/>
                    </a:lnTo>
                    <a:lnTo>
                      <a:pt x="196" y="669"/>
                    </a:lnTo>
                    <a:lnTo>
                      <a:pt x="196" y="668"/>
                    </a:lnTo>
                    <a:lnTo>
                      <a:pt x="197" y="666"/>
                    </a:lnTo>
                    <a:lnTo>
                      <a:pt x="199" y="664"/>
                    </a:lnTo>
                    <a:lnTo>
                      <a:pt x="201" y="664"/>
                    </a:lnTo>
                    <a:lnTo>
                      <a:pt x="201" y="663"/>
                    </a:lnTo>
                    <a:lnTo>
                      <a:pt x="199" y="661"/>
                    </a:lnTo>
                    <a:lnTo>
                      <a:pt x="199" y="659"/>
                    </a:lnTo>
                    <a:lnTo>
                      <a:pt x="197" y="661"/>
                    </a:lnTo>
                    <a:lnTo>
                      <a:pt x="196" y="663"/>
                    </a:lnTo>
                    <a:lnTo>
                      <a:pt x="189" y="661"/>
                    </a:lnTo>
                    <a:lnTo>
                      <a:pt x="187" y="661"/>
                    </a:lnTo>
                    <a:lnTo>
                      <a:pt x="186" y="661"/>
                    </a:lnTo>
                    <a:lnTo>
                      <a:pt x="187" y="658"/>
                    </a:lnTo>
                    <a:lnTo>
                      <a:pt x="192" y="654"/>
                    </a:lnTo>
                    <a:lnTo>
                      <a:pt x="194" y="654"/>
                    </a:lnTo>
                    <a:lnTo>
                      <a:pt x="197" y="658"/>
                    </a:lnTo>
                    <a:lnTo>
                      <a:pt x="201" y="656"/>
                    </a:lnTo>
                    <a:lnTo>
                      <a:pt x="206" y="654"/>
                    </a:lnTo>
                    <a:lnTo>
                      <a:pt x="207" y="649"/>
                    </a:lnTo>
                    <a:lnTo>
                      <a:pt x="206" y="648"/>
                    </a:lnTo>
                    <a:lnTo>
                      <a:pt x="207" y="644"/>
                    </a:lnTo>
                    <a:lnTo>
                      <a:pt x="211" y="639"/>
                    </a:lnTo>
                    <a:lnTo>
                      <a:pt x="211" y="636"/>
                    </a:lnTo>
                    <a:lnTo>
                      <a:pt x="211" y="631"/>
                    </a:lnTo>
                    <a:lnTo>
                      <a:pt x="209" y="629"/>
                    </a:lnTo>
                    <a:lnTo>
                      <a:pt x="207" y="628"/>
                    </a:lnTo>
                    <a:lnTo>
                      <a:pt x="204" y="628"/>
                    </a:lnTo>
                    <a:lnTo>
                      <a:pt x="202" y="626"/>
                    </a:lnTo>
                    <a:lnTo>
                      <a:pt x="199" y="626"/>
                    </a:lnTo>
                    <a:lnTo>
                      <a:pt x="196" y="624"/>
                    </a:lnTo>
                    <a:lnTo>
                      <a:pt x="196" y="623"/>
                    </a:lnTo>
                    <a:lnTo>
                      <a:pt x="197" y="621"/>
                    </a:lnTo>
                    <a:lnTo>
                      <a:pt x="201" y="623"/>
                    </a:lnTo>
                    <a:lnTo>
                      <a:pt x="204" y="621"/>
                    </a:lnTo>
                    <a:lnTo>
                      <a:pt x="206" y="618"/>
                    </a:lnTo>
                    <a:lnTo>
                      <a:pt x="206" y="614"/>
                    </a:lnTo>
                    <a:lnTo>
                      <a:pt x="209" y="613"/>
                    </a:lnTo>
                    <a:lnTo>
                      <a:pt x="209" y="609"/>
                    </a:lnTo>
                    <a:lnTo>
                      <a:pt x="207" y="608"/>
                    </a:lnTo>
                    <a:lnTo>
                      <a:pt x="204" y="608"/>
                    </a:lnTo>
                    <a:lnTo>
                      <a:pt x="202" y="606"/>
                    </a:lnTo>
                    <a:lnTo>
                      <a:pt x="202" y="603"/>
                    </a:lnTo>
                    <a:lnTo>
                      <a:pt x="204" y="601"/>
                    </a:lnTo>
                    <a:lnTo>
                      <a:pt x="206" y="603"/>
                    </a:lnTo>
                    <a:lnTo>
                      <a:pt x="206" y="601"/>
                    </a:lnTo>
                    <a:lnTo>
                      <a:pt x="202" y="596"/>
                    </a:lnTo>
                    <a:lnTo>
                      <a:pt x="202" y="593"/>
                    </a:lnTo>
                    <a:lnTo>
                      <a:pt x="204" y="591"/>
                    </a:lnTo>
                    <a:lnTo>
                      <a:pt x="206" y="594"/>
                    </a:lnTo>
                    <a:lnTo>
                      <a:pt x="206" y="593"/>
                    </a:lnTo>
                    <a:lnTo>
                      <a:pt x="204" y="589"/>
                    </a:lnTo>
                    <a:lnTo>
                      <a:pt x="204" y="588"/>
                    </a:lnTo>
                    <a:lnTo>
                      <a:pt x="207" y="584"/>
                    </a:lnTo>
                    <a:lnTo>
                      <a:pt x="206" y="579"/>
                    </a:lnTo>
                    <a:lnTo>
                      <a:pt x="204" y="576"/>
                    </a:lnTo>
                    <a:lnTo>
                      <a:pt x="204" y="574"/>
                    </a:lnTo>
                    <a:lnTo>
                      <a:pt x="202" y="571"/>
                    </a:lnTo>
                    <a:lnTo>
                      <a:pt x="204" y="570"/>
                    </a:lnTo>
                    <a:lnTo>
                      <a:pt x="206" y="565"/>
                    </a:lnTo>
                    <a:lnTo>
                      <a:pt x="204" y="565"/>
                    </a:lnTo>
                    <a:lnTo>
                      <a:pt x="202" y="565"/>
                    </a:lnTo>
                    <a:lnTo>
                      <a:pt x="197" y="568"/>
                    </a:lnTo>
                    <a:lnTo>
                      <a:pt x="196" y="568"/>
                    </a:lnTo>
                    <a:lnTo>
                      <a:pt x="192" y="570"/>
                    </a:lnTo>
                    <a:lnTo>
                      <a:pt x="191" y="571"/>
                    </a:lnTo>
                    <a:lnTo>
                      <a:pt x="189" y="570"/>
                    </a:lnTo>
                    <a:lnTo>
                      <a:pt x="191" y="568"/>
                    </a:lnTo>
                    <a:lnTo>
                      <a:pt x="194" y="565"/>
                    </a:lnTo>
                    <a:lnTo>
                      <a:pt x="197" y="565"/>
                    </a:lnTo>
                    <a:lnTo>
                      <a:pt x="199" y="561"/>
                    </a:lnTo>
                    <a:lnTo>
                      <a:pt x="201" y="560"/>
                    </a:lnTo>
                    <a:lnTo>
                      <a:pt x="204" y="556"/>
                    </a:lnTo>
                    <a:lnTo>
                      <a:pt x="207" y="555"/>
                    </a:lnTo>
                    <a:lnTo>
                      <a:pt x="209" y="551"/>
                    </a:lnTo>
                    <a:lnTo>
                      <a:pt x="209" y="548"/>
                    </a:lnTo>
                    <a:lnTo>
                      <a:pt x="207" y="546"/>
                    </a:lnTo>
                    <a:lnTo>
                      <a:pt x="204" y="543"/>
                    </a:lnTo>
                    <a:lnTo>
                      <a:pt x="202" y="540"/>
                    </a:lnTo>
                    <a:lnTo>
                      <a:pt x="201" y="538"/>
                    </a:lnTo>
                    <a:lnTo>
                      <a:pt x="199" y="538"/>
                    </a:lnTo>
                    <a:lnTo>
                      <a:pt x="197" y="535"/>
                    </a:lnTo>
                    <a:lnTo>
                      <a:pt x="197" y="533"/>
                    </a:lnTo>
                    <a:lnTo>
                      <a:pt x="199" y="531"/>
                    </a:lnTo>
                    <a:lnTo>
                      <a:pt x="197" y="530"/>
                    </a:lnTo>
                    <a:lnTo>
                      <a:pt x="197" y="525"/>
                    </a:lnTo>
                    <a:lnTo>
                      <a:pt x="196" y="521"/>
                    </a:lnTo>
                    <a:lnTo>
                      <a:pt x="187" y="515"/>
                    </a:lnTo>
                    <a:lnTo>
                      <a:pt x="187" y="513"/>
                    </a:lnTo>
                    <a:lnTo>
                      <a:pt x="186" y="511"/>
                    </a:lnTo>
                    <a:lnTo>
                      <a:pt x="184" y="510"/>
                    </a:lnTo>
                    <a:lnTo>
                      <a:pt x="184" y="508"/>
                    </a:lnTo>
                    <a:lnTo>
                      <a:pt x="186" y="506"/>
                    </a:lnTo>
                    <a:lnTo>
                      <a:pt x="191" y="503"/>
                    </a:lnTo>
                    <a:lnTo>
                      <a:pt x="192" y="501"/>
                    </a:lnTo>
                    <a:lnTo>
                      <a:pt x="194" y="500"/>
                    </a:lnTo>
                    <a:lnTo>
                      <a:pt x="192" y="498"/>
                    </a:lnTo>
                    <a:lnTo>
                      <a:pt x="189" y="498"/>
                    </a:lnTo>
                    <a:lnTo>
                      <a:pt x="189" y="496"/>
                    </a:lnTo>
                    <a:lnTo>
                      <a:pt x="192" y="495"/>
                    </a:lnTo>
                    <a:lnTo>
                      <a:pt x="194" y="491"/>
                    </a:lnTo>
                    <a:lnTo>
                      <a:pt x="196" y="488"/>
                    </a:lnTo>
                    <a:lnTo>
                      <a:pt x="196" y="486"/>
                    </a:lnTo>
                    <a:lnTo>
                      <a:pt x="196" y="485"/>
                    </a:lnTo>
                    <a:lnTo>
                      <a:pt x="197" y="483"/>
                    </a:lnTo>
                    <a:lnTo>
                      <a:pt x="196" y="480"/>
                    </a:lnTo>
                    <a:lnTo>
                      <a:pt x="192" y="480"/>
                    </a:lnTo>
                    <a:lnTo>
                      <a:pt x="189" y="475"/>
                    </a:lnTo>
                    <a:lnTo>
                      <a:pt x="184" y="472"/>
                    </a:lnTo>
                    <a:lnTo>
                      <a:pt x="182" y="468"/>
                    </a:lnTo>
                    <a:lnTo>
                      <a:pt x="181" y="467"/>
                    </a:lnTo>
                    <a:lnTo>
                      <a:pt x="179" y="468"/>
                    </a:lnTo>
                    <a:lnTo>
                      <a:pt x="177" y="470"/>
                    </a:lnTo>
                    <a:lnTo>
                      <a:pt x="176" y="470"/>
                    </a:lnTo>
                    <a:lnTo>
                      <a:pt x="174" y="468"/>
                    </a:lnTo>
                    <a:lnTo>
                      <a:pt x="174" y="465"/>
                    </a:lnTo>
                    <a:lnTo>
                      <a:pt x="171" y="463"/>
                    </a:lnTo>
                    <a:lnTo>
                      <a:pt x="167" y="462"/>
                    </a:lnTo>
                    <a:lnTo>
                      <a:pt x="166" y="458"/>
                    </a:lnTo>
                    <a:lnTo>
                      <a:pt x="164" y="458"/>
                    </a:lnTo>
                    <a:lnTo>
                      <a:pt x="162" y="460"/>
                    </a:lnTo>
                    <a:lnTo>
                      <a:pt x="161" y="460"/>
                    </a:lnTo>
                    <a:lnTo>
                      <a:pt x="161" y="458"/>
                    </a:lnTo>
                    <a:lnTo>
                      <a:pt x="161" y="455"/>
                    </a:lnTo>
                    <a:lnTo>
                      <a:pt x="156" y="450"/>
                    </a:lnTo>
                    <a:lnTo>
                      <a:pt x="151" y="447"/>
                    </a:lnTo>
                    <a:lnTo>
                      <a:pt x="149" y="447"/>
                    </a:lnTo>
                    <a:lnTo>
                      <a:pt x="147" y="448"/>
                    </a:lnTo>
                    <a:lnTo>
                      <a:pt x="142" y="448"/>
                    </a:lnTo>
                    <a:lnTo>
                      <a:pt x="136" y="442"/>
                    </a:lnTo>
                    <a:lnTo>
                      <a:pt x="131" y="440"/>
                    </a:lnTo>
                    <a:lnTo>
                      <a:pt x="127" y="438"/>
                    </a:lnTo>
                    <a:lnTo>
                      <a:pt x="124" y="437"/>
                    </a:lnTo>
                    <a:lnTo>
                      <a:pt x="117" y="437"/>
                    </a:lnTo>
                    <a:lnTo>
                      <a:pt x="116" y="440"/>
                    </a:lnTo>
                    <a:lnTo>
                      <a:pt x="113" y="443"/>
                    </a:lnTo>
                    <a:lnTo>
                      <a:pt x="108" y="447"/>
                    </a:lnTo>
                    <a:lnTo>
                      <a:pt x="106" y="448"/>
                    </a:lnTo>
                    <a:lnTo>
                      <a:pt x="106" y="445"/>
                    </a:lnTo>
                    <a:lnTo>
                      <a:pt x="108" y="442"/>
                    </a:lnTo>
                    <a:lnTo>
                      <a:pt x="108" y="437"/>
                    </a:lnTo>
                    <a:lnTo>
                      <a:pt x="106" y="437"/>
                    </a:lnTo>
                    <a:lnTo>
                      <a:pt x="103" y="437"/>
                    </a:lnTo>
                    <a:lnTo>
                      <a:pt x="99" y="438"/>
                    </a:lnTo>
                    <a:lnTo>
                      <a:pt x="99" y="442"/>
                    </a:lnTo>
                    <a:lnTo>
                      <a:pt x="96" y="443"/>
                    </a:lnTo>
                    <a:lnTo>
                      <a:pt x="94" y="442"/>
                    </a:lnTo>
                    <a:lnTo>
                      <a:pt x="91" y="437"/>
                    </a:lnTo>
                    <a:lnTo>
                      <a:pt x="88" y="435"/>
                    </a:lnTo>
                    <a:lnTo>
                      <a:pt x="88" y="438"/>
                    </a:lnTo>
                    <a:lnTo>
                      <a:pt x="84" y="445"/>
                    </a:lnTo>
                    <a:lnTo>
                      <a:pt x="83" y="447"/>
                    </a:lnTo>
                    <a:lnTo>
                      <a:pt x="79" y="445"/>
                    </a:lnTo>
                    <a:lnTo>
                      <a:pt x="79" y="442"/>
                    </a:lnTo>
                    <a:lnTo>
                      <a:pt x="81" y="437"/>
                    </a:lnTo>
                    <a:lnTo>
                      <a:pt x="86" y="435"/>
                    </a:lnTo>
                    <a:lnTo>
                      <a:pt x="84" y="433"/>
                    </a:lnTo>
                    <a:lnTo>
                      <a:pt x="81" y="433"/>
                    </a:lnTo>
                    <a:lnTo>
                      <a:pt x="79" y="432"/>
                    </a:lnTo>
                    <a:lnTo>
                      <a:pt x="76" y="435"/>
                    </a:lnTo>
                    <a:lnTo>
                      <a:pt x="73" y="435"/>
                    </a:lnTo>
                    <a:lnTo>
                      <a:pt x="71" y="438"/>
                    </a:lnTo>
                    <a:lnTo>
                      <a:pt x="69" y="438"/>
                    </a:lnTo>
                    <a:lnTo>
                      <a:pt x="68" y="437"/>
                    </a:lnTo>
                    <a:lnTo>
                      <a:pt x="68" y="433"/>
                    </a:lnTo>
                    <a:lnTo>
                      <a:pt x="66" y="430"/>
                    </a:lnTo>
                    <a:lnTo>
                      <a:pt x="66" y="427"/>
                    </a:lnTo>
                    <a:lnTo>
                      <a:pt x="64" y="427"/>
                    </a:lnTo>
                    <a:lnTo>
                      <a:pt x="61" y="427"/>
                    </a:lnTo>
                    <a:lnTo>
                      <a:pt x="61" y="430"/>
                    </a:lnTo>
                    <a:lnTo>
                      <a:pt x="59" y="433"/>
                    </a:lnTo>
                    <a:lnTo>
                      <a:pt x="58" y="435"/>
                    </a:lnTo>
                    <a:lnTo>
                      <a:pt x="58" y="438"/>
                    </a:lnTo>
                    <a:lnTo>
                      <a:pt x="59" y="445"/>
                    </a:lnTo>
                    <a:lnTo>
                      <a:pt x="58" y="447"/>
                    </a:lnTo>
                    <a:lnTo>
                      <a:pt x="58" y="448"/>
                    </a:lnTo>
                    <a:lnTo>
                      <a:pt x="54" y="447"/>
                    </a:lnTo>
                    <a:lnTo>
                      <a:pt x="49" y="443"/>
                    </a:lnTo>
                    <a:lnTo>
                      <a:pt x="44" y="442"/>
                    </a:lnTo>
                    <a:lnTo>
                      <a:pt x="41" y="438"/>
                    </a:lnTo>
                    <a:lnTo>
                      <a:pt x="36" y="435"/>
                    </a:lnTo>
                    <a:lnTo>
                      <a:pt x="34" y="433"/>
                    </a:lnTo>
                    <a:lnTo>
                      <a:pt x="34" y="432"/>
                    </a:lnTo>
                    <a:lnTo>
                      <a:pt x="36" y="430"/>
                    </a:lnTo>
                    <a:lnTo>
                      <a:pt x="31" y="428"/>
                    </a:lnTo>
                    <a:lnTo>
                      <a:pt x="28" y="422"/>
                    </a:lnTo>
                    <a:lnTo>
                      <a:pt x="24" y="420"/>
                    </a:lnTo>
                    <a:lnTo>
                      <a:pt x="21" y="415"/>
                    </a:lnTo>
                    <a:lnTo>
                      <a:pt x="21" y="410"/>
                    </a:lnTo>
                    <a:lnTo>
                      <a:pt x="23" y="408"/>
                    </a:lnTo>
                    <a:lnTo>
                      <a:pt x="29" y="408"/>
                    </a:lnTo>
                    <a:lnTo>
                      <a:pt x="33" y="405"/>
                    </a:lnTo>
                    <a:lnTo>
                      <a:pt x="36" y="405"/>
                    </a:lnTo>
                    <a:lnTo>
                      <a:pt x="43" y="405"/>
                    </a:lnTo>
                    <a:lnTo>
                      <a:pt x="44" y="405"/>
                    </a:lnTo>
                    <a:lnTo>
                      <a:pt x="48" y="403"/>
                    </a:lnTo>
                    <a:lnTo>
                      <a:pt x="49" y="402"/>
                    </a:lnTo>
                    <a:lnTo>
                      <a:pt x="49" y="398"/>
                    </a:lnTo>
                    <a:lnTo>
                      <a:pt x="44" y="400"/>
                    </a:lnTo>
                    <a:lnTo>
                      <a:pt x="38" y="397"/>
                    </a:lnTo>
                    <a:lnTo>
                      <a:pt x="36" y="397"/>
                    </a:lnTo>
                    <a:lnTo>
                      <a:pt x="34" y="398"/>
                    </a:lnTo>
                    <a:lnTo>
                      <a:pt x="26" y="392"/>
                    </a:lnTo>
                    <a:lnTo>
                      <a:pt x="26" y="387"/>
                    </a:lnTo>
                    <a:lnTo>
                      <a:pt x="28" y="385"/>
                    </a:lnTo>
                    <a:lnTo>
                      <a:pt x="33" y="383"/>
                    </a:lnTo>
                    <a:lnTo>
                      <a:pt x="34" y="378"/>
                    </a:lnTo>
                    <a:lnTo>
                      <a:pt x="36" y="375"/>
                    </a:lnTo>
                    <a:lnTo>
                      <a:pt x="33" y="375"/>
                    </a:lnTo>
                    <a:lnTo>
                      <a:pt x="31" y="377"/>
                    </a:lnTo>
                    <a:lnTo>
                      <a:pt x="28" y="382"/>
                    </a:lnTo>
                    <a:lnTo>
                      <a:pt x="24" y="382"/>
                    </a:lnTo>
                    <a:lnTo>
                      <a:pt x="23" y="383"/>
                    </a:lnTo>
                    <a:lnTo>
                      <a:pt x="19" y="387"/>
                    </a:lnTo>
                    <a:lnTo>
                      <a:pt x="15" y="385"/>
                    </a:lnTo>
                    <a:lnTo>
                      <a:pt x="15" y="380"/>
                    </a:lnTo>
                    <a:lnTo>
                      <a:pt x="15" y="377"/>
                    </a:lnTo>
                    <a:lnTo>
                      <a:pt x="18" y="375"/>
                    </a:lnTo>
                    <a:lnTo>
                      <a:pt x="16" y="374"/>
                    </a:lnTo>
                    <a:lnTo>
                      <a:pt x="15" y="374"/>
                    </a:lnTo>
                    <a:lnTo>
                      <a:pt x="13" y="375"/>
                    </a:lnTo>
                    <a:lnTo>
                      <a:pt x="13" y="372"/>
                    </a:lnTo>
                    <a:lnTo>
                      <a:pt x="13" y="369"/>
                    </a:lnTo>
                    <a:lnTo>
                      <a:pt x="15" y="367"/>
                    </a:lnTo>
                    <a:lnTo>
                      <a:pt x="16" y="365"/>
                    </a:lnTo>
                    <a:lnTo>
                      <a:pt x="18" y="364"/>
                    </a:lnTo>
                    <a:lnTo>
                      <a:pt x="21" y="365"/>
                    </a:lnTo>
                    <a:lnTo>
                      <a:pt x="23" y="367"/>
                    </a:lnTo>
                    <a:lnTo>
                      <a:pt x="23" y="362"/>
                    </a:lnTo>
                    <a:lnTo>
                      <a:pt x="31" y="359"/>
                    </a:lnTo>
                    <a:lnTo>
                      <a:pt x="39" y="360"/>
                    </a:lnTo>
                    <a:lnTo>
                      <a:pt x="44" y="364"/>
                    </a:lnTo>
                    <a:lnTo>
                      <a:pt x="53" y="364"/>
                    </a:lnTo>
                    <a:lnTo>
                      <a:pt x="61" y="369"/>
                    </a:lnTo>
                    <a:lnTo>
                      <a:pt x="68" y="369"/>
                    </a:lnTo>
                    <a:lnTo>
                      <a:pt x="71" y="370"/>
                    </a:lnTo>
                    <a:lnTo>
                      <a:pt x="81" y="375"/>
                    </a:lnTo>
                    <a:lnTo>
                      <a:pt x="84" y="375"/>
                    </a:lnTo>
                    <a:lnTo>
                      <a:pt x="86" y="375"/>
                    </a:lnTo>
                    <a:lnTo>
                      <a:pt x="93" y="374"/>
                    </a:lnTo>
                    <a:lnTo>
                      <a:pt x="88" y="372"/>
                    </a:lnTo>
                    <a:lnTo>
                      <a:pt x="84" y="372"/>
                    </a:lnTo>
                    <a:lnTo>
                      <a:pt x="76" y="369"/>
                    </a:lnTo>
                    <a:lnTo>
                      <a:pt x="71" y="365"/>
                    </a:lnTo>
                    <a:lnTo>
                      <a:pt x="66" y="364"/>
                    </a:lnTo>
                    <a:lnTo>
                      <a:pt x="58" y="364"/>
                    </a:lnTo>
                    <a:lnTo>
                      <a:pt x="54" y="360"/>
                    </a:lnTo>
                    <a:lnTo>
                      <a:pt x="54" y="359"/>
                    </a:lnTo>
                    <a:lnTo>
                      <a:pt x="63" y="355"/>
                    </a:lnTo>
                    <a:lnTo>
                      <a:pt x="69" y="357"/>
                    </a:lnTo>
                    <a:lnTo>
                      <a:pt x="79" y="357"/>
                    </a:lnTo>
                    <a:lnTo>
                      <a:pt x="86" y="360"/>
                    </a:lnTo>
                    <a:lnTo>
                      <a:pt x="89" y="364"/>
                    </a:lnTo>
                    <a:lnTo>
                      <a:pt x="93" y="364"/>
                    </a:lnTo>
                    <a:lnTo>
                      <a:pt x="94" y="365"/>
                    </a:lnTo>
                    <a:lnTo>
                      <a:pt x="98" y="367"/>
                    </a:lnTo>
                    <a:lnTo>
                      <a:pt x="98" y="365"/>
                    </a:lnTo>
                    <a:lnTo>
                      <a:pt x="98" y="364"/>
                    </a:lnTo>
                    <a:lnTo>
                      <a:pt x="96" y="360"/>
                    </a:lnTo>
                    <a:lnTo>
                      <a:pt x="103" y="357"/>
                    </a:lnTo>
                    <a:lnTo>
                      <a:pt x="104" y="357"/>
                    </a:lnTo>
                    <a:lnTo>
                      <a:pt x="103" y="350"/>
                    </a:lnTo>
                    <a:lnTo>
                      <a:pt x="101" y="350"/>
                    </a:lnTo>
                    <a:lnTo>
                      <a:pt x="98" y="350"/>
                    </a:lnTo>
                    <a:lnTo>
                      <a:pt x="96" y="349"/>
                    </a:lnTo>
                    <a:lnTo>
                      <a:pt x="96" y="345"/>
                    </a:lnTo>
                    <a:lnTo>
                      <a:pt x="93" y="344"/>
                    </a:lnTo>
                    <a:lnTo>
                      <a:pt x="91" y="345"/>
                    </a:lnTo>
                    <a:lnTo>
                      <a:pt x="86" y="349"/>
                    </a:lnTo>
                    <a:lnTo>
                      <a:pt x="81" y="349"/>
                    </a:lnTo>
                    <a:lnTo>
                      <a:pt x="74" y="347"/>
                    </a:lnTo>
                    <a:lnTo>
                      <a:pt x="69" y="345"/>
                    </a:lnTo>
                    <a:lnTo>
                      <a:pt x="71" y="344"/>
                    </a:lnTo>
                    <a:lnTo>
                      <a:pt x="69" y="342"/>
                    </a:lnTo>
                    <a:lnTo>
                      <a:pt x="66" y="337"/>
                    </a:lnTo>
                    <a:lnTo>
                      <a:pt x="63" y="337"/>
                    </a:lnTo>
                    <a:lnTo>
                      <a:pt x="63" y="339"/>
                    </a:lnTo>
                    <a:lnTo>
                      <a:pt x="63" y="340"/>
                    </a:lnTo>
                    <a:lnTo>
                      <a:pt x="64" y="342"/>
                    </a:lnTo>
                    <a:lnTo>
                      <a:pt x="64" y="347"/>
                    </a:lnTo>
                    <a:lnTo>
                      <a:pt x="63" y="349"/>
                    </a:lnTo>
                    <a:lnTo>
                      <a:pt x="56" y="349"/>
                    </a:lnTo>
                    <a:lnTo>
                      <a:pt x="49" y="347"/>
                    </a:lnTo>
                    <a:lnTo>
                      <a:pt x="43" y="340"/>
                    </a:lnTo>
                    <a:lnTo>
                      <a:pt x="43" y="339"/>
                    </a:lnTo>
                    <a:lnTo>
                      <a:pt x="48" y="337"/>
                    </a:lnTo>
                    <a:lnTo>
                      <a:pt x="56" y="334"/>
                    </a:lnTo>
                    <a:lnTo>
                      <a:pt x="56" y="334"/>
                    </a:lnTo>
                    <a:lnTo>
                      <a:pt x="54" y="332"/>
                    </a:lnTo>
                    <a:lnTo>
                      <a:pt x="48" y="334"/>
                    </a:lnTo>
                    <a:lnTo>
                      <a:pt x="44" y="335"/>
                    </a:lnTo>
                    <a:lnTo>
                      <a:pt x="39" y="335"/>
                    </a:lnTo>
                    <a:lnTo>
                      <a:pt x="39" y="332"/>
                    </a:lnTo>
                    <a:lnTo>
                      <a:pt x="41" y="330"/>
                    </a:lnTo>
                    <a:lnTo>
                      <a:pt x="46" y="329"/>
                    </a:lnTo>
                    <a:lnTo>
                      <a:pt x="49" y="327"/>
                    </a:lnTo>
                    <a:lnTo>
                      <a:pt x="53" y="322"/>
                    </a:lnTo>
                    <a:lnTo>
                      <a:pt x="51" y="319"/>
                    </a:lnTo>
                    <a:lnTo>
                      <a:pt x="49" y="319"/>
                    </a:lnTo>
                    <a:lnTo>
                      <a:pt x="48" y="320"/>
                    </a:lnTo>
                    <a:lnTo>
                      <a:pt x="46" y="322"/>
                    </a:lnTo>
                    <a:lnTo>
                      <a:pt x="41" y="325"/>
                    </a:lnTo>
                    <a:lnTo>
                      <a:pt x="36" y="325"/>
                    </a:lnTo>
                    <a:lnTo>
                      <a:pt x="31" y="325"/>
                    </a:lnTo>
                    <a:lnTo>
                      <a:pt x="29" y="322"/>
                    </a:lnTo>
                    <a:lnTo>
                      <a:pt x="31" y="320"/>
                    </a:lnTo>
                    <a:lnTo>
                      <a:pt x="33" y="317"/>
                    </a:lnTo>
                    <a:lnTo>
                      <a:pt x="36" y="315"/>
                    </a:lnTo>
                    <a:lnTo>
                      <a:pt x="34" y="314"/>
                    </a:lnTo>
                    <a:lnTo>
                      <a:pt x="33" y="314"/>
                    </a:lnTo>
                    <a:lnTo>
                      <a:pt x="28" y="314"/>
                    </a:lnTo>
                    <a:lnTo>
                      <a:pt x="26" y="312"/>
                    </a:lnTo>
                    <a:lnTo>
                      <a:pt x="21" y="302"/>
                    </a:lnTo>
                    <a:lnTo>
                      <a:pt x="19" y="300"/>
                    </a:lnTo>
                    <a:lnTo>
                      <a:pt x="15" y="299"/>
                    </a:lnTo>
                    <a:lnTo>
                      <a:pt x="13" y="295"/>
                    </a:lnTo>
                    <a:lnTo>
                      <a:pt x="16" y="295"/>
                    </a:lnTo>
                    <a:lnTo>
                      <a:pt x="19" y="294"/>
                    </a:lnTo>
                    <a:lnTo>
                      <a:pt x="23" y="290"/>
                    </a:lnTo>
                    <a:lnTo>
                      <a:pt x="24" y="289"/>
                    </a:lnTo>
                    <a:lnTo>
                      <a:pt x="24" y="289"/>
                    </a:lnTo>
                    <a:lnTo>
                      <a:pt x="28" y="289"/>
                    </a:lnTo>
                    <a:lnTo>
                      <a:pt x="28" y="287"/>
                    </a:lnTo>
                    <a:lnTo>
                      <a:pt x="24" y="287"/>
                    </a:lnTo>
                    <a:lnTo>
                      <a:pt x="21" y="285"/>
                    </a:lnTo>
                    <a:lnTo>
                      <a:pt x="19" y="284"/>
                    </a:lnTo>
                    <a:lnTo>
                      <a:pt x="21" y="282"/>
                    </a:lnTo>
                    <a:lnTo>
                      <a:pt x="24" y="282"/>
                    </a:lnTo>
                    <a:lnTo>
                      <a:pt x="33" y="279"/>
                    </a:lnTo>
                    <a:lnTo>
                      <a:pt x="33" y="277"/>
                    </a:lnTo>
                    <a:lnTo>
                      <a:pt x="33" y="276"/>
                    </a:lnTo>
                    <a:lnTo>
                      <a:pt x="36" y="274"/>
                    </a:lnTo>
                    <a:lnTo>
                      <a:pt x="39" y="272"/>
                    </a:lnTo>
                    <a:lnTo>
                      <a:pt x="43" y="272"/>
                    </a:lnTo>
                    <a:lnTo>
                      <a:pt x="44" y="272"/>
                    </a:lnTo>
                    <a:lnTo>
                      <a:pt x="48" y="272"/>
                    </a:lnTo>
                    <a:lnTo>
                      <a:pt x="51" y="271"/>
                    </a:lnTo>
                    <a:lnTo>
                      <a:pt x="54" y="271"/>
                    </a:lnTo>
                    <a:lnTo>
                      <a:pt x="58" y="272"/>
                    </a:lnTo>
                    <a:lnTo>
                      <a:pt x="58" y="272"/>
                    </a:lnTo>
                    <a:lnTo>
                      <a:pt x="59" y="274"/>
                    </a:lnTo>
                    <a:lnTo>
                      <a:pt x="61" y="272"/>
                    </a:lnTo>
                    <a:lnTo>
                      <a:pt x="63" y="271"/>
                    </a:lnTo>
                    <a:lnTo>
                      <a:pt x="66" y="269"/>
                    </a:lnTo>
                    <a:lnTo>
                      <a:pt x="69" y="269"/>
                    </a:lnTo>
                    <a:lnTo>
                      <a:pt x="71" y="269"/>
                    </a:lnTo>
                    <a:lnTo>
                      <a:pt x="74" y="267"/>
                    </a:lnTo>
                    <a:lnTo>
                      <a:pt x="74" y="267"/>
                    </a:lnTo>
                    <a:lnTo>
                      <a:pt x="79" y="267"/>
                    </a:lnTo>
                    <a:lnTo>
                      <a:pt x="98" y="264"/>
                    </a:lnTo>
                    <a:lnTo>
                      <a:pt x="101" y="264"/>
                    </a:lnTo>
                    <a:lnTo>
                      <a:pt x="103" y="266"/>
                    </a:lnTo>
                    <a:lnTo>
                      <a:pt x="103" y="262"/>
                    </a:lnTo>
                    <a:lnTo>
                      <a:pt x="101" y="261"/>
                    </a:lnTo>
                    <a:lnTo>
                      <a:pt x="103" y="259"/>
                    </a:lnTo>
                    <a:lnTo>
                      <a:pt x="109" y="256"/>
                    </a:lnTo>
                    <a:lnTo>
                      <a:pt x="116" y="256"/>
                    </a:lnTo>
                    <a:lnTo>
                      <a:pt x="121" y="256"/>
                    </a:lnTo>
                    <a:lnTo>
                      <a:pt x="124" y="256"/>
                    </a:lnTo>
                    <a:lnTo>
                      <a:pt x="129" y="257"/>
                    </a:lnTo>
                    <a:lnTo>
                      <a:pt x="132" y="254"/>
                    </a:lnTo>
                    <a:lnTo>
                      <a:pt x="137" y="254"/>
                    </a:lnTo>
                    <a:lnTo>
                      <a:pt x="144" y="256"/>
                    </a:lnTo>
                    <a:lnTo>
                      <a:pt x="146" y="257"/>
                    </a:lnTo>
                    <a:lnTo>
                      <a:pt x="149" y="257"/>
                    </a:lnTo>
                    <a:lnTo>
                      <a:pt x="152" y="259"/>
                    </a:lnTo>
                    <a:lnTo>
                      <a:pt x="157" y="262"/>
                    </a:lnTo>
                    <a:lnTo>
                      <a:pt x="161" y="262"/>
                    </a:lnTo>
                    <a:lnTo>
                      <a:pt x="164" y="261"/>
                    </a:lnTo>
                    <a:lnTo>
                      <a:pt x="164" y="259"/>
                    </a:lnTo>
                    <a:lnTo>
                      <a:pt x="167" y="256"/>
                    </a:lnTo>
                    <a:lnTo>
                      <a:pt x="171" y="251"/>
                    </a:lnTo>
                    <a:lnTo>
                      <a:pt x="174" y="246"/>
                    </a:lnTo>
                    <a:lnTo>
                      <a:pt x="181" y="244"/>
                    </a:lnTo>
                    <a:lnTo>
                      <a:pt x="182" y="242"/>
                    </a:lnTo>
                    <a:lnTo>
                      <a:pt x="186" y="236"/>
                    </a:lnTo>
                    <a:lnTo>
                      <a:pt x="191" y="234"/>
                    </a:lnTo>
                    <a:lnTo>
                      <a:pt x="192" y="231"/>
                    </a:lnTo>
                    <a:lnTo>
                      <a:pt x="189" y="229"/>
                    </a:lnTo>
                    <a:lnTo>
                      <a:pt x="187" y="226"/>
                    </a:lnTo>
                    <a:lnTo>
                      <a:pt x="192" y="221"/>
                    </a:lnTo>
                    <a:lnTo>
                      <a:pt x="196" y="221"/>
                    </a:lnTo>
                    <a:lnTo>
                      <a:pt x="202" y="221"/>
                    </a:lnTo>
                    <a:lnTo>
                      <a:pt x="207" y="217"/>
                    </a:lnTo>
                    <a:lnTo>
                      <a:pt x="209" y="216"/>
                    </a:lnTo>
                    <a:lnTo>
                      <a:pt x="207" y="214"/>
                    </a:lnTo>
                    <a:lnTo>
                      <a:pt x="202" y="214"/>
                    </a:lnTo>
                    <a:lnTo>
                      <a:pt x="197" y="211"/>
                    </a:lnTo>
                    <a:lnTo>
                      <a:pt x="197" y="209"/>
                    </a:lnTo>
                    <a:lnTo>
                      <a:pt x="197" y="207"/>
                    </a:lnTo>
                    <a:lnTo>
                      <a:pt x="202" y="206"/>
                    </a:lnTo>
                    <a:lnTo>
                      <a:pt x="209" y="207"/>
                    </a:lnTo>
                    <a:lnTo>
                      <a:pt x="214" y="204"/>
                    </a:lnTo>
                    <a:lnTo>
                      <a:pt x="219" y="202"/>
                    </a:lnTo>
                    <a:lnTo>
                      <a:pt x="219" y="199"/>
                    </a:lnTo>
                    <a:lnTo>
                      <a:pt x="219" y="199"/>
                    </a:lnTo>
                    <a:lnTo>
                      <a:pt x="219" y="194"/>
                    </a:lnTo>
                    <a:lnTo>
                      <a:pt x="217" y="194"/>
                    </a:lnTo>
                    <a:lnTo>
                      <a:pt x="214" y="197"/>
                    </a:lnTo>
                    <a:lnTo>
                      <a:pt x="214" y="201"/>
                    </a:lnTo>
                    <a:lnTo>
                      <a:pt x="211" y="202"/>
                    </a:lnTo>
                    <a:lnTo>
                      <a:pt x="204" y="202"/>
                    </a:lnTo>
                    <a:lnTo>
                      <a:pt x="201" y="201"/>
                    </a:lnTo>
                    <a:lnTo>
                      <a:pt x="197" y="201"/>
                    </a:lnTo>
                    <a:lnTo>
                      <a:pt x="194" y="204"/>
                    </a:lnTo>
                    <a:lnTo>
                      <a:pt x="189" y="204"/>
                    </a:lnTo>
                    <a:lnTo>
                      <a:pt x="187" y="202"/>
                    </a:lnTo>
                    <a:lnTo>
                      <a:pt x="184" y="199"/>
                    </a:lnTo>
                    <a:lnTo>
                      <a:pt x="181" y="199"/>
                    </a:lnTo>
                    <a:lnTo>
                      <a:pt x="179" y="202"/>
                    </a:lnTo>
                    <a:lnTo>
                      <a:pt x="176" y="202"/>
                    </a:lnTo>
                    <a:lnTo>
                      <a:pt x="174" y="199"/>
                    </a:lnTo>
                    <a:lnTo>
                      <a:pt x="171" y="201"/>
                    </a:lnTo>
                    <a:lnTo>
                      <a:pt x="169" y="199"/>
                    </a:lnTo>
                    <a:lnTo>
                      <a:pt x="169" y="197"/>
                    </a:lnTo>
                    <a:lnTo>
                      <a:pt x="169" y="194"/>
                    </a:lnTo>
                    <a:lnTo>
                      <a:pt x="167" y="194"/>
                    </a:lnTo>
                    <a:lnTo>
                      <a:pt x="167" y="192"/>
                    </a:lnTo>
                    <a:lnTo>
                      <a:pt x="167" y="189"/>
                    </a:lnTo>
                    <a:lnTo>
                      <a:pt x="171" y="187"/>
                    </a:lnTo>
                    <a:lnTo>
                      <a:pt x="174" y="184"/>
                    </a:lnTo>
                    <a:lnTo>
                      <a:pt x="176" y="182"/>
                    </a:lnTo>
                    <a:lnTo>
                      <a:pt x="179" y="181"/>
                    </a:lnTo>
                    <a:lnTo>
                      <a:pt x="179" y="179"/>
                    </a:lnTo>
                    <a:lnTo>
                      <a:pt x="177" y="178"/>
                    </a:lnTo>
                    <a:lnTo>
                      <a:pt x="177" y="174"/>
                    </a:lnTo>
                    <a:lnTo>
                      <a:pt x="179" y="173"/>
                    </a:lnTo>
                    <a:lnTo>
                      <a:pt x="182" y="173"/>
                    </a:lnTo>
                    <a:lnTo>
                      <a:pt x="186" y="171"/>
                    </a:lnTo>
                    <a:lnTo>
                      <a:pt x="189" y="169"/>
                    </a:lnTo>
                    <a:lnTo>
                      <a:pt x="189" y="166"/>
                    </a:lnTo>
                    <a:lnTo>
                      <a:pt x="196" y="164"/>
                    </a:lnTo>
                    <a:lnTo>
                      <a:pt x="199" y="161"/>
                    </a:lnTo>
                    <a:lnTo>
                      <a:pt x="202" y="159"/>
                    </a:lnTo>
                    <a:lnTo>
                      <a:pt x="209" y="159"/>
                    </a:lnTo>
                    <a:lnTo>
                      <a:pt x="212" y="159"/>
                    </a:lnTo>
                    <a:lnTo>
                      <a:pt x="211" y="158"/>
                    </a:lnTo>
                    <a:lnTo>
                      <a:pt x="209" y="158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15" y="154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24" y="149"/>
                    </a:lnTo>
                    <a:lnTo>
                      <a:pt x="224" y="148"/>
                    </a:lnTo>
                    <a:lnTo>
                      <a:pt x="225" y="144"/>
                    </a:lnTo>
                    <a:lnTo>
                      <a:pt x="230" y="141"/>
                    </a:lnTo>
                    <a:lnTo>
                      <a:pt x="234" y="139"/>
                    </a:lnTo>
                    <a:lnTo>
                      <a:pt x="237" y="136"/>
                    </a:lnTo>
                    <a:lnTo>
                      <a:pt x="240" y="136"/>
                    </a:lnTo>
                    <a:lnTo>
                      <a:pt x="242" y="134"/>
                    </a:lnTo>
                    <a:lnTo>
                      <a:pt x="244" y="136"/>
                    </a:lnTo>
                    <a:lnTo>
                      <a:pt x="245" y="141"/>
                    </a:lnTo>
                    <a:lnTo>
                      <a:pt x="245" y="148"/>
                    </a:lnTo>
                    <a:lnTo>
                      <a:pt x="245" y="151"/>
                    </a:lnTo>
                    <a:lnTo>
                      <a:pt x="245" y="158"/>
                    </a:lnTo>
                    <a:lnTo>
                      <a:pt x="245" y="166"/>
                    </a:lnTo>
                    <a:lnTo>
                      <a:pt x="247" y="166"/>
                    </a:lnTo>
                    <a:lnTo>
                      <a:pt x="249" y="163"/>
                    </a:lnTo>
                    <a:lnTo>
                      <a:pt x="250" y="156"/>
                    </a:lnTo>
                    <a:lnTo>
                      <a:pt x="249" y="149"/>
                    </a:lnTo>
                    <a:lnTo>
                      <a:pt x="247" y="146"/>
                    </a:lnTo>
                    <a:lnTo>
                      <a:pt x="249" y="143"/>
                    </a:lnTo>
                    <a:lnTo>
                      <a:pt x="249" y="138"/>
                    </a:lnTo>
                    <a:lnTo>
                      <a:pt x="250" y="136"/>
                    </a:lnTo>
                    <a:lnTo>
                      <a:pt x="254" y="136"/>
                    </a:lnTo>
                    <a:lnTo>
                      <a:pt x="255" y="134"/>
                    </a:lnTo>
                    <a:lnTo>
                      <a:pt x="257" y="133"/>
                    </a:lnTo>
                    <a:lnTo>
                      <a:pt x="259" y="133"/>
                    </a:lnTo>
                    <a:lnTo>
                      <a:pt x="259" y="134"/>
                    </a:lnTo>
                    <a:lnTo>
                      <a:pt x="260" y="136"/>
                    </a:lnTo>
                    <a:lnTo>
                      <a:pt x="264" y="136"/>
                    </a:lnTo>
                    <a:lnTo>
                      <a:pt x="265" y="138"/>
                    </a:lnTo>
                    <a:lnTo>
                      <a:pt x="264" y="141"/>
                    </a:lnTo>
                    <a:lnTo>
                      <a:pt x="265" y="143"/>
                    </a:lnTo>
                    <a:lnTo>
                      <a:pt x="269" y="144"/>
                    </a:lnTo>
                    <a:lnTo>
                      <a:pt x="277" y="144"/>
                    </a:lnTo>
                    <a:lnTo>
                      <a:pt x="277" y="143"/>
                    </a:lnTo>
                    <a:lnTo>
                      <a:pt x="282" y="143"/>
                    </a:lnTo>
                    <a:lnTo>
                      <a:pt x="282" y="141"/>
                    </a:lnTo>
                    <a:lnTo>
                      <a:pt x="280" y="138"/>
                    </a:lnTo>
                    <a:lnTo>
                      <a:pt x="282" y="136"/>
                    </a:lnTo>
                    <a:lnTo>
                      <a:pt x="284" y="134"/>
                    </a:lnTo>
                    <a:lnTo>
                      <a:pt x="285" y="129"/>
                    </a:lnTo>
                    <a:lnTo>
                      <a:pt x="287" y="129"/>
                    </a:lnTo>
                    <a:lnTo>
                      <a:pt x="290" y="128"/>
                    </a:lnTo>
                    <a:lnTo>
                      <a:pt x="297" y="124"/>
                    </a:lnTo>
                    <a:lnTo>
                      <a:pt x="300" y="121"/>
                    </a:lnTo>
                    <a:lnTo>
                      <a:pt x="299" y="116"/>
                    </a:lnTo>
                    <a:lnTo>
                      <a:pt x="297" y="116"/>
                    </a:lnTo>
                    <a:lnTo>
                      <a:pt x="295" y="116"/>
                    </a:lnTo>
                    <a:lnTo>
                      <a:pt x="295" y="113"/>
                    </a:lnTo>
                    <a:lnTo>
                      <a:pt x="295" y="111"/>
                    </a:lnTo>
                    <a:lnTo>
                      <a:pt x="299" y="108"/>
                    </a:lnTo>
                    <a:lnTo>
                      <a:pt x="299" y="103"/>
                    </a:lnTo>
                    <a:lnTo>
                      <a:pt x="299" y="99"/>
                    </a:lnTo>
                    <a:lnTo>
                      <a:pt x="300" y="94"/>
                    </a:lnTo>
                    <a:lnTo>
                      <a:pt x="304" y="91"/>
                    </a:lnTo>
                    <a:lnTo>
                      <a:pt x="310" y="91"/>
                    </a:lnTo>
                    <a:lnTo>
                      <a:pt x="315" y="88"/>
                    </a:lnTo>
                    <a:lnTo>
                      <a:pt x="322" y="86"/>
                    </a:lnTo>
                    <a:lnTo>
                      <a:pt x="323" y="88"/>
                    </a:lnTo>
                    <a:lnTo>
                      <a:pt x="323" y="89"/>
                    </a:lnTo>
                    <a:lnTo>
                      <a:pt x="323" y="93"/>
                    </a:lnTo>
                    <a:lnTo>
                      <a:pt x="328" y="99"/>
                    </a:lnTo>
                    <a:lnTo>
                      <a:pt x="328" y="103"/>
                    </a:lnTo>
                    <a:lnTo>
                      <a:pt x="327" y="111"/>
                    </a:lnTo>
                    <a:lnTo>
                      <a:pt x="327" y="119"/>
                    </a:lnTo>
                    <a:lnTo>
                      <a:pt x="330" y="121"/>
                    </a:lnTo>
                    <a:lnTo>
                      <a:pt x="335" y="126"/>
                    </a:lnTo>
                    <a:lnTo>
                      <a:pt x="338" y="129"/>
                    </a:lnTo>
                    <a:lnTo>
                      <a:pt x="340" y="131"/>
                    </a:lnTo>
                    <a:lnTo>
                      <a:pt x="342" y="129"/>
                    </a:lnTo>
                    <a:lnTo>
                      <a:pt x="340" y="123"/>
                    </a:lnTo>
                    <a:lnTo>
                      <a:pt x="340" y="118"/>
                    </a:lnTo>
                    <a:lnTo>
                      <a:pt x="335" y="111"/>
                    </a:lnTo>
                    <a:lnTo>
                      <a:pt x="333" y="104"/>
                    </a:lnTo>
                    <a:lnTo>
                      <a:pt x="337" y="99"/>
                    </a:lnTo>
                    <a:lnTo>
                      <a:pt x="337" y="96"/>
                    </a:lnTo>
                    <a:lnTo>
                      <a:pt x="335" y="94"/>
                    </a:lnTo>
                    <a:lnTo>
                      <a:pt x="333" y="89"/>
                    </a:lnTo>
                    <a:lnTo>
                      <a:pt x="333" y="86"/>
                    </a:lnTo>
                    <a:lnTo>
                      <a:pt x="332" y="83"/>
                    </a:lnTo>
                    <a:lnTo>
                      <a:pt x="333" y="81"/>
                    </a:lnTo>
                    <a:lnTo>
                      <a:pt x="337" y="78"/>
                    </a:lnTo>
                    <a:lnTo>
                      <a:pt x="342" y="78"/>
                    </a:lnTo>
                    <a:lnTo>
                      <a:pt x="345" y="80"/>
                    </a:lnTo>
                    <a:lnTo>
                      <a:pt x="348" y="78"/>
                    </a:lnTo>
                    <a:lnTo>
                      <a:pt x="352" y="78"/>
                    </a:lnTo>
                    <a:lnTo>
                      <a:pt x="358" y="80"/>
                    </a:lnTo>
                    <a:lnTo>
                      <a:pt x="368" y="78"/>
                    </a:lnTo>
                    <a:lnTo>
                      <a:pt x="377" y="76"/>
                    </a:lnTo>
                    <a:lnTo>
                      <a:pt x="387" y="75"/>
                    </a:lnTo>
                    <a:lnTo>
                      <a:pt x="388" y="78"/>
                    </a:lnTo>
                    <a:lnTo>
                      <a:pt x="390" y="81"/>
                    </a:lnTo>
                    <a:lnTo>
                      <a:pt x="390" y="84"/>
                    </a:lnTo>
                    <a:lnTo>
                      <a:pt x="390" y="86"/>
                    </a:lnTo>
                    <a:lnTo>
                      <a:pt x="393" y="86"/>
                    </a:lnTo>
                    <a:lnTo>
                      <a:pt x="397" y="83"/>
                    </a:lnTo>
                    <a:lnTo>
                      <a:pt x="393" y="80"/>
                    </a:lnTo>
                    <a:lnTo>
                      <a:pt x="393" y="76"/>
                    </a:lnTo>
                    <a:lnTo>
                      <a:pt x="400" y="71"/>
                    </a:lnTo>
                    <a:lnTo>
                      <a:pt x="405" y="73"/>
                    </a:lnTo>
                    <a:lnTo>
                      <a:pt x="407" y="76"/>
                    </a:lnTo>
                    <a:lnTo>
                      <a:pt x="408" y="81"/>
                    </a:lnTo>
                    <a:lnTo>
                      <a:pt x="410" y="83"/>
                    </a:lnTo>
                    <a:lnTo>
                      <a:pt x="412" y="80"/>
                    </a:lnTo>
                    <a:lnTo>
                      <a:pt x="412" y="73"/>
                    </a:lnTo>
                    <a:lnTo>
                      <a:pt x="408" y="71"/>
                    </a:lnTo>
                    <a:lnTo>
                      <a:pt x="407" y="68"/>
                    </a:lnTo>
                    <a:lnTo>
                      <a:pt x="408" y="66"/>
                    </a:lnTo>
                    <a:lnTo>
                      <a:pt x="413" y="68"/>
                    </a:lnTo>
                    <a:lnTo>
                      <a:pt x="416" y="70"/>
                    </a:lnTo>
                    <a:lnTo>
                      <a:pt x="421" y="66"/>
                    </a:lnTo>
                    <a:lnTo>
                      <a:pt x="425" y="65"/>
                    </a:lnTo>
                    <a:lnTo>
                      <a:pt x="431" y="66"/>
                    </a:lnTo>
                    <a:lnTo>
                      <a:pt x="433" y="70"/>
                    </a:lnTo>
                    <a:lnTo>
                      <a:pt x="433" y="80"/>
                    </a:lnTo>
                    <a:lnTo>
                      <a:pt x="430" y="84"/>
                    </a:lnTo>
                    <a:lnTo>
                      <a:pt x="430" y="89"/>
                    </a:lnTo>
                    <a:lnTo>
                      <a:pt x="426" y="96"/>
                    </a:lnTo>
                    <a:lnTo>
                      <a:pt x="425" y="99"/>
                    </a:lnTo>
                    <a:lnTo>
                      <a:pt x="425" y="103"/>
                    </a:lnTo>
                    <a:lnTo>
                      <a:pt x="423" y="106"/>
                    </a:lnTo>
                    <a:lnTo>
                      <a:pt x="420" y="106"/>
                    </a:lnTo>
                    <a:lnTo>
                      <a:pt x="420" y="109"/>
                    </a:lnTo>
                    <a:lnTo>
                      <a:pt x="421" y="111"/>
                    </a:lnTo>
                    <a:lnTo>
                      <a:pt x="421" y="113"/>
                    </a:lnTo>
                    <a:lnTo>
                      <a:pt x="421" y="116"/>
                    </a:lnTo>
                    <a:lnTo>
                      <a:pt x="416" y="119"/>
                    </a:lnTo>
                    <a:lnTo>
                      <a:pt x="415" y="124"/>
                    </a:lnTo>
                    <a:lnTo>
                      <a:pt x="410" y="128"/>
                    </a:lnTo>
                    <a:lnTo>
                      <a:pt x="408" y="129"/>
                    </a:lnTo>
                    <a:lnTo>
                      <a:pt x="408" y="134"/>
                    </a:lnTo>
                    <a:lnTo>
                      <a:pt x="405" y="138"/>
                    </a:lnTo>
                    <a:lnTo>
                      <a:pt x="403" y="143"/>
                    </a:lnTo>
                    <a:lnTo>
                      <a:pt x="405" y="143"/>
                    </a:lnTo>
                    <a:lnTo>
                      <a:pt x="408" y="143"/>
                    </a:lnTo>
                    <a:lnTo>
                      <a:pt x="412" y="138"/>
                    </a:lnTo>
                    <a:lnTo>
                      <a:pt x="413" y="136"/>
                    </a:lnTo>
                    <a:lnTo>
                      <a:pt x="413" y="134"/>
                    </a:lnTo>
                    <a:lnTo>
                      <a:pt x="416" y="131"/>
                    </a:lnTo>
                    <a:lnTo>
                      <a:pt x="421" y="124"/>
                    </a:lnTo>
                    <a:lnTo>
                      <a:pt x="423" y="121"/>
                    </a:lnTo>
                    <a:lnTo>
                      <a:pt x="426" y="119"/>
                    </a:lnTo>
                    <a:lnTo>
                      <a:pt x="428" y="118"/>
                    </a:lnTo>
                    <a:lnTo>
                      <a:pt x="430" y="114"/>
                    </a:lnTo>
                    <a:lnTo>
                      <a:pt x="430" y="113"/>
                    </a:lnTo>
                    <a:lnTo>
                      <a:pt x="433" y="111"/>
                    </a:lnTo>
                    <a:lnTo>
                      <a:pt x="435" y="106"/>
                    </a:lnTo>
                    <a:lnTo>
                      <a:pt x="438" y="104"/>
                    </a:lnTo>
                    <a:lnTo>
                      <a:pt x="440" y="106"/>
                    </a:lnTo>
                    <a:lnTo>
                      <a:pt x="438" y="109"/>
                    </a:lnTo>
                    <a:lnTo>
                      <a:pt x="441" y="113"/>
                    </a:lnTo>
                    <a:lnTo>
                      <a:pt x="443" y="116"/>
                    </a:lnTo>
                    <a:lnTo>
                      <a:pt x="445" y="121"/>
                    </a:lnTo>
                    <a:lnTo>
                      <a:pt x="448" y="126"/>
                    </a:lnTo>
                    <a:lnTo>
                      <a:pt x="448" y="131"/>
                    </a:lnTo>
                    <a:lnTo>
                      <a:pt x="451" y="133"/>
                    </a:lnTo>
                    <a:lnTo>
                      <a:pt x="455" y="134"/>
                    </a:lnTo>
                    <a:lnTo>
                      <a:pt x="455" y="134"/>
                    </a:lnTo>
                    <a:lnTo>
                      <a:pt x="458" y="134"/>
                    </a:lnTo>
                    <a:lnTo>
                      <a:pt x="458" y="133"/>
                    </a:lnTo>
                    <a:lnTo>
                      <a:pt x="460" y="131"/>
                    </a:lnTo>
                    <a:lnTo>
                      <a:pt x="460" y="129"/>
                    </a:lnTo>
                    <a:lnTo>
                      <a:pt x="456" y="126"/>
                    </a:lnTo>
                    <a:lnTo>
                      <a:pt x="455" y="124"/>
                    </a:lnTo>
                    <a:lnTo>
                      <a:pt x="456" y="123"/>
                    </a:lnTo>
                    <a:lnTo>
                      <a:pt x="458" y="123"/>
                    </a:lnTo>
                    <a:lnTo>
                      <a:pt x="461" y="126"/>
                    </a:lnTo>
                    <a:lnTo>
                      <a:pt x="466" y="126"/>
                    </a:lnTo>
                    <a:lnTo>
                      <a:pt x="470" y="128"/>
                    </a:lnTo>
                    <a:lnTo>
                      <a:pt x="470" y="129"/>
                    </a:lnTo>
                    <a:lnTo>
                      <a:pt x="473" y="129"/>
                    </a:lnTo>
                    <a:lnTo>
                      <a:pt x="475" y="128"/>
                    </a:lnTo>
                    <a:lnTo>
                      <a:pt x="476" y="128"/>
                    </a:lnTo>
                    <a:lnTo>
                      <a:pt x="478" y="129"/>
                    </a:lnTo>
                    <a:lnTo>
                      <a:pt x="481" y="129"/>
                    </a:lnTo>
                    <a:lnTo>
                      <a:pt x="480" y="121"/>
                    </a:lnTo>
                    <a:lnTo>
                      <a:pt x="480" y="118"/>
                    </a:lnTo>
                    <a:lnTo>
                      <a:pt x="481" y="111"/>
                    </a:lnTo>
                    <a:lnTo>
                      <a:pt x="481" y="106"/>
                    </a:lnTo>
                    <a:lnTo>
                      <a:pt x="480" y="103"/>
                    </a:lnTo>
                    <a:lnTo>
                      <a:pt x="478" y="98"/>
                    </a:lnTo>
                    <a:lnTo>
                      <a:pt x="478" y="93"/>
                    </a:lnTo>
                    <a:lnTo>
                      <a:pt x="483" y="84"/>
                    </a:lnTo>
                    <a:lnTo>
                      <a:pt x="483" y="83"/>
                    </a:lnTo>
                    <a:lnTo>
                      <a:pt x="481" y="80"/>
                    </a:lnTo>
                    <a:lnTo>
                      <a:pt x="483" y="78"/>
                    </a:lnTo>
                    <a:lnTo>
                      <a:pt x="483" y="71"/>
                    </a:lnTo>
                    <a:lnTo>
                      <a:pt x="486" y="70"/>
                    </a:lnTo>
                    <a:lnTo>
                      <a:pt x="490" y="70"/>
                    </a:lnTo>
                    <a:lnTo>
                      <a:pt x="493" y="71"/>
                    </a:lnTo>
                    <a:lnTo>
                      <a:pt x="496" y="71"/>
                    </a:lnTo>
                    <a:lnTo>
                      <a:pt x="500" y="73"/>
                    </a:lnTo>
                    <a:lnTo>
                      <a:pt x="501" y="75"/>
                    </a:lnTo>
                    <a:lnTo>
                      <a:pt x="505" y="78"/>
                    </a:lnTo>
                    <a:lnTo>
                      <a:pt x="506" y="81"/>
                    </a:lnTo>
                    <a:lnTo>
                      <a:pt x="511" y="89"/>
                    </a:lnTo>
                    <a:lnTo>
                      <a:pt x="511" y="93"/>
                    </a:lnTo>
                    <a:lnTo>
                      <a:pt x="514" y="99"/>
                    </a:lnTo>
                    <a:lnTo>
                      <a:pt x="518" y="104"/>
                    </a:lnTo>
                    <a:lnTo>
                      <a:pt x="519" y="114"/>
                    </a:lnTo>
                    <a:lnTo>
                      <a:pt x="518" y="118"/>
                    </a:lnTo>
                    <a:lnTo>
                      <a:pt x="516" y="119"/>
                    </a:lnTo>
                    <a:lnTo>
                      <a:pt x="516" y="123"/>
                    </a:lnTo>
                    <a:lnTo>
                      <a:pt x="516" y="128"/>
                    </a:lnTo>
                    <a:lnTo>
                      <a:pt x="519" y="129"/>
                    </a:lnTo>
                    <a:lnTo>
                      <a:pt x="521" y="136"/>
                    </a:lnTo>
                    <a:lnTo>
                      <a:pt x="521" y="141"/>
                    </a:lnTo>
                    <a:lnTo>
                      <a:pt x="521" y="146"/>
                    </a:lnTo>
                    <a:lnTo>
                      <a:pt x="523" y="149"/>
                    </a:lnTo>
                    <a:lnTo>
                      <a:pt x="528" y="149"/>
                    </a:lnTo>
                    <a:lnTo>
                      <a:pt x="533" y="153"/>
                    </a:lnTo>
                    <a:lnTo>
                      <a:pt x="536" y="153"/>
                    </a:lnTo>
                    <a:lnTo>
                      <a:pt x="541" y="151"/>
                    </a:lnTo>
                    <a:lnTo>
                      <a:pt x="544" y="144"/>
                    </a:lnTo>
                    <a:lnTo>
                      <a:pt x="548" y="143"/>
                    </a:lnTo>
                    <a:lnTo>
                      <a:pt x="548" y="144"/>
                    </a:lnTo>
                    <a:lnTo>
                      <a:pt x="548" y="148"/>
                    </a:lnTo>
                    <a:lnTo>
                      <a:pt x="549" y="149"/>
                    </a:lnTo>
                    <a:lnTo>
                      <a:pt x="551" y="149"/>
                    </a:lnTo>
                    <a:lnTo>
                      <a:pt x="554" y="148"/>
                    </a:lnTo>
                    <a:lnTo>
                      <a:pt x="556" y="149"/>
                    </a:lnTo>
                    <a:lnTo>
                      <a:pt x="558" y="153"/>
                    </a:lnTo>
                    <a:lnTo>
                      <a:pt x="558" y="154"/>
                    </a:lnTo>
                    <a:lnTo>
                      <a:pt x="559" y="158"/>
                    </a:lnTo>
                    <a:lnTo>
                      <a:pt x="563" y="158"/>
                    </a:lnTo>
                    <a:lnTo>
                      <a:pt x="566" y="158"/>
                    </a:lnTo>
                    <a:lnTo>
                      <a:pt x="571" y="158"/>
                    </a:lnTo>
                    <a:lnTo>
                      <a:pt x="571" y="156"/>
                    </a:lnTo>
                    <a:lnTo>
                      <a:pt x="569" y="156"/>
                    </a:lnTo>
                    <a:lnTo>
                      <a:pt x="566" y="153"/>
                    </a:lnTo>
                    <a:lnTo>
                      <a:pt x="564" y="151"/>
                    </a:lnTo>
                    <a:lnTo>
                      <a:pt x="564" y="148"/>
                    </a:lnTo>
                    <a:lnTo>
                      <a:pt x="561" y="148"/>
                    </a:lnTo>
                    <a:lnTo>
                      <a:pt x="559" y="146"/>
                    </a:lnTo>
                    <a:lnTo>
                      <a:pt x="559" y="143"/>
                    </a:lnTo>
                    <a:lnTo>
                      <a:pt x="558" y="139"/>
                    </a:lnTo>
                    <a:lnTo>
                      <a:pt x="553" y="134"/>
                    </a:lnTo>
                    <a:lnTo>
                      <a:pt x="553" y="133"/>
                    </a:lnTo>
                    <a:lnTo>
                      <a:pt x="551" y="128"/>
                    </a:lnTo>
                    <a:lnTo>
                      <a:pt x="548" y="123"/>
                    </a:lnTo>
                    <a:lnTo>
                      <a:pt x="548" y="121"/>
                    </a:lnTo>
                    <a:lnTo>
                      <a:pt x="549" y="114"/>
                    </a:lnTo>
                    <a:lnTo>
                      <a:pt x="548" y="111"/>
                    </a:lnTo>
                    <a:lnTo>
                      <a:pt x="544" y="106"/>
                    </a:lnTo>
                    <a:lnTo>
                      <a:pt x="544" y="101"/>
                    </a:lnTo>
                    <a:lnTo>
                      <a:pt x="546" y="99"/>
                    </a:lnTo>
                    <a:lnTo>
                      <a:pt x="544" y="94"/>
                    </a:lnTo>
                    <a:lnTo>
                      <a:pt x="543" y="93"/>
                    </a:lnTo>
                    <a:lnTo>
                      <a:pt x="543" y="88"/>
                    </a:lnTo>
                    <a:lnTo>
                      <a:pt x="541" y="81"/>
                    </a:lnTo>
                    <a:lnTo>
                      <a:pt x="538" y="78"/>
                    </a:lnTo>
                    <a:lnTo>
                      <a:pt x="541" y="75"/>
                    </a:lnTo>
                    <a:lnTo>
                      <a:pt x="538" y="70"/>
                    </a:lnTo>
                    <a:lnTo>
                      <a:pt x="538" y="66"/>
                    </a:lnTo>
                    <a:lnTo>
                      <a:pt x="539" y="63"/>
                    </a:lnTo>
                    <a:lnTo>
                      <a:pt x="548" y="65"/>
                    </a:lnTo>
                    <a:lnTo>
                      <a:pt x="549" y="68"/>
                    </a:lnTo>
                    <a:lnTo>
                      <a:pt x="551" y="68"/>
                    </a:lnTo>
                    <a:lnTo>
                      <a:pt x="553" y="66"/>
                    </a:lnTo>
                    <a:lnTo>
                      <a:pt x="556" y="66"/>
                    </a:lnTo>
                    <a:lnTo>
                      <a:pt x="563" y="73"/>
                    </a:lnTo>
                    <a:lnTo>
                      <a:pt x="569" y="76"/>
                    </a:lnTo>
                    <a:lnTo>
                      <a:pt x="573" y="75"/>
                    </a:lnTo>
                    <a:lnTo>
                      <a:pt x="573" y="70"/>
                    </a:lnTo>
                    <a:lnTo>
                      <a:pt x="571" y="68"/>
                    </a:lnTo>
                    <a:lnTo>
                      <a:pt x="573" y="61"/>
                    </a:lnTo>
                    <a:lnTo>
                      <a:pt x="576" y="61"/>
                    </a:lnTo>
                    <a:lnTo>
                      <a:pt x="579" y="63"/>
                    </a:lnTo>
                    <a:lnTo>
                      <a:pt x="584" y="63"/>
                    </a:lnTo>
                    <a:lnTo>
                      <a:pt x="589" y="60"/>
                    </a:lnTo>
                    <a:lnTo>
                      <a:pt x="593" y="61"/>
                    </a:lnTo>
                    <a:lnTo>
                      <a:pt x="596" y="63"/>
                    </a:lnTo>
                    <a:lnTo>
                      <a:pt x="601" y="65"/>
                    </a:lnTo>
                    <a:lnTo>
                      <a:pt x="603" y="66"/>
                    </a:lnTo>
                    <a:lnTo>
                      <a:pt x="604" y="73"/>
                    </a:lnTo>
                    <a:lnTo>
                      <a:pt x="604" y="75"/>
                    </a:lnTo>
                    <a:lnTo>
                      <a:pt x="609" y="80"/>
                    </a:lnTo>
                    <a:lnTo>
                      <a:pt x="609" y="83"/>
                    </a:lnTo>
                    <a:lnTo>
                      <a:pt x="608" y="86"/>
                    </a:lnTo>
                    <a:lnTo>
                      <a:pt x="611" y="94"/>
                    </a:lnTo>
                    <a:lnTo>
                      <a:pt x="611" y="99"/>
                    </a:lnTo>
                    <a:lnTo>
                      <a:pt x="611" y="103"/>
                    </a:lnTo>
                    <a:lnTo>
                      <a:pt x="616" y="104"/>
                    </a:lnTo>
                    <a:lnTo>
                      <a:pt x="621" y="104"/>
                    </a:lnTo>
                    <a:lnTo>
                      <a:pt x="627" y="108"/>
                    </a:lnTo>
                    <a:lnTo>
                      <a:pt x="632" y="111"/>
                    </a:lnTo>
                    <a:lnTo>
                      <a:pt x="632" y="108"/>
                    </a:lnTo>
                    <a:lnTo>
                      <a:pt x="632" y="106"/>
                    </a:lnTo>
                    <a:lnTo>
                      <a:pt x="627" y="104"/>
                    </a:lnTo>
                    <a:lnTo>
                      <a:pt x="624" y="101"/>
                    </a:lnTo>
                    <a:lnTo>
                      <a:pt x="621" y="101"/>
                    </a:lnTo>
                    <a:lnTo>
                      <a:pt x="616" y="98"/>
                    </a:lnTo>
                    <a:lnTo>
                      <a:pt x="614" y="96"/>
                    </a:lnTo>
                    <a:lnTo>
                      <a:pt x="616" y="91"/>
                    </a:lnTo>
                    <a:lnTo>
                      <a:pt x="612" y="86"/>
                    </a:lnTo>
                    <a:lnTo>
                      <a:pt x="612" y="83"/>
                    </a:lnTo>
                    <a:lnTo>
                      <a:pt x="614" y="78"/>
                    </a:lnTo>
                    <a:lnTo>
                      <a:pt x="614" y="73"/>
                    </a:lnTo>
                    <a:lnTo>
                      <a:pt x="614" y="70"/>
                    </a:lnTo>
                    <a:lnTo>
                      <a:pt x="614" y="68"/>
                    </a:lnTo>
                    <a:lnTo>
                      <a:pt x="612" y="65"/>
                    </a:lnTo>
                    <a:lnTo>
                      <a:pt x="609" y="63"/>
                    </a:lnTo>
                    <a:lnTo>
                      <a:pt x="604" y="56"/>
                    </a:lnTo>
                    <a:lnTo>
                      <a:pt x="601" y="56"/>
                    </a:lnTo>
                    <a:lnTo>
                      <a:pt x="596" y="56"/>
                    </a:lnTo>
                    <a:lnTo>
                      <a:pt x="593" y="58"/>
                    </a:lnTo>
                    <a:lnTo>
                      <a:pt x="589" y="58"/>
                    </a:lnTo>
                    <a:lnTo>
                      <a:pt x="584" y="56"/>
                    </a:lnTo>
                    <a:lnTo>
                      <a:pt x="584" y="51"/>
                    </a:lnTo>
                    <a:lnTo>
                      <a:pt x="586" y="46"/>
                    </a:lnTo>
                    <a:lnTo>
                      <a:pt x="591" y="46"/>
                    </a:lnTo>
                    <a:lnTo>
                      <a:pt x="591" y="43"/>
                    </a:lnTo>
                    <a:lnTo>
                      <a:pt x="584" y="40"/>
                    </a:lnTo>
                    <a:lnTo>
                      <a:pt x="583" y="35"/>
                    </a:lnTo>
                    <a:lnTo>
                      <a:pt x="584" y="31"/>
                    </a:lnTo>
                    <a:lnTo>
                      <a:pt x="584" y="28"/>
                    </a:lnTo>
                    <a:lnTo>
                      <a:pt x="588" y="28"/>
                    </a:lnTo>
                    <a:lnTo>
                      <a:pt x="591" y="31"/>
                    </a:lnTo>
                    <a:lnTo>
                      <a:pt x="593" y="35"/>
                    </a:lnTo>
                    <a:lnTo>
                      <a:pt x="594" y="35"/>
                    </a:lnTo>
                    <a:lnTo>
                      <a:pt x="599" y="28"/>
                    </a:lnTo>
                    <a:lnTo>
                      <a:pt x="603" y="28"/>
                    </a:lnTo>
                    <a:lnTo>
                      <a:pt x="608" y="25"/>
                    </a:lnTo>
                    <a:lnTo>
                      <a:pt x="609" y="23"/>
                    </a:lnTo>
                    <a:lnTo>
                      <a:pt x="612" y="18"/>
                    </a:lnTo>
                    <a:lnTo>
                      <a:pt x="617" y="18"/>
                    </a:lnTo>
                    <a:lnTo>
                      <a:pt x="614" y="20"/>
                    </a:lnTo>
                    <a:lnTo>
                      <a:pt x="612" y="23"/>
                    </a:lnTo>
                    <a:lnTo>
                      <a:pt x="614" y="25"/>
                    </a:lnTo>
                    <a:lnTo>
                      <a:pt x="617" y="23"/>
                    </a:lnTo>
                    <a:lnTo>
                      <a:pt x="621" y="23"/>
                    </a:lnTo>
                    <a:lnTo>
                      <a:pt x="622" y="25"/>
                    </a:lnTo>
                    <a:lnTo>
                      <a:pt x="624" y="28"/>
                    </a:lnTo>
                    <a:lnTo>
                      <a:pt x="627" y="30"/>
                    </a:lnTo>
                    <a:lnTo>
                      <a:pt x="626" y="33"/>
                    </a:lnTo>
                    <a:lnTo>
                      <a:pt x="624" y="36"/>
                    </a:lnTo>
                    <a:lnTo>
                      <a:pt x="626" y="38"/>
                    </a:lnTo>
                    <a:lnTo>
                      <a:pt x="627" y="35"/>
                    </a:lnTo>
                    <a:lnTo>
                      <a:pt x="631" y="31"/>
                    </a:lnTo>
                    <a:lnTo>
                      <a:pt x="636" y="33"/>
                    </a:lnTo>
                    <a:lnTo>
                      <a:pt x="639" y="36"/>
                    </a:lnTo>
                    <a:lnTo>
                      <a:pt x="639" y="40"/>
                    </a:lnTo>
                    <a:lnTo>
                      <a:pt x="642" y="45"/>
                    </a:lnTo>
                    <a:lnTo>
                      <a:pt x="644" y="50"/>
                    </a:lnTo>
                    <a:lnTo>
                      <a:pt x="644" y="56"/>
                    </a:lnTo>
                    <a:lnTo>
                      <a:pt x="647" y="53"/>
                    </a:lnTo>
                    <a:lnTo>
                      <a:pt x="647" y="48"/>
                    </a:lnTo>
                    <a:lnTo>
                      <a:pt x="646" y="45"/>
                    </a:lnTo>
                    <a:lnTo>
                      <a:pt x="644" y="41"/>
                    </a:lnTo>
                    <a:lnTo>
                      <a:pt x="644" y="38"/>
                    </a:lnTo>
                    <a:lnTo>
                      <a:pt x="644" y="36"/>
                    </a:lnTo>
                    <a:lnTo>
                      <a:pt x="644" y="35"/>
                    </a:lnTo>
                    <a:lnTo>
                      <a:pt x="647" y="36"/>
                    </a:lnTo>
                    <a:lnTo>
                      <a:pt x="654" y="41"/>
                    </a:lnTo>
                    <a:lnTo>
                      <a:pt x="659" y="48"/>
                    </a:lnTo>
                    <a:lnTo>
                      <a:pt x="664" y="51"/>
                    </a:lnTo>
                    <a:lnTo>
                      <a:pt x="671" y="51"/>
                    </a:lnTo>
                    <a:lnTo>
                      <a:pt x="671" y="50"/>
                    </a:lnTo>
                    <a:lnTo>
                      <a:pt x="667" y="48"/>
                    </a:lnTo>
                    <a:lnTo>
                      <a:pt x="662" y="46"/>
                    </a:lnTo>
                    <a:lnTo>
                      <a:pt x="659" y="40"/>
                    </a:lnTo>
                    <a:lnTo>
                      <a:pt x="657" y="35"/>
                    </a:lnTo>
                    <a:lnTo>
                      <a:pt x="659" y="28"/>
                    </a:lnTo>
                    <a:lnTo>
                      <a:pt x="664" y="28"/>
                    </a:lnTo>
                    <a:lnTo>
                      <a:pt x="667" y="28"/>
                    </a:lnTo>
                    <a:lnTo>
                      <a:pt x="674" y="31"/>
                    </a:lnTo>
                    <a:lnTo>
                      <a:pt x="679" y="31"/>
                    </a:lnTo>
                    <a:lnTo>
                      <a:pt x="681" y="30"/>
                    </a:lnTo>
                    <a:lnTo>
                      <a:pt x="679" y="28"/>
                    </a:lnTo>
                    <a:lnTo>
                      <a:pt x="676" y="26"/>
                    </a:lnTo>
                    <a:lnTo>
                      <a:pt x="676" y="25"/>
                    </a:lnTo>
                    <a:lnTo>
                      <a:pt x="681" y="20"/>
                    </a:lnTo>
                    <a:lnTo>
                      <a:pt x="684" y="16"/>
                    </a:lnTo>
                    <a:lnTo>
                      <a:pt x="682" y="15"/>
                    </a:lnTo>
                    <a:lnTo>
                      <a:pt x="681" y="13"/>
                    </a:lnTo>
                    <a:lnTo>
                      <a:pt x="682" y="8"/>
                    </a:lnTo>
                    <a:lnTo>
                      <a:pt x="684" y="8"/>
                    </a:lnTo>
                    <a:lnTo>
                      <a:pt x="687" y="8"/>
                    </a:lnTo>
                    <a:lnTo>
                      <a:pt x="689" y="6"/>
                    </a:lnTo>
                    <a:lnTo>
                      <a:pt x="691" y="1"/>
                    </a:lnTo>
                    <a:lnTo>
                      <a:pt x="692" y="0"/>
                    </a:lnTo>
                    <a:lnTo>
                      <a:pt x="696" y="1"/>
                    </a:lnTo>
                    <a:lnTo>
                      <a:pt x="697" y="3"/>
                    </a:lnTo>
                    <a:lnTo>
                      <a:pt x="699" y="3"/>
                    </a:lnTo>
                    <a:lnTo>
                      <a:pt x="701" y="6"/>
                    </a:lnTo>
                    <a:lnTo>
                      <a:pt x="702" y="11"/>
                    </a:lnTo>
                    <a:lnTo>
                      <a:pt x="706" y="13"/>
                    </a:lnTo>
                    <a:lnTo>
                      <a:pt x="707" y="11"/>
                    </a:lnTo>
                    <a:lnTo>
                      <a:pt x="707" y="8"/>
                    </a:lnTo>
                    <a:lnTo>
                      <a:pt x="706" y="5"/>
                    </a:lnTo>
                    <a:lnTo>
                      <a:pt x="706" y="1"/>
                    </a:lnTo>
                    <a:lnTo>
                      <a:pt x="707" y="0"/>
                    </a:lnTo>
                    <a:lnTo>
                      <a:pt x="711" y="0"/>
                    </a:lnTo>
                    <a:lnTo>
                      <a:pt x="715" y="0"/>
                    </a:lnTo>
                    <a:lnTo>
                      <a:pt x="724" y="0"/>
                    </a:lnTo>
                    <a:lnTo>
                      <a:pt x="727" y="1"/>
                    </a:lnTo>
                    <a:lnTo>
                      <a:pt x="729" y="3"/>
                    </a:lnTo>
                    <a:lnTo>
                      <a:pt x="730" y="3"/>
                    </a:lnTo>
                    <a:lnTo>
                      <a:pt x="734" y="1"/>
                    </a:lnTo>
                    <a:lnTo>
                      <a:pt x="737" y="3"/>
                    </a:lnTo>
                    <a:lnTo>
                      <a:pt x="747" y="3"/>
                    </a:lnTo>
                    <a:lnTo>
                      <a:pt x="749" y="5"/>
                    </a:lnTo>
                    <a:lnTo>
                      <a:pt x="752" y="5"/>
                    </a:lnTo>
                    <a:lnTo>
                      <a:pt x="755" y="3"/>
                    </a:lnTo>
                    <a:lnTo>
                      <a:pt x="757" y="5"/>
                    </a:lnTo>
                    <a:lnTo>
                      <a:pt x="759" y="8"/>
                    </a:lnTo>
                    <a:lnTo>
                      <a:pt x="765" y="11"/>
                    </a:lnTo>
                    <a:lnTo>
                      <a:pt x="769" y="11"/>
                    </a:lnTo>
                    <a:lnTo>
                      <a:pt x="769" y="10"/>
                    </a:lnTo>
                    <a:lnTo>
                      <a:pt x="770" y="10"/>
                    </a:lnTo>
                    <a:lnTo>
                      <a:pt x="779" y="13"/>
                    </a:lnTo>
                    <a:lnTo>
                      <a:pt x="782" y="13"/>
                    </a:lnTo>
                    <a:lnTo>
                      <a:pt x="787" y="18"/>
                    </a:lnTo>
                    <a:lnTo>
                      <a:pt x="795" y="18"/>
                    </a:lnTo>
                    <a:lnTo>
                      <a:pt x="799" y="20"/>
                    </a:lnTo>
                    <a:lnTo>
                      <a:pt x="804" y="18"/>
                    </a:lnTo>
                    <a:lnTo>
                      <a:pt x="805" y="20"/>
                    </a:lnTo>
                    <a:lnTo>
                      <a:pt x="807" y="23"/>
                    </a:lnTo>
                    <a:lnTo>
                      <a:pt x="812" y="21"/>
                    </a:lnTo>
                    <a:lnTo>
                      <a:pt x="815" y="21"/>
                    </a:lnTo>
                    <a:lnTo>
                      <a:pt x="820" y="25"/>
                    </a:lnTo>
                    <a:lnTo>
                      <a:pt x="827" y="26"/>
                    </a:lnTo>
                    <a:lnTo>
                      <a:pt x="832" y="30"/>
                    </a:lnTo>
                    <a:lnTo>
                      <a:pt x="833" y="35"/>
                    </a:lnTo>
                    <a:lnTo>
                      <a:pt x="838" y="36"/>
                    </a:lnTo>
                    <a:lnTo>
                      <a:pt x="845" y="40"/>
                    </a:lnTo>
                    <a:lnTo>
                      <a:pt x="843" y="43"/>
                    </a:lnTo>
                    <a:lnTo>
                      <a:pt x="842" y="46"/>
                    </a:lnTo>
                    <a:lnTo>
                      <a:pt x="837" y="46"/>
                    </a:lnTo>
                    <a:lnTo>
                      <a:pt x="833" y="45"/>
                    </a:lnTo>
                    <a:lnTo>
                      <a:pt x="830" y="46"/>
                    </a:lnTo>
                    <a:lnTo>
                      <a:pt x="828" y="50"/>
                    </a:lnTo>
                    <a:lnTo>
                      <a:pt x="823" y="50"/>
                    </a:lnTo>
                    <a:lnTo>
                      <a:pt x="822" y="50"/>
                    </a:lnTo>
                    <a:lnTo>
                      <a:pt x="817" y="50"/>
                    </a:lnTo>
                    <a:lnTo>
                      <a:pt x="812" y="50"/>
                    </a:lnTo>
                    <a:lnTo>
                      <a:pt x="804" y="46"/>
                    </a:lnTo>
                    <a:lnTo>
                      <a:pt x="799" y="45"/>
                    </a:lnTo>
                    <a:lnTo>
                      <a:pt x="795" y="45"/>
                    </a:lnTo>
                    <a:lnTo>
                      <a:pt x="792" y="43"/>
                    </a:lnTo>
                    <a:lnTo>
                      <a:pt x="787" y="43"/>
                    </a:lnTo>
                    <a:lnTo>
                      <a:pt x="784" y="45"/>
                    </a:lnTo>
                    <a:lnTo>
                      <a:pt x="780" y="45"/>
                    </a:lnTo>
                    <a:lnTo>
                      <a:pt x="779" y="43"/>
                    </a:lnTo>
                    <a:lnTo>
                      <a:pt x="774" y="43"/>
                    </a:lnTo>
                    <a:lnTo>
                      <a:pt x="767" y="46"/>
                    </a:lnTo>
                    <a:lnTo>
                      <a:pt x="764" y="48"/>
                    </a:lnTo>
                    <a:lnTo>
                      <a:pt x="760" y="46"/>
                    </a:lnTo>
                    <a:lnTo>
                      <a:pt x="755" y="46"/>
                    </a:lnTo>
                    <a:lnTo>
                      <a:pt x="750" y="48"/>
                    </a:lnTo>
                    <a:lnTo>
                      <a:pt x="744" y="48"/>
                    </a:lnTo>
                    <a:lnTo>
                      <a:pt x="742" y="45"/>
                    </a:lnTo>
                    <a:lnTo>
                      <a:pt x="740" y="41"/>
                    </a:lnTo>
                    <a:lnTo>
                      <a:pt x="744" y="40"/>
                    </a:lnTo>
                    <a:lnTo>
                      <a:pt x="745" y="40"/>
                    </a:lnTo>
                    <a:lnTo>
                      <a:pt x="747" y="36"/>
                    </a:lnTo>
                    <a:lnTo>
                      <a:pt x="745" y="35"/>
                    </a:lnTo>
                    <a:lnTo>
                      <a:pt x="742" y="35"/>
                    </a:lnTo>
                    <a:lnTo>
                      <a:pt x="739" y="36"/>
                    </a:lnTo>
                    <a:lnTo>
                      <a:pt x="734" y="40"/>
                    </a:lnTo>
                    <a:lnTo>
                      <a:pt x="734" y="43"/>
                    </a:lnTo>
                    <a:lnTo>
                      <a:pt x="737" y="46"/>
                    </a:lnTo>
                    <a:lnTo>
                      <a:pt x="740" y="46"/>
                    </a:lnTo>
                    <a:lnTo>
                      <a:pt x="739" y="50"/>
                    </a:lnTo>
                    <a:lnTo>
                      <a:pt x="735" y="51"/>
                    </a:lnTo>
                    <a:lnTo>
                      <a:pt x="732" y="51"/>
                    </a:lnTo>
                    <a:lnTo>
                      <a:pt x="729" y="51"/>
                    </a:lnTo>
                    <a:lnTo>
                      <a:pt x="724" y="51"/>
                    </a:lnTo>
                    <a:lnTo>
                      <a:pt x="722" y="53"/>
                    </a:lnTo>
                    <a:lnTo>
                      <a:pt x="717" y="53"/>
                    </a:lnTo>
                    <a:lnTo>
                      <a:pt x="712" y="51"/>
                    </a:lnTo>
                    <a:lnTo>
                      <a:pt x="707" y="51"/>
                    </a:lnTo>
                    <a:lnTo>
                      <a:pt x="701" y="55"/>
                    </a:lnTo>
                    <a:lnTo>
                      <a:pt x="692" y="60"/>
                    </a:lnTo>
                    <a:lnTo>
                      <a:pt x="691" y="63"/>
                    </a:lnTo>
                    <a:lnTo>
                      <a:pt x="691" y="68"/>
                    </a:lnTo>
                    <a:lnTo>
                      <a:pt x="689" y="71"/>
                    </a:lnTo>
                    <a:lnTo>
                      <a:pt x="689" y="75"/>
                    </a:lnTo>
                    <a:lnTo>
                      <a:pt x="691" y="76"/>
                    </a:lnTo>
                    <a:lnTo>
                      <a:pt x="694" y="75"/>
                    </a:lnTo>
                    <a:lnTo>
                      <a:pt x="694" y="70"/>
                    </a:lnTo>
                    <a:lnTo>
                      <a:pt x="696" y="68"/>
                    </a:lnTo>
                    <a:lnTo>
                      <a:pt x="696" y="66"/>
                    </a:lnTo>
                    <a:lnTo>
                      <a:pt x="697" y="65"/>
                    </a:lnTo>
                    <a:lnTo>
                      <a:pt x="702" y="65"/>
                    </a:lnTo>
                    <a:lnTo>
                      <a:pt x="706" y="63"/>
                    </a:lnTo>
                    <a:lnTo>
                      <a:pt x="706" y="65"/>
                    </a:lnTo>
                    <a:lnTo>
                      <a:pt x="706" y="68"/>
                    </a:lnTo>
                    <a:lnTo>
                      <a:pt x="704" y="71"/>
                    </a:lnTo>
                    <a:lnTo>
                      <a:pt x="704" y="73"/>
                    </a:lnTo>
                    <a:lnTo>
                      <a:pt x="706" y="73"/>
                    </a:lnTo>
                    <a:lnTo>
                      <a:pt x="707" y="70"/>
                    </a:lnTo>
                    <a:lnTo>
                      <a:pt x="709" y="65"/>
                    </a:lnTo>
                    <a:lnTo>
                      <a:pt x="709" y="65"/>
                    </a:lnTo>
                    <a:lnTo>
                      <a:pt x="712" y="60"/>
                    </a:lnTo>
                    <a:lnTo>
                      <a:pt x="712" y="60"/>
                    </a:lnTo>
                    <a:lnTo>
                      <a:pt x="717" y="58"/>
                    </a:lnTo>
                    <a:lnTo>
                      <a:pt x="720" y="58"/>
                    </a:lnTo>
                    <a:lnTo>
                      <a:pt x="727" y="58"/>
                    </a:lnTo>
                    <a:lnTo>
                      <a:pt x="730" y="56"/>
                    </a:lnTo>
                    <a:lnTo>
                      <a:pt x="734" y="56"/>
                    </a:lnTo>
                    <a:lnTo>
                      <a:pt x="735" y="56"/>
                    </a:lnTo>
                    <a:lnTo>
                      <a:pt x="737" y="60"/>
                    </a:lnTo>
                    <a:lnTo>
                      <a:pt x="740" y="65"/>
                    </a:lnTo>
                    <a:lnTo>
                      <a:pt x="742" y="66"/>
                    </a:lnTo>
                    <a:lnTo>
                      <a:pt x="744" y="66"/>
                    </a:lnTo>
                    <a:lnTo>
                      <a:pt x="744" y="63"/>
                    </a:lnTo>
                    <a:lnTo>
                      <a:pt x="742" y="58"/>
                    </a:lnTo>
                    <a:lnTo>
                      <a:pt x="744" y="56"/>
                    </a:ln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5" y="55"/>
                    </a:lnTo>
                    <a:lnTo>
                      <a:pt x="772" y="53"/>
                    </a:lnTo>
                    <a:lnTo>
                      <a:pt x="777" y="51"/>
                    </a:lnTo>
                    <a:lnTo>
                      <a:pt x="785" y="51"/>
                    </a:lnTo>
                    <a:lnTo>
                      <a:pt x="792" y="53"/>
                    </a:lnTo>
                    <a:lnTo>
                      <a:pt x="797" y="55"/>
                    </a:lnTo>
                    <a:lnTo>
                      <a:pt x="800" y="56"/>
                    </a:lnTo>
                    <a:lnTo>
                      <a:pt x="804" y="58"/>
                    </a:lnTo>
                    <a:lnTo>
                      <a:pt x="809" y="58"/>
                    </a:lnTo>
                    <a:lnTo>
                      <a:pt x="812" y="61"/>
                    </a:lnTo>
                    <a:lnTo>
                      <a:pt x="815" y="61"/>
                    </a:lnTo>
                    <a:lnTo>
                      <a:pt x="817" y="61"/>
                    </a:lnTo>
                    <a:lnTo>
                      <a:pt x="822" y="60"/>
                    </a:lnTo>
                    <a:lnTo>
                      <a:pt x="823" y="61"/>
                    </a:lnTo>
                    <a:lnTo>
                      <a:pt x="825" y="63"/>
                    </a:lnTo>
                    <a:lnTo>
                      <a:pt x="827" y="63"/>
                    </a:lnTo>
                    <a:lnTo>
                      <a:pt x="832" y="60"/>
                    </a:lnTo>
                    <a:lnTo>
                      <a:pt x="833" y="60"/>
                    </a:lnTo>
                    <a:lnTo>
                      <a:pt x="838" y="60"/>
                    </a:lnTo>
                    <a:lnTo>
                      <a:pt x="845" y="56"/>
                    </a:lnTo>
                    <a:lnTo>
                      <a:pt x="848" y="53"/>
                    </a:lnTo>
                    <a:lnTo>
                      <a:pt x="852" y="53"/>
                    </a:lnTo>
                    <a:lnTo>
                      <a:pt x="853" y="55"/>
                    </a:lnTo>
                    <a:lnTo>
                      <a:pt x="857" y="58"/>
                    </a:lnTo>
                    <a:lnTo>
                      <a:pt x="860" y="60"/>
                    </a:lnTo>
                    <a:lnTo>
                      <a:pt x="860" y="61"/>
                    </a:lnTo>
                    <a:lnTo>
                      <a:pt x="858" y="63"/>
                    </a:lnTo>
                    <a:lnTo>
                      <a:pt x="858" y="66"/>
                    </a:lnTo>
                    <a:lnTo>
                      <a:pt x="860" y="68"/>
                    </a:lnTo>
                    <a:lnTo>
                      <a:pt x="862" y="70"/>
                    </a:lnTo>
                    <a:lnTo>
                      <a:pt x="862" y="71"/>
                    </a:lnTo>
                    <a:lnTo>
                      <a:pt x="855" y="76"/>
                    </a:lnTo>
                    <a:lnTo>
                      <a:pt x="848" y="78"/>
                    </a:lnTo>
                    <a:lnTo>
                      <a:pt x="843" y="78"/>
                    </a:lnTo>
                    <a:lnTo>
                      <a:pt x="840" y="76"/>
                    </a:lnTo>
                    <a:lnTo>
                      <a:pt x="837" y="73"/>
                    </a:lnTo>
                    <a:lnTo>
                      <a:pt x="835" y="75"/>
                    </a:lnTo>
                    <a:lnTo>
                      <a:pt x="837" y="76"/>
                    </a:lnTo>
                    <a:lnTo>
                      <a:pt x="840" y="80"/>
                    </a:lnTo>
                    <a:lnTo>
                      <a:pt x="840" y="81"/>
                    </a:lnTo>
                    <a:lnTo>
                      <a:pt x="840" y="83"/>
                    </a:lnTo>
                    <a:lnTo>
                      <a:pt x="835" y="81"/>
                    </a:lnTo>
                    <a:lnTo>
                      <a:pt x="833" y="80"/>
                    </a:lnTo>
                    <a:lnTo>
                      <a:pt x="830" y="80"/>
                    </a:lnTo>
                    <a:lnTo>
                      <a:pt x="830" y="81"/>
                    </a:lnTo>
                    <a:lnTo>
                      <a:pt x="832" y="84"/>
                    </a:lnTo>
                    <a:lnTo>
                      <a:pt x="835" y="86"/>
                    </a:lnTo>
                    <a:lnTo>
                      <a:pt x="840" y="86"/>
                    </a:lnTo>
                    <a:lnTo>
                      <a:pt x="845" y="88"/>
                    </a:lnTo>
                    <a:lnTo>
                      <a:pt x="848" y="88"/>
                    </a:lnTo>
                    <a:lnTo>
                      <a:pt x="857" y="84"/>
                    </a:lnTo>
                    <a:lnTo>
                      <a:pt x="858" y="84"/>
                    </a:lnTo>
                    <a:lnTo>
                      <a:pt x="860" y="86"/>
                    </a:lnTo>
                    <a:lnTo>
                      <a:pt x="860" y="84"/>
                    </a:lnTo>
                    <a:lnTo>
                      <a:pt x="862" y="81"/>
                    </a:lnTo>
                    <a:lnTo>
                      <a:pt x="865" y="81"/>
                    </a:lnTo>
                    <a:lnTo>
                      <a:pt x="875" y="81"/>
                    </a:lnTo>
                    <a:lnTo>
                      <a:pt x="877" y="83"/>
                    </a:lnTo>
                    <a:lnTo>
                      <a:pt x="878" y="84"/>
                    </a:lnTo>
                    <a:lnTo>
                      <a:pt x="880" y="86"/>
                    </a:lnTo>
                    <a:lnTo>
                      <a:pt x="883" y="86"/>
                    </a:lnTo>
                    <a:lnTo>
                      <a:pt x="883" y="84"/>
                    </a:lnTo>
                    <a:lnTo>
                      <a:pt x="887" y="84"/>
                    </a:lnTo>
                    <a:lnTo>
                      <a:pt x="888" y="88"/>
                    </a:lnTo>
                    <a:lnTo>
                      <a:pt x="890" y="91"/>
                    </a:lnTo>
                    <a:lnTo>
                      <a:pt x="897" y="91"/>
                    </a:lnTo>
                    <a:lnTo>
                      <a:pt x="900" y="94"/>
                    </a:lnTo>
                    <a:lnTo>
                      <a:pt x="900" y="96"/>
                    </a:lnTo>
                    <a:lnTo>
                      <a:pt x="905" y="99"/>
                    </a:lnTo>
                    <a:lnTo>
                      <a:pt x="910" y="103"/>
                    </a:lnTo>
                    <a:lnTo>
                      <a:pt x="915" y="106"/>
                    </a:lnTo>
                    <a:lnTo>
                      <a:pt x="916" y="108"/>
                    </a:lnTo>
                    <a:lnTo>
                      <a:pt x="916" y="111"/>
                    </a:lnTo>
                    <a:lnTo>
                      <a:pt x="913" y="113"/>
                    </a:lnTo>
                    <a:lnTo>
                      <a:pt x="913" y="114"/>
                    </a:lnTo>
                    <a:lnTo>
                      <a:pt x="913" y="118"/>
                    </a:lnTo>
                    <a:lnTo>
                      <a:pt x="910" y="119"/>
                    </a:lnTo>
                    <a:lnTo>
                      <a:pt x="907" y="123"/>
                    </a:lnTo>
                    <a:lnTo>
                      <a:pt x="902" y="123"/>
                    </a:lnTo>
                    <a:lnTo>
                      <a:pt x="900" y="123"/>
                    </a:lnTo>
                    <a:lnTo>
                      <a:pt x="898" y="123"/>
                    </a:lnTo>
                    <a:lnTo>
                      <a:pt x="898" y="126"/>
                    </a:lnTo>
                    <a:lnTo>
                      <a:pt x="897" y="128"/>
                    </a:lnTo>
                    <a:lnTo>
                      <a:pt x="893" y="129"/>
                    </a:lnTo>
                    <a:lnTo>
                      <a:pt x="885" y="133"/>
                    </a:lnTo>
                    <a:lnTo>
                      <a:pt x="878" y="133"/>
                    </a:lnTo>
                    <a:lnTo>
                      <a:pt x="877" y="134"/>
                    </a:lnTo>
                    <a:lnTo>
                      <a:pt x="873" y="134"/>
                    </a:lnTo>
                    <a:lnTo>
                      <a:pt x="872" y="131"/>
                    </a:lnTo>
                    <a:lnTo>
                      <a:pt x="868" y="129"/>
                    </a:lnTo>
                    <a:lnTo>
                      <a:pt x="867" y="129"/>
                    </a:lnTo>
                    <a:lnTo>
                      <a:pt x="867" y="133"/>
                    </a:lnTo>
                    <a:lnTo>
                      <a:pt x="870" y="134"/>
                    </a:lnTo>
                    <a:lnTo>
                      <a:pt x="870" y="136"/>
                    </a:lnTo>
                    <a:lnTo>
                      <a:pt x="865" y="136"/>
                    </a:lnTo>
                    <a:lnTo>
                      <a:pt x="860" y="134"/>
                    </a:lnTo>
                    <a:lnTo>
                      <a:pt x="857" y="136"/>
                    </a:lnTo>
                    <a:lnTo>
                      <a:pt x="855" y="136"/>
                    </a:lnTo>
                    <a:lnTo>
                      <a:pt x="852" y="134"/>
                    </a:lnTo>
                    <a:lnTo>
                      <a:pt x="847" y="134"/>
                    </a:lnTo>
                    <a:lnTo>
                      <a:pt x="843" y="136"/>
                    </a:lnTo>
                    <a:lnTo>
                      <a:pt x="838" y="139"/>
                    </a:lnTo>
                    <a:lnTo>
                      <a:pt x="835" y="139"/>
                    </a:lnTo>
                    <a:lnTo>
                      <a:pt x="832" y="138"/>
                    </a:lnTo>
                    <a:lnTo>
                      <a:pt x="828" y="138"/>
                    </a:lnTo>
                    <a:lnTo>
                      <a:pt x="825" y="136"/>
                    </a:lnTo>
                    <a:lnTo>
                      <a:pt x="822" y="136"/>
                    </a:lnTo>
                    <a:lnTo>
                      <a:pt x="820" y="138"/>
                    </a:lnTo>
                    <a:lnTo>
                      <a:pt x="815" y="138"/>
                    </a:lnTo>
                    <a:lnTo>
                      <a:pt x="812" y="138"/>
                    </a:lnTo>
                    <a:lnTo>
                      <a:pt x="805" y="133"/>
                    </a:lnTo>
                    <a:lnTo>
                      <a:pt x="804" y="133"/>
                    </a:lnTo>
                    <a:lnTo>
                      <a:pt x="802" y="133"/>
                    </a:lnTo>
                    <a:lnTo>
                      <a:pt x="795" y="133"/>
                    </a:lnTo>
                    <a:lnTo>
                      <a:pt x="792" y="131"/>
                    </a:lnTo>
                    <a:lnTo>
                      <a:pt x="789" y="131"/>
                    </a:lnTo>
                    <a:lnTo>
                      <a:pt x="784" y="131"/>
                    </a:lnTo>
                    <a:lnTo>
                      <a:pt x="780" y="131"/>
                    </a:lnTo>
                    <a:lnTo>
                      <a:pt x="775" y="129"/>
                    </a:lnTo>
                    <a:lnTo>
                      <a:pt x="774" y="131"/>
                    </a:lnTo>
                    <a:lnTo>
                      <a:pt x="770" y="133"/>
                    </a:lnTo>
                    <a:lnTo>
                      <a:pt x="767" y="134"/>
                    </a:lnTo>
                    <a:lnTo>
                      <a:pt x="760" y="133"/>
                    </a:lnTo>
                    <a:lnTo>
                      <a:pt x="757" y="134"/>
                    </a:lnTo>
                    <a:lnTo>
                      <a:pt x="757" y="136"/>
                    </a:lnTo>
                    <a:lnTo>
                      <a:pt x="755" y="136"/>
                    </a:lnTo>
                    <a:lnTo>
                      <a:pt x="754" y="133"/>
                    </a:lnTo>
                    <a:lnTo>
                      <a:pt x="752" y="131"/>
                    </a:lnTo>
                    <a:lnTo>
                      <a:pt x="747" y="131"/>
                    </a:lnTo>
                    <a:lnTo>
                      <a:pt x="747" y="131"/>
                    </a:lnTo>
                    <a:lnTo>
                      <a:pt x="744" y="131"/>
                    </a:lnTo>
                    <a:lnTo>
                      <a:pt x="742" y="133"/>
                    </a:lnTo>
                    <a:lnTo>
                      <a:pt x="744" y="133"/>
                    </a:lnTo>
                    <a:lnTo>
                      <a:pt x="749" y="133"/>
                    </a:lnTo>
                    <a:lnTo>
                      <a:pt x="750" y="134"/>
                    </a:lnTo>
                    <a:lnTo>
                      <a:pt x="752" y="136"/>
                    </a:lnTo>
                    <a:lnTo>
                      <a:pt x="750" y="139"/>
                    </a:lnTo>
                    <a:lnTo>
                      <a:pt x="747" y="141"/>
                    </a:lnTo>
                    <a:lnTo>
                      <a:pt x="745" y="141"/>
                    </a:lnTo>
                    <a:lnTo>
                      <a:pt x="742" y="141"/>
                    </a:lnTo>
                    <a:lnTo>
                      <a:pt x="739" y="143"/>
                    </a:lnTo>
                    <a:lnTo>
                      <a:pt x="734" y="144"/>
                    </a:lnTo>
                    <a:lnTo>
                      <a:pt x="727" y="144"/>
                    </a:lnTo>
                    <a:lnTo>
                      <a:pt x="724" y="146"/>
                    </a:lnTo>
                    <a:lnTo>
                      <a:pt x="722" y="149"/>
                    </a:lnTo>
                    <a:lnTo>
                      <a:pt x="719" y="149"/>
                    </a:lnTo>
                    <a:lnTo>
                      <a:pt x="714" y="149"/>
                    </a:lnTo>
                    <a:lnTo>
                      <a:pt x="709" y="153"/>
                    </a:lnTo>
                    <a:lnTo>
                      <a:pt x="706" y="153"/>
                    </a:lnTo>
                    <a:lnTo>
                      <a:pt x="704" y="154"/>
                    </a:lnTo>
                    <a:lnTo>
                      <a:pt x="704" y="158"/>
                    </a:lnTo>
                    <a:lnTo>
                      <a:pt x="706" y="161"/>
                    </a:lnTo>
                    <a:lnTo>
                      <a:pt x="707" y="163"/>
                    </a:lnTo>
                    <a:lnTo>
                      <a:pt x="707" y="166"/>
                    </a:lnTo>
                    <a:lnTo>
                      <a:pt x="709" y="169"/>
                    </a:lnTo>
                    <a:lnTo>
                      <a:pt x="711" y="169"/>
                    </a:lnTo>
                    <a:lnTo>
                      <a:pt x="712" y="168"/>
                    </a:lnTo>
                    <a:lnTo>
                      <a:pt x="714" y="164"/>
                    </a:lnTo>
                    <a:lnTo>
                      <a:pt x="717" y="161"/>
                    </a:lnTo>
                    <a:lnTo>
                      <a:pt x="720" y="161"/>
                    </a:lnTo>
                    <a:lnTo>
                      <a:pt x="724" y="159"/>
                    </a:lnTo>
                    <a:lnTo>
                      <a:pt x="727" y="158"/>
                    </a:lnTo>
                    <a:lnTo>
                      <a:pt x="732" y="158"/>
                    </a:lnTo>
                    <a:lnTo>
                      <a:pt x="734" y="156"/>
                    </a:lnTo>
                    <a:lnTo>
                      <a:pt x="737" y="153"/>
                    </a:lnTo>
                    <a:lnTo>
                      <a:pt x="742" y="153"/>
                    </a:lnTo>
                    <a:lnTo>
                      <a:pt x="752" y="149"/>
                    </a:lnTo>
                    <a:lnTo>
                      <a:pt x="755" y="149"/>
                    </a:lnTo>
                    <a:lnTo>
                      <a:pt x="755" y="149"/>
                    </a:lnTo>
                    <a:lnTo>
                      <a:pt x="755" y="153"/>
                    </a:lnTo>
                    <a:lnTo>
                      <a:pt x="757" y="153"/>
                    </a:lnTo>
                    <a:lnTo>
                      <a:pt x="760" y="151"/>
                    </a:lnTo>
                    <a:lnTo>
                      <a:pt x="760" y="148"/>
                    </a:lnTo>
                    <a:lnTo>
                      <a:pt x="764" y="143"/>
                    </a:lnTo>
                    <a:lnTo>
                      <a:pt x="765" y="143"/>
                    </a:lnTo>
                    <a:lnTo>
                      <a:pt x="770" y="144"/>
                    </a:lnTo>
                    <a:lnTo>
                      <a:pt x="774" y="144"/>
                    </a:lnTo>
                    <a:lnTo>
                      <a:pt x="779" y="144"/>
                    </a:lnTo>
                    <a:lnTo>
                      <a:pt x="785" y="144"/>
                    </a:lnTo>
                    <a:lnTo>
                      <a:pt x="789" y="146"/>
                    </a:lnTo>
                    <a:lnTo>
                      <a:pt x="794" y="146"/>
                    </a:lnTo>
                    <a:lnTo>
                      <a:pt x="805" y="146"/>
                    </a:lnTo>
                    <a:lnTo>
                      <a:pt x="809" y="146"/>
                    </a:lnTo>
                    <a:lnTo>
                      <a:pt x="813" y="148"/>
                    </a:lnTo>
                    <a:lnTo>
                      <a:pt x="820" y="149"/>
                    </a:lnTo>
                    <a:lnTo>
                      <a:pt x="830" y="149"/>
                    </a:lnTo>
                    <a:lnTo>
                      <a:pt x="833" y="149"/>
                    </a:lnTo>
                    <a:lnTo>
                      <a:pt x="833" y="153"/>
                    </a:lnTo>
                    <a:lnTo>
                      <a:pt x="835" y="154"/>
                    </a:lnTo>
                    <a:lnTo>
                      <a:pt x="835" y="156"/>
                    </a:lnTo>
                    <a:lnTo>
                      <a:pt x="832" y="158"/>
                    </a:lnTo>
                    <a:lnTo>
                      <a:pt x="832" y="161"/>
                    </a:lnTo>
                    <a:lnTo>
                      <a:pt x="828" y="166"/>
                    </a:lnTo>
                    <a:lnTo>
                      <a:pt x="827" y="168"/>
                    </a:lnTo>
                    <a:lnTo>
                      <a:pt x="815" y="168"/>
                    </a:lnTo>
                    <a:lnTo>
                      <a:pt x="809" y="171"/>
                    </a:lnTo>
                    <a:lnTo>
                      <a:pt x="807" y="171"/>
                    </a:lnTo>
                    <a:lnTo>
                      <a:pt x="805" y="169"/>
                    </a:lnTo>
                    <a:lnTo>
                      <a:pt x="804" y="169"/>
                    </a:lnTo>
                    <a:lnTo>
                      <a:pt x="802" y="173"/>
                    </a:lnTo>
                    <a:lnTo>
                      <a:pt x="804" y="176"/>
                    </a:lnTo>
                    <a:lnTo>
                      <a:pt x="802" y="179"/>
                    </a:lnTo>
                    <a:lnTo>
                      <a:pt x="802" y="181"/>
                    </a:lnTo>
                    <a:lnTo>
                      <a:pt x="804" y="182"/>
                    </a:lnTo>
                    <a:lnTo>
                      <a:pt x="809" y="181"/>
                    </a:lnTo>
                    <a:lnTo>
                      <a:pt x="815" y="179"/>
                    </a:lnTo>
                    <a:lnTo>
                      <a:pt x="820" y="178"/>
                    </a:lnTo>
                    <a:lnTo>
                      <a:pt x="820" y="178"/>
                    </a:lnTo>
                    <a:lnTo>
                      <a:pt x="828" y="178"/>
                    </a:lnTo>
                    <a:lnTo>
                      <a:pt x="828" y="178"/>
                    </a:lnTo>
                    <a:lnTo>
                      <a:pt x="837" y="179"/>
                    </a:lnTo>
                    <a:lnTo>
                      <a:pt x="840" y="179"/>
                    </a:lnTo>
                    <a:lnTo>
                      <a:pt x="843" y="181"/>
                    </a:lnTo>
                    <a:lnTo>
                      <a:pt x="845" y="179"/>
                    </a:lnTo>
                    <a:lnTo>
                      <a:pt x="847" y="178"/>
                    </a:lnTo>
                    <a:lnTo>
                      <a:pt x="848" y="178"/>
                    </a:lnTo>
                    <a:lnTo>
                      <a:pt x="852" y="178"/>
                    </a:lnTo>
                    <a:lnTo>
                      <a:pt x="853" y="181"/>
                    </a:lnTo>
                    <a:lnTo>
                      <a:pt x="858" y="176"/>
                    </a:lnTo>
                    <a:lnTo>
                      <a:pt x="860" y="169"/>
                    </a:lnTo>
                    <a:lnTo>
                      <a:pt x="860" y="163"/>
                    </a:lnTo>
                    <a:lnTo>
                      <a:pt x="862" y="161"/>
                    </a:lnTo>
                    <a:lnTo>
                      <a:pt x="860" y="159"/>
                    </a:lnTo>
                    <a:lnTo>
                      <a:pt x="862" y="156"/>
                    </a:lnTo>
                    <a:lnTo>
                      <a:pt x="865" y="154"/>
                    </a:lnTo>
                    <a:lnTo>
                      <a:pt x="870" y="154"/>
                    </a:lnTo>
                    <a:lnTo>
                      <a:pt x="875" y="156"/>
                    </a:lnTo>
                    <a:lnTo>
                      <a:pt x="882" y="156"/>
                    </a:lnTo>
                    <a:lnTo>
                      <a:pt x="887" y="154"/>
                    </a:lnTo>
                    <a:lnTo>
                      <a:pt x="890" y="154"/>
                    </a:lnTo>
                    <a:lnTo>
                      <a:pt x="890" y="159"/>
                    </a:lnTo>
                    <a:lnTo>
                      <a:pt x="890" y="166"/>
                    </a:lnTo>
                    <a:lnTo>
                      <a:pt x="890" y="171"/>
                    </a:lnTo>
                    <a:lnTo>
                      <a:pt x="887" y="176"/>
                    </a:lnTo>
                    <a:lnTo>
                      <a:pt x="883" y="182"/>
                    </a:lnTo>
                    <a:lnTo>
                      <a:pt x="882" y="189"/>
                    </a:lnTo>
                    <a:lnTo>
                      <a:pt x="880" y="192"/>
                    </a:lnTo>
                    <a:lnTo>
                      <a:pt x="867" y="202"/>
                    </a:lnTo>
                    <a:lnTo>
                      <a:pt x="863" y="202"/>
                    </a:lnTo>
                    <a:lnTo>
                      <a:pt x="862" y="202"/>
                    </a:lnTo>
                    <a:lnTo>
                      <a:pt x="858" y="204"/>
                    </a:lnTo>
                    <a:lnTo>
                      <a:pt x="855" y="207"/>
                    </a:lnTo>
                    <a:lnTo>
                      <a:pt x="852" y="206"/>
                    </a:lnTo>
                    <a:lnTo>
                      <a:pt x="850" y="206"/>
                    </a:lnTo>
                    <a:lnTo>
                      <a:pt x="847" y="211"/>
                    </a:lnTo>
                    <a:lnTo>
                      <a:pt x="847" y="214"/>
                    </a:lnTo>
                    <a:lnTo>
                      <a:pt x="843" y="216"/>
                    </a:lnTo>
                    <a:lnTo>
                      <a:pt x="840" y="219"/>
                    </a:lnTo>
                    <a:lnTo>
                      <a:pt x="837" y="217"/>
                    </a:lnTo>
                    <a:lnTo>
                      <a:pt x="837" y="217"/>
                    </a:lnTo>
                    <a:lnTo>
                      <a:pt x="835" y="219"/>
                    </a:lnTo>
                    <a:lnTo>
                      <a:pt x="835" y="221"/>
                    </a:lnTo>
                    <a:lnTo>
                      <a:pt x="833" y="224"/>
                    </a:lnTo>
                    <a:lnTo>
                      <a:pt x="830" y="231"/>
                    </a:lnTo>
                    <a:lnTo>
                      <a:pt x="825" y="232"/>
                    </a:lnTo>
                    <a:lnTo>
                      <a:pt x="823" y="236"/>
                    </a:lnTo>
                    <a:lnTo>
                      <a:pt x="817" y="241"/>
                    </a:lnTo>
                    <a:lnTo>
                      <a:pt x="813" y="244"/>
                    </a:lnTo>
                    <a:lnTo>
                      <a:pt x="809" y="246"/>
                    </a:lnTo>
                    <a:lnTo>
                      <a:pt x="804" y="249"/>
                    </a:lnTo>
                    <a:lnTo>
                      <a:pt x="802" y="251"/>
                    </a:lnTo>
                    <a:lnTo>
                      <a:pt x="799" y="251"/>
                    </a:lnTo>
                    <a:lnTo>
                      <a:pt x="799" y="256"/>
                    </a:lnTo>
                    <a:lnTo>
                      <a:pt x="799" y="259"/>
                    </a:lnTo>
                    <a:lnTo>
                      <a:pt x="797" y="264"/>
                    </a:lnTo>
                    <a:lnTo>
                      <a:pt x="799" y="266"/>
                    </a:lnTo>
                    <a:lnTo>
                      <a:pt x="799" y="264"/>
                    </a:lnTo>
                    <a:lnTo>
                      <a:pt x="800" y="261"/>
                    </a:lnTo>
                    <a:lnTo>
                      <a:pt x="805" y="256"/>
                    </a:lnTo>
                    <a:lnTo>
                      <a:pt x="809" y="251"/>
                    </a:lnTo>
                    <a:lnTo>
                      <a:pt x="812" y="247"/>
                    </a:lnTo>
                    <a:lnTo>
                      <a:pt x="813" y="247"/>
                    </a:lnTo>
                    <a:lnTo>
                      <a:pt x="815" y="249"/>
                    </a:lnTo>
                    <a:lnTo>
                      <a:pt x="818" y="246"/>
                    </a:lnTo>
                    <a:lnTo>
                      <a:pt x="828" y="239"/>
                    </a:lnTo>
                    <a:lnTo>
                      <a:pt x="830" y="239"/>
                    </a:lnTo>
                    <a:lnTo>
                      <a:pt x="832" y="236"/>
                    </a:lnTo>
                    <a:lnTo>
                      <a:pt x="838" y="229"/>
                    </a:lnTo>
                    <a:lnTo>
                      <a:pt x="845" y="224"/>
                    </a:lnTo>
                    <a:lnTo>
                      <a:pt x="848" y="222"/>
                    </a:lnTo>
                    <a:lnTo>
                      <a:pt x="850" y="224"/>
                    </a:lnTo>
                    <a:lnTo>
                      <a:pt x="855" y="224"/>
                    </a:lnTo>
                    <a:lnTo>
                      <a:pt x="858" y="221"/>
                    </a:lnTo>
                    <a:lnTo>
                      <a:pt x="858" y="219"/>
                    </a:lnTo>
                    <a:lnTo>
                      <a:pt x="863" y="219"/>
                    </a:lnTo>
                    <a:lnTo>
                      <a:pt x="870" y="219"/>
                    </a:lnTo>
                    <a:lnTo>
                      <a:pt x="877" y="216"/>
                    </a:lnTo>
                    <a:lnTo>
                      <a:pt x="882" y="212"/>
                    </a:lnTo>
                    <a:lnTo>
                      <a:pt x="885" y="212"/>
                    </a:lnTo>
                    <a:lnTo>
                      <a:pt x="888" y="209"/>
                    </a:lnTo>
                    <a:lnTo>
                      <a:pt x="892" y="207"/>
                    </a:lnTo>
                    <a:lnTo>
                      <a:pt x="895" y="206"/>
                    </a:lnTo>
                    <a:lnTo>
                      <a:pt x="898" y="202"/>
                    </a:lnTo>
                    <a:lnTo>
                      <a:pt x="905" y="197"/>
                    </a:lnTo>
                    <a:lnTo>
                      <a:pt x="907" y="192"/>
                    </a:lnTo>
                    <a:lnTo>
                      <a:pt x="907" y="191"/>
                    </a:lnTo>
                    <a:lnTo>
                      <a:pt x="908" y="187"/>
                    </a:lnTo>
                    <a:lnTo>
                      <a:pt x="910" y="186"/>
                    </a:lnTo>
                    <a:lnTo>
                      <a:pt x="913" y="184"/>
                    </a:lnTo>
                    <a:lnTo>
                      <a:pt x="913" y="186"/>
                    </a:lnTo>
                    <a:lnTo>
                      <a:pt x="915" y="189"/>
                    </a:lnTo>
                    <a:lnTo>
                      <a:pt x="915" y="192"/>
                    </a:lnTo>
                    <a:lnTo>
                      <a:pt x="913" y="196"/>
                    </a:lnTo>
                    <a:lnTo>
                      <a:pt x="915" y="197"/>
                    </a:lnTo>
                    <a:lnTo>
                      <a:pt x="916" y="202"/>
                    </a:lnTo>
                    <a:lnTo>
                      <a:pt x="915" y="204"/>
                    </a:lnTo>
                    <a:lnTo>
                      <a:pt x="915" y="207"/>
                    </a:lnTo>
                    <a:lnTo>
                      <a:pt x="916" y="206"/>
                    </a:lnTo>
                    <a:lnTo>
                      <a:pt x="918" y="202"/>
                    </a:lnTo>
                    <a:lnTo>
                      <a:pt x="920" y="199"/>
                    </a:lnTo>
                    <a:lnTo>
                      <a:pt x="920" y="197"/>
                    </a:lnTo>
                    <a:lnTo>
                      <a:pt x="920" y="194"/>
                    </a:lnTo>
                    <a:lnTo>
                      <a:pt x="921" y="192"/>
                    </a:lnTo>
                    <a:lnTo>
                      <a:pt x="923" y="192"/>
                    </a:lnTo>
                    <a:lnTo>
                      <a:pt x="923" y="196"/>
                    </a:lnTo>
                    <a:lnTo>
                      <a:pt x="926" y="197"/>
                    </a:lnTo>
                    <a:lnTo>
                      <a:pt x="930" y="197"/>
                    </a:lnTo>
                    <a:lnTo>
                      <a:pt x="935" y="196"/>
                    </a:lnTo>
                    <a:lnTo>
                      <a:pt x="936" y="194"/>
                    </a:lnTo>
                    <a:lnTo>
                      <a:pt x="935" y="192"/>
                    </a:lnTo>
                    <a:lnTo>
                      <a:pt x="935" y="189"/>
                    </a:lnTo>
                    <a:lnTo>
                      <a:pt x="936" y="189"/>
                    </a:lnTo>
                    <a:lnTo>
                      <a:pt x="940" y="187"/>
                    </a:lnTo>
                    <a:lnTo>
                      <a:pt x="940" y="182"/>
                    </a:lnTo>
                    <a:lnTo>
                      <a:pt x="938" y="179"/>
                    </a:lnTo>
                    <a:lnTo>
                      <a:pt x="940" y="178"/>
                    </a:lnTo>
                    <a:lnTo>
                      <a:pt x="943" y="176"/>
                    </a:lnTo>
                    <a:lnTo>
                      <a:pt x="945" y="178"/>
                    </a:lnTo>
                    <a:lnTo>
                      <a:pt x="948" y="179"/>
                    </a:lnTo>
                    <a:lnTo>
                      <a:pt x="953" y="178"/>
                    </a:lnTo>
                    <a:lnTo>
                      <a:pt x="955" y="176"/>
                    </a:lnTo>
                    <a:lnTo>
                      <a:pt x="961" y="174"/>
                    </a:lnTo>
                    <a:lnTo>
                      <a:pt x="968" y="174"/>
                    </a:lnTo>
                    <a:lnTo>
                      <a:pt x="970" y="173"/>
                    </a:lnTo>
                    <a:lnTo>
                      <a:pt x="976" y="174"/>
                    </a:lnTo>
                    <a:lnTo>
                      <a:pt x="983" y="178"/>
                    </a:lnTo>
                    <a:lnTo>
                      <a:pt x="990" y="179"/>
                    </a:lnTo>
                    <a:lnTo>
                      <a:pt x="995" y="179"/>
                    </a:lnTo>
                    <a:lnTo>
                      <a:pt x="998" y="181"/>
                    </a:lnTo>
                    <a:lnTo>
                      <a:pt x="1001" y="184"/>
                    </a:lnTo>
                    <a:lnTo>
                      <a:pt x="1003" y="184"/>
                    </a:lnTo>
                    <a:lnTo>
                      <a:pt x="1008" y="186"/>
                    </a:lnTo>
                    <a:lnTo>
                      <a:pt x="1009" y="189"/>
                    </a:lnTo>
                    <a:lnTo>
                      <a:pt x="1011" y="192"/>
                    </a:lnTo>
                    <a:lnTo>
                      <a:pt x="1018" y="197"/>
                    </a:lnTo>
                    <a:lnTo>
                      <a:pt x="1019" y="199"/>
                    </a:lnTo>
                    <a:lnTo>
                      <a:pt x="1023" y="202"/>
                    </a:lnTo>
                    <a:lnTo>
                      <a:pt x="1024" y="209"/>
                    </a:lnTo>
                    <a:lnTo>
                      <a:pt x="1024" y="214"/>
                    </a:lnTo>
                    <a:lnTo>
                      <a:pt x="1021" y="216"/>
                    </a:lnTo>
                    <a:lnTo>
                      <a:pt x="1018" y="217"/>
                    </a:lnTo>
                    <a:lnTo>
                      <a:pt x="1013" y="221"/>
                    </a:lnTo>
                    <a:lnTo>
                      <a:pt x="1013" y="222"/>
                    </a:lnTo>
                    <a:lnTo>
                      <a:pt x="1009" y="224"/>
                    </a:lnTo>
                    <a:lnTo>
                      <a:pt x="1005" y="226"/>
                    </a:lnTo>
                    <a:lnTo>
                      <a:pt x="1000" y="232"/>
                    </a:lnTo>
                    <a:lnTo>
                      <a:pt x="998" y="236"/>
                    </a:lnTo>
                    <a:lnTo>
                      <a:pt x="996" y="236"/>
                    </a:lnTo>
                    <a:lnTo>
                      <a:pt x="993" y="236"/>
                    </a:lnTo>
                    <a:lnTo>
                      <a:pt x="986" y="232"/>
                    </a:lnTo>
                    <a:lnTo>
                      <a:pt x="983" y="232"/>
                    </a:lnTo>
                    <a:lnTo>
                      <a:pt x="980" y="234"/>
                    </a:lnTo>
                    <a:lnTo>
                      <a:pt x="978" y="237"/>
                    </a:lnTo>
                    <a:lnTo>
                      <a:pt x="978" y="239"/>
                    </a:lnTo>
                    <a:lnTo>
                      <a:pt x="980" y="241"/>
                    </a:lnTo>
                    <a:lnTo>
                      <a:pt x="980" y="242"/>
                    </a:lnTo>
                    <a:lnTo>
                      <a:pt x="981" y="246"/>
                    </a:lnTo>
                    <a:lnTo>
                      <a:pt x="983" y="247"/>
                    </a:lnTo>
                    <a:lnTo>
                      <a:pt x="983" y="251"/>
                    </a:lnTo>
                    <a:lnTo>
                      <a:pt x="981" y="252"/>
                    </a:lnTo>
                    <a:lnTo>
                      <a:pt x="978" y="252"/>
                    </a:lnTo>
                    <a:lnTo>
                      <a:pt x="976" y="252"/>
                    </a:lnTo>
                    <a:lnTo>
                      <a:pt x="968" y="256"/>
                    </a:lnTo>
                    <a:lnTo>
                      <a:pt x="965" y="259"/>
                    </a:lnTo>
                    <a:lnTo>
                      <a:pt x="960" y="259"/>
                    </a:lnTo>
                    <a:lnTo>
                      <a:pt x="956" y="259"/>
                    </a:lnTo>
                    <a:lnTo>
                      <a:pt x="953" y="257"/>
                    </a:lnTo>
                    <a:lnTo>
                      <a:pt x="950" y="256"/>
                    </a:lnTo>
                    <a:lnTo>
                      <a:pt x="946" y="256"/>
                    </a:lnTo>
                    <a:lnTo>
                      <a:pt x="945" y="256"/>
                    </a:lnTo>
                    <a:lnTo>
                      <a:pt x="941" y="254"/>
                    </a:lnTo>
                    <a:lnTo>
                      <a:pt x="941" y="254"/>
                    </a:lnTo>
                    <a:lnTo>
                      <a:pt x="938" y="254"/>
                    </a:lnTo>
                    <a:lnTo>
                      <a:pt x="936" y="254"/>
                    </a:lnTo>
                    <a:lnTo>
                      <a:pt x="936" y="256"/>
                    </a:lnTo>
                    <a:lnTo>
                      <a:pt x="935" y="256"/>
                    </a:lnTo>
                    <a:lnTo>
                      <a:pt x="931" y="256"/>
                    </a:lnTo>
                    <a:lnTo>
                      <a:pt x="930" y="256"/>
                    </a:lnTo>
                    <a:lnTo>
                      <a:pt x="928" y="259"/>
                    </a:lnTo>
                    <a:lnTo>
                      <a:pt x="925" y="259"/>
                    </a:lnTo>
                    <a:lnTo>
                      <a:pt x="923" y="257"/>
                    </a:lnTo>
                    <a:lnTo>
                      <a:pt x="920" y="259"/>
                    </a:lnTo>
                    <a:lnTo>
                      <a:pt x="918" y="261"/>
                    </a:lnTo>
                    <a:lnTo>
                      <a:pt x="913" y="259"/>
                    </a:lnTo>
                    <a:lnTo>
                      <a:pt x="910" y="259"/>
                    </a:lnTo>
                    <a:lnTo>
                      <a:pt x="905" y="259"/>
                    </a:lnTo>
                    <a:lnTo>
                      <a:pt x="902" y="262"/>
                    </a:lnTo>
                    <a:lnTo>
                      <a:pt x="897" y="261"/>
                    </a:lnTo>
                    <a:lnTo>
                      <a:pt x="893" y="261"/>
                    </a:lnTo>
                    <a:lnTo>
                      <a:pt x="897" y="262"/>
                    </a:lnTo>
                    <a:lnTo>
                      <a:pt x="900" y="262"/>
                    </a:lnTo>
                    <a:lnTo>
                      <a:pt x="910" y="262"/>
                    </a:lnTo>
                    <a:lnTo>
                      <a:pt x="913" y="261"/>
                    </a:lnTo>
                    <a:lnTo>
                      <a:pt x="916" y="261"/>
                    </a:lnTo>
                    <a:lnTo>
                      <a:pt x="920" y="264"/>
                    </a:lnTo>
                    <a:lnTo>
                      <a:pt x="925" y="264"/>
                    </a:lnTo>
                    <a:lnTo>
                      <a:pt x="935" y="264"/>
                    </a:lnTo>
                    <a:lnTo>
                      <a:pt x="938" y="267"/>
                    </a:lnTo>
                    <a:lnTo>
                      <a:pt x="941" y="267"/>
                    </a:lnTo>
                    <a:lnTo>
                      <a:pt x="943" y="264"/>
                    </a:lnTo>
                    <a:lnTo>
                      <a:pt x="946" y="264"/>
                    </a:lnTo>
                    <a:lnTo>
                      <a:pt x="950" y="264"/>
                    </a:lnTo>
                    <a:lnTo>
                      <a:pt x="951" y="267"/>
                    </a:lnTo>
                    <a:lnTo>
                      <a:pt x="956" y="269"/>
                    </a:lnTo>
                    <a:lnTo>
                      <a:pt x="958" y="271"/>
                    </a:lnTo>
                    <a:lnTo>
                      <a:pt x="958" y="274"/>
                    </a:lnTo>
                    <a:lnTo>
                      <a:pt x="955" y="277"/>
                    </a:lnTo>
                    <a:lnTo>
                      <a:pt x="951" y="277"/>
                    </a:lnTo>
                    <a:lnTo>
                      <a:pt x="950" y="277"/>
                    </a:lnTo>
                    <a:lnTo>
                      <a:pt x="950" y="280"/>
                    </a:lnTo>
                    <a:lnTo>
                      <a:pt x="950" y="284"/>
                    </a:lnTo>
                    <a:lnTo>
                      <a:pt x="946" y="285"/>
                    </a:lnTo>
                    <a:lnTo>
                      <a:pt x="936" y="287"/>
                    </a:lnTo>
                    <a:lnTo>
                      <a:pt x="933" y="287"/>
                    </a:lnTo>
                    <a:lnTo>
                      <a:pt x="928" y="287"/>
                    </a:lnTo>
                    <a:lnTo>
                      <a:pt x="920" y="287"/>
                    </a:lnTo>
                    <a:lnTo>
                      <a:pt x="916" y="285"/>
                    </a:lnTo>
                    <a:lnTo>
                      <a:pt x="908" y="279"/>
                    </a:lnTo>
                    <a:lnTo>
                      <a:pt x="902" y="277"/>
                    </a:lnTo>
                    <a:lnTo>
                      <a:pt x="898" y="277"/>
                    </a:lnTo>
                    <a:lnTo>
                      <a:pt x="893" y="280"/>
                    </a:lnTo>
                    <a:lnTo>
                      <a:pt x="892" y="285"/>
                    </a:lnTo>
                    <a:lnTo>
                      <a:pt x="887" y="289"/>
                    </a:lnTo>
                    <a:lnTo>
                      <a:pt x="883" y="290"/>
                    </a:lnTo>
                    <a:lnTo>
                      <a:pt x="882" y="292"/>
                    </a:lnTo>
                    <a:lnTo>
                      <a:pt x="883" y="292"/>
                    </a:lnTo>
                    <a:lnTo>
                      <a:pt x="887" y="292"/>
                    </a:lnTo>
                    <a:lnTo>
                      <a:pt x="888" y="295"/>
                    </a:lnTo>
                    <a:lnTo>
                      <a:pt x="888" y="299"/>
                    </a:lnTo>
                    <a:lnTo>
                      <a:pt x="887" y="300"/>
                    </a:lnTo>
                    <a:lnTo>
                      <a:pt x="883" y="300"/>
                    </a:lnTo>
                    <a:lnTo>
                      <a:pt x="883" y="302"/>
                    </a:lnTo>
                    <a:lnTo>
                      <a:pt x="885" y="304"/>
                    </a:lnTo>
                    <a:lnTo>
                      <a:pt x="888" y="305"/>
                    </a:lnTo>
                    <a:lnTo>
                      <a:pt x="892" y="305"/>
                    </a:lnTo>
                    <a:lnTo>
                      <a:pt x="893" y="304"/>
                    </a:lnTo>
                    <a:lnTo>
                      <a:pt x="898" y="300"/>
                    </a:lnTo>
                    <a:lnTo>
                      <a:pt x="902" y="297"/>
                    </a:lnTo>
                    <a:lnTo>
                      <a:pt x="907" y="295"/>
                    </a:lnTo>
                    <a:lnTo>
                      <a:pt x="913" y="294"/>
                    </a:lnTo>
                    <a:lnTo>
                      <a:pt x="920" y="290"/>
                    </a:lnTo>
                    <a:lnTo>
                      <a:pt x="923" y="290"/>
                    </a:lnTo>
                    <a:lnTo>
                      <a:pt x="925" y="292"/>
                    </a:lnTo>
                    <a:lnTo>
                      <a:pt x="926" y="294"/>
                    </a:lnTo>
                    <a:lnTo>
                      <a:pt x="931" y="295"/>
                    </a:lnTo>
                    <a:lnTo>
                      <a:pt x="935" y="297"/>
                    </a:lnTo>
                    <a:lnTo>
                      <a:pt x="935" y="299"/>
                    </a:lnTo>
                    <a:lnTo>
                      <a:pt x="933" y="300"/>
                    </a:lnTo>
                    <a:lnTo>
                      <a:pt x="928" y="304"/>
                    </a:lnTo>
                    <a:lnTo>
                      <a:pt x="926" y="310"/>
                    </a:lnTo>
                    <a:lnTo>
                      <a:pt x="923" y="314"/>
                    </a:lnTo>
                    <a:lnTo>
                      <a:pt x="921" y="317"/>
                    </a:lnTo>
                    <a:lnTo>
                      <a:pt x="915" y="322"/>
                    </a:lnTo>
                    <a:lnTo>
                      <a:pt x="910" y="327"/>
                    </a:lnTo>
                    <a:lnTo>
                      <a:pt x="903" y="337"/>
                    </a:lnTo>
                    <a:lnTo>
                      <a:pt x="900" y="342"/>
                    </a:lnTo>
                    <a:lnTo>
                      <a:pt x="897" y="344"/>
                    </a:lnTo>
                    <a:lnTo>
                      <a:pt x="897" y="350"/>
                    </a:lnTo>
                    <a:lnTo>
                      <a:pt x="895" y="355"/>
                    </a:lnTo>
                    <a:lnTo>
                      <a:pt x="895" y="357"/>
                    </a:lnTo>
                    <a:lnTo>
                      <a:pt x="892" y="360"/>
                    </a:lnTo>
                    <a:lnTo>
                      <a:pt x="892" y="367"/>
                    </a:lnTo>
                    <a:lnTo>
                      <a:pt x="888" y="372"/>
                    </a:lnTo>
                    <a:lnTo>
                      <a:pt x="887" y="380"/>
                    </a:lnTo>
                    <a:lnTo>
                      <a:pt x="888" y="383"/>
                    </a:lnTo>
                    <a:lnTo>
                      <a:pt x="890" y="387"/>
                    </a:lnTo>
                    <a:lnTo>
                      <a:pt x="888" y="393"/>
                    </a:lnTo>
                    <a:lnTo>
                      <a:pt x="885" y="395"/>
                    </a:lnTo>
                    <a:lnTo>
                      <a:pt x="882" y="398"/>
                    </a:lnTo>
                    <a:lnTo>
                      <a:pt x="883" y="403"/>
                    </a:lnTo>
                    <a:lnTo>
                      <a:pt x="882" y="405"/>
                    </a:lnTo>
                    <a:lnTo>
                      <a:pt x="880" y="408"/>
                    </a:lnTo>
                    <a:lnTo>
                      <a:pt x="878" y="413"/>
                    </a:lnTo>
                    <a:lnTo>
                      <a:pt x="877" y="418"/>
                    </a:lnTo>
                    <a:lnTo>
                      <a:pt x="873" y="422"/>
                    </a:lnTo>
                    <a:lnTo>
                      <a:pt x="870" y="422"/>
                    </a:lnTo>
                    <a:lnTo>
                      <a:pt x="868" y="418"/>
                    </a:lnTo>
                    <a:lnTo>
                      <a:pt x="868" y="417"/>
                    </a:lnTo>
                    <a:lnTo>
                      <a:pt x="867" y="415"/>
                    </a:lnTo>
                    <a:lnTo>
                      <a:pt x="865" y="413"/>
                    </a:lnTo>
                    <a:lnTo>
                      <a:pt x="868" y="412"/>
                    </a:lnTo>
                    <a:lnTo>
                      <a:pt x="867" y="410"/>
                    </a:lnTo>
                    <a:lnTo>
                      <a:pt x="863" y="408"/>
                    </a:lnTo>
                    <a:lnTo>
                      <a:pt x="860" y="410"/>
                    </a:lnTo>
                    <a:lnTo>
                      <a:pt x="858" y="410"/>
                    </a:lnTo>
                    <a:lnTo>
                      <a:pt x="857" y="412"/>
                    </a:lnTo>
                    <a:lnTo>
                      <a:pt x="857" y="413"/>
                    </a:lnTo>
                    <a:lnTo>
                      <a:pt x="858" y="415"/>
                    </a:lnTo>
                    <a:lnTo>
                      <a:pt x="858" y="417"/>
                    </a:lnTo>
                    <a:lnTo>
                      <a:pt x="855" y="418"/>
                    </a:lnTo>
                    <a:lnTo>
                      <a:pt x="855" y="422"/>
                    </a:lnTo>
                    <a:lnTo>
                      <a:pt x="858" y="423"/>
                    </a:lnTo>
                    <a:lnTo>
                      <a:pt x="862" y="425"/>
                    </a:lnTo>
                    <a:lnTo>
                      <a:pt x="865" y="428"/>
                    </a:lnTo>
                    <a:lnTo>
                      <a:pt x="867" y="430"/>
                    </a:lnTo>
                    <a:lnTo>
                      <a:pt x="868" y="435"/>
                    </a:lnTo>
                    <a:lnTo>
                      <a:pt x="872" y="437"/>
                    </a:lnTo>
                    <a:lnTo>
                      <a:pt x="877" y="438"/>
                    </a:lnTo>
                    <a:lnTo>
                      <a:pt x="882" y="442"/>
                    </a:lnTo>
                    <a:lnTo>
                      <a:pt x="883" y="448"/>
                    </a:lnTo>
                    <a:lnTo>
                      <a:pt x="882" y="450"/>
                    </a:lnTo>
                    <a:lnTo>
                      <a:pt x="878" y="450"/>
                    </a:lnTo>
                    <a:lnTo>
                      <a:pt x="875" y="448"/>
                    </a:lnTo>
                    <a:lnTo>
                      <a:pt x="870" y="443"/>
                    </a:lnTo>
                    <a:lnTo>
                      <a:pt x="870" y="442"/>
                    </a:lnTo>
                    <a:lnTo>
                      <a:pt x="867" y="440"/>
                    </a:lnTo>
                    <a:lnTo>
                      <a:pt x="865" y="440"/>
                    </a:lnTo>
                    <a:lnTo>
                      <a:pt x="863" y="440"/>
                    </a:lnTo>
                    <a:lnTo>
                      <a:pt x="863" y="442"/>
                    </a:lnTo>
                    <a:lnTo>
                      <a:pt x="863" y="445"/>
                    </a:lnTo>
                    <a:lnTo>
                      <a:pt x="867" y="448"/>
                    </a:lnTo>
                    <a:lnTo>
                      <a:pt x="867" y="450"/>
                    </a:lnTo>
                    <a:lnTo>
                      <a:pt x="863" y="450"/>
                    </a:lnTo>
                    <a:lnTo>
                      <a:pt x="862" y="448"/>
                    </a:lnTo>
                    <a:lnTo>
                      <a:pt x="860" y="450"/>
                    </a:lnTo>
                    <a:lnTo>
                      <a:pt x="862" y="452"/>
                    </a:lnTo>
                    <a:lnTo>
                      <a:pt x="865" y="453"/>
                    </a:lnTo>
                    <a:lnTo>
                      <a:pt x="865" y="455"/>
                    </a:lnTo>
                    <a:lnTo>
                      <a:pt x="863" y="457"/>
                    </a:lnTo>
                    <a:lnTo>
                      <a:pt x="865" y="458"/>
                    </a:lnTo>
                    <a:lnTo>
                      <a:pt x="867" y="457"/>
                    </a:lnTo>
                    <a:lnTo>
                      <a:pt x="872" y="458"/>
                    </a:lnTo>
                    <a:lnTo>
                      <a:pt x="873" y="460"/>
                    </a:lnTo>
                    <a:lnTo>
                      <a:pt x="873" y="463"/>
                    </a:lnTo>
                    <a:lnTo>
                      <a:pt x="873" y="465"/>
                    </a:lnTo>
                    <a:lnTo>
                      <a:pt x="875" y="467"/>
                    </a:lnTo>
                    <a:lnTo>
                      <a:pt x="877" y="465"/>
                    </a:lnTo>
                    <a:lnTo>
                      <a:pt x="882" y="462"/>
                    </a:lnTo>
                    <a:lnTo>
                      <a:pt x="883" y="458"/>
                    </a:lnTo>
                    <a:lnTo>
                      <a:pt x="885" y="458"/>
                    </a:lnTo>
                    <a:lnTo>
                      <a:pt x="885" y="460"/>
                    </a:lnTo>
                    <a:lnTo>
                      <a:pt x="887" y="462"/>
                    </a:lnTo>
                    <a:lnTo>
                      <a:pt x="888" y="462"/>
                    </a:lnTo>
                    <a:lnTo>
                      <a:pt x="892" y="463"/>
                    </a:lnTo>
                    <a:lnTo>
                      <a:pt x="895" y="465"/>
                    </a:lnTo>
                    <a:lnTo>
                      <a:pt x="897" y="468"/>
                    </a:lnTo>
                    <a:lnTo>
                      <a:pt x="897" y="472"/>
                    </a:lnTo>
                    <a:lnTo>
                      <a:pt x="895" y="473"/>
                    </a:lnTo>
                    <a:lnTo>
                      <a:pt x="893" y="478"/>
                    </a:lnTo>
                    <a:lnTo>
                      <a:pt x="893" y="483"/>
                    </a:lnTo>
                    <a:lnTo>
                      <a:pt x="893" y="486"/>
                    </a:lnTo>
                    <a:lnTo>
                      <a:pt x="892" y="491"/>
                    </a:lnTo>
                    <a:lnTo>
                      <a:pt x="888" y="495"/>
                    </a:lnTo>
                    <a:lnTo>
                      <a:pt x="888" y="498"/>
                    </a:lnTo>
                    <a:lnTo>
                      <a:pt x="888" y="500"/>
                    </a:lnTo>
                    <a:lnTo>
                      <a:pt x="887" y="500"/>
                    </a:lnTo>
                    <a:lnTo>
                      <a:pt x="883" y="496"/>
                    </a:lnTo>
                    <a:lnTo>
                      <a:pt x="878" y="495"/>
                    </a:lnTo>
                    <a:lnTo>
                      <a:pt x="877" y="491"/>
                    </a:lnTo>
                    <a:lnTo>
                      <a:pt x="875" y="491"/>
                    </a:lnTo>
                    <a:lnTo>
                      <a:pt x="873" y="491"/>
                    </a:lnTo>
                    <a:lnTo>
                      <a:pt x="868" y="490"/>
                    </a:lnTo>
                    <a:lnTo>
                      <a:pt x="868" y="488"/>
                    </a:lnTo>
                    <a:lnTo>
                      <a:pt x="868" y="486"/>
                    </a:lnTo>
                    <a:lnTo>
                      <a:pt x="867" y="483"/>
                    </a:lnTo>
                    <a:lnTo>
                      <a:pt x="863" y="483"/>
                    </a:lnTo>
                    <a:lnTo>
                      <a:pt x="862" y="483"/>
                    </a:lnTo>
                    <a:lnTo>
                      <a:pt x="860" y="483"/>
                    </a:lnTo>
                    <a:lnTo>
                      <a:pt x="857" y="480"/>
                    </a:lnTo>
                    <a:lnTo>
                      <a:pt x="853" y="480"/>
                    </a:lnTo>
                    <a:lnTo>
                      <a:pt x="850" y="481"/>
                    </a:lnTo>
                    <a:lnTo>
                      <a:pt x="850" y="481"/>
                    </a:lnTo>
                    <a:lnTo>
                      <a:pt x="850" y="485"/>
                    </a:lnTo>
                    <a:lnTo>
                      <a:pt x="848" y="485"/>
                    </a:lnTo>
                    <a:lnTo>
                      <a:pt x="847" y="483"/>
                    </a:lnTo>
                    <a:lnTo>
                      <a:pt x="842" y="483"/>
                    </a:lnTo>
                    <a:lnTo>
                      <a:pt x="838" y="485"/>
                    </a:lnTo>
                    <a:lnTo>
                      <a:pt x="840" y="485"/>
                    </a:lnTo>
                    <a:lnTo>
                      <a:pt x="843" y="485"/>
                    </a:lnTo>
                    <a:lnTo>
                      <a:pt x="847" y="486"/>
                    </a:lnTo>
                    <a:lnTo>
                      <a:pt x="848" y="488"/>
                    </a:lnTo>
                    <a:lnTo>
                      <a:pt x="848" y="488"/>
                    </a:lnTo>
                    <a:lnTo>
                      <a:pt x="845" y="490"/>
                    </a:lnTo>
                    <a:lnTo>
                      <a:pt x="840" y="495"/>
                    </a:lnTo>
                    <a:lnTo>
                      <a:pt x="835" y="496"/>
                    </a:lnTo>
                    <a:lnTo>
                      <a:pt x="833" y="496"/>
                    </a:lnTo>
                    <a:lnTo>
                      <a:pt x="832" y="495"/>
                    </a:lnTo>
                    <a:lnTo>
                      <a:pt x="832" y="491"/>
                    </a:lnTo>
                    <a:lnTo>
                      <a:pt x="830" y="490"/>
                    </a:lnTo>
                    <a:lnTo>
                      <a:pt x="828" y="491"/>
                    </a:lnTo>
                    <a:lnTo>
                      <a:pt x="828" y="495"/>
                    </a:lnTo>
                    <a:lnTo>
                      <a:pt x="830" y="496"/>
                    </a:lnTo>
                    <a:lnTo>
                      <a:pt x="828" y="498"/>
                    </a:lnTo>
                    <a:lnTo>
                      <a:pt x="828" y="501"/>
                    </a:lnTo>
                    <a:lnTo>
                      <a:pt x="830" y="503"/>
                    </a:lnTo>
                    <a:lnTo>
                      <a:pt x="828" y="505"/>
                    </a:lnTo>
                    <a:lnTo>
                      <a:pt x="828" y="506"/>
                    </a:lnTo>
                    <a:lnTo>
                      <a:pt x="830" y="508"/>
                    </a:lnTo>
                    <a:lnTo>
                      <a:pt x="828" y="510"/>
                    </a:lnTo>
                    <a:lnTo>
                      <a:pt x="823" y="508"/>
                    </a:lnTo>
                    <a:lnTo>
                      <a:pt x="820" y="508"/>
                    </a:lnTo>
                    <a:lnTo>
                      <a:pt x="818" y="510"/>
                    </a:lnTo>
                    <a:lnTo>
                      <a:pt x="822" y="511"/>
                    </a:lnTo>
                    <a:lnTo>
                      <a:pt x="825" y="513"/>
                    </a:lnTo>
                    <a:lnTo>
                      <a:pt x="832" y="511"/>
                    </a:lnTo>
                    <a:lnTo>
                      <a:pt x="832" y="513"/>
                    </a:lnTo>
                    <a:lnTo>
                      <a:pt x="832" y="516"/>
                    </a:lnTo>
                    <a:lnTo>
                      <a:pt x="832" y="520"/>
                    </a:lnTo>
                    <a:lnTo>
                      <a:pt x="833" y="520"/>
                    </a:lnTo>
                    <a:lnTo>
                      <a:pt x="835" y="518"/>
                    </a:lnTo>
                    <a:lnTo>
                      <a:pt x="838" y="518"/>
                    </a:lnTo>
                    <a:lnTo>
                      <a:pt x="843" y="520"/>
                    </a:lnTo>
                    <a:lnTo>
                      <a:pt x="845" y="521"/>
                    </a:lnTo>
                    <a:lnTo>
                      <a:pt x="850" y="521"/>
                    </a:lnTo>
                    <a:lnTo>
                      <a:pt x="853" y="521"/>
                    </a:lnTo>
                    <a:lnTo>
                      <a:pt x="857" y="521"/>
                    </a:lnTo>
                    <a:lnTo>
                      <a:pt x="858" y="520"/>
                    </a:lnTo>
                    <a:lnTo>
                      <a:pt x="860" y="520"/>
                    </a:lnTo>
                    <a:lnTo>
                      <a:pt x="860" y="523"/>
                    </a:lnTo>
                    <a:lnTo>
                      <a:pt x="860" y="526"/>
                    </a:lnTo>
                    <a:lnTo>
                      <a:pt x="862" y="530"/>
                    </a:lnTo>
                    <a:lnTo>
                      <a:pt x="860" y="530"/>
                    </a:lnTo>
                    <a:lnTo>
                      <a:pt x="858" y="531"/>
                    </a:lnTo>
                    <a:lnTo>
                      <a:pt x="855" y="530"/>
                    </a:lnTo>
                    <a:lnTo>
                      <a:pt x="853" y="530"/>
                    </a:lnTo>
                    <a:lnTo>
                      <a:pt x="850" y="531"/>
                    </a:lnTo>
                    <a:lnTo>
                      <a:pt x="847" y="531"/>
                    </a:lnTo>
                    <a:lnTo>
                      <a:pt x="845" y="530"/>
                    </a:lnTo>
                    <a:lnTo>
                      <a:pt x="838" y="531"/>
                    </a:lnTo>
                    <a:lnTo>
                      <a:pt x="833" y="531"/>
                    </a:lnTo>
                    <a:lnTo>
                      <a:pt x="830" y="531"/>
                    </a:lnTo>
                    <a:lnTo>
                      <a:pt x="830" y="530"/>
                    </a:lnTo>
                    <a:lnTo>
                      <a:pt x="828" y="531"/>
                    </a:lnTo>
                    <a:lnTo>
                      <a:pt x="830" y="533"/>
                    </a:lnTo>
                    <a:lnTo>
                      <a:pt x="830" y="535"/>
                    </a:lnTo>
                    <a:lnTo>
                      <a:pt x="833" y="535"/>
                    </a:lnTo>
                    <a:lnTo>
                      <a:pt x="837" y="533"/>
                    </a:lnTo>
                    <a:lnTo>
                      <a:pt x="845" y="533"/>
                    </a:lnTo>
                    <a:lnTo>
                      <a:pt x="848" y="535"/>
                    </a:lnTo>
                    <a:lnTo>
                      <a:pt x="850" y="538"/>
                    </a:lnTo>
                    <a:lnTo>
                      <a:pt x="853" y="538"/>
                    </a:lnTo>
                    <a:lnTo>
                      <a:pt x="857" y="538"/>
                    </a:lnTo>
                    <a:lnTo>
                      <a:pt x="860" y="541"/>
                    </a:lnTo>
                    <a:lnTo>
                      <a:pt x="862" y="545"/>
                    </a:lnTo>
                    <a:lnTo>
                      <a:pt x="865" y="548"/>
                    </a:lnTo>
                    <a:lnTo>
                      <a:pt x="867" y="550"/>
                    </a:lnTo>
                    <a:lnTo>
                      <a:pt x="865" y="550"/>
                    </a:lnTo>
                    <a:lnTo>
                      <a:pt x="862" y="550"/>
                    </a:lnTo>
                    <a:lnTo>
                      <a:pt x="860" y="548"/>
                    </a:lnTo>
                    <a:lnTo>
                      <a:pt x="860" y="550"/>
                    </a:lnTo>
                    <a:lnTo>
                      <a:pt x="860" y="551"/>
                    </a:lnTo>
                    <a:lnTo>
                      <a:pt x="862" y="555"/>
                    </a:lnTo>
                    <a:lnTo>
                      <a:pt x="862" y="560"/>
                    </a:lnTo>
                    <a:lnTo>
                      <a:pt x="862" y="563"/>
                    </a:lnTo>
                    <a:lnTo>
                      <a:pt x="862" y="566"/>
                    </a:lnTo>
                    <a:lnTo>
                      <a:pt x="862" y="568"/>
                    </a:lnTo>
                    <a:lnTo>
                      <a:pt x="860" y="571"/>
                    </a:lnTo>
                    <a:lnTo>
                      <a:pt x="858" y="578"/>
                    </a:lnTo>
                    <a:lnTo>
                      <a:pt x="855" y="581"/>
                    </a:lnTo>
                    <a:lnTo>
                      <a:pt x="852" y="581"/>
                    </a:lnTo>
                    <a:lnTo>
                      <a:pt x="850" y="579"/>
                    </a:lnTo>
                    <a:lnTo>
                      <a:pt x="848" y="576"/>
                    </a:lnTo>
                    <a:lnTo>
                      <a:pt x="852" y="573"/>
                    </a:lnTo>
                    <a:lnTo>
                      <a:pt x="850" y="571"/>
                    </a:lnTo>
                    <a:lnTo>
                      <a:pt x="847" y="571"/>
                    </a:lnTo>
                    <a:lnTo>
                      <a:pt x="845" y="571"/>
                    </a:lnTo>
                    <a:lnTo>
                      <a:pt x="843" y="571"/>
                    </a:lnTo>
                    <a:lnTo>
                      <a:pt x="837" y="565"/>
                    </a:lnTo>
                    <a:lnTo>
                      <a:pt x="833" y="561"/>
                    </a:lnTo>
                    <a:lnTo>
                      <a:pt x="828" y="560"/>
                    </a:lnTo>
                    <a:lnTo>
                      <a:pt x="828" y="556"/>
                    </a:lnTo>
                    <a:lnTo>
                      <a:pt x="827" y="553"/>
                    </a:lnTo>
                    <a:lnTo>
                      <a:pt x="822" y="548"/>
                    </a:lnTo>
                    <a:lnTo>
                      <a:pt x="818" y="546"/>
                    </a:lnTo>
                    <a:lnTo>
                      <a:pt x="818" y="546"/>
                    </a:lnTo>
                    <a:lnTo>
                      <a:pt x="818" y="548"/>
                    </a:lnTo>
                    <a:lnTo>
                      <a:pt x="818" y="550"/>
                    </a:lnTo>
                    <a:lnTo>
                      <a:pt x="823" y="553"/>
                    </a:lnTo>
                    <a:lnTo>
                      <a:pt x="823" y="556"/>
                    </a:lnTo>
                    <a:lnTo>
                      <a:pt x="822" y="558"/>
                    </a:lnTo>
                    <a:lnTo>
                      <a:pt x="817" y="556"/>
                    </a:lnTo>
                    <a:lnTo>
                      <a:pt x="813" y="555"/>
                    </a:lnTo>
                    <a:lnTo>
                      <a:pt x="812" y="551"/>
                    </a:lnTo>
                    <a:lnTo>
                      <a:pt x="810" y="548"/>
                    </a:lnTo>
                    <a:lnTo>
                      <a:pt x="809" y="551"/>
                    </a:lnTo>
                    <a:lnTo>
                      <a:pt x="810" y="553"/>
                    </a:lnTo>
                    <a:lnTo>
                      <a:pt x="813" y="558"/>
                    </a:lnTo>
                    <a:lnTo>
                      <a:pt x="820" y="560"/>
                    </a:lnTo>
                    <a:lnTo>
                      <a:pt x="827" y="561"/>
                    </a:lnTo>
                    <a:lnTo>
                      <a:pt x="833" y="565"/>
                    </a:lnTo>
                    <a:lnTo>
                      <a:pt x="842" y="573"/>
                    </a:lnTo>
                    <a:lnTo>
                      <a:pt x="843" y="576"/>
                    </a:lnTo>
                    <a:lnTo>
                      <a:pt x="842" y="578"/>
                    </a:lnTo>
                    <a:lnTo>
                      <a:pt x="838" y="578"/>
                    </a:lnTo>
                    <a:lnTo>
                      <a:pt x="837" y="576"/>
                    </a:lnTo>
                    <a:lnTo>
                      <a:pt x="832" y="576"/>
                    </a:lnTo>
                    <a:lnTo>
                      <a:pt x="830" y="578"/>
                    </a:lnTo>
                    <a:lnTo>
                      <a:pt x="825" y="581"/>
                    </a:lnTo>
                    <a:lnTo>
                      <a:pt x="822" y="581"/>
                    </a:lnTo>
                    <a:lnTo>
                      <a:pt x="818" y="579"/>
                    </a:lnTo>
                    <a:lnTo>
                      <a:pt x="817" y="576"/>
                    </a:lnTo>
                    <a:lnTo>
                      <a:pt x="818" y="576"/>
                    </a:lnTo>
                    <a:lnTo>
                      <a:pt x="817" y="574"/>
                    </a:lnTo>
                    <a:lnTo>
                      <a:pt x="813" y="571"/>
                    </a:lnTo>
                    <a:lnTo>
                      <a:pt x="813" y="574"/>
                    </a:lnTo>
                    <a:lnTo>
                      <a:pt x="815" y="576"/>
                    </a:lnTo>
                    <a:lnTo>
                      <a:pt x="817" y="581"/>
                    </a:lnTo>
                    <a:lnTo>
                      <a:pt x="818" y="583"/>
                    </a:lnTo>
                    <a:lnTo>
                      <a:pt x="822" y="584"/>
                    </a:lnTo>
                    <a:lnTo>
                      <a:pt x="827" y="583"/>
                    </a:lnTo>
                    <a:lnTo>
                      <a:pt x="830" y="579"/>
                    </a:lnTo>
                    <a:lnTo>
                      <a:pt x="833" y="578"/>
                    </a:lnTo>
                    <a:lnTo>
                      <a:pt x="838" y="581"/>
                    </a:lnTo>
                    <a:lnTo>
                      <a:pt x="838" y="584"/>
                    </a:lnTo>
                    <a:lnTo>
                      <a:pt x="838" y="584"/>
                    </a:lnTo>
                    <a:lnTo>
                      <a:pt x="837" y="593"/>
                    </a:lnTo>
                    <a:lnTo>
                      <a:pt x="835" y="594"/>
                    </a:lnTo>
                    <a:lnTo>
                      <a:pt x="832" y="594"/>
                    </a:lnTo>
                    <a:lnTo>
                      <a:pt x="833" y="596"/>
                    </a:lnTo>
                    <a:lnTo>
                      <a:pt x="835" y="598"/>
                    </a:lnTo>
                    <a:lnTo>
                      <a:pt x="837" y="598"/>
                    </a:lnTo>
                    <a:lnTo>
                      <a:pt x="842" y="598"/>
                    </a:lnTo>
                    <a:lnTo>
                      <a:pt x="847" y="603"/>
                    </a:lnTo>
                    <a:lnTo>
                      <a:pt x="852" y="604"/>
                    </a:lnTo>
                    <a:lnTo>
                      <a:pt x="853" y="603"/>
                    </a:lnTo>
                    <a:lnTo>
                      <a:pt x="857" y="601"/>
                    </a:lnTo>
                    <a:lnTo>
                      <a:pt x="860" y="601"/>
                    </a:lnTo>
                    <a:lnTo>
                      <a:pt x="860" y="603"/>
                    </a:lnTo>
                    <a:lnTo>
                      <a:pt x="858" y="606"/>
                    </a:lnTo>
                    <a:lnTo>
                      <a:pt x="860" y="609"/>
                    </a:lnTo>
                    <a:lnTo>
                      <a:pt x="862" y="613"/>
                    </a:lnTo>
                    <a:lnTo>
                      <a:pt x="860" y="616"/>
                    </a:lnTo>
                    <a:lnTo>
                      <a:pt x="855" y="621"/>
                    </a:lnTo>
                    <a:lnTo>
                      <a:pt x="850" y="624"/>
                    </a:lnTo>
                    <a:lnTo>
                      <a:pt x="848" y="623"/>
                    </a:lnTo>
                    <a:lnTo>
                      <a:pt x="847" y="621"/>
                    </a:lnTo>
                    <a:lnTo>
                      <a:pt x="845" y="619"/>
                    </a:lnTo>
                    <a:lnTo>
                      <a:pt x="843" y="616"/>
                    </a:lnTo>
                    <a:lnTo>
                      <a:pt x="843" y="613"/>
                    </a:lnTo>
                    <a:lnTo>
                      <a:pt x="838" y="609"/>
                    </a:lnTo>
                    <a:lnTo>
                      <a:pt x="833" y="608"/>
                    </a:lnTo>
                    <a:lnTo>
                      <a:pt x="830" y="606"/>
                    </a:lnTo>
                    <a:lnTo>
                      <a:pt x="827" y="606"/>
                    </a:lnTo>
                    <a:lnTo>
                      <a:pt x="823" y="608"/>
                    </a:lnTo>
                    <a:lnTo>
                      <a:pt x="820" y="608"/>
                    </a:lnTo>
                    <a:lnTo>
                      <a:pt x="818" y="606"/>
                    </a:lnTo>
                    <a:lnTo>
                      <a:pt x="817" y="603"/>
                    </a:lnTo>
                    <a:lnTo>
                      <a:pt x="815" y="601"/>
                    </a:lnTo>
                    <a:lnTo>
                      <a:pt x="813" y="601"/>
                    </a:lnTo>
                    <a:lnTo>
                      <a:pt x="813" y="603"/>
                    </a:lnTo>
                    <a:lnTo>
                      <a:pt x="815" y="604"/>
                    </a:lnTo>
                    <a:lnTo>
                      <a:pt x="815" y="609"/>
                    </a:lnTo>
                    <a:lnTo>
                      <a:pt x="813" y="613"/>
                    </a:lnTo>
                    <a:lnTo>
                      <a:pt x="810" y="614"/>
                    </a:lnTo>
                    <a:lnTo>
                      <a:pt x="807" y="614"/>
                    </a:lnTo>
                    <a:lnTo>
                      <a:pt x="805" y="614"/>
                    </a:lnTo>
                    <a:lnTo>
                      <a:pt x="807" y="616"/>
                    </a:lnTo>
                    <a:lnTo>
                      <a:pt x="809" y="618"/>
                    </a:lnTo>
                    <a:lnTo>
                      <a:pt x="809" y="619"/>
                    </a:lnTo>
                    <a:lnTo>
                      <a:pt x="805" y="624"/>
                    </a:lnTo>
                    <a:lnTo>
                      <a:pt x="804" y="626"/>
                    </a:lnTo>
                    <a:lnTo>
                      <a:pt x="804" y="628"/>
                    </a:lnTo>
                    <a:lnTo>
                      <a:pt x="804" y="629"/>
                    </a:lnTo>
                    <a:lnTo>
                      <a:pt x="807" y="629"/>
                    </a:lnTo>
                    <a:lnTo>
                      <a:pt x="809" y="634"/>
                    </a:lnTo>
                    <a:lnTo>
                      <a:pt x="810" y="636"/>
                    </a:lnTo>
                    <a:lnTo>
                      <a:pt x="812" y="639"/>
                    </a:lnTo>
                    <a:lnTo>
                      <a:pt x="810" y="644"/>
                    </a:lnTo>
                    <a:lnTo>
                      <a:pt x="810" y="646"/>
                    </a:lnTo>
                    <a:lnTo>
                      <a:pt x="812" y="643"/>
                    </a:lnTo>
                    <a:lnTo>
                      <a:pt x="813" y="641"/>
                    </a:lnTo>
                    <a:lnTo>
                      <a:pt x="813" y="638"/>
                    </a:lnTo>
                    <a:lnTo>
                      <a:pt x="812" y="636"/>
                    </a:lnTo>
                    <a:lnTo>
                      <a:pt x="812" y="633"/>
                    </a:lnTo>
                    <a:lnTo>
                      <a:pt x="813" y="629"/>
                    </a:lnTo>
                    <a:lnTo>
                      <a:pt x="815" y="629"/>
                    </a:lnTo>
                    <a:lnTo>
                      <a:pt x="817" y="633"/>
                    </a:lnTo>
                    <a:lnTo>
                      <a:pt x="818" y="634"/>
                    </a:lnTo>
                    <a:lnTo>
                      <a:pt x="820" y="636"/>
                    </a:lnTo>
                    <a:lnTo>
                      <a:pt x="823" y="639"/>
                    </a:lnTo>
                    <a:lnTo>
                      <a:pt x="825" y="638"/>
                    </a:lnTo>
                    <a:lnTo>
                      <a:pt x="827" y="638"/>
                    </a:lnTo>
                    <a:lnTo>
                      <a:pt x="828" y="639"/>
                    </a:lnTo>
                    <a:lnTo>
                      <a:pt x="830" y="638"/>
                    </a:lnTo>
                    <a:lnTo>
                      <a:pt x="833" y="636"/>
                    </a:lnTo>
                    <a:lnTo>
                      <a:pt x="837" y="638"/>
                    </a:lnTo>
                    <a:lnTo>
                      <a:pt x="838" y="639"/>
                    </a:lnTo>
                    <a:lnTo>
                      <a:pt x="838" y="643"/>
                    </a:lnTo>
                    <a:lnTo>
                      <a:pt x="835" y="648"/>
                    </a:lnTo>
                    <a:lnTo>
                      <a:pt x="833" y="649"/>
                    </a:lnTo>
                    <a:lnTo>
                      <a:pt x="833" y="654"/>
                    </a:lnTo>
                    <a:lnTo>
                      <a:pt x="833" y="659"/>
                    </a:lnTo>
                    <a:lnTo>
                      <a:pt x="832" y="661"/>
                    </a:lnTo>
                    <a:lnTo>
                      <a:pt x="827" y="659"/>
                    </a:lnTo>
                    <a:lnTo>
                      <a:pt x="823" y="661"/>
                    </a:lnTo>
                    <a:lnTo>
                      <a:pt x="820" y="661"/>
                    </a:lnTo>
                    <a:lnTo>
                      <a:pt x="817" y="659"/>
                    </a:lnTo>
                    <a:lnTo>
                      <a:pt x="813" y="659"/>
                    </a:lnTo>
                    <a:lnTo>
                      <a:pt x="812" y="661"/>
                    </a:lnTo>
                    <a:lnTo>
                      <a:pt x="812" y="664"/>
                    </a:lnTo>
                    <a:lnTo>
                      <a:pt x="809" y="666"/>
                    </a:lnTo>
                    <a:lnTo>
                      <a:pt x="805" y="666"/>
                    </a:lnTo>
                    <a:lnTo>
                      <a:pt x="804" y="666"/>
                    </a:lnTo>
                    <a:lnTo>
                      <a:pt x="802" y="669"/>
                    </a:lnTo>
                    <a:lnTo>
                      <a:pt x="802" y="671"/>
                    </a:lnTo>
                    <a:lnTo>
                      <a:pt x="799" y="671"/>
                    </a:lnTo>
                    <a:lnTo>
                      <a:pt x="795" y="671"/>
                    </a:lnTo>
                    <a:lnTo>
                      <a:pt x="792" y="668"/>
                    </a:lnTo>
                    <a:lnTo>
                      <a:pt x="785" y="664"/>
                    </a:lnTo>
                    <a:lnTo>
                      <a:pt x="782" y="661"/>
                    </a:lnTo>
                    <a:lnTo>
                      <a:pt x="772" y="653"/>
                    </a:lnTo>
                    <a:lnTo>
                      <a:pt x="770" y="649"/>
                    </a:lnTo>
                    <a:lnTo>
                      <a:pt x="770" y="646"/>
                    </a:lnTo>
                    <a:lnTo>
                      <a:pt x="772" y="646"/>
                    </a:lnTo>
                    <a:lnTo>
                      <a:pt x="774" y="646"/>
                    </a:lnTo>
                    <a:lnTo>
                      <a:pt x="775" y="646"/>
                    </a:lnTo>
                    <a:lnTo>
                      <a:pt x="777" y="648"/>
                    </a:lnTo>
                    <a:lnTo>
                      <a:pt x="785" y="651"/>
                    </a:lnTo>
                    <a:lnTo>
                      <a:pt x="790" y="654"/>
                    </a:lnTo>
                    <a:lnTo>
                      <a:pt x="792" y="654"/>
                    </a:lnTo>
                    <a:lnTo>
                      <a:pt x="799" y="653"/>
                    </a:lnTo>
                    <a:lnTo>
                      <a:pt x="799" y="651"/>
                    </a:lnTo>
                    <a:lnTo>
                      <a:pt x="797" y="649"/>
                    </a:lnTo>
                    <a:lnTo>
                      <a:pt x="795" y="651"/>
                    </a:lnTo>
                    <a:lnTo>
                      <a:pt x="792" y="651"/>
                    </a:lnTo>
                    <a:lnTo>
                      <a:pt x="789" y="649"/>
                    </a:lnTo>
                    <a:lnTo>
                      <a:pt x="782" y="646"/>
                    </a:lnTo>
                    <a:lnTo>
                      <a:pt x="774" y="643"/>
                    </a:lnTo>
                    <a:lnTo>
                      <a:pt x="770" y="643"/>
                    </a:lnTo>
                    <a:lnTo>
                      <a:pt x="770" y="641"/>
                    </a:lnTo>
                    <a:lnTo>
                      <a:pt x="770" y="638"/>
                    </a:lnTo>
                    <a:lnTo>
                      <a:pt x="769" y="638"/>
                    </a:lnTo>
                    <a:lnTo>
                      <a:pt x="765" y="638"/>
                    </a:lnTo>
                    <a:lnTo>
                      <a:pt x="764" y="639"/>
                    </a:lnTo>
                    <a:lnTo>
                      <a:pt x="764" y="643"/>
                    </a:lnTo>
                    <a:lnTo>
                      <a:pt x="764" y="649"/>
                    </a:lnTo>
                    <a:lnTo>
                      <a:pt x="764" y="653"/>
                    </a:lnTo>
                    <a:lnTo>
                      <a:pt x="762" y="654"/>
                    </a:lnTo>
                    <a:lnTo>
                      <a:pt x="760" y="654"/>
                    </a:lnTo>
                    <a:lnTo>
                      <a:pt x="754" y="646"/>
                    </a:lnTo>
                    <a:lnTo>
                      <a:pt x="749" y="638"/>
                    </a:lnTo>
                    <a:lnTo>
                      <a:pt x="747" y="636"/>
                    </a:lnTo>
                    <a:lnTo>
                      <a:pt x="745" y="634"/>
                    </a:lnTo>
                    <a:lnTo>
                      <a:pt x="744" y="633"/>
                    </a:lnTo>
                    <a:lnTo>
                      <a:pt x="742" y="633"/>
                    </a:lnTo>
                    <a:lnTo>
                      <a:pt x="742" y="633"/>
                    </a:lnTo>
                    <a:lnTo>
                      <a:pt x="742" y="634"/>
                    </a:lnTo>
                    <a:lnTo>
                      <a:pt x="745" y="638"/>
                    </a:lnTo>
                    <a:lnTo>
                      <a:pt x="750" y="646"/>
                    </a:lnTo>
                    <a:lnTo>
                      <a:pt x="752" y="648"/>
                    </a:lnTo>
                    <a:lnTo>
                      <a:pt x="755" y="649"/>
                    </a:lnTo>
                    <a:lnTo>
                      <a:pt x="755" y="653"/>
                    </a:lnTo>
                    <a:lnTo>
                      <a:pt x="755" y="654"/>
                    </a:lnTo>
                    <a:lnTo>
                      <a:pt x="752" y="654"/>
                    </a:lnTo>
                    <a:lnTo>
                      <a:pt x="749" y="656"/>
                    </a:lnTo>
                    <a:lnTo>
                      <a:pt x="747" y="658"/>
                    </a:lnTo>
                    <a:lnTo>
                      <a:pt x="744" y="661"/>
                    </a:lnTo>
                    <a:lnTo>
                      <a:pt x="740" y="661"/>
                    </a:lnTo>
                    <a:lnTo>
                      <a:pt x="737" y="663"/>
                    </a:lnTo>
                    <a:lnTo>
                      <a:pt x="734" y="664"/>
                    </a:lnTo>
                    <a:lnTo>
                      <a:pt x="730" y="664"/>
                    </a:lnTo>
                    <a:lnTo>
                      <a:pt x="727" y="661"/>
                    </a:lnTo>
                    <a:lnTo>
                      <a:pt x="725" y="661"/>
                    </a:lnTo>
                    <a:lnTo>
                      <a:pt x="722" y="659"/>
                    </a:lnTo>
                    <a:lnTo>
                      <a:pt x="722" y="658"/>
                    </a:lnTo>
                    <a:lnTo>
                      <a:pt x="717" y="654"/>
                    </a:lnTo>
                    <a:lnTo>
                      <a:pt x="714" y="653"/>
                    </a:lnTo>
                    <a:lnTo>
                      <a:pt x="714" y="651"/>
                    </a:lnTo>
                    <a:lnTo>
                      <a:pt x="712" y="648"/>
                    </a:lnTo>
                    <a:lnTo>
                      <a:pt x="711" y="648"/>
                    </a:lnTo>
                    <a:lnTo>
                      <a:pt x="711" y="649"/>
                    </a:lnTo>
                    <a:lnTo>
                      <a:pt x="711" y="653"/>
                    </a:lnTo>
                    <a:lnTo>
                      <a:pt x="712" y="654"/>
                    </a:lnTo>
                    <a:lnTo>
                      <a:pt x="715" y="656"/>
                    </a:lnTo>
                    <a:lnTo>
                      <a:pt x="719" y="659"/>
                    </a:lnTo>
                    <a:lnTo>
                      <a:pt x="722" y="664"/>
                    </a:lnTo>
                    <a:lnTo>
                      <a:pt x="722" y="666"/>
                    </a:lnTo>
                    <a:lnTo>
                      <a:pt x="720" y="668"/>
                    </a:lnTo>
                    <a:lnTo>
                      <a:pt x="712" y="668"/>
                    </a:lnTo>
                    <a:lnTo>
                      <a:pt x="707" y="666"/>
                    </a:lnTo>
                    <a:lnTo>
                      <a:pt x="704" y="668"/>
                    </a:lnTo>
                    <a:lnTo>
                      <a:pt x="701" y="669"/>
                    </a:lnTo>
                    <a:lnTo>
                      <a:pt x="702" y="671"/>
                    </a:lnTo>
                    <a:lnTo>
                      <a:pt x="704" y="671"/>
                    </a:lnTo>
                    <a:lnTo>
                      <a:pt x="706" y="674"/>
                    </a:lnTo>
                    <a:lnTo>
                      <a:pt x="707" y="674"/>
                    </a:lnTo>
                    <a:lnTo>
                      <a:pt x="709" y="672"/>
                    </a:lnTo>
                    <a:lnTo>
                      <a:pt x="709" y="669"/>
                    </a:lnTo>
                    <a:lnTo>
                      <a:pt x="714" y="669"/>
                    </a:lnTo>
                    <a:lnTo>
                      <a:pt x="714" y="669"/>
                    </a:lnTo>
                    <a:lnTo>
                      <a:pt x="717" y="671"/>
                    </a:lnTo>
                    <a:lnTo>
                      <a:pt x="717" y="671"/>
                    </a:lnTo>
                    <a:lnTo>
                      <a:pt x="720" y="672"/>
                    </a:lnTo>
                    <a:lnTo>
                      <a:pt x="724" y="671"/>
                    </a:lnTo>
                    <a:lnTo>
                      <a:pt x="724" y="668"/>
                    </a:lnTo>
                    <a:lnTo>
                      <a:pt x="727" y="668"/>
                    </a:lnTo>
                    <a:lnTo>
                      <a:pt x="732" y="668"/>
                    </a:lnTo>
                    <a:lnTo>
                      <a:pt x="735" y="668"/>
                    </a:lnTo>
                    <a:lnTo>
                      <a:pt x="737" y="669"/>
                    </a:lnTo>
                    <a:lnTo>
                      <a:pt x="740" y="671"/>
                    </a:lnTo>
                    <a:lnTo>
                      <a:pt x="745" y="672"/>
                    </a:lnTo>
                    <a:lnTo>
                      <a:pt x="749" y="674"/>
                    </a:lnTo>
                    <a:lnTo>
                      <a:pt x="750" y="676"/>
                    </a:lnTo>
                    <a:lnTo>
                      <a:pt x="749" y="679"/>
                    </a:lnTo>
                    <a:lnTo>
                      <a:pt x="747" y="679"/>
                    </a:lnTo>
                    <a:lnTo>
                      <a:pt x="744" y="682"/>
                    </a:lnTo>
                    <a:lnTo>
                      <a:pt x="740" y="681"/>
                    </a:lnTo>
                    <a:lnTo>
                      <a:pt x="737" y="682"/>
                    </a:lnTo>
                    <a:lnTo>
                      <a:pt x="734" y="686"/>
                    </a:lnTo>
                    <a:lnTo>
                      <a:pt x="730" y="686"/>
                    </a:lnTo>
                    <a:lnTo>
                      <a:pt x="725" y="686"/>
                    </a:lnTo>
                    <a:lnTo>
                      <a:pt x="722" y="682"/>
                    </a:lnTo>
                    <a:lnTo>
                      <a:pt x="719" y="681"/>
                    </a:lnTo>
                    <a:lnTo>
                      <a:pt x="717" y="681"/>
                    </a:lnTo>
                    <a:lnTo>
                      <a:pt x="715" y="682"/>
                    </a:lnTo>
                    <a:lnTo>
                      <a:pt x="712" y="682"/>
                    </a:lnTo>
                    <a:lnTo>
                      <a:pt x="711" y="682"/>
                    </a:lnTo>
                    <a:lnTo>
                      <a:pt x="709" y="682"/>
                    </a:lnTo>
                    <a:lnTo>
                      <a:pt x="709" y="684"/>
                    </a:lnTo>
                    <a:lnTo>
                      <a:pt x="712" y="684"/>
                    </a:lnTo>
                    <a:lnTo>
                      <a:pt x="715" y="684"/>
                    </a:lnTo>
                    <a:lnTo>
                      <a:pt x="717" y="684"/>
                    </a:lnTo>
                    <a:lnTo>
                      <a:pt x="720" y="684"/>
                    </a:lnTo>
                    <a:lnTo>
                      <a:pt x="722" y="686"/>
                    </a:lnTo>
                    <a:lnTo>
                      <a:pt x="720" y="687"/>
                    </a:lnTo>
                    <a:lnTo>
                      <a:pt x="715" y="687"/>
                    </a:lnTo>
                    <a:lnTo>
                      <a:pt x="712" y="691"/>
                    </a:lnTo>
                    <a:lnTo>
                      <a:pt x="711" y="691"/>
                    </a:lnTo>
                    <a:lnTo>
                      <a:pt x="714" y="692"/>
                    </a:lnTo>
                    <a:lnTo>
                      <a:pt x="715" y="691"/>
                    </a:lnTo>
                    <a:lnTo>
                      <a:pt x="720" y="689"/>
                    </a:lnTo>
                    <a:lnTo>
                      <a:pt x="722" y="689"/>
                    </a:lnTo>
                    <a:lnTo>
                      <a:pt x="724" y="691"/>
                    </a:lnTo>
                    <a:lnTo>
                      <a:pt x="724" y="694"/>
                    </a:lnTo>
                    <a:lnTo>
                      <a:pt x="725" y="694"/>
                    </a:lnTo>
                    <a:lnTo>
                      <a:pt x="727" y="691"/>
                    </a:lnTo>
                    <a:lnTo>
                      <a:pt x="730" y="691"/>
                    </a:lnTo>
                    <a:lnTo>
                      <a:pt x="732" y="689"/>
                    </a:lnTo>
                    <a:lnTo>
                      <a:pt x="737" y="687"/>
                    </a:lnTo>
                    <a:lnTo>
                      <a:pt x="739" y="687"/>
                    </a:lnTo>
                    <a:lnTo>
                      <a:pt x="740" y="687"/>
                    </a:lnTo>
                    <a:lnTo>
                      <a:pt x="747" y="692"/>
                    </a:lnTo>
                    <a:lnTo>
                      <a:pt x="749" y="691"/>
                    </a:lnTo>
                    <a:lnTo>
                      <a:pt x="750" y="692"/>
                    </a:lnTo>
                    <a:lnTo>
                      <a:pt x="750" y="696"/>
                    </a:lnTo>
                    <a:lnTo>
                      <a:pt x="750" y="702"/>
                    </a:lnTo>
                    <a:lnTo>
                      <a:pt x="747" y="704"/>
                    </a:lnTo>
                    <a:lnTo>
                      <a:pt x="742" y="706"/>
                    </a:lnTo>
                    <a:lnTo>
                      <a:pt x="739" y="704"/>
                    </a:lnTo>
                    <a:lnTo>
                      <a:pt x="735" y="704"/>
                    </a:lnTo>
                    <a:lnTo>
                      <a:pt x="727" y="704"/>
                    </a:lnTo>
                    <a:lnTo>
                      <a:pt x="725" y="702"/>
                    </a:lnTo>
                    <a:lnTo>
                      <a:pt x="722" y="706"/>
                    </a:lnTo>
                    <a:lnTo>
                      <a:pt x="724" y="706"/>
                    </a:lnTo>
                    <a:lnTo>
                      <a:pt x="729" y="706"/>
                    </a:lnTo>
                    <a:lnTo>
                      <a:pt x="732" y="706"/>
                    </a:lnTo>
                    <a:lnTo>
                      <a:pt x="739" y="707"/>
                    </a:lnTo>
                    <a:lnTo>
                      <a:pt x="740" y="711"/>
                    </a:lnTo>
                    <a:lnTo>
                      <a:pt x="740" y="712"/>
                    </a:lnTo>
                    <a:lnTo>
                      <a:pt x="744" y="709"/>
                    </a:lnTo>
                    <a:lnTo>
                      <a:pt x="747" y="707"/>
                    </a:lnTo>
                    <a:lnTo>
                      <a:pt x="752" y="707"/>
                    </a:lnTo>
                    <a:lnTo>
                      <a:pt x="757" y="709"/>
                    </a:lnTo>
                    <a:lnTo>
                      <a:pt x="759" y="711"/>
                    </a:lnTo>
                    <a:lnTo>
                      <a:pt x="765" y="716"/>
                    </a:lnTo>
                    <a:lnTo>
                      <a:pt x="767" y="717"/>
                    </a:lnTo>
                    <a:lnTo>
                      <a:pt x="767" y="719"/>
                    </a:lnTo>
                    <a:lnTo>
                      <a:pt x="769" y="719"/>
                    </a:lnTo>
                    <a:lnTo>
                      <a:pt x="770" y="721"/>
                    </a:lnTo>
                    <a:lnTo>
                      <a:pt x="772" y="721"/>
                    </a:lnTo>
                    <a:lnTo>
                      <a:pt x="775" y="724"/>
                    </a:lnTo>
                    <a:lnTo>
                      <a:pt x="779" y="726"/>
                    </a:lnTo>
                    <a:lnTo>
                      <a:pt x="780" y="727"/>
                    </a:lnTo>
                    <a:lnTo>
                      <a:pt x="782" y="729"/>
                    </a:lnTo>
                    <a:lnTo>
                      <a:pt x="784" y="729"/>
                    </a:lnTo>
                    <a:lnTo>
                      <a:pt x="785" y="732"/>
                    </a:lnTo>
                    <a:lnTo>
                      <a:pt x="787" y="734"/>
                    </a:lnTo>
                    <a:lnTo>
                      <a:pt x="787" y="734"/>
                    </a:lnTo>
                    <a:lnTo>
                      <a:pt x="785" y="739"/>
                    </a:lnTo>
                    <a:lnTo>
                      <a:pt x="782" y="741"/>
                    </a:lnTo>
                    <a:lnTo>
                      <a:pt x="780" y="744"/>
                    </a:lnTo>
                    <a:lnTo>
                      <a:pt x="779" y="746"/>
                    </a:lnTo>
                    <a:lnTo>
                      <a:pt x="779" y="747"/>
                    </a:lnTo>
                    <a:lnTo>
                      <a:pt x="782" y="744"/>
                    </a:lnTo>
                    <a:lnTo>
                      <a:pt x="787" y="741"/>
                    </a:lnTo>
                    <a:lnTo>
                      <a:pt x="789" y="741"/>
                    </a:lnTo>
                    <a:lnTo>
                      <a:pt x="790" y="741"/>
                    </a:lnTo>
                    <a:lnTo>
                      <a:pt x="789" y="742"/>
                    </a:lnTo>
                    <a:lnTo>
                      <a:pt x="787" y="747"/>
                    </a:lnTo>
                    <a:lnTo>
                      <a:pt x="789" y="746"/>
                    </a:lnTo>
                    <a:lnTo>
                      <a:pt x="790" y="744"/>
                    </a:lnTo>
                    <a:lnTo>
                      <a:pt x="792" y="742"/>
                    </a:lnTo>
                    <a:lnTo>
                      <a:pt x="795" y="742"/>
                    </a:lnTo>
                    <a:lnTo>
                      <a:pt x="797" y="744"/>
                    </a:lnTo>
                    <a:lnTo>
                      <a:pt x="795" y="747"/>
                    </a:lnTo>
                    <a:lnTo>
                      <a:pt x="792" y="749"/>
                    </a:lnTo>
                    <a:lnTo>
                      <a:pt x="789" y="752"/>
                    </a:lnTo>
                    <a:lnTo>
                      <a:pt x="787" y="754"/>
                    </a:lnTo>
                    <a:lnTo>
                      <a:pt x="787" y="757"/>
                    </a:lnTo>
                    <a:lnTo>
                      <a:pt x="789" y="759"/>
                    </a:lnTo>
                    <a:lnTo>
                      <a:pt x="789" y="761"/>
                    </a:lnTo>
                    <a:lnTo>
                      <a:pt x="787" y="766"/>
                    </a:lnTo>
                    <a:lnTo>
                      <a:pt x="787" y="767"/>
                    </a:lnTo>
                    <a:lnTo>
                      <a:pt x="789" y="766"/>
                    </a:lnTo>
                    <a:lnTo>
                      <a:pt x="790" y="761"/>
                    </a:lnTo>
                    <a:lnTo>
                      <a:pt x="794" y="756"/>
                    </a:lnTo>
                    <a:lnTo>
                      <a:pt x="797" y="754"/>
                    </a:lnTo>
                    <a:lnTo>
                      <a:pt x="799" y="754"/>
                    </a:lnTo>
                    <a:lnTo>
                      <a:pt x="799" y="756"/>
                    </a:lnTo>
                    <a:lnTo>
                      <a:pt x="797" y="759"/>
                    </a:lnTo>
                    <a:lnTo>
                      <a:pt x="795" y="764"/>
                    </a:lnTo>
                    <a:lnTo>
                      <a:pt x="795" y="764"/>
                    </a:lnTo>
                    <a:lnTo>
                      <a:pt x="799" y="764"/>
                    </a:lnTo>
                    <a:lnTo>
                      <a:pt x="800" y="766"/>
                    </a:lnTo>
                    <a:lnTo>
                      <a:pt x="799" y="769"/>
                    </a:lnTo>
                    <a:lnTo>
                      <a:pt x="797" y="770"/>
                    </a:lnTo>
                    <a:lnTo>
                      <a:pt x="792" y="772"/>
                    </a:lnTo>
                    <a:lnTo>
                      <a:pt x="792" y="774"/>
                    </a:lnTo>
                    <a:lnTo>
                      <a:pt x="792" y="775"/>
                    </a:lnTo>
                    <a:lnTo>
                      <a:pt x="797" y="774"/>
                    </a:lnTo>
                    <a:lnTo>
                      <a:pt x="797" y="775"/>
                    </a:lnTo>
                    <a:lnTo>
                      <a:pt x="797" y="777"/>
                    </a:lnTo>
                    <a:lnTo>
                      <a:pt x="795" y="779"/>
                    </a:lnTo>
                    <a:lnTo>
                      <a:pt x="797" y="780"/>
                    </a:lnTo>
                    <a:lnTo>
                      <a:pt x="799" y="782"/>
                    </a:lnTo>
                    <a:lnTo>
                      <a:pt x="799" y="784"/>
                    </a:lnTo>
                    <a:lnTo>
                      <a:pt x="799" y="789"/>
                    </a:lnTo>
                    <a:lnTo>
                      <a:pt x="797" y="790"/>
                    </a:lnTo>
                    <a:lnTo>
                      <a:pt x="797" y="797"/>
                    </a:lnTo>
                    <a:lnTo>
                      <a:pt x="797" y="800"/>
                    </a:lnTo>
                    <a:lnTo>
                      <a:pt x="797" y="804"/>
                    </a:lnTo>
                    <a:lnTo>
                      <a:pt x="795" y="805"/>
                    </a:lnTo>
                    <a:lnTo>
                      <a:pt x="792" y="804"/>
                    </a:lnTo>
                    <a:lnTo>
                      <a:pt x="790" y="805"/>
                    </a:lnTo>
                    <a:lnTo>
                      <a:pt x="790" y="804"/>
                    </a:lnTo>
                    <a:lnTo>
                      <a:pt x="790" y="802"/>
                    </a:lnTo>
                    <a:lnTo>
                      <a:pt x="790" y="799"/>
                    </a:lnTo>
                    <a:lnTo>
                      <a:pt x="787" y="799"/>
                    </a:lnTo>
                    <a:lnTo>
                      <a:pt x="785" y="799"/>
                    </a:lnTo>
                    <a:lnTo>
                      <a:pt x="784" y="800"/>
                    </a:lnTo>
                    <a:lnTo>
                      <a:pt x="780" y="800"/>
                    </a:lnTo>
                    <a:lnTo>
                      <a:pt x="780" y="797"/>
                    </a:lnTo>
                    <a:lnTo>
                      <a:pt x="784" y="794"/>
                    </a:lnTo>
                    <a:lnTo>
                      <a:pt x="782" y="789"/>
                    </a:lnTo>
                    <a:lnTo>
                      <a:pt x="782" y="787"/>
                    </a:lnTo>
                    <a:lnTo>
                      <a:pt x="782" y="784"/>
                    </a:lnTo>
                    <a:lnTo>
                      <a:pt x="782" y="782"/>
                    </a:lnTo>
                    <a:lnTo>
                      <a:pt x="780" y="780"/>
                    </a:lnTo>
                    <a:lnTo>
                      <a:pt x="779" y="784"/>
                    </a:lnTo>
                    <a:lnTo>
                      <a:pt x="777" y="787"/>
                    </a:lnTo>
                    <a:lnTo>
                      <a:pt x="779" y="794"/>
                    </a:lnTo>
                    <a:lnTo>
                      <a:pt x="777" y="799"/>
                    </a:lnTo>
                    <a:lnTo>
                      <a:pt x="777" y="800"/>
                    </a:lnTo>
                    <a:lnTo>
                      <a:pt x="775" y="802"/>
                    </a:lnTo>
                    <a:lnTo>
                      <a:pt x="774" y="802"/>
                    </a:lnTo>
                    <a:lnTo>
                      <a:pt x="770" y="802"/>
                    </a:lnTo>
                    <a:lnTo>
                      <a:pt x="767" y="804"/>
                    </a:lnTo>
                    <a:lnTo>
                      <a:pt x="764" y="802"/>
                    </a:lnTo>
                    <a:lnTo>
                      <a:pt x="759" y="797"/>
                    </a:lnTo>
                    <a:lnTo>
                      <a:pt x="755" y="790"/>
                    </a:lnTo>
                    <a:lnTo>
                      <a:pt x="752" y="787"/>
                    </a:lnTo>
                    <a:lnTo>
                      <a:pt x="749" y="785"/>
                    </a:lnTo>
                    <a:lnTo>
                      <a:pt x="749" y="777"/>
                    </a:lnTo>
                    <a:lnTo>
                      <a:pt x="745" y="774"/>
                    </a:lnTo>
                    <a:lnTo>
                      <a:pt x="744" y="772"/>
                    </a:lnTo>
                    <a:lnTo>
                      <a:pt x="742" y="767"/>
                    </a:lnTo>
                    <a:lnTo>
                      <a:pt x="744" y="762"/>
                    </a:lnTo>
                    <a:lnTo>
                      <a:pt x="745" y="759"/>
                    </a:lnTo>
                    <a:lnTo>
                      <a:pt x="744" y="757"/>
                    </a:lnTo>
                    <a:lnTo>
                      <a:pt x="742" y="757"/>
                    </a:lnTo>
                    <a:lnTo>
                      <a:pt x="737" y="759"/>
                    </a:lnTo>
                    <a:lnTo>
                      <a:pt x="735" y="761"/>
                    </a:lnTo>
                    <a:lnTo>
                      <a:pt x="732" y="759"/>
                    </a:lnTo>
                    <a:lnTo>
                      <a:pt x="725" y="749"/>
                    </a:lnTo>
                    <a:lnTo>
                      <a:pt x="724" y="746"/>
                    </a:lnTo>
                    <a:lnTo>
                      <a:pt x="722" y="744"/>
                    </a:lnTo>
                    <a:lnTo>
                      <a:pt x="720" y="746"/>
                    </a:lnTo>
                    <a:lnTo>
                      <a:pt x="715" y="746"/>
                    </a:lnTo>
                    <a:lnTo>
                      <a:pt x="712" y="744"/>
                    </a:lnTo>
                    <a:lnTo>
                      <a:pt x="709" y="746"/>
                    </a:lnTo>
                    <a:lnTo>
                      <a:pt x="707" y="747"/>
                    </a:lnTo>
                    <a:lnTo>
                      <a:pt x="706" y="746"/>
                    </a:lnTo>
                    <a:lnTo>
                      <a:pt x="702" y="742"/>
                    </a:lnTo>
                    <a:lnTo>
                      <a:pt x="702" y="741"/>
                    </a:lnTo>
                    <a:lnTo>
                      <a:pt x="696" y="736"/>
                    </a:lnTo>
                    <a:lnTo>
                      <a:pt x="696" y="734"/>
                    </a:lnTo>
                    <a:lnTo>
                      <a:pt x="694" y="731"/>
                    </a:lnTo>
                    <a:lnTo>
                      <a:pt x="692" y="726"/>
                    </a:lnTo>
                    <a:lnTo>
                      <a:pt x="691" y="724"/>
                    </a:lnTo>
                    <a:lnTo>
                      <a:pt x="689" y="726"/>
                    </a:lnTo>
                    <a:lnTo>
                      <a:pt x="689" y="729"/>
                    </a:lnTo>
                    <a:lnTo>
                      <a:pt x="689" y="731"/>
                    </a:lnTo>
                    <a:lnTo>
                      <a:pt x="684" y="732"/>
                    </a:lnTo>
                    <a:lnTo>
                      <a:pt x="682" y="734"/>
                    </a:lnTo>
                    <a:lnTo>
                      <a:pt x="687" y="736"/>
                    </a:lnTo>
                    <a:lnTo>
                      <a:pt x="689" y="736"/>
                    </a:lnTo>
                    <a:lnTo>
                      <a:pt x="692" y="741"/>
                    </a:lnTo>
                    <a:lnTo>
                      <a:pt x="696" y="744"/>
                    </a:lnTo>
                    <a:lnTo>
                      <a:pt x="694" y="746"/>
                    </a:lnTo>
                    <a:lnTo>
                      <a:pt x="689" y="746"/>
                    </a:lnTo>
                    <a:lnTo>
                      <a:pt x="687" y="747"/>
                    </a:lnTo>
                    <a:lnTo>
                      <a:pt x="684" y="749"/>
                    </a:lnTo>
                    <a:lnTo>
                      <a:pt x="681" y="746"/>
                    </a:lnTo>
                    <a:lnTo>
                      <a:pt x="681" y="749"/>
                    </a:lnTo>
                    <a:lnTo>
                      <a:pt x="684" y="751"/>
                    </a:lnTo>
                    <a:lnTo>
                      <a:pt x="687" y="751"/>
                    </a:lnTo>
                    <a:lnTo>
                      <a:pt x="691" y="747"/>
                    </a:lnTo>
                    <a:lnTo>
                      <a:pt x="694" y="747"/>
                    </a:lnTo>
                    <a:lnTo>
                      <a:pt x="699" y="746"/>
                    </a:lnTo>
                    <a:lnTo>
                      <a:pt x="701" y="747"/>
                    </a:lnTo>
                    <a:lnTo>
                      <a:pt x="701" y="749"/>
                    </a:lnTo>
                    <a:lnTo>
                      <a:pt x="702" y="751"/>
                    </a:lnTo>
                    <a:lnTo>
                      <a:pt x="707" y="749"/>
                    </a:lnTo>
                    <a:lnTo>
                      <a:pt x="709" y="749"/>
                    </a:lnTo>
                    <a:lnTo>
                      <a:pt x="719" y="752"/>
                    </a:lnTo>
                    <a:lnTo>
                      <a:pt x="724" y="754"/>
                    </a:lnTo>
                    <a:lnTo>
                      <a:pt x="725" y="754"/>
                    </a:lnTo>
                    <a:lnTo>
                      <a:pt x="727" y="757"/>
                    </a:lnTo>
                    <a:lnTo>
                      <a:pt x="729" y="762"/>
                    </a:lnTo>
                    <a:lnTo>
                      <a:pt x="727" y="766"/>
                    </a:lnTo>
                    <a:lnTo>
                      <a:pt x="724" y="767"/>
                    </a:lnTo>
                    <a:lnTo>
                      <a:pt x="722" y="769"/>
                    </a:lnTo>
                    <a:lnTo>
                      <a:pt x="719" y="770"/>
                    </a:lnTo>
                    <a:lnTo>
                      <a:pt x="715" y="770"/>
                    </a:lnTo>
                    <a:lnTo>
                      <a:pt x="704" y="775"/>
                    </a:lnTo>
                    <a:lnTo>
                      <a:pt x="697" y="775"/>
                    </a:lnTo>
                    <a:lnTo>
                      <a:pt x="694" y="777"/>
                    </a:lnTo>
                    <a:lnTo>
                      <a:pt x="691" y="775"/>
                    </a:lnTo>
                    <a:lnTo>
                      <a:pt x="689" y="772"/>
                    </a:lnTo>
                    <a:lnTo>
                      <a:pt x="689" y="769"/>
                    </a:lnTo>
                    <a:lnTo>
                      <a:pt x="687" y="767"/>
                    </a:lnTo>
                    <a:lnTo>
                      <a:pt x="684" y="766"/>
                    </a:lnTo>
                    <a:lnTo>
                      <a:pt x="684" y="770"/>
                    </a:lnTo>
                    <a:lnTo>
                      <a:pt x="686" y="772"/>
                    </a:lnTo>
                    <a:lnTo>
                      <a:pt x="686" y="774"/>
                    </a:lnTo>
                    <a:lnTo>
                      <a:pt x="684" y="775"/>
                    </a:lnTo>
                    <a:lnTo>
                      <a:pt x="681" y="774"/>
                    </a:lnTo>
                    <a:lnTo>
                      <a:pt x="681" y="774"/>
                    </a:lnTo>
                    <a:lnTo>
                      <a:pt x="679" y="772"/>
                    </a:lnTo>
                    <a:lnTo>
                      <a:pt x="676" y="775"/>
                    </a:lnTo>
                    <a:lnTo>
                      <a:pt x="676" y="775"/>
                    </a:lnTo>
                    <a:lnTo>
                      <a:pt x="681" y="777"/>
                    </a:lnTo>
                    <a:lnTo>
                      <a:pt x="682" y="779"/>
                    </a:lnTo>
                    <a:lnTo>
                      <a:pt x="682" y="782"/>
                    </a:lnTo>
                    <a:lnTo>
                      <a:pt x="681" y="784"/>
                    </a:lnTo>
                    <a:lnTo>
                      <a:pt x="679" y="785"/>
                    </a:lnTo>
                    <a:lnTo>
                      <a:pt x="676" y="785"/>
                    </a:lnTo>
                    <a:lnTo>
                      <a:pt x="674" y="787"/>
                    </a:lnTo>
                    <a:lnTo>
                      <a:pt x="674" y="790"/>
                    </a:lnTo>
                    <a:lnTo>
                      <a:pt x="672" y="792"/>
                    </a:lnTo>
                    <a:lnTo>
                      <a:pt x="664" y="795"/>
                    </a:lnTo>
                    <a:lnTo>
                      <a:pt x="659" y="795"/>
                    </a:lnTo>
                    <a:lnTo>
                      <a:pt x="656" y="794"/>
                    </a:lnTo>
                    <a:lnTo>
                      <a:pt x="652" y="797"/>
                    </a:lnTo>
                    <a:lnTo>
                      <a:pt x="651" y="800"/>
                    </a:lnTo>
                    <a:lnTo>
                      <a:pt x="652" y="802"/>
                    </a:lnTo>
                    <a:lnTo>
                      <a:pt x="661" y="799"/>
                    </a:lnTo>
                    <a:lnTo>
                      <a:pt x="666" y="799"/>
                    </a:lnTo>
                    <a:lnTo>
                      <a:pt x="669" y="797"/>
                    </a:lnTo>
                    <a:lnTo>
                      <a:pt x="672" y="797"/>
                    </a:lnTo>
                    <a:lnTo>
                      <a:pt x="674" y="800"/>
                    </a:lnTo>
                    <a:lnTo>
                      <a:pt x="679" y="800"/>
                    </a:lnTo>
                    <a:lnTo>
                      <a:pt x="682" y="800"/>
                    </a:lnTo>
                    <a:lnTo>
                      <a:pt x="687" y="799"/>
                    </a:lnTo>
                    <a:lnTo>
                      <a:pt x="694" y="799"/>
                    </a:lnTo>
                    <a:lnTo>
                      <a:pt x="697" y="800"/>
                    </a:lnTo>
                    <a:lnTo>
                      <a:pt x="702" y="800"/>
                    </a:lnTo>
                    <a:lnTo>
                      <a:pt x="704" y="800"/>
                    </a:lnTo>
                    <a:lnTo>
                      <a:pt x="706" y="802"/>
                    </a:lnTo>
                    <a:lnTo>
                      <a:pt x="707" y="802"/>
                    </a:lnTo>
                    <a:lnTo>
                      <a:pt x="709" y="804"/>
                    </a:lnTo>
                    <a:lnTo>
                      <a:pt x="707" y="805"/>
                    </a:lnTo>
                    <a:lnTo>
                      <a:pt x="704" y="807"/>
                    </a:lnTo>
                    <a:lnTo>
                      <a:pt x="699" y="805"/>
                    </a:lnTo>
                    <a:lnTo>
                      <a:pt x="694" y="807"/>
                    </a:lnTo>
                    <a:lnTo>
                      <a:pt x="691" y="809"/>
                    </a:lnTo>
                    <a:lnTo>
                      <a:pt x="686" y="810"/>
                    </a:lnTo>
                    <a:lnTo>
                      <a:pt x="682" y="812"/>
                    </a:lnTo>
                    <a:lnTo>
                      <a:pt x="679" y="810"/>
                    </a:lnTo>
                    <a:lnTo>
                      <a:pt x="676" y="809"/>
                    </a:lnTo>
                    <a:lnTo>
                      <a:pt x="672" y="809"/>
                    </a:lnTo>
                    <a:lnTo>
                      <a:pt x="669" y="812"/>
                    </a:lnTo>
                    <a:lnTo>
                      <a:pt x="671" y="814"/>
                    </a:lnTo>
                    <a:lnTo>
                      <a:pt x="674" y="812"/>
                    </a:lnTo>
                    <a:lnTo>
                      <a:pt x="676" y="814"/>
                    </a:lnTo>
                    <a:lnTo>
                      <a:pt x="684" y="814"/>
                    </a:lnTo>
                    <a:lnTo>
                      <a:pt x="687" y="815"/>
                    </a:lnTo>
                    <a:lnTo>
                      <a:pt x="689" y="817"/>
                    </a:lnTo>
                    <a:lnTo>
                      <a:pt x="691" y="815"/>
                    </a:lnTo>
                    <a:lnTo>
                      <a:pt x="696" y="810"/>
                    </a:lnTo>
                    <a:lnTo>
                      <a:pt x="696" y="810"/>
                    </a:lnTo>
                    <a:lnTo>
                      <a:pt x="701" y="810"/>
                    </a:lnTo>
                    <a:lnTo>
                      <a:pt x="701" y="810"/>
                    </a:lnTo>
                    <a:lnTo>
                      <a:pt x="702" y="809"/>
                    </a:lnTo>
                    <a:lnTo>
                      <a:pt x="706" y="810"/>
                    </a:lnTo>
                    <a:lnTo>
                      <a:pt x="707" y="810"/>
                    </a:lnTo>
                    <a:lnTo>
                      <a:pt x="711" y="810"/>
                    </a:lnTo>
                    <a:lnTo>
                      <a:pt x="717" y="810"/>
                    </a:lnTo>
                    <a:lnTo>
                      <a:pt x="720" y="809"/>
                    </a:lnTo>
                    <a:lnTo>
                      <a:pt x="727" y="804"/>
                    </a:lnTo>
                    <a:lnTo>
                      <a:pt x="729" y="802"/>
                    </a:lnTo>
                    <a:lnTo>
                      <a:pt x="729" y="804"/>
                    </a:lnTo>
                    <a:lnTo>
                      <a:pt x="729" y="805"/>
                    </a:lnTo>
                    <a:lnTo>
                      <a:pt x="730" y="807"/>
                    </a:lnTo>
                    <a:lnTo>
                      <a:pt x="732" y="804"/>
                    </a:lnTo>
                    <a:lnTo>
                      <a:pt x="734" y="804"/>
                    </a:lnTo>
                    <a:lnTo>
                      <a:pt x="735" y="805"/>
                    </a:lnTo>
                    <a:lnTo>
                      <a:pt x="742" y="810"/>
                    </a:lnTo>
                    <a:lnTo>
                      <a:pt x="749" y="812"/>
                    </a:lnTo>
                    <a:lnTo>
                      <a:pt x="754" y="814"/>
                    </a:lnTo>
                    <a:lnTo>
                      <a:pt x="760" y="815"/>
                    </a:lnTo>
                    <a:lnTo>
                      <a:pt x="764" y="815"/>
                    </a:lnTo>
                    <a:lnTo>
                      <a:pt x="770" y="815"/>
                    </a:lnTo>
                    <a:lnTo>
                      <a:pt x="772" y="815"/>
                    </a:lnTo>
                    <a:lnTo>
                      <a:pt x="777" y="817"/>
                    </a:lnTo>
                    <a:lnTo>
                      <a:pt x="784" y="814"/>
                    </a:lnTo>
                    <a:lnTo>
                      <a:pt x="784" y="815"/>
                    </a:lnTo>
                    <a:lnTo>
                      <a:pt x="782" y="819"/>
                    </a:lnTo>
                    <a:lnTo>
                      <a:pt x="777" y="822"/>
                    </a:lnTo>
                    <a:lnTo>
                      <a:pt x="772" y="822"/>
                    </a:lnTo>
                    <a:lnTo>
                      <a:pt x="770" y="822"/>
                    </a:lnTo>
                    <a:lnTo>
                      <a:pt x="767" y="824"/>
                    </a:lnTo>
                    <a:lnTo>
                      <a:pt x="767" y="827"/>
                    </a:lnTo>
                    <a:lnTo>
                      <a:pt x="769" y="827"/>
                    </a:lnTo>
                    <a:lnTo>
                      <a:pt x="769" y="830"/>
                    </a:lnTo>
                    <a:lnTo>
                      <a:pt x="767" y="830"/>
                    </a:lnTo>
                    <a:lnTo>
                      <a:pt x="765" y="830"/>
                    </a:lnTo>
                    <a:lnTo>
                      <a:pt x="764" y="829"/>
                    </a:lnTo>
                    <a:lnTo>
                      <a:pt x="762" y="829"/>
                    </a:lnTo>
                    <a:lnTo>
                      <a:pt x="760" y="830"/>
                    </a:lnTo>
                    <a:lnTo>
                      <a:pt x="760" y="832"/>
                    </a:lnTo>
                    <a:lnTo>
                      <a:pt x="757" y="830"/>
                    </a:lnTo>
                    <a:lnTo>
                      <a:pt x="754" y="830"/>
                    </a:lnTo>
                    <a:lnTo>
                      <a:pt x="752" y="832"/>
                    </a:lnTo>
                    <a:lnTo>
                      <a:pt x="752" y="834"/>
                    </a:lnTo>
                    <a:lnTo>
                      <a:pt x="754" y="835"/>
                    </a:lnTo>
                    <a:lnTo>
                      <a:pt x="754" y="837"/>
                    </a:lnTo>
                    <a:lnTo>
                      <a:pt x="752" y="839"/>
                    </a:lnTo>
                    <a:lnTo>
                      <a:pt x="749" y="840"/>
                    </a:lnTo>
                    <a:lnTo>
                      <a:pt x="747" y="839"/>
                    </a:lnTo>
                    <a:lnTo>
                      <a:pt x="745" y="837"/>
                    </a:lnTo>
                    <a:lnTo>
                      <a:pt x="744" y="839"/>
                    </a:lnTo>
                    <a:lnTo>
                      <a:pt x="745" y="840"/>
                    </a:lnTo>
                    <a:lnTo>
                      <a:pt x="744" y="844"/>
                    </a:lnTo>
                    <a:lnTo>
                      <a:pt x="742" y="844"/>
                    </a:lnTo>
                    <a:lnTo>
                      <a:pt x="740" y="844"/>
                    </a:lnTo>
                    <a:lnTo>
                      <a:pt x="737" y="847"/>
                    </a:lnTo>
                    <a:lnTo>
                      <a:pt x="734" y="845"/>
                    </a:lnTo>
                    <a:lnTo>
                      <a:pt x="734" y="844"/>
                    </a:lnTo>
                    <a:lnTo>
                      <a:pt x="732" y="844"/>
                    </a:lnTo>
                    <a:lnTo>
                      <a:pt x="732" y="847"/>
                    </a:lnTo>
                    <a:lnTo>
                      <a:pt x="732" y="849"/>
                    </a:lnTo>
                    <a:lnTo>
                      <a:pt x="730" y="854"/>
                    </a:lnTo>
                    <a:lnTo>
                      <a:pt x="727" y="852"/>
                    </a:lnTo>
                    <a:lnTo>
                      <a:pt x="727" y="849"/>
                    </a:lnTo>
                    <a:lnTo>
                      <a:pt x="724" y="850"/>
                    </a:lnTo>
                    <a:lnTo>
                      <a:pt x="724" y="852"/>
                    </a:lnTo>
                    <a:lnTo>
                      <a:pt x="725" y="854"/>
                    </a:lnTo>
                    <a:lnTo>
                      <a:pt x="725" y="857"/>
                    </a:lnTo>
                    <a:lnTo>
                      <a:pt x="720" y="859"/>
                    </a:lnTo>
                    <a:lnTo>
                      <a:pt x="719" y="859"/>
                    </a:lnTo>
                    <a:lnTo>
                      <a:pt x="717" y="857"/>
                    </a:lnTo>
                    <a:lnTo>
                      <a:pt x="714" y="855"/>
                    </a:lnTo>
                    <a:lnTo>
                      <a:pt x="712" y="855"/>
                    </a:lnTo>
                    <a:lnTo>
                      <a:pt x="712" y="857"/>
                    </a:lnTo>
                    <a:lnTo>
                      <a:pt x="714" y="860"/>
                    </a:lnTo>
                    <a:lnTo>
                      <a:pt x="714" y="862"/>
                    </a:lnTo>
                    <a:lnTo>
                      <a:pt x="712" y="864"/>
                    </a:lnTo>
                    <a:lnTo>
                      <a:pt x="707" y="865"/>
                    </a:lnTo>
                    <a:lnTo>
                      <a:pt x="706" y="867"/>
                    </a:lnTo>
                    <a:lnTo>
                      <a:pt x="701" y="867"/>
                    </a:lnTo>
                    <a:lnTo>
                      <a:pt x="699" y="870"/>
                    </a:lnTo>
                    <a:lnTo>
                      <a:pt x="697" y="872"/>
                    </a:lnTo>
                    <a:lnTo>
                      <a:pt x="696" y="872"/>
                    </a:lnTo>
                    <a:lnTo>
                      <a:pt x="694" y="870"/>
                    </a:lnTo>
                    <a:lnTo>
                      <a:pt x="691" y="870"/>
                    </a:lnTo>
                    <a:lnTo>
                      <a:pt x="687" y="872"/>
                    </a:lnTo>
                    <a:lnTo>
                      <a:pt x="684" y="872"/>
                    </a:lnTo>
                    <a:lnTo>
                      <a:pt x="682" y="873"/>
                    </a:lnTo>
                    <a:lnTo>
                      <a:pt x="681" y="875"/>
                    </a:lnTo>
                    <a:lnTo>
                      <a:pt x="677" y="877"/>
                    </a:lnTo>
                    <a:lnTo>
                      <a:pt x="676" y="875"/>
                    </a:lnTo>
                    <a:lnTo>
                      <a:pt x="674" y="873"/>
                    </a:lnTo>
                    <a:lnTo>
                      <a:pt x="672" y="873"/>
                    </a:lnTo>
                    <a:lnTo>
                      <a:pt x="669" y="878"/>
                    </a:lnTo>
                    <a:lnTo>
                      <a:pt x="667" y="877"/>
                    </a:lnTo>
                    <a:lnTo>
                      <a:pt x="666" y="873"/>
                    </a:lnTo>
                    <a:lnTo>
                      <a:pt x="664" y="873"/>
                    </a:lnTo>
                    <a:lnTo>
                      <a:pt x="664" y="877"/>
                    </a:lnTo>
                    <a:lnTo>
                      <a:pt x="661" y="878"/>
                    </a:lnTo>
                    <a:lnTo>
                      <a:pt x="659" y="877"/>
                    </a:lnTo>
                    <a:lnTo>
                      <a:pt x="659" y="875"/>
                    </a:lnTo>
                    <a:lnTo>
                      <a:pt x="657" y="875"/>
                    </a:lnTo>
                    <a:lnTo>
                      <a:pt x="657" y="878"/>
                    </a:lnTo>
                    <a:lnTo>
                      <a:pt x="656" y="878"/>
                    </a:lnTo>
                    <a:lnTo>
                      <a:pt x="652" y="878"/>
                    </a:lnTo>
                    <a:lnTo>
                      <a:pt x="649" y="878"/>
                    </a:lnTo>
                    <a:lnTo>
                      <a:pt x="649" y="882"/>
                    </a:lnTo>
                    <a:lnTo>
                      <a:pt x="649" y="883"/>
                    </a:lnTo>
                    <a:lnTo>
                      <a:pt x="646" y="883"/>
                    </a:lnTo>
                    <a:lnTo>
                      <a:pt x="644" y="882"/>
                    </a:lnTo>
                    <a:lnTo>
                      <a:pt x="642" y="882"/>
                    </a:lnTo>
                    <a:lnTo>
                      <a:pt x="642" y="885"/>
                    </a:lnTo>
                    <a:lnTo>
                      <a:pt x="641" y="885"/>
                    </a:lnTo>
                    <a:lnTo>
                      <a:pt x="639" y="883"/>
                    </a:lnTo>
                    <a:lnTo>
                      <a:pt x="637" y="883"/>
                    </a:lnTo>
                    <a:lnTo>
                      <a:pt x="637" y="887"/>
                    </a:lnTo>
                    <a:lnTo>
                      <a:pt x="636" y="888"/>
                    </a:lnTo>
                    <a:lnTo>
                      <a:pt x="634" y="890"/>
                    </a:lnTo>
                    <a:lnTo>
                      <a:pt x="631" y="890"/>
                    </a:lnTo>
                    <a:lnTo>
                      <a:pt x="629" y="888"/>
                    </a:lnTo>
                    <a:lnTo>
                      <a:pt x="626" y="883"/>
                    </a:lnTo>
                    <a:lnTo>
                      <a:pt x="622" y="882"/>
                    </a:lnTo>
                    <a:lnTo>
                      <a:pt x="621" y="883"/>
                    </a:lnTo>
                    <a:lnTo>
                      <a:pt x="621" y="885"/>
                    </a:lnTo>
                    <a:lnTo>
                      <a:pt x="619" y="885"/>
                    </a:lnTo>
                    <a:lnTo>
                      <a:pt x="617" y="888"/>
                    </a:lnTo>
                    <a:lnTo>
                      <a:pt x="614" y="890"/>
                    </a:lnTo>
                    <a:lnTo>
                      <a:pt x="612" y="890"/>
                    </a:lnTo>
                    <a:lnTo>
                      <a:pt x="611" y="888"/>
                    </a:lnTo>
                    <a:lnTo>
                      <a:pt x="609" y="892"/>
                    </a:lnTo>
                    <a:lnTo>
                      <a:pt x="606" y="892"/>
                    </a:lnTo>
                    <a:lnTo>
                      <a:pt x="601" y="892"/>
                    </a:lnTo>
                    <a:lnTo>
                      <a:pt x="599" y="888"/>
                    </a:lnTo>
                    <a:lnTo>
                      <a:pt x="598" y="888"/>
                    </a:lnTo>
                    <a:lnTo>
                      <a:pt x="596" y="890"/>
                    </a:lnTo>
                    <a:lnTo>
                      <a:pt x="596" y="892"/>
                    </a:lnTo>
                    <a:lnTo>
                      <a:pt x="593" y="892"/>
                    </a:lnTo>
                    <a:lnTo>
                      <a:pt x="589" y="890"/>
                    </a:lnTo>
                    <a:lnTo>
                      <a:pt x="588" y="887"/>
                    </a:lnTo>
                    <a:lnTo>
                      <a:pt x="589" y="883"/>
                    </a:lnTo>
                    <a:lnTo>
                      <a:pt x="588" y="882"/>
                    </a:lnTo>
                    <a:lnTo>
                      <a:pt x="584" y="880"/>
                    </a:lnTo>
                    <a:lnTo>
                      <a:pt x="583" y="877"/>
                    </a:lnTo>
                    <a:lnTo>
                      <a:pt x="583" y="873"/>
                    </a:lnTo>
                    <a:lnTo>
                      <a:pt x="579" y="870"/>
                    </a:lnTo>
                    <a:lnTo>
                      <a:pt x="579" y="867"/>
                    </a:lnTo>
                    <a:lnTo>
                      <a:pt x="578" y="865"/>
                    </a:lnTo>
                    <a:lnTo>
                      <a:pt x="574" y="865"/>
                    </a:lnTo>
                    <a:lnTo>
                      <a:pt x="574" y="868"/>
                    </a:lnTo>
                    <a:lnTo>
                      <a:pt x="576" y="870"/>
                    </a:lnTo>
                    <a:lnTo>
                      <a:pt x="578" y="875"/>
                    </a:lnTo>
                    <a:lnTo>
                      <a:pt x="579" y="877"/>
                    </a:lnTo>
                    <a:lnTo>
                      <a:pt x="581" y="878"/>
                    </a:lnTo>
                    <a:lnTo>
                      <a:pt x="581" y="883"/>
                    </a:lnTo>
                    <a:lnTo>
                      <a:pt x="579" y="887"/>
                    </a:lnTo>
                    <a:lnTo>
                      <a:pt x="581" y="887"/>
                    </a:lnTo>
                    <a:lnTo>
                      <a:pt x="583" y="887"/>
                    </a:lnTo>
                    <a:lnTo>
                      <a:pt x="584" y="892"/>
                    </a:lnTo>
                    <a:lnTo>
                      <a:pt x="583" y="897"/>
                    </a:lnTo>
                    <a:lnTo>
                      <a:pt x="581" y="900"/>
                    </a:lnTo>
                    <a:lnTo>
                      <a:pt x="578" y="900"/>
                    </a:lnTo>
                    <a:lnTo>
                      <a:pt x="576" y="900"/>
                    </a:lnTo>
                    <a:lnTo>
                      <a:pt x="574" y="900"/>
                    </a:lnTo>
                    <a:lnTo>
                      <a:pt x="571" y="902"/>
                    </a:lnTo>
                    <a:lnTo>
                      <a:pt x="568" y="905"/>
                    </a:lnTo>
                    <a:lnTo>
                      <a:pt x="566" y="907"/>
                    </a:lnTo>
                    <a:lnTo>
                      <a:pt x="563" y="905"/>
                    </a:lnTo>
                    <a:lnTo>
                      <a:pt x="561" y="907"/>
                    </a:lnTo>
                    <a:lnTo>
                      <a:pt x="561" y="908"/>
                    </a:lnTo>
                    <a:lnTo>
                      <a:pt x="561" y="910"/>
                    </a:lnTo>
                    <a:lnTo>
                      <a:pt x="558" y="912"/>
                    </a:lnTo>
                    <a:lnTo>
                      <a:pt x="556" y="913"/>
                    </a:lnTo>
                    <a:lnTo>
                      <a:pt x="554" y="915"/>
                    </a:lnTo>
                    <a:lnTo>
                      <a:pt x="554" y="918"/>
                    </a:lnTo>
                    <a:lnTo>
                      <a:pt x="554" y="920"/>
                    </a:lnTo>
                    <a:lnTo>
                      <a:pt x="553" y="918"/>
                    </a:lnTo>
                    <a:lnTo>
                      <a:pt x="549" y="917"/>
                    </a:lnTo>
                    <a:lnTo>
                      <a:pt x="551" y="918"/>
                    </a:lnTo>
                    <a:lnTo>
                      <a:pt x="553" y="920"/>
                    </a:lnTo>
                    <a:lnTo>
                      <a:pt x="551" y="923"/>
                    </a:lnTo>
                    <a:lnTo>
                      <a:pt x="549" y="923"/>
                    </a:lnTo>
                    <a:lnTo>
                      <a:pt x="548" y="922"/>
                    </a:lnTo>
                    <a:lnTo>
                      <a:pt x="546" y="922"/>
                    </a:lnTo>
                    <a:lnTo>
                      <a:pt x="544" y="923"/>
                    </a:lnTo>
                    <a:lnTo>
                      <a:pt x="546" y="925"/>
                    </a:lnTo>
                    <a:lnTo>
                      <a:pt x="546" y="927"/>
                    </a:lnTo>
                    <a:lnTo>
                      <a:pt x="544" y="928"/>
                    </a:lnTo>
                    <a:lnTo>
                      <a:pt x="541" y="930"/>
                    </a:lnTo>
                    <a:lnTo>
                      <a:pt x="534" y="935"/>
                    </a:lnTo>
                    <a:lnTo>
                      <a:pt x="534" y="938"/>
                    </a:lnTo>
                    <a:lnTo>
                      <a:pt x="536" y="942"/>
                    </a:lnTo>
                    <a:lnTo>
                      <a:pt x="534" y="943"/>
                    </a:lnTo>
                    <a:lnTo>
                      <a:pt x="531" y="948"/>
                    </a:lnTo>
                    <a:lnTo>
                      <a:pt x="528" y="950"/>
                    </a:lnTo>
                    <a:lnTo>
                      <a:pt x="528" y="948"/>
                    </a:lnTo>
                    <a:lnTo>
                      <a:pt x="526" y="947"/>
                    </a:lnTo>
                    <a:lnTo>
                      <a:pt x="528" y="945"/>
                    </a:lnTo>
                    <a:lnTo>
                      <a:pt x="524" y="945"/>
                    </a:lnTo>
                    <a:lnTo>
                      <a:pt x="523" y="947"/>
                    </a:lnTo>
                    <a:lnTo>
                      <a:pt x="523" y="950"/>
                    </a:lnTo>
                    <a:lnTo>
                      <a:pt x="523" y="952"/>
                    </a:lnTo>
                    <a:lnTo>
                      <a:pt x="523" y="953"/>
                    </a:lnTo>
                    <a:lnTo>
                      <a:pt x="516" y="958"/>
                    </a:lnTo>
                    <a:lnTo>
                      <a:pt x="514" y="960"/>
                    </a:lnTo>
                    <a:lnTo>
                      <a:pt x="513" y="958"/>
                    </a:lnTo>
                    <a:lnTo>
                      <a:pt x="513" y="957"/>
                    </a:lnTo>
                    <a:lnTo>
                      <a:pt x="511" y="955"/>
                    </a:lnTo>
                    <a:lnTo>
                      <a:pt x="510" y="955"/>
                    </a:lnTo>
                    <a:lnTo>
                      <a:pt x="508" y="957"/>
                    </a:lnTo>
                    <a:lnTo>
                      <a:pt x="506" y="957"/>
                    </a:lnTo>
                    <a:lnTo>
                      <a:pt x="503" y="955"/>
                    </a:lnTo>
                    <a:lnTo>
                      <a:pt x="501" y="953"/>
                    </a:lnTo>
                    <a:lnTo>
                      <a:pt x="500" y="953"/>
                    </a:lnTo>
                    <a:lnTo>
                      <a:pt x="498" y="953"/>
                    </a:lnTo>
                    <a:lnTo>
                      <a:pt x="500" y="955"/>
                    </a:lnTo>
                    <a:lnTo>
                      <a:pt x="501" y="957"/>
                    </a:lnTo>
                    <a:lnTo>
                      <a:pt x="503" y="960"/>
                    </a:lnTo>
                    <a:lnTo>
                      <a:pt x="503" y="963"/>
                    </a:lnTo>
                    <a:lnTo>
                      <a:pt x="501" y="965"/>
                    </a:lnTo>
                    <a:lnTo>
                      <a:pt x="500" y="965"/>
                    </a:lnTo>
                    <a:lnTo>
                      <a:pt x="493" y="968"/>
                    </a:lnTo>
                    <a:lnTo>
                      <a:pt x="490" y="971"/>
                    </a:lnTo>
                    <a:lnTo>
                      <a:pt x="486" y="971"/>
                    </a:lnTo>
                    <a:lnTo>
                      <a:pt x="483" y="970"/>
                    </a:lnTo>
                    <a:lnTo>
                      <a:pt x="485" y="968"/>
                    </a:lnTo>
                    <a:lnTo>
                      <a:pt x="485" y="966"/>
                    </a:lnTo>
                    <a:lnTo>
                      <a:pt x="483" y="965"/>
                    </a:lnTo>
                    <a:lnTo>
                      <a:pt x="481" y="965"/>
                    </a:lnTo>
                    <a:lnTo>
                      <a:pt x="481" y="968"/>
                    </a:lnTo>
                    <a:lnTo>
                      <a:pt x="481" y="970"/>
                    </a:lnTo>
                    <a:lnTo>
                      <a:pt x="480" y="971"/>
                    </a:lnTo>
                    <a:lnTo>
                      <a:pt x="478" y="971"/>
                    </a:lnTo>
                    <a:lnTo>
                      <a:pt x="475" y="973"/>
                    </a:lnTo>
                    <a:lnTo>
                      <a:pt x="471" y="971"/>
                    </a:lnTo>
                    <a:lnTo>
                      <a:pt x="468" y="968"/>
                    </a:lnTo>
                    <a:lnTo>
                      <a:pt x="468" y="966"/>
                    </a:lnTo>
                    <a:lnTo>
                      <a:pt x="470" y="963"/>
                    </a:lnTo>
                    <a:lnTo>
                      <a:pt x="470" y="962"/>
                    </a:lnTo>
                    <a:lnTo>
                      <a:pt x="468" y="962"/>
                    </a:lnTo>
                    <a:lnTo>
                      <a:pt x="466" y="965"/>
                    </a:lnTo>
                    <a:lnTo>
                      <a:pt x="466" y="968"/>
                    </a:lnTo>
                    <a:lnTo>
                      <a:pt x="466" y="971"/>
                    </a:lnTo>
                    <a:lnTo>
                      <a:pt x="465" y="973"/>
                    </a:lnTo>
                    <a:lnTo>
                      <a:pt x="463" y="973"/>
                    </a:lnTo>
                    <a:lnTo>
                      <a:pt x="458" y="966"/>
                    </a:lnTo>
                    <a:lnTo>
                      <a:pt x="458" y="963"/>
                    </a:lnTo>
                    <a:lnTo>
                      <a:pt x="460" y="960"/>
                    </a:lnTo>
                    <a:lnTo>
                      <a:pt x="463" y="957"/>
                    </a:lnTo>
                    <a:lnTo>
                      <a:pt x="465" y="955"/>
                    </a:lnTo>
                    <a:lnTo>
                      <a:pt x="463" y="953"/>
                    </a:lnTo>
                    <a:lnTo>
                      <a:pt x="460" y="953"/>
                    </a:lnTo>
                    <a:lnTo>
                      <a:pt x="456" y="950"/>
                    </a:lnTo>
                    <a:lnTo>
                      <a:pt x="456" y="948"/>
                    </a:lnTo>
                    <a:lnTo>
                      <a:pt x="456" y="948"/>
                    </a:lnTo>
                    <a:lnTo>
                      <a:pt x="453" y="950"/>
                    </a:lnTo>
                    <a:lnTo>
                      <a:pt x="451" y="952"/>
                    </a:lnTo>
                    <a:lnTo>
                      <a:pt x="451" y="953"/>
                    </a:lnTo>
                    <a:lnTo>
                      <a:pt x="455" y="957"/>
                    </a:lnTo>
                    <a:lnTo>
                      <a:pt x="455" y="958"/>
                    </a:lnTo>
                    <a:lnTo>
                      <a:pt x="453" y="962"/>
                    </a:lnTo>
                    <a:lnTo>
                      <a:pt x="451" y="965"/>
                    </a:lnTo>
                    <a:lnTo>
                      <a:pt x="448" y="966"/>
                    </a:lnTo>
                    <a:lnTo>
                      <a:pt x="446" y="968"/>
                    </a:lnTo>
                    <a:lnTo>
                      <a:pt x="445" y="963"/>
                    </a:lnTo>
                    <a:lnTo>
                      <a:pt x="443" y="963"/>
                    </a:lnTo>
                    <a:lnTo>
                      <a:pt x="441" y="965"/>
                    </a:lnTo>
                    <a:lnTo>
                      <a:pt x="441" y="968"/>
                    </a:lnTo>
                    <a:lnTo>
                      <a:pt x="445" y="973"/>
                    </a:lnTo>
                    <a:lnTo>
                      <a:pt x="446" y="975"/>
                    </a:lnTo>
                    <a:lnTo>
                      <a:pt x="446" y="976"/>
                    </a:lnTo>
                    <a:lnTo>
                      <a:pt x="445" y="978"/>
                    </a:lnTo>
                    <a:lnTo>
                      <a:pt x="445" y="980"/>
                    </a:lnTo>
                    <a:lnTo>
                      <a:pt x="441" y="981"/>
                    </a:lnTo>
                    <a:lnTo>
                      <a:pt x="438" y="981"/>
                    </a:lnTo>
                    <a:lnTo>
                      <a:pt x="436" y="980"/>
                    </a:lnTo>
                    <a:lnTo>
                      <a:pt x="435" y="980"/>
                    </a:lnTo>
                    <a:lnTo>
                      <a:pt x="431" y="983"/>
                    </a:lnTo>
                    <a:lnTo>
                      <a:pt x="428" y="985"/>
                    </a:lnTo>
                    <a:lnTo>
                      <a:pt x="426" y="983"/>
                    </a:lnTo>
                    <a:lnTo>
                      <a:pt x="425" y="980"/>
                    </a:lnTo>
                    <a:lnTo>
                      <a:pt x="423" y="976"/>
                    </a:lnTo>
                    <a:lnTo>
                      <a:pt x="423" y="976"/>
                    </a:lnTo>
                    <a:lnTo>
                      <a:pt x="421" y="978"/>
                    </a:lnTo>
                    <a:lnTo>
                      <a:pt x="421" y="981"/>
                    </a:lnTo>
                    <a:lnTo>
                      <a:pt x="420" y="983"/>
                    </a:lnTo>
                    <a:lnTo>
                      <a:pt x="416" y="983"/>
                    </a:lnTo>
                    <a:lnTo>
                      <a:pt x="415" y="980"/>
                    </a:lnTo>
                    <a:lnTo>
                      <a:pt x="413" y="976"/>
                    </a:lnTo>
                    <a:lnTo>
                      <a:pt x="412" y="978"/>
                    </a:lnTo>
                    <a:lnTo>
                      <a:pt x="412" y="980"/>
                    </a:lnTo>
                    <a:lnTo>
                      <a:pt x="408" y="980"/>
                    </a:lnTo>
                    <a:lnTo>
                      <a:pt x="407" y="981"/>
                    </a:lnTo>
                    <a:lnTo>
                      <a:pt x="407" y="983"/>
                    </a:lnTo>
                    <a:lnTo>
                      <a:pt x="408" y="986"/>
                    </a:lnTo>
                    <a:lnTo>
                      <a:pt x="408" y="990"/>
                    </a:lnTo>
                    <a:lnTo>
                      <a:pt x="407" y="995"/>
                    </a:lnTo>
                    <a:lnTo>
                      <a:pt x="402" y="1000"/>
                    </a:lnTo>
                    <a:lnTo>
                      <a:pt x="398" y="1000"/>
                    </a:lnTo>
                    <a:lnTo>
                      <a:pt x="397" y="1000"/>
                    </a:lnTo>
                    <a:lnTo>
                      <a:pt x="395" y="995"/>
                    </a:lnTo>
                    <a:lnTo>
                      <a:pt x="393" y="993"/>
                    </a:lnTo>
                    <a:lnTo>
                      <a:pt x="390" y="995"/>
                    </a:lnTo>
                    <a:lnTo>
                      <a:pt x="390" y="996"/>
                    </a:lnTo>
                    <a:lnTo>
                      <a:pt x="387" y="995"/>
                    </a:lnTo>
                    <a:lnTo>
                      <a:pt x="385" y="993"/>
                    </a:lnTo>
                    <a:lnTo>
                      <a:pt x="383" y="991"/>
                    </a:lnTo>
                    <a:lnTo>
                      <a:pt x="383" y="993"/>
                    </a:lnTo>
                    <a:lnTo>
                      <a:pt x="383" y="995"/>
                    </a:lnTo>
                    <a:lnTo>
                      <a:pt x="385" y="998"/>
                    </a:lnTo>
                    <a:lnTo>
                      <a:pt x="383" y="1001"/>
                    </a:lnTo>
                    <a:lnTo>
                      <a:pt x="383" y="1003"/>
                    </a:lnTo>
                    <a:lnTo>
                      <a:pt x="383" y="1005"/>
                    </a:lnTo>
                    <a:lnTo>
                      <a:pt x="387" y="1008"/>
                    </a:lnTo>
                    <a:lnTo>
                      <a:pt x="388" y="1011"/>
                    </a:lnTo>
                    <a:lnTo>
                      <a:pt x="388" y="1018"/>
                    </a:lnTo>
                    <a:lnTo>
                      <a:pt x="388" y="1021"/>
                    </a:lnTo>
                    <a:lnTo>
                      <a:pt x="385" y="1020"/>
                    </a:lnTo>
                    <a:lnTo>
                      <a:pt x="383" y="1020"/>
                    </a:lnTo>
                    <a:lnTo>
                      <a:pt x="382" y="1021"/>
                    </a:lnTo>
                    <a:lnTo>
                      <a:pt x="378" y="1023"/>
                    </a:lnTo>
                    <a:lnTo>
                      <a:pt x="373" y="1021"/>
                    </a:lnTo>
                    <a:lnTo>
                      <a:pt x="368" y="1021"/>
                    </a:lnTo>
                    <a:lnTo>
                      <a:pt x="367" y="1023"/>
                    </a:lnTo>
                    <a:lnTo>
                      <a:pt x="368" y="1025"/>
                    </a:lnTo>
                    <a:lnTo>
                      <a:pt x="373" y="1028"/>
                    </a:lnTo>
                    <a:lnTo>
                      <a:pt x="377" y="1028"/>
                    </a:lnTo>
                    <a:lnTo>
                      <a:pt x="380" y="1030"/>
                    </a:lnTo>
                    <a:lnTo>
                      <a:pt x="382" y="1031"/>
                    </a:lnTo>
                    <a:lnTo>
                      <a:pt x="383" y="1031"/>
                    </a:lnTo>
                    <a:lnTo>
                      <a:pt x="385" y="1031"/>
                    </a:lnTo>
                    <a:lnTo>
                      <a:pt x="385" y="1033"/>
                    </a:lnTo>
                    <a:lnTo>
                      <a:pt x="385" y="1036"/>
                    </a:lnTo>
                    <a:lnTo>
                      <a:pt x="382" y="1036"/>
                    </a:lnTo>
                    <a:lnTo>
                      <a:pt x="380" y="1036"/>
                    </a:lnTo>
                    <a:lnTo>
                      <a:pt x="380" y="1038"/>
                    </a:lnTo>
                    <a:lnTo>
                      <a:pt x="382" y="1040"/>
                    </a:lnTo>
                    <a:lnTo>
                      <a:pt x="383" y="1041"/>
                    </a:lnTo>
                    <a:lnTo>
                      <a:pt x="382" y="1045"/>
                    </a:lnTo>
                    <a:lnTo>
                      <a:pt x="382" y="1046"/>
                    </a:lnTo>
                    <a:lnTo>
                      <a:pt x="382" y="1048"/>
                    </a:lnTo>
                    <a:lnTo>
                      <a:pt x="380" y="1050"/>
                    </a:lnTo>
                    <a:lnTo>
                      <a:pt x="377" y="1048"/>
                    </a:lnTo>
                    <a:lnTo>
                      <a:pt x="373" y="1045"/>
                    </a:lnTo>
                    <a:lnTo>
                      <a:pt x="372" y="1045"/>
                    </a:lnTo>
                    <a:lnTo>
                      <a:pt x="370" y="1043"/>
                    </a:lnTo>
                    <a:lnTo>
                      <a:pt x="367" y="1041"/>
                    </a:lnTo>
                    <a:lnTo>
                      <a:pt x="363" y="1041"/>
                    </a:lnTo>
                    <a:lnTo>
                      <a:pt x="363" y="1041"/>
                    </a:lnTo>
                    <a:lnTo>
                      <a:pt x="362" y="1045"/>
                    </a:lnTo>
                    <a:lnTo>
                      <a:pt x="365" y="1045"/>
                    </a:lnTo>
                    <a:lnTo>
                      <a:pt x="368" y="1045"/>
                    </a:lnTo>
                    <a:lnTo>
                      <a:pt x="372" y="1048"/>
                    </a:lnTo>
                    <a:lnTo>
                      <a:pt x="375" y="1050"/>
                    </a:lnTo>
                    <a:lnTo>
                      <a:pt x="378" y="1050"/>
                    </a:lnTo>
                    <a:lnTo>
                      <a:pt x="380" y="1051"/>
                    </a:lnTo>
                    <a:lnTo>
                      <a:pt x="378" y="1055"/>
                    </a:lnTo>
                    <a:lnTo>
                      <a:pt x="375" y="1056"/>
                    </a:lnTo>
                    <a:lnTo>
                      <a:pt x="372" y="1056"/>
                    </a:lnTo>
                    <a:lnTo>
                      <a:pt x="370" y="1058"/>
                    </a:lnTo>
                    <a:lnTo>
                      <a:pt x="367" y="1056"/>
                    </a:lnTo>
                    <a:lnTo>
                      <a:pt x="362" y="1053"/>
                    </a:lnTo>
                    <a:lnTo>
                      <a:pt x="360" y="1051"/>
                    </a:lnTo>
                    <a:lnTo>
                      <a:pt x="358" y="1051"/>
                    </a:lnTo>
                    <a:lnTo>
                      <a:pt x="357" y="1051"/>
                    </a:lnTo>
                    <a:lnTo>
                      <a:pt x="355" y="1055"/>
                    </a:lnTo>
                    <a:lnTo>
                      <a:pt x="355" y="1058"/>
                    </a:lnTo>
                    <a:lnTo>
                      <a:pt x="358" y="1060"/>
                    </a:lnTo>
                    <a:lnTo>
                      <a:pt x="363" y="1061"/>
                    </a:lnTo>
                    <a:lnTo>
                      <a:pt x="363" y="1065"/>
                    </a:lnTo>
                    <a:lnTo>
                      <a:pt x="363" y="1066"/>
                    </a:lnTo>
                    <a:lnTo>
                      <a:pt x="362" y="1066"/>
                    </a:lnTo>
                    <a:lnTo>
                      <a:pt x="360" y="1065"/>
                    </a:lnTo>
                    <a:lnTo>
                      <a:pt x="357" y="1065"/>
                    </a:lnTo>
                    <a:lnTo>
                      <a:pt x="353" y="1061"/>
                    </a:lnTo>
                    <a:lnTo>
                      <a:pt x="350" y="1060"/>
                    </a:lnTo>
                    <a:lnTo>
                      <a:pt x="350" y="1060"/>
                    </a:lnTo>
                    <a:lnTo>
                      <a:pt x="350" y="1063"/>
                    </a:lnTo>
                    <a:lnTo>
                      <a:pt x="353" y="1065"/>
                    </a:lnTo>
                    <a:lnTo>
                      <a:pt x="358" y="1066"/>
                    </a:lnTo>
                    <a:lnTo>
                      <a:pt x="358" y="1069"/>
                    </a:lnTo>
                    <a:lnTo>
                      <a:pt x="358" y="1071"/>
                    </a:lnTo>
                    <a:lnTo>
                      <a:pt x="357" y="1071"/>
                    </a:lnTo>
                    <a:lnTo>
                      <a:pt x="352" y="1071"/>
                    </a:lnTo>
                    <a:lnTo>
                      <a:pt x="350" y="1069"/>
                    </a:lnTo>
                    <a:lnTo>
                      <a:pt x="350" y="1066"/>
                    </a:lnTo>
                    <a:lnTo>
                      <a:pt x="347" y="1065"/>
                    </a:lnTo>
                    <a:lnTo>
                      <a:pt x="345" y="1065"/>
                    </a:lnTo>
                    <a:lnTo>
                      <a:pt x="343" y="1066"/>
                    </a:lnTo>
                    <a:lnTo>
                      <a:pt x="343" y="1068"/>
                    </a:lnTo>
                    <a:lnTo>
                      <a:pt x="345" y="1069"/>
                    </a:lnTo>
                    <a:lnTo>
                      <a:pt x="347" y="1073"/>
                    </a:lnTo>
                    <a:lnTo>
                      <a:pt x="347" y="1073"/>
                    </a:lnTo>
                    <a:lnTo>
                      <a:pt x="347" y="1074"/>
                    </a:lnTo>
                    <a:lnTo>
                      <a:pt x="353" y="1074"/>
                    </a:lnTo>
                    <a:lnTo>
                      <a:pt x="357" y="1076"/>
                    </a:lnTo>
                    <a:lnTo>
                      <a:pt x="358" y="1078"/>
                    </a:lnTo>
                    <a:lnTo>
                      <a:pt x="357" y="1079"/>
                    </a:lnTo>
                    <a:lnTo>
                      <a:pt x="355" y="1081"/>
                    </a:lnTo>
                    <a:lnTo>
                      <a:pt x="353" y="1083"/>
                    </a:lnTo>
                    <a:lnTo>
                      <a:pt x="350" y="1083"/>
                    </a:lnTo>
                    <a:lnTo>
                      <a:pt x="348" y="1081"/>
                    </a:lnTo>
                    <a:lnTo>
                      <a:pt x="345" y="1081"/>
                    </a:lnTo>
                    <a:lnTo>
                      <a:pt x="342" y="1079"/>
                    </a:lnTo>
                    <a:lnTo>
                      <a:pt x="342" y="1078"/>
                    </a:lnTo>
                    <a:lnTo>
                      <a:pt x="342" y="1076"/>
                    </a:lnTo>
                    <a:lnTo>
                      <a:pt x="338" y="1076"/>
                    </a:lnTo>
                    <a:lnTo>
                      <a:pt x="337" y="1076"/>
                    </a:lnTo>
                    <a:lnTo>
                      <a:pt x="337" y="1079"/>
                    </a:lnTo>
                    <a:lnTo>
                      <a:pt x="337" y="1081"/>
                    </a:lnTo>
                    <a:lnTo>
                      <a:pt x="335" y="1084"/>
                    </a:lnTo>
                    <a:lnTo>
                      <a:pt x="330" y="1084"/>
                    </a:lnTo>
                    <a:lnTo>
                      <a:pt x="328" y="1083"/>
                    </a:lnTo>
                    <a:lnTo>
                      <a:pt x="327" y="1081"/>
                    </a:lnTo>
                    <a:lnTo>
                      <a:pt x="323" y="1081"/>
                    </a:lnTo>
                    <a:lnTo>
                      <a:pt x="323" y="1083"/>
                    </a:lnTo>
                    <a:lnTo>
                      <a:pt x="325" y="1084"/>
                    </a:lnTo>
                    <a:lnTo>
                      <a:pt x="332" y="1088"/>
                    </a:lnTo>
                    <a:lnTo>
                      <a:pt x="338" y="1089"/>
                    </a:lnTo>
                    <a:lnTo>
                      <a:pt x="340" y="1093"/>
                    </a:lnTo>
                    <a:lnTo>
                      <a:pt x="342" y="1098"/>
                    </a:lnTo>
                    <a:lnTo>
                      <a:pt x="340" y="1098"/>
                    </a:lnTo>
                    <a:lnTo>
                      <a:pt x="337" y="1098"/>
                    </a:lnTo>
                    <a:lnTo>
                      <a:pt x="333" y="1096"/>
                    </a:lnTo>
                    <a:lnTo>
                      <a:pt x="328" y="1091"/>
                    </a:lnTo>
                    <a:lnTo>
                      <a:pt x="327" y="1089"/>
                    </a:lnTo>
                    <a:lnTo>
                      <a:pt x="323" y="1091"/>
                    </a:lnTo>
                    <a:lnTo>
                      <a:pt x="323" y="1091"/>
                    </a:lnTo>
                    <a:lnTo>
                      <a:pt x="325" y="1093"/>
                    </a:lnTo>
                    <a:lnTo>
                      <a:pt x="330" y="1094"/>
                    </a:lnTo>
                    <a:lnTo>
                      <a:pt x="335" y="1098"/>
                    </a:lnTo>
                    <a:lnTo>
                      <a:pt x="338" y="1103"/>
                    </a:lnTo>
                    <a:lnTo>
                      <a:pt x="337" y="1104"/>
                    </a:lnTo>
                    <a:lnTo>
                      <a:pt x="337" y="1108"/>
                    </a:lnTo>
                    <a:lnTo>
                      <a:pt x="337" y="1109"/>
                    </a:lnTo>
                    <a:lnTo>
                      <a:pt x="337" y="1111"/>
                    </a:lnTo>
                    <a:lnTo>
                      <a:pt x="335" y="1113"/>
                    </a:lnTo>
                    <a:lnTo>
                      <a:pt x="335" y="1116"/>
                    </a:lnTo>
                    <a:lnTo>
                      <a:pt x="333" y="1119"/>
                    </a:lnTo>
                    <a:lnTo>
                      <a:pt x="330" y="1119"/>
                    </a:lnTo>
                    <a:lnTo>
                      <a:pt x="328" y="1118"/>
                    </a:lnTo>
                    <a:lnTo>
                      <a:pt x="325" y="1116"/>
                    </a:lnTo>
                    <a:lnTo>
                      <a:pt x="322" y="1114"/>
                    </a:lnTo>
                    <a:lnTo>
                      <a:pt x="320" y="1114"/>
                    </a:lnTo>
                    <a:lnTo>
                      <a:pt x="320" y="1118"/>
                    </a:lnTo>
                    <a:lnTo>
                      <a:pt x="323" y="1119"/>
                    </a:lnTo>
                    <a:lnTo>
                      <a:pt x="328" y="1119"/>
                    </a:lnTo>
                    <a:lnTo>
                      <a:pt x="328" y="1121"/>
                    </a:lnTo>
                    <a:lnTo>
                      <a:pt x="327" y="1124"/>
                    </a:lnTo>
                    <a:lnTo>
                      <a:pt x="323" y="1123"/>
                    </a:lnTo>
                    <a:lnTo>
                      <a:pt x="322" y="1121"/>
                    </a:lnTo>
                    <a:lnTo>
                      <a:pt x="320" y="1123"/>
                    </a:lnTo>
                    <a:lnTo>
                      <a:pt x="320" y="1124"/>
                    </a:lnTo>
                    <a:lnTo>
                      <a:pt x="323" y="1124"/>
                    </a:lnTo>
                    <a:lnTo>
                      <a:pt x="325" y="1126"/>
                    </a:lnTo>
                    <a:lnTo>
                      <a:pt x="325" y="1128"/>
                    </a:lnTo>
                    <a:lnTo>
                      <a:pt x="322" y="1131"/>
                    </a:lnTo>
                    <a:lnTo>
                      <a:pt x="320" y="1131"/>
                    </a:lnTo>
                    <a:lnTo>
                      <a:pt x="318" y="1129"/>
                    </a:lnTo>
                    <a:lnTo>
                      <a:pt x="315" y="1129"/>
                    </a:lnTo>
                    <a:lnTo>
                      <a:pt x="314" y="1129"/>
                    </a:lnTo>
                    <a:lnTo>
                      <a:pt x="314" y="1131"/>
                    </a:lnTo>
                    <a:lnTo>
                      <a:pt x="317" y="1133"/>
                    </a:lnTo>
                    <a:lnTo>
                      <a:pt x="320" y="1134"/>
                    </a:lnTo>
                    <a:lnTo>
                      <a:pt x="320" y="1138"/>
                    </a:lnTo>
                    <a:lnTo>
                      <a:pt x="317" y="1139"/>
                    </a:lnTo>
                    <a:lnTo>
                      <a:pt x="310" y="1138"/>
                    </a:lnTo>
                    <a:lnTo>
                      <a:pt x="309" y="1136"/>
                    </a:lnTo>
                    <a:lnTo>
                      <a:pt x="307" y="1136"/>
                    </a:lnTo>
                    <a:lnTo>
                      <a:pt x="307" y="1138"/>
                    </a:lnTo>
                    <a:lnTo>
                      <a:pt x="310" y="1139"/>
                    </a:lnTo>
                    <a:lnTo>
                      <a:pt x="318" y="1139"/>
                    </a:lnTo>
                    <a:lnTo>
                      <a:pt x="322" y="1141"/>
                    </a:lnTo>
                    <a:lnTo>
                      <a:pt x="323" y="1144"/>
                    </a:lnTo>
                    <a:lnTo>
                      <a:pt x="322" y="1144"/>
                    </a:lnTo>
                    <a:lnTo>
                      <a:pt x="318" y="1146"/>
                    </a:lnTo>
                    <a:lnTo>
                      <a:pt x="312" y="1148"/>
                    </a:lnTo>
                    <a:lnTo>
                      <a:pt x="307" y="1146"/>
                    </a:lnTo>
                    <a:lnTo>
                      <a:pt x="304" y="1146"/>
                    </a:lnTo>
                    <a:lnTo>
                      <a:pt x="304" y="1146"/>
                    </a:lnTo>
                    <a:lnTo>
                      <a:pt x="305" y="1148"/>
                    </a:lnTo>
                    <a:lnTo>
                      <a:pt x="310" y="1149"/>
                    </a:lnTo>
                    <a:lnTo>
                      <a:pt x="310" y="1151"/>
                    </a:lnTo>
                    <a:lnTo>
                      <a:pt x="310" y="1151"/>
                    </a:lnTo>
                    <a:lnTo>
                      <a:pt x="309" y="1151"/>
                    </a:lnTo>
                    <a:lnTo>
                      <a:pt x="307" y="1153"/>
                    </a:lnTo>
                    <a:lnTo>
                      <a:pt x="312" y="1153"/>
                    </a:lnTo>
                    <a:lnTo>
                      <a:pt x="315" y="1154"/>
                    </a:lnTo>
                    <a:lnTo>
                      <a:pt x="315" y="1156"/>
                    </a:lnTo>
                    <a:lnTo>
                      <a:pt x="312" y="1158"/>
                    </a:lnTo>
                    <a:lnTo>
                      <a:pt x="309" y="1158"/>
                    </a:lnTo>
                    <a:lnTo>
                      <a:pt x="307" y="1158"/>
                    </a:lnTo>
                    <a:lnTo>
                      <a:pt x="307" y="1159"/>
                    </a:lnTo>
                    <a:lnTo>
                      <a:pt x="309" y="1159"/>
                    </a:lnTo>
                    <a:lnTo>
                      <a:pt x="314" y="1159"/>
                    </a:lnTo>
                    <a:lnTo>
                      <a:pt x="317" y="1159"/>
                    </a:lnTo>
                    <a:lnTo>
                      <a:pt x="315" y="1161"/>
                    </a:lnTo>
                    <a:lnTo>
                      <a:pt x="314" y="1164"/>
                    </a:lnTo>
                    <a:lnTo>
                      <a:pt x="309" y="1166"/>
                    </a:lnTo>
                    <a:lnTo>
                      <a:pt x="305" y="1166"/>
                    </a:lnTo>
                    <a:lnTo>
                      <a:pt x="302" y="1163"/>
                    </a:lnTo>
                    <a:lnTo>
                      <a:pt x="299" y="1161"/>
                    </a:lnTo>
                    <a:lnTo>
                      <a:pt x="299" y="1158"/>
                    </a:lnTo>
                    <a:lnTo>
                      <a:pt x="297" y="1158"/>
                    </a:lnTo>
                    <a:lnTo>
                      <a:pt x="295" y="1159"/>
                    </a:lnTo>
                    <a:lnTo>
                      <a:pt x="292" y="1158"/>
                    </a:lnTo>
                    <a:lnTo>
                      <a:pt x="290" y="1159"/>
                    </a:lnTo>
                    <a:lnTo>
                      <a:pt x="292" y="1161"/>
                    </a:lnTo>
                    <a:lnTo>
                      <a:pt x="299" y="1164"/>
                    </a:lnTo>
                    <a:lnTo>
                      <a:pt x="304" y="1166"/>
                    </a:lnTo>
                    <a:lnTo>
                      <a:pt x="304" y="1167"/>
                    </a:lnTo>
                    <a:lnTo>
                      <a:pt x="302" y="1169"/>
                    </a:lnTo>
                    <a:lnTo>
                      <a:pt x="302" y="1171"/>
                    </a:lnTo>
                    <a:lnTo>
                      <a:pt x="304" y="1171"/>
                    </a:lnTo>
                    <a:lnTo>
                      <a:pt x="307" y="1171"/>
                    </a:lnTo>
                    <a:lnTo>
                      <a:pt x="309" y="1172"/>
                    </a:lnTo>
                    <a:lnTo>
                      <a:pt x="310" y="1172"/>
                    </a:lnTo>
                    <a:lnTo>
                      <a:pt x="310" y="1174"/>
                    </a:lnTo>
                    <a:lnTo>
                      <a:pt x="307" y="1174"/>
                    </a:lnTo>
                    <a:lnTo>
                      <a:pt x="305" y="1177"/>
                    </a:lnTo>
                    <a:lnTo>
                      <a:pt x="305" y="1177"/>
                    </a:lnTo>
                    <a:lnTo>
                      <a:pt x="304" y="1177"/>
                    </a:lnTo>
                    <a:lnTo>
                      <a:pt x="304" y="1177"/>
                    </a:lnTo>
                    <a:close/>
                    <a:moveTo>
                      <a:pt x="299" y="1179"/>
                    </a:moveTo>
                    <a:lnTo>
                      <a:pt x="290" y="1176"/>
                    </a:lnTo>
                    <a:lnTo>
                      <a:pt x="287" y="1174"/>
                    </a:lnTo>
                    <a:lnTo>
                      <a:pt x="287" y="1176"/>
                    </a:lnTo>
                    <a:lnTo>
                      <a:pt x="292" y="1181"/>
                    </a:lnTo>
                    <a:lnTo>
                      <a:pt x="295" y="1181"/>
                    </a:lnTo>
                    <a:lnTo>
                      <a:pt x="299" y="1179"/>
                    </a:lnTo>
                    <a:lnTo>
                      <a:pt x="299" y="1179"/>
                    </a:lnTo>
                    <a:close/>
                    <a:moveTo>
                      <a:pt x="677" y="795"/>
                    </a:moveTo>
                    <a:lnTo>
                      <a:pt x="677" y="799"/>
                    </a:lnTo>
                    <a:lnTo>
                      <a:pt x="684" y="797"/>
                    </a:lnTo>
                    <a:lnTo>
                      <a:pt x="694" y="795"/>
                    </a:lnTo>
                    <a:lnTo>
                      <a:pt x="704" y="797"/>
                    </a:lnTo>
                    <a:lnTo>
                      <a:pt x="707" y="794"/>
                    </a:lnTo>
                    <a:lnTo>
                      <a:pt x="712" y="794"/>
                    </a:lnTo>
                    <a:lnTo>
                      <a:pt x="717" y="795"/>
                    </a:lnTo>
                    <a:lnTo>
                      <a:pt x="722" y="794"/>
                    </a:lnTo>
                    <a:lnTo>
                      <a:pt x="725" y="795"/>
                    </a:lnTo>
                    <a:lnTo>
                      <a:pt x="732" y="790"/>
                    </a:lnTo>
                    <a:lnTo>
                      <a:pt x="732" y="779"/>
                    </a:lnTo>
                    <a:lnTo>
                      <a:pt x="729" y="775"/>
                    </a:lnTo>
                    <a:lnTo>
                      <a:pt x="727" y="772"/>
                    </a:lnTo>
                    <a:lnTo>
                      <a:pt x="722" y="772"/>
                    </a:lnTo>
                    <a:lnTo>
                      <a:pt x="709" y="777"/>
                    </a:lnTo>
                    <a:lnTo>
                      <a:pt x="696" y="779"/>
                    </a:lnTo>
                    <a:lnTo>
                      <a:pt x="692" y="782"/>
                    </a:lnTo>
                    <a:lnTo>
                      <a:pt x="687" y="785"/>
                    </a:lnTo>
                    <a:lnTo>
                      <a:pt x="684" y="789"/>
                    </a:lnTo>
                    <a:lnTo>
                      <a:pt x="679" y="790"/>
                    </a:lnTo>
                    <a:lnTo>
                      <a:pt x="679" y="792"/>
                    </a:lnTo>
                    <a:lnTo>
                      <a:pt x="677" y="795"/>
                    </a:lnTo>
                    <a:lnTo>
                      <a:pt x="677" y="795"/>
                    </a:lnTo>
                    <a:close/>
                    <a:moveTo>
                      <a:pt x="315" y="1151"/>
                    </a:moveTo>
                    <a:lnTo>
                      <a:pt x="318" y="1153"/>
                    </a:lnTo>
                    <a:lnTo>
                      <a:pt x="320" y="1151"/>
                    </a:lnTo>
                    <a:lnTo>
                      <a:pt x="318" y="1149"/>
                    </a:lnTo>
                    <a:lnTo>
                      <a:pt x="317" y="1149"/>
                    </a:lnTo>
                    <a:lnTo>
                      <a:pt x="315" y="1151"/>
                    </a:lnTo>
                    <a:lnTo>
                      <a:pt x="315" y="1151"/>
                    </a:lnTo>
                    <a:close/>
                    <a:moveTo>
                      <a:pt x="338" y="1106"/>
                    </a:moveTo>
                    <a:lnTo>
                      <a:pt x="340" y="1108"/>
                    </a:lnTo>
                    <a:lnTo>
                      <a:pt x="340" y="1106"/>
                    </a:lnTo>
                    <a:lnTo>
                      <a:pt x="338" y="1106"/>
                    </a:lnTo>
                    <a:lnTo>
                      <a:pt x="338" y="1106"/>
                    </a:lnTo>
                    <a:close/>
                    <a:moveTo>
                      <a:pt x="342" y="1101"/>
                    </a:moveTo>
                    <a:lnTo>
                      <a:pt x="342" y="1103"/>
                    </a:lnTo>
                    <a:lnTo>
                      <a:pt x="343" y="1103"/>
                    </a:lnTo>
                    <a:lnTo>
                      <a:pt x="343" y="1099"/>
                    </a:lnTo>
                    <a:lnTo>
                      <a:pt x="342" y="1101"/>
                    </a:lnTo>
                    <a:lnTo>
                      <a:pt x="342" y="1101"/>
                    </a:lnTo>
                    <a:close/>
                    <a:moveTo>
                      <a:pt x="343" y="1093"/>
                    </a:moveTo>
                    <a:lnTo>
                      <a:pt x="343" y="1094"/>
                    </a:lnTo>
                    <a:lnTo>
                      <a:pt x="345" y="1094"/>
                    </a:lnTo>
                    <a:lnTo>
                      <a:pt x="345" y="1093"/>
                    </a:lnTo>
                    <a:lnTo>
                      <a:pt x="343" y="1093"/>
                    </a:lnTo>
                    <a:lnTo>
                      <a:pt x="343" y="1093"/>
                    </a:lnTo>
                    <a:lnTo>
                      <a:pt x="343" y="1093"/>
                    </a:lnTo>
                    <a:close/>
                    <a:moveTo>
                      <a:pt x="340" y="1084"/>
                    </a:moveTo>
                    <a:lnTo>
                      <a:pt x="340" y="1086"/>
                    </a:lnTo>
                    <a:lnTo>
                      <a:pt x="343" y="1088"/>
                    </a:lnTo>
                    <a:lnTo>
                      <a:pt x="345" y="1088"/>
                    </a:lnTo>
                    <a:lnTo>
                      <a:pt x="350" y="1088"/>
                    </a:lnTo>
                    <a:lnTo>
                      <a:pt x="350" y="1086"/>
                    </a:lnTo>
                    <a:lnTo>
                      <a:pt x="348" y="1084"/>
                    </a:lnTo>
                    <a:lnTo>
                      <a:pt x="343" y="1084"/>
                    </a:lnTo>
                    <a:lnTo>
                      <a:pt x="342" y="1083"/>
                    </a:lnTo>
                    <a:lnTo>
                      <a:pt x="340" y="1084"/>
                    </a:lnTo>
                    <a:lnTo>
                      <a:pt x="340" y="1084"/>
                    </a:lnTo>
                    <a:close/>
                    <a:moveTo>
                      <a:pt x="360" y="1081"/>
                    </a:moveTo>
                    <a:lnTo>
                      <a:pt x="362" y="1079"/>
                    </a:lnTo>
                    <a:lnTo>
                      <a:pt x="362" y="1076"/>
                    </a:lnTo>
                    <a:lnTo>
                      <a:pt x="360" y="1078"/>
                    </a:lnTo>
                    <a:lnTo>
                      <a:pt x="360" y="1081"/>
                    </a:lnTo>
                    <a:lnTo>
                      <a:pt x="360" y="1081"/>
                    </a:lnTo>
                    <a:close/>
                    <a:moveTo>
                      <a:pt x="358" y="1055"/>
                    </a:moveTo>
                    <a:lnTo>
                      <a:pt x="358" y="1056"/>
                    </a:lnTo>
                    <a:lnTo>
                      <a:pt x="362" y="1060"/>
                    </a:lnTo>
                    <a:lnTo>
                      <a:pt x="367" y="1061"/>
                    </a:lnTo>
                    <a:lnTo>
                      <a:pt x="367" y="1063"/>
                    </a:lnTo>
                    <a:lnTo>
                      <a:pt x="368" y="1061"/>
                    </a:lnTo>
                    <a:lnTo>
                      <a:pt x="367" y="1060"/>
                    </a:lnTo>
                    <a:lnTo>
                      <a:pt x="362" y="1056"/>
                    </a:lnTo>
                    <a:lnTo>
                      <a:pt x="360" y="1055"/>
                    </a:lnTo>
                    <a:lnTo>
                      <a:pt x="358" y="1055"/>
                    </a:lnTo>
                    <a:lnTo>
                      <a:pt x="358" y="1055"/>
                    </a:lnTo>
                    <a:close/>
                    <a:moveTo>
                      <a:pt x="388" y="1005"/>
                    </a:moveTo>
                    <a:lnTo>
                      <a:pt x="390" y="1008"/>
                    </a:lnTo>
                    <a:lnTo>
                      <a:pt x="392" y="1011"/>
                    </a:lnTo>
                    <a:lnTo>
                      <a:pt x="392" y="1016"/>
                    </a:lnTo>
                    <a:lnTo>
                      <a:pt x="393" y="1020"/>
                    </a:lnTo>
                    <a:lnTo>
                      <a:pt x="395" y="1020"/>
                    </a:lnTo>
                    <a:lnTo>
                      <a:pt x="395" y="1015"/>
                    </a:lnTo>
                    <a:lnTo>
                      <a:pt x="395" y="1011"/>
                    </a:lnTo>
                    <a:lnTo>
                      <a:pt x="393" y="1008"/>
                    </a:lnTo>
                    <a:lnTo>
                      <a:pt x="392" y="1005"/>
                    </a:lnTo>
                    <a:lnTo>
                      <a:pt x="390" y="1003"/>
                    </a:lnTo>
                    <a:lnTo>
                      <a:pt x="388" y="1005"/>
                    </a:lnTo>
                    <a:lnTo>
                      <a:pt x="388" y="1005"/>
                    </a:lnTo>
                    <a:close/>
                    <a:moveTo>
                      <a:pt x="412" y="991"/>
                    </a:moveTo>
                    <a:lnTo>
                      <a:pt x="412" y="993"/>
                    </a:lnTo>
                    <a:lnTo>
                      <a:pt x="415" y="995"/>
                    </a:lnTo>
                    <a:lnTo>
                      <a:pt x="415" y="993"/>
                    </a:lnTo>
                    <a:lnTo>
                      <a:pt x="413" y="991"/>
                    </a:lnTo>
                    <a:lnTo>
                      <a:pt x="412" y="991"/>
                    </a:lnTo>
                    <a:lnTo>
                      <a:pt x="412" y="991"/>
                    </a:lnTo>
                    <a:close/>
                    <a:moveTo>
                      <a:pt x="418" y="986"/>
                    </a:moveTo>
                    <a:lnTo>
                      <a:pt x="420" y="988"/>
                    </a:lnTo>
                    <a:lnTo>
                      <a:pt x="420" y="986"/>
                    </a:lnTo>
                    <a:lnTo>
                      <a:pt x="418" y="985"/>
                    </a:lnTo>
                    <a:lnTo>
                      <a:pt x="418" y="986"/>
                    </a:lnTo>
                    <a:lnTo>
                      <a:pt x="418" y="986"/>
                    </a:lnTo>
                    <a:close/>
                    <a:moveTo>
                      <a:pt x="456" y="983"/>
                    </a:moveTo>
                    <a:lnTo>
                      <a:pt x="460" y="981"/>
                    </a:lnTo>
                    <a:lnTo>
                      <a:pt x="463" y="981"/>
                    </a:lnTo>
                    <a:lnTo>
                      <a:pt x="465" y="978"/>
                    </a:lnTo>
                    <a:lnTo>
                      <a:pt x="461" y="973"/>
                    </a:lnTo>
                    <a:lnTo>
                      <a:pt x="460" y="973"/>
                    </a:lnTo>
                    <a:lnTo>
                      <a:pt x="458" y="970"/>
                    </a:lnTo>
                    <a:lnTo>
                      <a:pt x="455" y="971"/>
                    </a:lnTo>
                    <a:lnTo>
                      <a:pt x="451" y="973"/>
                    </a:lnTo>
                    <a:lnTo>
                      <a:pt x="451" y="976"/>
                    </a:lnTo>
                    <a:lnTo>
                      <a:pt x="451" y="978"/>
                    </a:lnTo>
                    <a:lnTo>
                      <a:pt x="453" y="981"/>
                    </a:lnTo>
                    <a:lnTo>
                      <a:pt x="455" y="983"/>
                    </a:lnTo>
                    <a:lnTo>
                      <a:pt x="456" y="983"/>
                    </a:lnTo>
                    <a:lnTo>
                      <a:pt x="456" y="983"/>
                    </a:lnTo>
                    <a:close/>
                    <a:moveTo>
                      <a:pt x="471" y="981"/>
                    </a:moveTo>
                    <a:lnTo>
                      <a:pt x="471" y="978"/>
                    </a:lnTo>
                    <a:lnTo>
                      <a:pt x="471" y="976"/>
                    </a:lnTo>
                    <a:lnTo>
                      <a:pt x="470" y="978"/>
                    </a:lnTo>
                    <a:lnTo>
                      <a:pt x="470" y="980"/>
                    </a:lnTo>
                    <a:lnTo>
                      <a:pt x="471" y="981"/>
                    </a:lnTo>
                    <a:lnTo>
                      <a:pt x="471" y="981"/>
                    </a:lnTo>
                    <a:lnTo>
                      <a:pt x="471" y="981"/>
                    </a:lnTo>
                    <a:close/>
                    <a:moveTo>
                      <a:pt x="759" y="837"/>
                    </a:moveTo>
                    <a:lnTo>
                      <a:pt x="760" y="837"/>
                    </a:lnTo>
                    <a:lnTo>
                      <a:pt x="762" y="835"/>
                    </a:lnTo>
                    <a:lnTo>
                      <a:pt x="762" y="834"/>
                    </a:lnTo>
                    <a:lnTo>
                      <a:pt x="759" y="834"/>
                    </a:lnTo>
                    <a:lnTo>
                      <a:pt x="759" y="837"/>
                    </a:lnTo>
                    <a:lnTo>
                      <a:pt x="759" y="837"/>
                    </a:lnTo>
                    <a:close/>
                    <a:moveTo>
                      <a:pt x="707" y="799"/>
                    </a:moveTo>
                    <a:lnTo>
                      <a:pt x="711" y="800"/>
                    </a:lnTo>
                    <a:lnTo>
                      <a:pt x="714" y="799"/>
                    </a:lnTo>
                    <a:lnTo>
                      <a:pt x="714" y="797"/>
                    </a:lnTo>
                    <a:lnTo>
                      <a:pt x="709" y="797"/>
                    </a:lnTo>
                    <a:lnTo>
                      <a:pt x="709" y="797"/>
                    </a:lnTo>
                    <a:lnTo>
                      <a:pt x="707" y="799"/>
                    </a:lnTo>
                    <a:lnTo>
                      <a:pt x="707" y="799"/>
                    </a:lnTo>
                    <a:close/>
                    <a:moveTo>
                      <a:pt x="686" y="780"/>
                    </a:moveTo>
                    <a:lnTo>
                      <a:pt x="687" y="782"/>
                    </a:lnTo>
                    <a:lnTo>
                      <a:pt x="691" y="780"/>
                    </a:lnTo>
                    <a:lnTo>
                      <a:pt x="692" y="779"/>
                    </a:lnTo>
                    <a:lnTo>
                      <a:pt x="689" y="779"/>
                    </a:lnTo>
                    <a:lnTo>
                      <a:pt x="686" y="780"/>
                    </a:lnTo>
                    <a:lnTo>
                      <a:pt x="686" y="780"/>
                    </a:lnTo>
                    <a:close/>
                    <a:moveTo>
                      <a:pt x="730" y="770"/>
                    </a:moveTo>
                    <a:lnTo>
                      <a:pt x="729" y="772"/>
                    </a:lnTo>
                    <a:lnTo>
                      <a:pt x="732" y="774"/>
                    </a:lnTo>
                    <a:lnTo>
                      <a:pt x="732" y="772"/>
                    </a:lnTo>
                    <a:lnTo>
                      <a:pt x="732" y="770"/>
                    </a:lnTo>
                    <a:lnTo>
                      <a:pt x="730" y="769"/>
                    </a:lnTo>
                    <a:lnTo>
                      <a:pt x="730" y="770"/>
                    </a:lnTo>
                    <a:lnTo>
                      <a:pt x="730" y="770"/>
                    </a:lnTo>
                    <a:close/>
                    <a:moveTo>
                      <a:pt x="759" y="687"/>
                    </a:moveTo>
                    <a:lnTo>
                      <a:pt x="759" y="689"/>
                    </a:lnTo>
                    <a:lnTo>
                      <a:pt x="760" y="691"/>
                    </a:lnTo>
                    <a:lnTo>
                      <a:pt x="760" y="694"/>
                    </a:lnTo>
                    <a:lnTo>
                      <a:pt x="764" y="699"/>
                    </a:lnTo>
                    <a:lnTo>
                      <a:pt x="765" y="704"/>
                    </a:lnTo>
                    <a:lnTo>
                      <a:pt x="772" y="706"/>
                    </a:lnTo>
                    <a:lnTo>
                      <a:pt x="777" y="711"/>
                    </a:lnTo>
                    <a:lnTo>
                      <a:pt x="780" y="714"/>
                    </a:lnTo>
                    <a:lnTo>
                      <a:pt x="785" y="717"/>
                    </a:lnTo>
                    <a:lnTo>
                      <a:pt x="787" y="717"/>
                    </a:lnTo>
                    <a:lnTo>
                      <a:pt x="789" y="719"/>
                    </a:lnTo>
                    <a:lnTo>
                      <a:pt x="794" y="721"/>
                    </a:lnTo>
                    <a:lnTo>
                      <a:pt x="795" y="719"/>
                    </a:lnTo>
                    <a:lnTo>
                      <a:pt x="795" y="717"/>
                    </a:lnTo>
                    <a:lnTo>
                      <a:pt x="797" y="716"/>
                    </a:lnTo>
                    <a:lnTo>
                      <a:pt x="794" y="711"/>
                    </a:lnTo>
                    <a:lnTo>
                      <a:pt x="789" y="709"/>
                    </a:lnTo>
                    <a:lnTo>
                      <a:pt x="787" y="709"/>
                    </a:lnTo>
                    <a:lnTo>
                      <a:pt x="785" y="706"/>
                    </a:lnTo>
                    <a:lnTo>
                      <a:pt x="785" y="704"/>
                    </a:lnTo>
                    <a:lnTo>
                      <a:pt x="787" y="702"/>
                    </a:lnTo>
                    <a:lnTo>
                      <a:pt x="790" y="704"/>
                    </a:lnTo>
                    <a:lnTo>
                      <a:pt x="794" y="706"/>
                    </a:lnTo>
                    <a:lnTo>
                      <a:pt x="799" y="707"/>
                    </a:lnTo>
                    <a:lnTo>
                      <a:pt x="800" y="707"/>
                    </a:lnTo>
                    <a:lnTo>
                      <a:pt x="802" y="707"/>
                    </a:lnTo>
                    <a:lnTo>
                      <a:pt x="800" y="702"/>
                    </a:lnTo>
                    <a:lnTo>
                      <a:pt x="789" y="697"/>
                    </a:lnTo>
                    <a:lnTo>
                      <a:pt x="785" y="691"/>
                    </a:lnTo>
                    <a:lnTo>
                      <a:pt x="782" y="691"/>
                    </a:lnTo>
                    <a:lnTo>
                      <a:pt x="779" y="691"/>
                    </a:lnTo>
                    <a:lnTo>
                      <a:pt x="772" y="687"/>
                    </a:lnTo>
                    <a:lnTo>
                      <a:pt x="769" y="687"/>
                    </a:lnTo>
                    <a:lnTo>
                      <a:pt x="765" y="686"/>
                    </a:lnTo>
                    <a:lnTo>
                      <a:pt x="760" y="686"/>
                    </a:lnTo>
                    <a:lnTo>
                      <a:pt x="759" y="687"/>
                    </a:lnTo>
                    <a:lnTo>
                      <a:pt x="759" y="687"/>
                    </a:lnTo>
                    <a:close/>
                    <a:moveTo>
                      <a:pt x="749" y="689"/>
                    </a:moveTo>
                    <a:lnTo>
                      <a:pt x="750" y="687"/>
                    </a:lnTo>
                    <a:lnTo>
                      <a:pt x="750" y="686"/>
                    </a:lnTo>
                    <a:lnTo>
                      <a:pt x="752" y="682"/>
                    </a:lnTo>
                    <a:lnTo>
                      <a:pt x="745" y="684"/>
                    </a:lnTo>
                    <a:lnTo>
                      <a:pt x="745" y="687"/>
                    </a:lnTo>
                    <a:lnTo>
                      <a:pt x="749" y="689"/>
                    </a:lnTo>
                    <a:lnTo>
                      <a:pt x="749" y="689"/>
                    </a:lnTo>
                    <a:close/>
                    <a:moveTo>
                      <a:pt x="759" y="681"/>
                    </a:moveTo>
                    <a:lnTo>
                      <a:pt x="762" y="682"/>
                    </a:lnTo>
                    <a:lnTo>
                      <a:pt x="769" y="684"/>
                    </a:lnTo>
                    <a:lnTo>
                      <a:pt x="774" y="686"/>
                    </a:lnTo>
                    <a:lnTo>
                      <a:pt x="780" y="687"/>
                    </a:lnTo>
                    <a:lnTo>
                      <a:pt x="785" y="689"/>
                    </a:lnTo>
                    <a:lnTo>
                      <a:pt x="789" y="689"/>
                    </a:lnTo>
                    <a:lnTo>
                      <a:pt x="790" y="689"/>
                    </a:lnTo>
                    <a:lnTo>
                      <a:pt x="790" y="692"/>
                    </a:lnTo>
                    <a:lnTo>
                      <a:pt x="794" y="694"/>
                    </a:lnTo>
                    <a:lnTo>
                      <a:pt x="799" y="694"/>
                    </a:lnTo>
                    <a:lnTo>
                      <a:pt x="800" y="696"/>
                    </a:lnTo>
                    <a:lnTo>
                      <a:pt x="804" y="694"/>
                    </a:lnTo>
                    <a:lnTo>
                      <a:pt x="805" y="692"/>
                    </a:lnTo>
                    <a:lnTo>
                      <a:pt x="804" y="689"/>
                    </a:lnTo>
                    <a:lnTo>
                      <a:pt x="804" y="687"/>
                    </a:lnTo>
                    <a:lnTo>
                      <a:pt x="807" y="686"/>
                    </a:lnTo>
                    <a:lnTo>
                      <a:pt x="800" y="682"/>
                    </a:lnTo>
                    <a:lnTo>
                      <a:pt x="797" y="681"/>
                    </a:lnTo>
                    <a:lnTo>
                      <a:pt x="790" y="677"/>
                    </a:lnTo>
                    <a:lnTo>
                      <a:pt x="785" y="677"/>
                    </a:lnTo>
                    <a:lnTo>
                      <a:pt x="777" y="681"/>
                    </a:lnTo>
                    <a:lnTo>
                      <a:pt x="772" y="679"/>
                    </a:lnTo>
                    <a:lnTo>
                      <a:pt x="764" y="679"/>
                    </a:lnTo>
                    <a:lnTo>
                      <a:pt x="760" y="679"/>
                    </a:lnTo>
                    <a:lnTo>
                      <a:pt x="760" y="679"/>
                    </a:lnTo>
                    <a:lnTo>
                      <a:pt x="759" y="681"/>
                    </a:lnTo>
                    <a:lnTo>
                      <a:pt x="759" y="681"/>
                    </a:lnTo>
                    <a:close/>
                    <a:moveTo>
                      <a:pt x="739" y="666"/>
                    </a:moveTo>
                    <a:lnTo>
                      <a:pt x="742" y="669"/>
                    </a:lnTo>
                    <a:lnTo>
                      <a:pt x="749" y="669"/>
                    </a:lnTo>
                    <a:lnTo>
                      <a:pt x="754" y="674"/>
                    </a:lnTo>
                    <a:lnTo>
                      <a:pt x="760" y="677"/>
                    </a:lnTo>
                    <a:lnTo>
                      <a:pt x="770" y="676"/>
                    </a:lnTo>
                    <a:lnTo>
                      <a:pt x="784" y="677"/>
                    </a:lnTo>
                    <a:lnTo>
                      <a:pt x="790" y="676"/>
                    </a:lnTo>
                    <a:lnTo>
                      <a:pt x="790" y="674"/>
                    </a:lnTo>
                    <a:lnTo>
                      <a:pt x="785" y="672"/>
                    </a:lnTo>
                    <a:lnTo>
                      <a:pt x="774" y="672"/>
                    </a:lnTo>
                    <a:lnTo>
                      <a:pt x="769" y="671"/>
                    </a:lnTo>
                    <a:lnTo>
                      <a:pt x="762" y="669"/>
                    </a:lnTo>
                    <a:lnTo>
                      <a:pt x="757" y="668"/>
                    </a:lnTo>
                    <a:lnTo>
                      <a:pt x="755" y="666"/>
                    </a:lnTo>
                    <a:lnTo>
                      <a:pt x="757" y="664"/>
                    </a:lnTo>
                    <a:lnTo>
                      <a:pt x="760" y="664"/>
                    </a:lnTo>
                    <a:lnTo>
                      <a:pt x="767" y="669"/>
                    </a:lnTo>
                    <a:lnTo>
                      <a:pt x="777" y="671"/>
                    </a:lnTo>
                    <a:lnTo>
                      <a:pt x="779" y="669"/>
                    </a:lnTo>
                    <a:lnTo>
                      <a:pt x="777" y="668"/>
                    </a:lnTo>
                    <a:lnTo>
                      <a:pt x="767" y="661"/>
                    </a:lnTo>
                    <a:lnTo>
                      <a:pt x="752" y="658"/>
                    </a:lnTo>
                    <a:lnTo>
                      <a:pt x="749" y="659"/>
                    </a:lnTo>
                    <a:lnTo>
                      <a:pt x="749" y="663"/>
                    </a:lnTo>
                    <a:lnTo>
                      <a:pt x="742" y="664"/>
                    </a:lnTo>
                    <a:lnTo>
                      <a:pt x="739" y="666"/>
                    </a:lnTo>
                    <a:lnTo>
                      <a:pt x="739" y="666"/>
                    </a:lnTo>
                    <a:close/>
                    <a:moveTo>
                      <a:pt x="813" y="677"/>
                    </a:moveTo>
                    <a:lnTo>
                      <a:pt x="815" y="677"/>
                    </a:lnTo>
                    <a:lnTo>
                      <a:pt x="818" y="677"/>
                    </a:lnTo>
                    <a:lnTo>
                      <a:pt x="818" y="674"/>
                    </a:lnTo>
                    <a:lnTo>
                      <a:pt x="815" y="676"/>
                    </a:lnTo>
                    <a:lnTo>
                      <a:pt x="813" y="677"/>
                    </a:lnTo>
                    <a:lnTo>
                      <a:pt x="813" y="677"/>
                    </a:lnTo>
                    <a:close/>
                    <a:moveTo>
                      <a:pt x="818" y="611"/>
                    </a:moveTo>
                    <a:lnTo>
                      <a:pt x="813" y="618"/>
                    </a:lnTo>
                    <a:lnTo>
                      <a:pt x="813" y="621"/>
                    </a:lnTo>
                    <a:lnTo>
                      <a:pt x="817" y="623"/>
                    </a:lnTo>
                    <a:lnTo>
                      <a:pt x="820" y="624"/>
                    </a:lnTo>
                    <a:lnTo>
                      <a:pt x="825" y="628"/>
                    </a:lnTo>
                    <a:lnTo>
                      <a:pt x="828" y="628"/>
                    </a:lnTo>
                    <a:lnTo>
                      <a:pt x="833" y="629"/>
                    </a:lnTo>
                    <a:lnTo>
                      <a:pt x="838" y="626"/>
                    </a:lnTo>
                    <a:lnTo>
                      <a:pt x="838" y="623"/>
                    </a:lnTo>
                    <a:lnTo>
                      <a:pt x="840" y="619"/>
                    </a:lnTo>
                    <a:lnTo>
                      <a:pt x="840" y="614"/>
                    </a:lnTo>
                    <a:lnTo>
                      <a:pt x="830" y="609"/>
                    </a:lnTo>
                    <a:lnTo>
                      <a:pt x="823" y="611"/>
                    </a:lnTo>
                    <a:lnTo>
                      <a:pt x="818" y="611"/>
                    </a:lnTo>
                    <a:lnTo>
                      <a:pt x="818" y="611"/>
                    </a:lnTo>
                    <a:close/>
                    <a:moveTo>
                      <a:pt x="863" y="608"/>
                    </a:moveTo>
                    <a:lnTo>
                      <a:pt x="865" y="608"/>
                    </a:lnTo>
                    <a:lnTo>
                      <a:pt x="870" y="604"/>
                    </a:lnTo>
                    <a:lnTo>
                      <a:pt x="868" y="603"/>
                    </a:lnTo>
                    <a:lnTo>
                      <a:pt x="867" y="603"/>
                    </a:lnTo>
                    <a:lnTo>
                      <a:pt x="863" y="604"/>
                    </a:lnTo>
                    <a:lnTo>
                      <a:pt x="863" y="608"/>
                    </a:lnTo>
                    <a:lnTo>
                      <a:pt x="863" y="608"/>
                    </a:lnTo>
                    <a:close/>
                    <a:moveTo>
                      <a:pt x="843" y="583"/>
                    </a:moveTo>
                    <a:lnTo>
                      <a:pt x="842" y="586"/>
                    </a:lnTo>
                    <a:lnTo>
                      <a:pt x="842" y="591"/>
                    </a:lnTo>
                    <a:lnTo>
                      <a:pt x="843" y="594"/>
                    </a:lnTo>
                    <a:lnTo>
                      <a:pt x="847" y="598"/>
                    </a:lnTo>
                    <a:lnTo>
                      <a:pt x="848" y="596"/>
                    </a:lnTo>
                    <a:lnTo>
                      <a:pt x="850" y="593"/>
                    </a:lnTo>
                    <a:lnTo>
                      <a:pt x="852" y="591"/>
                    </a:lnTo>
                    <a:lnTo>
                      <a:pt x="850" y="586"/>
                    </a:lnTo>
                    <a:lnTo>
                      <a:pt x="847" y="584"/>
                    </a:lnTo>
                    <a:lnTo>
                      <a:pt x="843" y="583"/>
                    </a:lnTo>
                    <a:lnTo>
                      <a:pt x="843" y="583"/>
                    </a:lnTo>
                    <a:close/>
                    <a:moveTo>
                      <a:pt x="873" y="566"/>
                    </a:moveTo>
                    <a:lnTo>
                      <a:pt x="873" y="576"/>
                    </a:lnTo>
                    <a:lnTo>
                      <a:pt x="872" y="581"/>
                    </a:lnTo>
                    <a:lnTo>
                      <a:pt x="873" y="584"/>
                    </a:lnTo>
                    <a:lnTo>
                      <a:pt x="877" y="588"/>
                    </a:lnTo>
                    <a:lnTo>
                      <a:pt x="882" y="586"/>
                    </a:lnTo>
                    <a:lnTo>
                      <a:pt x="887" y="586"/>
                    </a:lnTo>
                    <a:lnTo>
                      <a:pt x="888" y="584"/>
                    </a:lnTo>
                    <a:lnTo>
                      <a:pt x="890" y="588"/>
                    </a:lnTo>
                    <a:lnTo>
                      <a:pt x="893" y="589"/>
                    </a:lnTo>
                    <a:lnTo>
                      <a:pt x="895" y="584"/>
                    </a:lnTo>
                    <a:lnTo>
                      <a:pt x="897" y="584"/>
                    </a:lnTo>
                    <a:lnTo>
                      <a:pt x="897" y="578"/>
                    </a:lnTo>
                    <a:lnTo>
                      <a:pt x="895" y="576"/>
                    </a:lnTo>
                    <a:lnTo>
                      <a:pt x="893" y="578"/>
                    </a:lnTo>
                    <a:lnTo>
                      <a:pt x="893" y="581"/>
                    </a:lnTo>
                    <a:lnTo>
                      <a:pt x="890" y="579"/>
                    </a:lnTo>
                    <a:lnTo>
                      <a:pt x="887" y="574"/>
                    </a:lnTo>
                    <a:lnTo>
                      <a:pt x="888" y="573"/>
                    </a:lnTo>
                    <a:lnTo>
                      <a:pt x="885" y="570"/>
                    </a:lnTo>
                    <a:lnTo>
                      <a:pt x="887" y="568"/>
                    </a:lnTo>
                    <a:lnTo>
                      <a:pt x="888" y="568"/>
                    </a:lnTo>
                    <a:lnTo>
                      <a:pt x="890" y="563"/>
                    </a:lnTo>
                    <a:lnTo>
                      <a:pt x="887" y="563"/>
                    </a:lnTo>
                    <a:lnTo>
                      <a:pt x="882" y="566"/>
                    </a:lnTo>
                    <a:lnTo>
                      <a:pt x="878" y="565"/>
                    </a:lnTo>
                    <a:lnTo>
                      <a:pt x="877" y="566"/>
                    </a:lnTo>
                    <a:lnTo>
                      <a:pt x="873" y="566"/>
                    </a:lnTo>
                    <a:lnTo>
                      <a:pt x="873" y="566"/>
                    </a:lnTo>
                    <a:close/>
                    <a:moveTo>
                      <a:pt x="878" y="496"/>
                    </a:moveTo>
                    <a:lnTo>
                      <a:pt x="875" y="500"/>
                    </a:lnTo>
                    <a:lnTo>
                      <a:pt x="875" y="501"/>
                    </a:lnTo>
                    <a:lnTo>
                      <a:pt x="878" y="503"/>
                    </a:lnTo>
                    <a:lnTo>
                      <a:pt x="878" y="506"/>
                    </a:lnTo>
                    <a:lnTo>
                      <a:pt x="877" y="508"/>
                    </a:lnTo>
                    <a:lnTo>
                      <a:pt x="877" y="513"/>
                    </a:lnTo>
                    <a:lnTo>
                      <a:pt x="880" y="518"/>
                    </a:lnTo>
                    <a:lnTo>
                      <a:pt x="880" y="526"/>
                    </a:lnTo>
                    <a:lnTo>
                      <a:pt x="878" y="530"/>
                    </a:lnTo>
                    <a:lnTo>
                      <a:pt x="878" y="535"/>
                    </a:lnTo>
                    <a:lnTo>
                      <a:pt x="880" y="536"/>
                    </a:lnTo>
                    <a:lnTo>
                      <a:pt x="882" y="535"/>
                    </a:lnTo>
                    <a:lnTo>
                      <a:pt x="883" y="528"/>
                    </a:lnTo>
                    <a:lnTo>
                      <a:pt x="885" y="526"/>
                    </a:lnTo>
                    <a:lnTo>
                      <a:pt x="885" y="520"/>
                    </a:lnTo>
                    <a:lnTo>
                      <a:pt x="882" y="516"/>
                    </a:lnTo>
                    <a:lnTo>
                      <a:pt x="880" y="508"/>
                    </a:lnTo>
                    <a:lnTo>
                      <a:pt x="882" y="503"/>
                    </a:lnTo>
                    <a:lnTo>
                      <a:pt x="882" y="500"/>
                    </a:lnTo>
                    <a:lnTo>
                      <a:pt x="878" y="496"/>
                    </a:lnTo>
                    <a:lnTo>
                      <a:pt x="878" y="496"/>
                    </a:lnTo>
                    <a:close/>
                    <a:moveTo>
                      <a:pt x="843" y="508"/>
                    </a:moveTo>
                    <a:lnTo>
                      <a:pt x="842" y="511"/>
                    </a:lnTo>
                    <a:lnTo>
                      <a:pt x="843" y="511"/>
                    </a:lnTo>
                    <a:lnTo>
                      <a:pt x="848" y="511"/>
                    </a:lnTo>
                    <a:lnTo>
                      <a:pt x="850" y="510"/>
                    </a:lnTo>
                    <a:lnTo>
                      <a:pt x="848" y="506"/>
                    </a:lnTo>
                    <a:lnTo>
                      <a:pt x="845" y="506"/>
                    </a:lnTo>
                    <a:lnTo>
                      <a:pt x="843" y="508"/>
                    </a:lnTo>
                    <a:lnTo>
                      <a:pt x="843" y="508"/>
                    </a:lnTo>
                    <a:close/>
                    <a:moveTo>
                      <a:pt x="837" y="500"/>
                    </a:moveTo>
                    <a:lnTo>
                      <a:pt x="838" y="503"/>
                    </a:lnTo>
                    <a:lnTo>
                      <a:pt x="842" y="503"/>
                    </a:lnTo>
                    <a:lnTo>
                      <a:pt x="840" y="500"/>
                    </a:lnTo>
                    <a:lnTo>
                      <a:pt x="838" y="500"/>
                    </a:lnTo>
                    <a:lnTo>
                      <a:pt x="837" y="500"/>
                    </a:lnTo>
                    <a:lnTo>
                      <a:pt x="837" y="500"/>
                    </a:lnTo>
                    <a:close/>
                    <a:moveTo>
                      <a:pt x="868" y="428"/>
                    </a:moveTo>
                    <a:lnTo>
                      <a:pt x="872" y="433"/>
                    </a:lnTo>
                    <a:lnTo>
                      <a:pt x="875" y="435"/>
                    </a:lnTo>
                    <a:lnTo>
                      <a:pt x="878" y="437"/>
                    </a:lnTo>
                    <a:lnTo>
                      <a:pt x="878" y="433"/>
                    </a:lnTo>
                    <a:lnTo>
                      <a:pt x="875" y="432"/>
                    </a:lnTo>
                    <a:lnTo>
                      <a:pt x="872" y="427"/>
                    </a:lnTo>
                    <a:lnTo>
                      <a:pt x="868" y="427"/>
                    </a:lnTo>
                    <a:lnTo>
                      <a:pt x="868" y="428"/>
                    </a:lnTo>
                    <a:lnTo>
                      <a:pt x="868" y="428"/>
                    </a:lnTo>
                    <a:close/>
                    <a:moveTo>
                      <a:pt x="898" y="445"/>
                    </a:moveTo>
                    <a:lnTo>
                      <a:pt x="898" y="445"/>
                    </a:lnTo>
                    <a:lnTo>
                      <a:pt x="900" y="448"/>
                    </a:lnTo>
                    <a:lnTo>
                      <a:pt x="903" y="448"/>
                    </a:lnTo>
                    <a:lnTo>
                      <a:pt x="905" y="445"/>
                    </a:lnTo>
                    <a:lnTo>
                      <a:pt x="903" y="443"/>
                    </a:lnTo>
                    <a:lnTo>
                      <a:pt x="905" y="438"/>
                    </a:lnTo>
                    <a:lnTo>
                      <a:pt x="907" y="437"/>
                    </a:lnTo>
                    <a:lnTo>
                      <a:pt x="907" y="432"/>
                    </a:lnTo>
                    <a:lnTo>
                      <a:pt x="902" y="437"/>
                    </a:lnTo>
                    <a:lnTo>
                      <a:pt x="902" y="442"/>
                    </a:lnTo>
                    <a:lnTo>
                      <a:pt x="898" y="445"/>
                    </a:lnTo>
                    <a:lnTo>
                      <a:pt x="898" y="445"/>
                    </a:lnTo>
                    <a:close/>
                    <a:moveTo>
                      <a:pt x="885" y="420"/>
                    </a:moveTo>
                    <a:lnTo>
                      <a:pt x="887" y="422"/>
                    </a:lnTo>
                    <a:lnTo>
                      <a:pt x="888" y="420"/>
                    </a:lnTo>
                    <a:lnTo>
                      <a:pt x="890" y="415"/>
                    </a:lnTo>
                    <a:lnTo>
                      <a:pt x="888" y="413"/>
                    </a:lnTo>
                    <a:lnTo>
                      <a:pt x="888" y="415"/>
                    </a:lnTo>
                    <a:lnTo>
                      <a:pt x="885" y="420"/>
                    </a:lnTo>
                    <a:lnTo>
                      <a:pt x="885" y="420"/>
                    </a:lnTo>
                    <a:close/>
                    <a:moveTo>
                      <a:pt x="888" y="405"/>
                    </a:moveTo>
                    <a:lnTo>
                      <a:pt x="887" y="407"/>
                    </a:lnTo>
                    <a:lnTo>
                      <a:pt x="888" y="407"/>
                    </a:lnTo>
                    <a:lnTo>
                      <a:pt x="890" y="407"/>
                    </a:lnTo>
                    <a:lnTo>
                      <a:pt x="890" y="405"/>
                    </a:lnTo>
                    <a:lnTo>
                      <a:pt x="888" y="405"/>
                    </a:lnTo>
                    <a:lnTo>
                      <a:pt x="888" y="405"/>
                    </a:lnTo>
                    <a:close/>
                    <a:moveTo>
                      <a:pt x="908" y="357"/>
                    </a:moveTo>
                    <a:lnTo>
                      <a:pt x="911" y="362"/>
                    </a:lnTo>
                    <a:lnTo>
                      <a:pt x="911" y="364"/>
                    </a:lnTo>
                    <a:lnTo>
                      <a:pt x="915" y="360"/>
                    </a:lnTo>
                    <a:lnTo>
                      <a:pt x="918" y="355"/>
                    </a:lnTo>
                    <a:lnTo>
                      <a:pt x="916" y="350"/>
                    </a:lnTo>
                    <a:lnTo>
                      <a:pt x="918" y="347"/>
                    </a:lnTo>
                    <a:lnTo>
                      <a:pt x="916" y="345"/>
                    </a:lnTo>
                    <a:lnTo>
                      <a:pt x="913" y="347"/>
                    </a:lnTo>
                    <a:lnTo>
                      <a:pt x="911" y="352"/>
                    </a:lnTo>
                    <a:lnTo>
                      <a:pt x="908" y="357"/>
                    </a:lnTo>
                    <a:lnTo>
                      <a:pt x="908" y="357"/>
                    </a:lnTo>
                    <a:close/>
                    <a:moveTo>
                      <a:pt x="895" y="294"/>
                    </a:moveTo>
                    <a:lnTo>
                      <a:pt x="897" y="294"/>
                    </a:lnTo>
                    <a:lnTo>
                      <a:pt x="898" y="292"/>
                    </a:lnTo>
                    <a:lnTo>
                      <a:pt x="905" y="292"/>
                    </a:lnTo>
                    <a:lnTo>
                      <a:pt x="908" y="289"/>
                    </a:lnTo>
                    <a:lnTo>
                      <a:pt x="908" y="284"/>
                    </a:lnTo>
                    <a:lnTo>
                      <a:pt x="905" y="280"/>
                    </a:lnTo>
                    <a:lnTo>
                      <a:pt x="897" y="284"/>
                    </a:lnTo>
                    <a:lnTo>
                      <a:pt x="895" y="289"/>
                    </a:lnTo>
                    <a:lnTo>
                      <a:pt x="895" y="294"/>
                    </a:lnTo>
                    <a:lnTo>
                      <a:pt x="895" y="294"/>
                    </a:lnTo>
                    <a:close/>
                    <a:moveTo>
                      <a:pt x="945" y="173"/>
                    </a:moveTo>
                    <a:lnTo>
                      <a:pt x="946" y="171"/>
                    </a:lnTo>
                    <a:lnTo>
                      <a:pt x="948" y="166"/>
                    </a:lnTo>
                    <a:lnTo>
                      <a:pt x="946" y="159"/>
                    </a:lnTo>
                    <a:lnTo>
                      <a:pt x="948" y="156"/>
                    </a:lnTo>
                    <a:lnTo>
                      <a:pt x="946" y="153"/>
                    </a:lnTo>
                    <a:lnTo>
                      <a:pt x="943" y="154"/>
                    </a:lnTo>
                    <a:lnTo>
                      <a:pt x="943" y="158"/>
                    </a:lnTo>
                    <a:lnTo>
                      <a:pt x="943" y="158"/>
                    </a:lnTo>
                    <a:lnTo>
                      <a:pt x="943" y="163"/>
                    </a:lnTo>
                    <a:lnTo>
                      <a:pt x="941" y="166"/>
                    </a:lnTo>
                    <a:lnTo>
                      <a:pt x="945" y="173"/>
                    </a:lnTo>
                    <a:lnTo>
                      <a:pt x="945" y="173"/>
                    </a:lnTo>
                    <a:close/>
                    <a:moveTo>
                      <a:pt x="930" y="186"/>
                    </a:moveTo>
                    <a:lnTo>
                      <a:pt x="930" y="186"/>
                    </a:lnTo>
                    <a:lnTo>
                      <a:pt x="931" y="187"/>
                    </a:lnTo>
                    <a:lnTo>
                      <a:pt x="933" y="184"/>
                    </a:lnTo>
                    <a:lnTo>
                      <a:pt x="933" y="176"/>
                    </a:lnTo>
                    <a:lnTo>
                      <a:pt x="931" y="174"/>
                    </a:lnTo>
                    <a:lnTo>
                      <a:pt x="928" y="178"/>
                    </a:lnTo>
                    <a:lnTo>
                      <a:pt x="928" y="181"/>
                    </a:lnTo>
                    <a:lnTo>
                      <a:pt x="930" y="186"/>
                    </a:lnTo>
                    <a:lnTo>
                      <a:pt x="930" y="186"/>
                    </a:lnTo>
                    <a:close/>
                    <a:moveTo>
                      <a:pt x="921" y="174"/>
                    </a:moveTo>
                    <a:lnTo>
                      <a:pt x="923" y="176"/>
                    </a:lnTo>
                    <a:lnTo>
                      <a:pt x="926" y="173"/>
                    </a:lnTo>
                    <a:lnTo>
                      <a:pt x="926" y="168"/>
                    </a:lnTo>
                    <a:lnTo>
                      <a:pt x="928" y="166"/>
                    </a:lnTo>
                    <a:lnTo>
                      <a:pt x="928" y="163"/>
                    </a:lnTo>
                    <a:lnTo>
                      <a:pt x="926" y="159"/>
                    </a:lnTo>
                    <a:lnTo>
                      <a:pt x="923" y="161"/>
                    </a:lnTo>
                    <a:lnTo>
                      <a:pt x="920" y="166"/>
                    </a:lnTo>
                    <a:lnTo>
                      <a:pt x="921" y="169"/>
                    </a:lnTo>
                    <a:lnTo>
                      <a:pt x="921" y="174"/>
                    </a:lnTo>
                    <a:lnTo>
                      <a:pt x="921" y="174"/>
                    </a:lnTo>
                    <a:close/>
                    <a:moveTo>
                      <a:pt x="667" y="13"/>
                    </a:moveTo>
                    <a:lnTo>
                      <a:pt x="669" y="13"/>
                    </a:lnTo>
                    <a:lnTo>
                      <a:pt x="671" y="11"/>
                    </a:lnTo>
                    <a:lnTo>
                      <a:pt x="671" y="8"/>
                    </a:lnTo>
                    <a:lnTo>
                      <a:pt x="669" y="5"/>
                    </a:lnTo>
                    <a:lnTo>
                      <a:pt x="667" y="5"/>
                    </a:lnTo>
                    <a:lnTo>
                      <a:pt x="666" y="10"/>
                    </a:lnTo>
                    <a:lnTo>
                      <a:pt x="667" y="13"/>
                    </a:lnTo>
                    <a:lnTo>
                      <a:pt x="667" y="13"/>
                    </a:lnTo>
                    <a:close/>
                    <a:moveTo>
                      <a:pt x="667" y="21"/>
                    </a:moveTo>
                    <a:lnTo>
                      <a:pt x="669" y="21"/>
                    </a:lnTo>
                    <a:lnTo>
                      <a:pt x="672" y="21"/>
                    </a:lnTo>
                    <a:lnTo>
                      <a:pt x="674" y="20"/>
                    </a:lnTo>
                    <a:lnTo>
                      <a:pt x="674" y="15"/>
                    </a:lnTo>
                    <a:lnTo>
                      <a:pt x="672" y="16"/>
                    </a:lnTo>
                    <a:lnTo>
                      <a:pt x="667" y="18"/>
                    </a:lnTo>
                    <a:lnTo>
                      <a:pt x="667" y="21"/>
                    </a:lnTo>
                    <a:lnTo>
                      <a:pt x="667" y="21"/>
                    </a:lnTo>
                    <a:close/>
                    <a:moveTo>
                      <a:pt x="647" y="21"/>
                    </a:moveTo>
                    <a:lnTo>
                      <a:pt x="651" y="26"/>
                    </a:lnTo>
                    <a:lnTo>
                      <a:pt x="652" y="30"/>
                    </a:lnTo>
                    <a:lnTo>
                      <a:pt x="656" y="28"/>
                    </a:lnTo>
                    <a:lnTo>
                      <a:pt x="657" y="26"/>
                    </a:lnTo>
                    <a:lnTo>
                      <a:pt x="661" y="25"/>
                    </a:lnTo>
                    <a:lnTo>
                      <a:pt x="654" y="20"/>
                    </a:lnTo>
                    <a:lnTo>
                      <a:pt x="652" y="16"/>
                    </a:lnTo>
                    <a:lnTo>
                      <a:pt x="651" y="13"/>
                    </a:lnTo>
                    <a:lnTo>
                      <a:pt x="649" y="15"/>
                    </a:lnTo>
                    <a:lnTo>
                      <a:pt x="647" y="18"/>
                    </a:lnTo>
                    <a:lnTo>
                      <a:pt x="646" y="18"/>
                    </a:lnTo>
                    <a:lnTo>
                      <a:pt x="647" y="21"/>
                    </a:lnTo>
                    <a:lnTo>
                      <a:pt x="647" y="21"/>
                    </a:lnTo>
                    <a:close/>
                    <a:moveTo>
                      <a:pt x="636" y="26"/>
                    </a:moveTo>
                    <a:lnTo>
                      <a:pt x="636" y="28"/>
                    </a:lnTo>
                    <a:lnTo>
                      <a:pt x="637" y="30"/>
                    </a:lnTo>
                    <a:lnTo>
                      <a:pt x="639" y="28"/>
                    </a:lnTo>
                    <a:lnTo>
                      <a:pt x="639" y="26"/>
                    </a:lnTo>
                    <a:lnTo>
                      <a:pt x="636" y="25"/>
                    </a:lnTo>
                    <a:lnTo>
                      <a:pt x="636" y="26"/>
                    </a:lnTo>
                    <a:lnTo>
                      <a:pt x="636" y="26"/>
                    </a:lnTo>
                    <a:close/>
                    <a:moveTo>
                      <a:pt x="563" y="43"/>
                    </a:moveTo>
                    <a:lnTo>
                      <a:pt x="564" y="46"/>
                    </a:lnTo>
                    <a:lnTo>
                      <a:pt x="568" y="48"/>
                    </a:lnTo>
                    <a:lnTo>
                      <a:pt x="574" y="55"/>
                    </a:lnTo>
                    <a:lnTo>
                      <a:pt x="578" y="55"/>
                    </a:lnTo>
                    <a:lnTo>
                      <a:pt x="579" y="50"/>
                    </a:lnTo>
                    <a:lnTo>
                      <a:pt x="579" y="45"/>
                    </a:lnTo>
                    <a:lnTo>
                      <a:pt x="581" y="45"/>
                    </a:lnTo>
                    <a:lnTo>
                      <a:pt x="581" y="41"/>
                    </a:lnTo>
                    <a:lnTo>
                      <a:pt x="578" y="41"/>
                    </a:lnTo>
                    <a:lnTo>
                      <a:pt x="573" y="35"/>
                    </a:lnTo>
                    <a:lnTo>
                      <a:pt x="569" y="35"/>
                    </a:lnTo>
                    <a:lnTo>
                      <a:pt x="568" y="36"/>
                    </a:lnTo>
                    <a:lnTo>
                      <a:pt x="569" y="41"/>
                    </a:lnTo>
                    <a:lnTo>
                      <a:pt x="569" y="43"/>
                    </a:lnTo>
                    <a:lnTo>
                      <a:pt x="568" y="45"/>
                    </a:lnTo>
                    <a:lnTo>
                      <a:pt x="566" y="43"/>
                    </a:lnTo>
                    <a:lnTo>
                      <a:pt x="563" y="43"/>
                    </a:lnTo>
                    <a:lnTo>
                      <a:pt x="563" y="43"/>
                    </a:lnTo>
                    <a:close/>
                    <a:moveTo>
                      <a:pt x="558" y="46"/>
                    </a:moveTo>
                    <a:lnTo>
                      <a:pt x="561" y="53"/>
                    </a:lnTo>
                    <a:lnTo>
                      <a:pt x="563" y="53"/>
                    </a:lnTo>
                    <a:lnTo>
                      <a:pt x="563" y="48"/>
                    </a:lnTo>
                    <a:lnTo>
                      <a:pt x="559" y="45"/>
                    </a:lnTo>
                    <a:lnTo>
                      <a:pt x="558" y="46"/>
                    </a:lnTo>
                    <a:lnTo>
                      <a:pt x="558" y="46"/>
                    </a:lnTo>
                    <a:close/>
                    <a:moveTo>
                      <a:pt x="534" y="45"/>
                    </a:moveTo>
                    <a:lnTo>
                      <a:pt x="534" y="48"/>
                    </a:lnTo>
                    <a:lnTo>
                      <a:pt x="541" y="50"/>
                    </a:lnTo>
                    <a:lnTo>
                      <a:pt x="543" y="51"/>
                    </a:lnTo>
                    <a:lnTo>
                      <a:pt x="546" y="51"/>
                    </a:lnTo>
                    <a:lnTo>
                      <a:pt x="546" y="50"/>
                    </a:lnTo>
                    <a:lnTo>
                      <a:pt x="544" y="46"/>
                    </a:lnTo>
                    <a:lnTo>
                      <a:pt x="541" y="46"/>
                    </a:lnTo>
                    <a:lnTo>
                      <a:pt x="541" y="43"/>
                    </a:lnTo>
                    <a:lnTo>
                      <a:pt x="538" y="41"/>
                    </a:lnTo>
                    <a:lnTo>
                      <a:pt x="534" y="43"/>
                    </a:lnTo>
                    <a:lnTo>
                      <a:pt x="534" y="45"/>
                    </a:lnTo>
                    <a:lnTo>
                      <a:pt x="534" y="45"/>
                    </a:lnTo>
                    <a:close/>
                    <a:moveTo>
                      <a:pt x="519" y="86"/>
                    </a:moveTo>
                    <a:lnTo>
                      <a:pt x="523" y="88"/>
                    </a:lnTo>
                    <a:lnTo>
                      <a:pt x="524" y="86"/>
                    </a:lnTo>
                    <a:lnTo>
                      <a:pt x="526" y="83"/>
                    </a:lnTo>
                    <a:lnTo>
                      <a:pt x="523" y="80"/>
                    </a:lnTo>
                    <a:lnTo>
                      <a:pt x="521" y="75"/>
                    </a:lnTo>
                    <a:lnTo>
                      <a:pt x="518" y="71"/>
                    </a:lnTo>
                    <a:lnTo>
                      <a:pt x="516" y="71"/>
                    </a:lnTo>
                    <a:lnTo>
                      <a:pt x="514" y="75"/>
                    </a:lnTo>
                    <a:lnTo>
                      <a:pt x="518" y="78"/>
                    </a:lnTo>
                    <a:lnTo>
                      <a:pt x="518" y="84"/>
                    </a:lnTo>
                    <a:lnTo>
                      <a:pt x="519" y="86"/>
                    </a:lnTo>
                    <a:lnTo>
                      <a:pt x="519" y="86"/>
                    </a:lnTo>
                    <a:close/>
                    <a:moveTo>
                      <a:pt x="526" y="128"/>
                    </a:moveTo>
                    <a:lnTo>
                      <a:pt x="533" y="128"/>
                    </a:lnTo>
                    <a:lnTo>
                      <a:pt x="534" y="126"/>
                    </a:lnTo>
                    <a:lnTo>
                      <a:pt x="534" y="121"/>
                    </a:lnTo>
                    <a:lnTo>
                      <a:pt x="531" y="119"/>
                    </a:lnTo>
                    <a:lnTo>
                      <a:pt x="531" y="116"/>
                    </a:lnTo>
                    <a:lnTo>
                      <a:pt x="528" y="114"/>
                    </a:lnTo>
                    <a:lnTo>
                      <a:pt x="524" y="116"/>
                    </a:lnTo>
                    <a:lnTo>
                      <a:pt x="521" y="119"/>
                    </a:lnTo>
                    <a:lnTo>
                      <a:pt x="523" y="123"/>
                    </a:lnTo>
                    <a:lnTo>
                      <a:pt x="524" y="128"/>
                    </a:lnTo>
                    <a:lnTo>
                      <a:pt x="526" y="128"/>
                    </a:lnTo>
                    <a:lnTo>
                      <a:pt x="526" y="128"/>
                    </a:lnTo>
                    <a:close/>
                    <a:moveTo>
                      <a:pt x="526" y="133"/>
                    </a:moveTo>
                    <a:lnTo>
                      <a:pt x="526" y="138"/>
                    </a:lnTo>
                    <a:lnTo>
                      <a:pt x="526" y="139"/>
                    </a:lnTo>
                    <a:lnTo>
                      <a:pt x="526" y="144"/>
                    </a:lnTo>
                    <a:lnTo>
                      <a:pt x="533" y="149"/>
                    </a:lnTo>
                    <a:lnTo>
                      <a:pt x="536" y="146"/>
                    </a:lnTo>
                    <a:lnTo>
                      <a:pt x="536" y="136"/>
                    </a:lnTo>
                    <a:lnTo>
                      <a:pt x="533" y="133"/>
                    </a:lnTo>
                    <a:lnTo>
                      <a:pt x="529" y="133"/>
                    </a:lnTo>
                    <a:lnTo>
                      <a:pt x="526" y="133"/>
                    </a:lnTo>
                    <a:lnTo>
                      <a:pt x="526" y="133"/>
                    </a:lnTo>
                    <a:close/>
                    <a:moveTo>
                      <a:pt x="460" y="91"/>
                    </a:moveTo>
                    <a:lnTo>
                      <a:pt x="460" y="89"/>
                    </a:lnTo>
                    <a:lnTo>
                      <a:pt x="460" y="88"/>
                    </a:lnTo>
                    <a:lnTo>
                      <a:pt x="460" y="84"/>
                    </a:lnTo>
                    <a:lnTo>
                      <a:pt x="458" y="83"/>
                    </a:lnTo>
                    <a:lnTo>
                      <a:pt x="456" y="84"/>
                    </a:lnTo>
                    <a:lnTo>
                      <a:pt x="456" y="88"/>
                    </a:lnTo>
                    <a:lnTo>
                      <a:pt x="460" y="91"/>
                    </a:lnTo>
                    <a:lnTo>
                      <a:pt x="460" y="91"/>
                    </a:lnTo>
                    <a:close/>
                    <a:moveTo>
                      <a:pt x="450" y="118"/>
                    </a:moveTo>
                    <a:lnTo>
                      <a:pt x="451" y="119"/>
                    </a:lnTo>
                    <a:lnTo>
                      <a:pt x="453" y="116"/>
                    </a:lnTo>
                    <a:lnTo>
                      <a:pt x="453" y="109"/>
                    </a:lnTo>
                    <a:lnTo>
                      <a:pt x="446" y="104"/>
                    </a:lnTo>
                    <a:lnTo>
                      <a:pt x="446" y="98"/>
                    </a:lnTo>
                    <a:lnTo>
                      <a:pt x="450" y="91"/>
                    </a:lnTo>
                    <a:lnTo>
                      <a:pt x="450" y="84"/>
                    </a:lnTo>
                    <a:lnTo>
                      <a:pt x="446" y="81"/>
                    </a:lnTo>
                    <a:lnTo>
                      <a:pt x="446" y="75"/>
                    </a:lnTo>
                    <a:lnTo>
                      <a:pt x="446" y="71"/>
                    </a:lnTo>
                    <a:lnTo>
                      <a:pt x="441" y="75"/>
                    </a:lnTo>
                    <a:lnTo>
                      <a:pt x="441" y="86"/>
                    </a:lnTo>
                    <a:lnTo>
                      <a:pt x="438" y="89"/>
                    </a:lnTo>
                    <a:lnTo>
                      <a:pt x="438" y="96"/>
                    </a:lnTo>
                    <a:lnTo>
                      <a:pt x="443" y="104"/>
                    </a:lnTo>
                    <a:lnTo>
                      <a:pt x="445" y="111"/>
                    </a:lnTo>
                    <a:lnTo>
                      <a:pt x="450" y="118"/>
                    </a:lnTo>
                    <a:lnTo>
                      <a:pt x="450" y="118"/>
                    </a:lnTo>
                    <a:close/>
                    <a:moveTo>
                      <a:pt x="187" y="154"/>
                    </a:moveTo>
                    <a:lnTo>
                      <a:pt x="191" y="156"/>
                    </a:lnTo>
                    <a:lnTo>
                      <a:pt x="191" y="159"/>
                    </a:lnTo>
                    <a:lnTo>
                      <a:pt x="194" y="161"/>
                    </a:lnTo>
                    <a:lnTo>
                      <a:pt x="196" y="156"/>
                    </a:lnTo>
                    <a:lnTo>
                      <a:pt x="192" y="154"/>
                    </a:lnTo>
                    <a:lnTo>
                      <a:pt x="187" y="154"/>
                    </a:lnTo>
                    <a:lnTo>
                      <a:pt x="187" y="154"/>
                    </a:lnTo>
                    <a:close/>
                    <a:moveTo>
                      <a:pt x="23" y="345"/>
                    </a:moveTo>
                    <a:lnTo>
                      <a:pt x="24" y="349"/>
                    </a:lnTo>
                    <a:lnTo>
                      <a:pt x="33" y="349"/>
                    </a:lnTo>
                    <a:lnTo>
                      <a:pt x="36" y="350"/>
                    </a:lnTo>
                    <a:lnTo>
                      <a:pt x="39" y="350"/>
                    </a:lnTo>
                    <a:lnTo>
                      <a:pt x="38" y="347"/>
                    </a:lnTo>
                    <a:lnTo>
                      <a:pt x="34" y="347"/>
                    </a:lnTo>
                    <a:lnTo>
                      <a:pt x="31" y="344"/>
                    </a:lnTo>
                    <a:lnTo>
                      <a:pt x="26" y="344"/>
                    </a:lnTo>
                    <a:lnTo>
                      <a:pt x="23" y="344"/>
                    </a:lnTo>
                    <a:lnTo>
                      <a:pt x="23" y="345"/>
                    </a:lnTo>
                    <a:lnTo>
                      <a:pt x="23" y="345"/>
                    </a:lnTo>
                    <a:close/>
                    <a:moveTo>
                      <a:pt x="0" y="345"/>
                    </a:moveTo>
                    <a:lnTo>
                      <a:pt x="3" y="350"/>
                    </a:lnTo>
                    <a:lnTo>
                      <a:pt x="10" y="350"/>
                    </a:lnTo>
                    <a:lnTo>
                      <a:pt x="13" y="354"/>
                    </a:lnTo>
                    <a:lnTo>
                      <a:pt x="19" y="350"/>
                    </a:lnTo>
                    <a:lnTo>
                      <a:pt x="13" y="345"/>
                    </a:lnTo>
                    <a:lnTo>
                      <a:pt x="6" y="344"/>
                    </a:lnTo>
                    <a:lnTo>
                      <a:pt x="1" y="344"/>
                    </a:lnTo>
                    <a:lnTo>
                      <a:pt x="0" y="345"/>
                    </a:lnTo>
                    <a:lnTo>
                      <a:pt x="0" y="345"/>
                    </a:lnTo>
                    <a:close/>
                    <a:moveTo>
                      <a:pt x="184" y="528"/>
                    </a:moveTo>
                    <a:lnTo>
                      <a:pt x="184" y="530"/>
                    </a:lnTo>
                    <a:lnTo>
                      <a:pt x="186" y="531"/>
                    </a:lnTo>
                    <a:lnTo>
                      <a:pt x="187" y="528"/>
                    </a:lnTo>
                    <a:lnTo>
                      <a:pt x="186" y="526"/>
                    </a:lnTo>
                    <a:lnTo>
                      <a:pt x="184" y="528"/>
                    </a:lnTo>
                    <a:lnTo>
                      <a:pt x="184" y="528"/>
                    </a:lnTo>
                    <a:close/>
                    <a:moveTo>
                      <a:pt x="186" y="546"/>
                    </a:moveTo>
                    <a:lnTo>
                      <a:pt x="189" y="546"/>
                    </a:lnTo>
                    <a:lnTo>
                      <a:pt x="191" y="548"/>
                    </a:lnTo>
                    <a:lnTo>
                      <a:pt x="199" y="548"/>
                    </a:lnTo>
                    <a:lnTo>
                      <a:pt x="202" y="550"/>
                    </a:lnTo>
                    <a:lnTo>
                      <a:pt x="204" y="551"/>
                    </a:lnTo>
                    <a:lnTo>
                      <a:pt x="206" y="548"/>
                    </a:lnTo>
                    <a:lnTo>
                      <a:pt x="202" y="545"/>
                    </a:lnTo>
                    <a:lnTo>
                      <a:pt x="196" y="543"/>
                    </a:lnTo>
                    <a:lnTo>
                      <a:pt x="194" y="545"/>
                    </a:lnTo>
                    <a:lnTo>
                      <a:pt x="189" y="543"/>
                    </a:lnTo>
                    <a:lnTo>
                      <a:pt x="186" y="543"/>
                    </a:lnTo>
                    <a:lnTo>
                      <a:pt x="184" y="545"/>
                    </a:lnTo>
                    <a:lnTo>
                      <a:pt x="186" y="546"/>
                    </a:lnTo>
                    <a:lnTo>
                      <a:pt x="186" y="546"/>
                    </a:lnTo>
                    <a:close/>
                    <a:moveTo>
                      <a:pt x="191" y="553"/>
                    </a:moveTo>
                    <a:lnTo>
                      <a:pt x="192" y="555"/>
                    </a:lnTo>
                    <a:lnTo>
                      <a:pt x="194" y="555"/>
                    </a:lnTo>
                    <a:lnTo>
                      <a:pt x="194" y="553"/>
                    </a:lnTo>
                    <a:lnTo>
                      <a:pt x="191" y="553"/>
                    </a:lnTo>
                    <a:lnTo>
                      <a:pt x="191" y="553"/>
                    </a:lnTo>
                    <a:close/>
                    <a:moveTo>
                      <a:pt x="192" y="581"/>
                    </a:moveTo>
                    <a:lnTo>
                      <a:pt x="194" y="583"/>
                    </a:lnTo>
                    <a:lnTo>
                      <a:pt x="197" y="583"/>
                    </a:lnTo>
                    <a:lnTo>
                      <a:pt x="199" y="586"/>
                    </a:lnTo>
                    <a:lnTo>
                      <a:pt x="202" y="584"/>
                    </a:lnTo>
                    <a:lnTo>
                      <a:pt x="201" y="581"/>
                    </a:lnTo>
                    <a:lnTo>
                      <a:pt x="196" y="579"/>
                    </a:lnTo>
                    <a:lnTo>
                      <a:pt x="194" y="579"/>
                    </a:lnTo>
                    <a:lnTo>
                      <a:pt x="192" y="581"/>
                    </a:lnTo>
                    <a:lnTo>
                      <a:pt x="192" y="581"/>
                    </a:lnTo>
                    <a:close/>
                    <a:moveTo>
                      <a:pt x="187" y="591"/>
                    </a:moveTo>
                    <a:lnTo>
                      <a:pt x="189" y="593"/>
                    </a:lnTo>
                    <a:lnTo>
                      <a:pt x="192" y="594"/>
                    </a:lnTo>
                    <a:lnTo>
                      <a:pt x="196" y="591"/>
                    </a:lnTo>
                    <a:lnTo>
                      <a:pt x="191" y="591"/>
                    </a:lnTo>
                    <a:lnTo>
                      <a:pt x="189" y="589"/>
                    </a:lnTo>
                    <a:lnTo>
                      <a:pt x="187" y="591"/>
                    </a:lnTo>
                    <a:lnTo>
                      <a:pt x="187" y="591"/>
                    </a:lnTo>
                    <a:close/>
                    <a:moveTo>
                      <a:pt x="194" y="609"/>
                    </a:moveTo>
                    <a:lnTo>
                      <a:pt x="196" y="609"/>
                    </a:lnTo>
                    <a:lnTo>
                      <a:pt x="197" y="608"/>
                    </a:lnTo>
                    <a:lnTo>
                      <a:pt x="196" y="604"/>
                    </a:lnTo>
                    <a:lnTo>
                      <a:pt x="194" y="603"/>
                    </a:lnTo>
                    <a:lnTo>
                      <a:pt x="194" y="604"/>
                    </a:lnTo>
                    <a:lnTo>
                      <a:pt x="194" y="609"/>
                    </a:lnTo>
                    <a:lnTo>
                      <a:pt x="194" y="609"/>
                    </a:lnTo>
                    <a:close/>
                    <a:moveTo>
                      <a:pt x="201" y="613"/>
                    </a:moveTo>
                    <a:lnTo>
                      <a:pt x="201" y="614"/>
                    </a:lnTo>
                    <a:lnTo>
                      <a:pt x="202" y="614"/>
                    </a:lnTo>
                    <a:lnTo>
                      <a:pt x="202" y="613"/>
                    </a:lnTo>
                    <a:lnTo>
                      <a:pt x="201" y="613"/>
                    </a:lnTo>
                    <a:lnTo>
                      <a:pt x="201" y="613"/>
                    </a:lnTo>
                    <a:close/>
                    <a:moveTo>
                      <a:pt x="187" y="616"/>
                    </a:moveTo>
                    <a:lnTo>
                      <a:pt x="189" y="614"/>
                    </a:lnTo>
                    <a:lnTo>
                      <a:pt x="187" y="613"/>
                    </a:lnTo>
                    <a:lnTo>
                      <a:pt x="186" y="614"/>
                    </a:lnTo>
                    <a:lnTo>
                      <a:pt x="187" y="616"/>
                    </a:lnTo>
                    <a:lnTo>
                      <a:pt x="187" y="616"/>
                    </a:lnTo>
                    <a:close/>
                    <a:moveTo>
                      <a:pt x="192" y="614"/>
                    </a:moveTo>
                    <a:lnTo>
                      <a:pt x="194" y="616"/>
                    </a:lnTo>
                    <a:lnTo>
                      <a:pt x="196" y="614"/>
                    </a:lnTo>
                    <a:lnTo>
                      <a:pt x="194" y="613"/>
                    </a:lnTo>
                    <a:lnTo>
                      <a:pt x="192" y="614"/>
                    </a:lnTo>
                    <a:lnTo>
                      <a:pt x="192" y="614"/>
                    </a:lnTo>
                    <a:close/>
                    <a:moveTo>
                      <a:pt x="191" y="621"/>
                    </a:moveTo>
                    <a:lnTo>
                      <a:pt x="194" y="619"/>
                    </a:lnTo>
                    <a:lnTo>
                      <a:pt x="194" y="618"/>
                    </a:lnTo>
                    <a:lnTo>
                      <a:pt x="192" y="618"/>
                    </a:lnTo>
                    <a:lnTo>
                      <a:pt x="191" y="621"/>
                    </a:lnTo>
                    <a:lnTo>
                      <a:pt x="191" y="621"/>
                    </a:lnTo>
                    <a:close/>
                    <a:moveTo>
                      <a:pt x="194" y="628"/>
                    </a:moveTo>
                    <a:lnTo>
                      <a:pt x="196" y="626"/>
                    </a:lnTo>
                    <a:lnTo>
                      <a:pt x="192" y="626"/>
                    </a:lnTo>
                    <a:lnTo>
                      <a:pt x="191" y="626"/>
                    </a:lnTo>
                    <a:lnTo>
                      <a:pt x="191" y="628"/>
                    </a:lnTo>
                    <a:lnTo>
                      <a:pt x="194" y="628"/>
                    </a:lnTo>
                    <a:lnTo>
                      <a:pt x="194" y="628"/>
                    </a:lnTo>
                    <a:close/>
                    <a:moveTo>
                      <a:pt x="197" y="631"/>
                    </a:moveTo>
                    <a:lnTo>
                      <a:pt x="201" y="631"/>
                    </a:lnTo>
                    <a:lnTo>
                      <a:pt x="201" y="629"/>
                    </a:lnTo>
                    <a:lnTo>
                      <a:pt x="199" y="628"/>
                    </a:lnTo>
                    <a:lnTo>
                      <a:pt x="196" y="631"/>
                    </a:lnTo>
                    <a:lnTo>
                      <a:pt x="196" y="631"/>
                    </a:lnTo>
                    <a:lnTo>
                      <a:pt x="197" y="631"/>
                    </a:lnTo>
                    <a:lnTo>
                      <a:pt x="197" y="631"/>
                    </a:lnTo>
                    <a:close/>
                    <a:moveTo>
                      <a:pt x="182" y="643"/>
                    </a:moveTo>
                    <a:lnTo>
                      <a:pt x="187" y="641"/>
                    </a:lnTo>
                    <a:lnTo>
                      <a:pt x="187" y="641"/>
                    </a:lnTo>
                    <a:lnTo>
                      <a:pt x="187" y="639"/>
                    </a:lnTo>
                    <a:lnTo>
                      <a:pt x="182" y="639"/>
                    </a:lnTo>
                    <a:lnTo>
                      <a:pt x="181" y="641"/>
                    </a:lnTo>
                    <a:lnTo>
                      <a:pt x="182" y="643"/>
                    </a:lnTo>
                    <a:lnTo>
                      <a:pt x="182" y="643"/>
                    </a:lnTo>
                    <a:close/>
                    <a:moveTo>
                      <a:pt x="191" y="649"/>
                    </a:moveTo>
                    <a:lnTo>
                      <a:pt x="199" y="644"/>
                    </a:lnTo>
                    <a:lnTo>
                      <a:pt x="202" y="641"/>
                    </a:lnTo>
                    <a:lnTo>
                      <a:pt x="202" y="638"/>
                    </a:lnTo>
                    <a:lnTo>
                      <a:pt x="199" y="638"/>
                    </a:lnTo>
                    <a:lnTo>
                      <a:pt x="194" y="641"/>
                    </a:lnTo>
                    <a:lnTo>
                      <a:pt x="191" y="643"/>
                    </a:lnTo>
                    <a:lnTo>
                      <a:pt x="189" y="644"/>
                    </a:lnTo>
                    <a:lnTo>
                      <a:pt x="187" y="646"/>
                    </a:lnTo>
                    <a:lnTo>
                      <a:pt x="187" y="648"/>
                    </a:lnTo>
                    <a:lnTo>
                      <a:pt x="187" y="651"/>
                    </a:lnTo>
                    <a:lnTo>
                      <a:pt x="189" y="651"/>
                    </a:lnTo>
                    <a:lnTo>
                      <a:pt x="191" y="649"/>
                    </a:lnTo>
                    <a:lnTo>
                      <a:pt x="191" y="649"/>
                    </a:lnTo>
                    <a:close/>
                    <a:moveTo>
                      <a:pt x="199" y="648"/>
                    </a:moveTo>
                    <a:lnTo>
                      <a:pt x="199" y="648"/>
                    </a:lnTo>
                    <a:lnTo>
                      <a:pt x="202" y="648"/>
                    </a:lnTo>
                    <a:lnTo>
                      <a:pt x="202" y="646"/>
                    </a:lnTo>
                    <a:lnTo>
                      <a:pt x="199" y="648"/>
                    </a:lnTo>
                    <a:lnTo>
                      <a:pt x="199" y="648"/>
                    </a:lnTo>
                    <a:close/>
                    <a:moveTo>
                      <a:pt x="196" y="653"/>
                    </a:moveTo>
                    <a:lnTo>
                      <a:pt x="197" y="653"/>
                    </a:lnTo>
                    <a:lnTo>
                      <a:pt x="197" y="651"/>
                    </a:lnTo>
                    <a:lnTo>
                      <a:pt x="196" y="651"/>
                    </a:lnTo>
                    <a:lnTo>
                      <a:pt x="196" y="653"/>
                    </a:lnTo>
                    <a:lnTo>
                      <a:pt x="196" y="653"/>
                    </a:lnTo>
                    <a:close/>
                    <a:moveTo>
                      <a:pt x="189" y="654"/>
                    </a:moveTo>
                    <a:lnTo>
                      <a:pt x="191" y="653"/>
                    </a:lnTo>
                    <a:lnTo>
                      <a:pt x="189" y="651"/>
                    </a:lnTo>
                    <a:lnTo>
                      <a:pt x="187" y="653"/>
                    </a:lnTo>
                    <a:lnTo>
                      <a:pt x="187" y="654"/>
                    </a:lnTo>
                    <a:lnTo>
                      <a:pt x="189" y="654"/>
                    </a:lnTo>
                    <a:lnTo>
                      <a:pt x="189" y="654"/>
                    </a:lnTo>
                    <a:close/>
                    <a:moveTo>
                      <a:pt x="181" y="669"/>
                    </a:moveTo>
                    <a:lnTo>
                      <a:pt x="181" y="672"/>
                    </a:lnTo>
                    <a:lnTo>
                      <a:pt x="184" y="672"/>
                    </a:lnTo>
                    <a:lnTo>
                      <a:pt x="187" y="669"/>
                    </a:lnTo>
                    <a:lnTo>
                      <a:pt x="192" y="668"/>
                    </a:lnTo>
                    <a:lnTo>
                      <a:pt x="192" y="666"/>
                    </a:lnTo>
                    <a:lnTo>
                      <a:pt x="191" y="664"/>
                    </a:lnTo>
                    <a:lnTo>
                      <a:pt x="189" y="666"/>
                    </a:lnTo>
                    <a:lnTo>
                      <a:pt x="184" y="666"/>
                    </a:lnTo>
                    <a:lnTo>
                      <a:pt x="182" y="669"/>
                    </a:lnTo>
                    <a:lnTo>
                      <a:pt x="182" y="669"/>
                    </a:lnTo>
                    <a:lnTo>
                      <a:pt x="181" y="669"/>
                    </a:lnTo>
                    <a:lnTo>
                      <a:pt x="181" y="669"/>
                    </a:lnTo>
                    <a:close/>
                    <a:moveTo>
                      <a:pt x="177" y="682"/>
                    </a:moveTo>
                    <a:lnTo>
                      <a:pt x="177" y="686"/>
                    </a:lnTo>
                    <a:lnTo>
                      <a:pt x="181" y="687"/>
                    </a:lnTo>
                    <a:lnTo>
                      <a:pt x="182" y="684"/>
                    </a:lnTo>
                    <a:lnTo>
                      <a:pt x="179" y="682"/>
                    </a:lnTo>
                    <a:lnTo>
                      <a:pt x="177" y="682"/>
                    </a:lnTo>
                    <a:lnTo>
                      <a:pt x="177" y="682"/>
                    </a:lnTo>
                    <a:close/>
                    <a:moveTo>
                      <a:pt x="284" y="1189"/>
                    </a:moveTo>
                    <a:lnTo>
                      <a:pt x="287" y="1186"/>
                    </a:lnTo>
                    <a:lnTo>
                      <a:pt x="290" y="1184"/>
                    </a:lnTo>
                    <a:lnTo>
                      <a:pt x="292" y="1186"/>
                    </a:lnTo>
                    <a:lnTo>
                      <a:pt x="290" y="1187"/>
                    </a:lnTo>
                    <a:lnTo>
                      <a:pt x="287" y="1189"/>
                    </a:lnTo>
                    <a:lnTo>
                      <a:pt x="285" y="1189"/>
                    </a:lnTo>
                    <a:lnTo>
                      <a:pt x="284" y="1189"/>
                    </a:lnTo>
                    <a:lnTo>
                      <a:pt x="284" y="1189"/>
                    </a:lnTo>
                    <a:close/>
                    <a:moveTo>
                      <a:pt x="257" y="1174"/>
                    </a:moveTo>
                    <a:lnTo>
                      <a:pt x="259" y="1174"/>
                    </a:lnTo>
                    <a:lnTo>
                      <a:pt x="260" y="1172"/>
                    </a:lnTo>
                    <a:lnTo>
                      <a:pt x="262" y="1171"/>
                    </a:lnTo>
                    <a:lnTo>
                      <a:pt x="262" y="1167"/>
                    </a:lnTo>
                    <a:lnTo>
                      <a:pt x="260" y="1167"/>
                    </a:lnTo>
                    <a:lnTo>
                      <a:pt x="259" y="1169"/>
                    </a:lnTo>
                    <a:lnTo>
                      <a:pt x="257" y="1171"/>
                    </a:lnTo>
                    <a:lnTo>
                      <a:pt x="257" y="1174"/>
                    </a:lnTo>
                    <a:lnTo>
                      <a:pt x="257" y="1174"/>
                    </a:lnTo>
                    <a:close/>
                    <a:moveTo>
                      <a:pt x="239" y="1146"/>
                    </a:moveTo>
                    <a:lnTo>
                      <a:pt x="240" y="1148"/>
                    </a:lnTo>
                    <a:lnTo>
                      <a:pt x="244" y="1148"/>
                    </a:lnTo>
                    <a:lnTo>
                      <a:pt x="247" y="1146"/>
                    </a:lnTo>
                    <a:lnTo>
                      <a:pt x="245" y="1144"/>
                    </a:lnTo>
                    <a:lnTo>
                      <a:pt x="242" y="1144"/>
                    </a:lnTo>
                    <a:lnTo>
                      <a:pt x="239" y="1146"/>
                    </a:lnTo>
                    <a:lnTo>
                      <a:pt x="239" y="1146"/>
                    </a:lnTo>
                    <a:close/>
                    <a:moveTo>
                      <a:pt x="230" y="1146"/>
                    </a:moveTo>
                    <a:lnTo>
                      <a:pt x="230" y="1148"/>
                    </a:lnTo>
                    <a:lnTo>
                      <a:pt x="234" y="1148"/>
                    </a:lnTo>
                    <a:lnTo>
                      <a:pt x="234" y="1146"/>
                    </a:lnTo>
                    <a:lnTo>
                      <a:pt x="232" y="1144"/>
                    </a:lnTo>
                    <a:lnTo>
                      <a:pt x="230" y="1146"/>
                    </a:lnTo>
                    <a:lnTo>
                      <a:pt x="230" y="1146"/>
                    </a:lnTo>
                    <a:close/>
                    <a:moveTo>
                      <a:pt x="204" y="1148"/>
                    </a:moveTo>
                    <a:lnTo>
                      <a:pt x="204" y="1149"/>
                    </a:lnTo>
                    <a:lnTo>
                      <a:pt x="207" y="1149"/>
                    </a:lnTo>
                    <a:lnTo>
                      <a:pt x="207" y="1153"/>
                    </a:lnTo>
                    <a:lnTo>
                      <a:pt x="211" y="1151"/>
                    </a:lnTo>
                    <a:lnTo>
                      <a:pt x="209" y="1148"/>
                    </a:lnTo>
                    <a:lnTo>
                      <a:pt x="206" y="1146"/>
                    </a:lnTo>
                    <a:lnTo>
                      <a:pt x="204" y="1148"/>
                    </a:lnTo>
                    <a:lnTo>
                      <a:pt x="204" y="1148"/>
                    </a:lnTo>
                    <a:close/>
                    <a:moveTo>
                      <a:pt x="171" y="1015"/>
                    </a:moveTo>
                    <a:lnTo>
                      <a:pt x="172" y="1013"/>
                    </a:lnTo>
                    <a:lnTo>
                      <a:pt x="176" y="1011"/>
                    </a:lnTo>
                    <a:lnTo>
                      <a:pt x="181" y="1006"/>
                    </a:lnTo>
                    <a:lnTo>
                      <a:pt x="177" y="1006"/>
                    </a:lnTo>
                    <a:lnTo>
                      <a:pt x="176" y="1010"/>
                    </a:lnTo>
                    <a:lnTo>
                      <a:pt x="171" y="1015"/>
                    </a:lnTo>
                    <a:lnTo>
                      <a:pt x="171" y="1015"/>
                    </a:lnTo>
                    <a:close/>
                    <a:moveTo>
                      <a:pt x="171" y="1010"/>
                    </a:moveTo>
                    <a:lnTo>
                      <a:pt x="171" y="1010"/>
                    </a:lnTo>
                    <a:lnTo>
                      <a:pt x="171" y="1010"/>
                    </a:lnTo>
                    <a:lnTo>
                      <a:pt x="172" y="1010"/>
                    </a:lnTo>
                    <a:lnTo>
                      <a:pt x="174" y="1008"/>
                    </a:lnTo>
                    <a:lnTo>
                      <a:pt x="176" y="1005"/>
                    </a:lnTo>
                    <a:lnTo>
                      <a:pt x="174" y="1005"/>
                    </a:lnTo>
                    <a:lnTo>
                      <a:pt x="171" y="1010"/>
                    </a:lnTo>
                    <a:lnTo>
                      <a:pt x="171" y="1010"/>
                    </a:lnTo>
                    <a:close/>
                    <a:moveTo>
                      <a:pt x="151" y="965"/>
                    </a:moveTo>
                    <a:lnTo>
                      <a:pt x="149" y="966"/>
                    </a:lnTo>
                    <a:lnTo>
                      <a:pt x="149" y="966"/>
                    </a:lnTo>
                    <a:lnTo>
                      <a:pt x="154" y="966"/>
                    </a:lnTo>
                    <a:lnTo>
                      <a:pt x="152" y="965"/>
                    </a:lnTo>
                    <a:lnTo>
                      <a:pt x="151" y="963"/>
                    </a:lnTo>
                    <a:lnTo>
                      <a:pt x="151" y="965"/>
                    </a:lnTo>
                    <a:lnTo>
                      <a:pt x="151" y="965"/>
                    </a:lnTo>
                    <a:close/>
                    <a:moveTo>
                      <a:pt x="147" y="958"/>
                    </a:moveTo>
                    <a:lnTo>
                      <a:pt x="149" y="962"/>
                    </a:lnTo>
                    <a:lnTo>
                      <a:pt x="152" y="962"/>
                    </a:lnTo>
                    <a:lnTo>
                      <a:pt x="152" y="958"/>
                    </a:lnTo>
                    <a:lnTo>
                      <a:pt x="151" y="958"/>
                    </a:lnTo>
                    <a:lnTo>
                      <a:pt x="147" y="958"/>
                    </a:lnTo>
                    <a:lnTo>
                      <a:pt x="147" y="958"/>
                    </a:lnTo>
                    <a:close/>
                    <a:moveTo>
                      <a:pt x="151" y="917"/>
                    </a:moveTo>
                    <a:lnTo>
                      <a:pt x="156" y="917"/>
                    </a:lnTo>
                    <a:lnTo>
                      <a:pt x="157" y="915"/>
                    </a:lnTo>
                    <a:lnTo>
                      <a:pt x="154" y="915"/>
                    </a:lnTo>
                    <a:lnTo>
                      <a:pt x="151" y="917"/>
                    </a:lnTo>
                    <a:lnTo>
                      <a:pt x="151" y="917"/>
                    </a:lnTo>
                    <a:close/>
                    <a:moveTo>
                      <a:pt x="152" y="912"/>
                    </a:moveTo>
                    <a:lnTo>
                      <a:pt x="156" y="913"/>
                    </a:lnTo>
                    <a:lnTo>
                      <a:pt x="159" y="913"/>
                    </a:lnTo>
                    <a:lnTo>
                      <a:pt x="161" y="912"/>
                    </a:lnTo>
                    <a:lnTo>
                      <a:pt x="157" y="910"/>
                    </a:lnTo>
                    <a:lnTo>
                      <a:pt x="154" y="910"/>
                    </a:lnTo>
                    <a:lnTo>
                      <a:pt x="152" y="912"/>
                    </a:lnTo>
                    <a:lnTo>
                      <a:pt x="152" y="912"/>
                    </a:lnTo>
                    <a:close/>
                    <a:moveTo>
                      <a:pt x="144" y="910"/>
                    </a:moveTo>
                    <a:lnTo>
                      <a:pt x="146" y="912"/>
                    </a:lnTo>
                    <a:lnTo>
                      <a:pt x="147" y="912"/>
                    </a:lnTo>
                    <a:lnTo>
                      <a:pt x="147" y="910"/>
                    </a:lnTo>
                    <a:lnTo>
                      <a:pt x="146" y="910"/>
                    </a:lnTo>
                    <a:lnTo>
                      <a:pt x="144" y="910"/>
                    </a:lnTo>
                    <a:lnTo>
                      <a:pt x="144" y="910"/>
                    </a:lnTo>
                    <a:close/>
                    <a:moveTo>
                      <a:pt x="157" y="872"/>
                    </a:moveTo>
                    <a:lnTo>
                      <a:pt x="156" y="873"/>
                    </a:lnTo>
                    <a:lnTo>
                      <a:pt x="157" y="875"/>
                    </a:lnTo>
                    <a:lnTo>
                      <a:pt x="159" y="875"/>
                    </a:lnTo>
                    <a:lnTo>
                      <a:pt x="162" y="872"/>
                    </a:lnTo>
                    <a:lnTo>
                      <a:pt x="162" y="870"/>
                    </a:lnTo>
                    <a:lnTo>
                      <a:pt x="159" y="870"/>
                    </a:lnTo>
                    <a:lnTo>
                      <a:pt x="157" y="872"/>
                    </a:lnTo>
                    <a:lnTo>
                      <a:pt x="157" y="872"/>
                    </a:lnTo>
                    <a:close/>
                    <a:moveTo>
                      <a:pt x="196" y="857"/>
                    </a:moveTo>
                    <a:lnTo>
                      <a:pt x="199" y="859"/>
                    </a:lnTo>
                    <a:lnTo>
                      <a:pt x="206" y="859"/>
                    </a:lnTo>
                    <a:lnTo>
                      <a:pt x="206" y="857"/>
                    </a:lnTo>
                    <a:lnTo>
                      <a:pt x="199" y="855"/>
                    </a:lnTo>
                    <a:lnTo>
                      <a:pt x="196" y="855"/>
                    </a:lnTo>
                    <a:lnTo>
                      <a:pt x="196" y="857"/>
                    </a:lnTo>
                    <a:lnTo>
                      <a:pt x="196" y="857"/>
                    </a:lnTo>
                    <a:close/>
                    <a:moveTo>
                      <a:pt x="181" y="837"/>
                    </a:moveTo>
                    <a:lnTo>
                      <a:pt x="179" y="839"/>
                    </a:lnTo>
                    <a:lnTo>
                      <a:pt x="181" y="840"/>
                    </a:lnTo>
                    <a:lnTo>
                      <a:pt x="187" y="840"/>
                    </a:lnTo>
                    <a:lnTo>
                      <a:pt x="187" y="837"/>
                    </a:lnTo>
                    <a:lnTo>
                      <a:pt x="182" y="837"/>
                    </a:lnTo>
                    <a:lnTo>
                      <a:pt x="181" y="837"/>
                    </a:lnTo>
                    <a:lnTo>
                      <a:pt x="181" y="837"/>
                    </a:lnTo>
                    <a:close/>
                    <a:moveTo>
                      <a:pt x="199" y="835"/>
                    </a:moveTo>
                    <a:lnTo>
                      <a:pt x="201" y="839"/>
                    </a:lnTo>
                    <a:lnTo>
                      <a:pt x="204" y="839"/>
                    </a:lnTo>
                    <a:lnTo>
                      <a:pt x="207" y="837"/>
                    </a:lnTo>
                    <a:lnTo>
                      <a:pt x="204" y="835"/>
                    </a:lnTo>
                    <a:lnTo>
                      <a:pt x="199" y="835"/>
                    </a:lnTo>
                    <a:lnTo>
                      <a:pt x="199" y="835"/>
                    </a:lnTo>
                    <a:close/>
                    <a:moveTo>
                      <a:pt x="189" y="834"/>
                    </a:moveTo>
                    <a:lnTo>
                      <a:pt x="194" y="835"/>
                    </a:lnTo>
                    <a:lnTo>
                      <a:pt x="197" y="835"/>
                    </a:lnTo>
                    <a:lnTo>
                      <a:pt x="201" y="834"/>
                    </a:lnTo>
                    <a:lnTo>
                      <a:pt x="197" y="832"/>
                    </a:lnTo>
                    <a:lnTo>
                      <a:pt x="192" y="830"/>
                    </a:lnTo>
                    <a:lnTo>
                      <a:pt x="189" y="832"/>
                    </a:lnTo>
                    <a:lnTo>
                      <a:pt x="189" y="834"/>
                    </a:lnTo>
                    <a:lnTo>
                      <a:pt x="189" y="834"/>
                    </a:lnTo>
                    <a:close/>
                    <a:moveTo>
                      <a:pt x="230" y="747"/>
                    </a:moveTo>
                    <a:lnTo>
                      <a:pt x="232" y="751"/>
                    </a:lnTo>
                    <a:lnTo>
                      <a:pt x="234" y="754"/>
                    </a:lnTo>
                    <a:lnTo>
                      <a:pt x="235" y="751"/>
                    </a:lnTo>
                    <a:lnTo>
                      <a:pt x="234" y="749"/>
                    </a:lnTo>
                    <a:lnTo>
                      <a:pt x="230" y="747"/>
                    </a:lnTo>
                    <a:lnTo>
                      <a:pt x="230" y="747"/>
                    </a:lnTo>
                    <a:close/>
                    <a:moveTo>
                      <a:pt x="227" y="737"/>
                    </a:moveTo>
                    <a:lnTo>
                      <a:pt x="227" y="741"/>
                    </a:lnTo>
                    <a:lnTo>
                      <a:pt x="232" y="742"/>
                    </a:lnTo>
                    <a:lnTo>
                      <a:pt x="234" y="742"/>
                    </a:lnTo>
                    <a:lnTo>
                      <a:pt x="232" y="739"/>
                    </a:lnTo>
                    <a:lnTo>
                      <a:pt x="232" y="739"/>
                    </a:lnTo>
                    <a:lnTo>
                      <a:pt x="227" y="737"/>
                    </a:lnTo>
                    <a:lnTo>
                      <a:pt x="227" y="737"/>
                    </a:lnTo>
                    <a:close/>
                    <a:moveTo>
                      <a:pt x="214" y="709"/>
                    </a:moveTo>
                    <a:lnTo>
                      <a:pt x="217" y="709"/>
                    </a:lnTo>
                    <a:lnTo>
                      <a:pt x="222" y="706"/>
                    </a:lnTo>
                    <a:lnTo>
                      <a:pt x="225" y="704"/>
                    </a:lnTo>
                    <a:lnTo>
                      <a:pt x="225" y="702"/>
                    </a:lnTo>
                    <a:lnTo>
                      <a:pt x="220" y="702"/>
                    </a:lnTo>
                    <a:lnTo>
                      <a:pt x="217" y="701"/>
                    </a:lnTo>
                    <a:lnTo>
                      <a:pt x="214" y="702"/>
                    </a:lnTo>
                    <a:lnTo>
                      <a:pt x="214" y="706"/>
                    </a:lnTo>
                    <a:lnTo>
                      <a:pt x="214" y="709"/>
                    </a:lnTo>
                    <a:lnTo>
                      <a:pt x="214" y="709"/>
                    </a:lnTo>
                    <a:close/>
                    <a:moveTo>
                      <a:pt x="215" y="724"/>
                    </a:moveTo>
                    <a:lnTo>
                      <a:pt x="217" y="726"/>
                    </a:lnTo>
                    <a:lnTo>
                      <a:pt x="220" y="726"/>
                    </a:lnTo>
                    <a:lnTo>
                      <a:pt x="225" y="722"/>
                    </a:lnTo>
                    <a:lnTo>
                      <a:pt x="224" y="717"/>
                    </a:lnTo>
                    <a:lnTo>
                      <a:pt x="220" y="716"/>
                    </a:lnTo>
                    <a:lnTo>
                      <a:pt x="217" y="717"/>
                    </a:lnTo>
                    <a:lnTo>
                      <a:pt x="215" y="724"/>
                    </a:lnTo>
                    <a:lnTo>
                      <a:pt x="215" y="724"/>
                    </a:lnTo>
                    <a:close/>
                    <a:moveTo>
                      <a:pt x="201" y="726"/>
                    </a:moveTo>
                    <a:lnTo>
                      <a:pt x="204" y="727"/>
                    </a:lnTo>
                    <a:lnTo>
                      <a:pt x="207" y="724"/>
                    </a:lnTo>
                    <a:lnTo>
                      <a:pt x="207" y="722"/>
                    </a:lnTo>
                    <a:lnTo>
                      <a:pt x="207" y="716"/>
                    </a:lnTo>
                    <a:lnTo>
                      <a:pt x="202" y="719"/>
                    </a:lnTo>
                    <a:lnTo>
                      <a:pt x="199" y="721"/>
                    </a:lnTo>
                    <a:lnTo>
                      <a:pt x="201" y="726"/>
                    </a:lnTo>
                    <a:lnTo>
                      <a:pt x="201" y="726"/>
                    </a:lnTo>
                    <a:close/>
                    <a:moveTo>
                      <a:pt x="171" y="747"/>
                    </a:moveTo>
                    <a:lnTo>
                      <a:pt x="169" y="749"/>
                    </a:lnTo>
                    <a:lnTo>
                      <a:pt x="172" y="752"/>
                    </a:lnTo>
                    <a:lnTo>
                      <a:pt x="176" y="754"/>
                    </a:lnTo>
                    <a:lnTo>
                      <a:pt x="176" y="751"/>
                    </a:lnTo>
                    <a:lnTo>
                      <a:pt x="174" y="747"/>
                    </a:lnTo>
                    <a:lnTo>
                      <a:pt x="171" y="747"/>
                    </a:lnTo>
                    <a:lnTo>
                      <a:pt x="171" y="747"/>
                    </a:lnTo>
                    <a:close/>
                    <a:moveTo>
                      <a:pt x="227" y="789"/>
                    </a:moveTo>
                    <a:lnTo>
                      <a:pt x="227" y="789"/>
                    </a:lnTo>
                    <a:lnTo>
                      <a:pt x="230" y="789"/>
                    </a:lnTo>
                    <a:lnTo>
                      <a:pt x="230" y="792"/>
                    </a:lnTo>
                    <a:lnTo>
                      <a:pt x="229" y="795"/>
                    </a:lnTo>
                    <a:lnTo>
                      <a:pt x="230" y="799"/>
                    </a:lnTo>
                    <a:lnTo>
                      <a:pt x="234" y="795"/>
                    </a:lnTo>
                    <a:lnTo>
                      <a:pt x="235" y="790"/>
                    </a:lnTo>
                    <a:lnTo>
                      <a:pt x="239" y="787"/>
                    </a:lnTo>
                    <a:lnTo>
                      <a:pt x="237" y="785"/>
                    </a:lnTo>
                    <a:lnTo>
                      <a:pt x="235" y="785"/>
                    </a:lnTo>
                    <a:lnTo>
                      <a:pt x="230" y="785"/>
                    </a:lnTo>
                    <a:lnTo>
                      <a:pt x="227" y="789"/>
                    </a:lnTo>
                    <a:lnTo>
                      <a:pt x="227" y="789"/>
                    </a:lnTo>
                    <a:close/>
                    <a:moveTo>
                      <a:pt x="171" y="802"/>
                    </a:moveTo>
                    <a:lnTo>
                      <a:pt x="172" y="804"/>
                    </a:lnTo>
                    <a:lnTo>
                      <a:pt x="181" y="805"/>
                    </a:lnTo>
                    <a:lnTo>
                      <a:pt x="181" y="809"/>
                    </a:lnTo>
                    <a:lnTo>
                      <a:pt x="186" y="809"/>
                    </a:lnTo>
                    <a:lnTo>
                      <a:pt x="189" y="807"/>
                    </a:lnTo>
                    <a:lnTo>
                      <a:pt x="201" y="805"/>
                    </a:lnTo>
                    <a:lnTo>
                      <a:pt x="209" y="805"/>
                    </a:lnTo>
                    <a:lnTo>
                      <a:pt x="217" y="799"/>
                    </a:lnTo>
                    <a:lnTo>
                      <a:pt x="215" y="792"/>
                    </a:lnTo>
                    <a:lnTo>
                      <a:pt x="212" y="785"/>
                    </a:lnTo>
                    <a:lnTo>
                      <a:pt x="209" y="785"/>
                    </a:lnTo>
                    <a:lnTo>
                      <a:pt x="204" y="784"/>
                    </a:lnTo>
                    <a:lnTo>
                      <a:pt x="201" y="774"/>
                    </a:lnTo>
                    <a:lnTo>
                      <a:pt x="196" y="767"/>
                    </a:lnTo>
                    <a:lnTo>
                      <a:pt x="189" y="766"/>
                    </a:lnTo>
                    <a:lnTo>
                      <a:pt x="184" y="761"/>
                    </a:lnTo>
                    <a:lnTo>
                      <a:pt x="177" y="761"/>
                    </a:lnTo>
                    <a:lnTo>
                      <a:pt x="172" y="757"/>
                    </a:lnTo>
                    <a:lnTo>
                      <a:pt x="171" y="761"/>
                    </a:lnTo>
                    <a:lnTo>
                      <a:pt x="166" y="766"/>
                    </a:lnTo>
                    <a:lnTo>
                      <a:pt x="166" y="770"/>
                    </a:lnTo>
                    <a:lnTo>
                      <a:pt x="171" y="774"/>
                    </a:lnTo>
                    <a:lnTo>
                      <a:pt x="172" y="777"/>
                    </a:lnTo>
                    <a:lnTo>
                      <a:pt x="169" y="775"/>
                    </a:lnTo>
                    <a:lnTo>
                      <a:pt x="164" y="777"/>
                    </a:lnTo>
                    <a:lnTo>
                      <a:pt x="164" y="780"/>
                    </a:lnTo>
                    <a:lnTo>
                      <a:pt x="162" y="784"/>
                    </a:lnTo>
                    <a:lnTo>
                      <a:pt x="169" y="787"/>
                    </a:lnTo>
                    <a:lnTo>
                      <a:pt x="166" y="787"/>
                    </a:lnTo>
                    <a:lnTo>
                      <a:pt x="164" y="789"/>
                    </a:lnTo>
                    <a:lnTo>
                      <a:pt x="166" y="792"/>
                    </a:lnTo>
                    <a:lnTo>
                      <a:pt x="177" y="795"/>
                    </a:lnTo>
                    <a:lnTo>
                      <a:pt x="179" y="797"/>
                    </a:lnTo>
                    <a:lnTo>
                      <a:pt x="182" y="799"/>
                    </a:lnTo>
                    <a:lnTo>
                      <a:pt x="189" y="794"/>
                    </a:lnTo>
                    <a:lnTo>
                      <a:pt x="184" y="800"/>
                    </a:lnTo>
                    <a:lnTo>
                      <a:pt x="181" y="800"/>
                    </a:lnTo>
                    <a:lnTo>
                      <a:pt x="174" y="799"/>
                    </a:lnTo>
                    <a:lnTo>
                      <a:pt x="171" y="799"/>
                    </a:lnTo>
                    <a:lnTo>
                      <a:pt x="171" y="8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6" name="Freeform 148">
                <a:extLst>
                  <a:ext uri="{FF2B5EF4-FFF2-40B4-BE49-F238E27FC236}">
                    <a16:creationId xmlns:a16="http://schemas.microsoft.com/office/drawing/2014/main" id="{602D8C04-9658-4F43-9EC2-94C140A24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835" y="1824354"/>
                <a:ext cx="1125901" cy="915153"/>
              </a:xfrm>
              <a:custGeom>
                <a:avLst/>
                <a:gdLst/>
                <a:ahLst/>
                <a:cxnLst>
                  <a:cxn ang="0">
                    <a:pos x="1530" y="128"/>
                  </a:cxn>
                  <a:cxn ang="0">
                    <a:pos x="1544" y="304"/>
                  </a:cxn>
                  <a:cxn ang="0">
                    <a:pos x="1537" y="331"/>
                  </a:cxn>
                  <a:cxn ang="0">
                    <a:pos x="1647" y="206"/>
                  </a:cxn>
                  <a:cxn ang="0">
                    <a:pos x="1686" y="121"/>
                  </a:cxn>
                  <a:cxn ang="0">
                    <a:pos x="1801" y="43"/>
                  </a:cxn>
                  <a:cxn ang="0">
                    <a:pos x="2092" y="65"/>
                  </a:cxn>
                  <a:cxn ang="0">
                    <a:pos x="1788" y="272"/>
                  </a:cxn>
                  <a:cxn ang="0">
                    <a:pos x="1618" y="390"/>
                  </a:cxn>
                  <a:cxn ang="0">
                    <a:pos x="1682" y="892"/>
                  </a:cxn>
                  <a:cxn ang="0">
                    <a:pos x="1469" y="337"/>
                  </a:cxn>
                  <a:cxn ang="0">
                    <a:pos x="1316" y="238"/>
                  </a:cxn>
                  <a:cxn ang="0">
                    <a:pos x="1095" y="199"/>
                  </a:cxn>
                  <a:cxn ang="0">
                    <a:pos x="1437" y="397"/>
                  </a:cxn>
                  <a:cxn ang="0">
                    <a:pos x="1500" y="532"/>
                  </a:cxn>
                  <a:cxn ang="0">
                    <a:pos x="878" y="271"/>
                  </a:cxn>
                  <a:cxn ang="0">
                    <a:pos x="1366" y="533"/>
                  </a:cxn>
                  <a:cxn ang="0">
                    <a:pos x="1261" y="407"/>
                  </a:cxn>
                  <a:cxn ang="0">
                    <a:pos x="951" y="311"/>
                  </a:cxn>
                  <a:cxn ang="0">
                    <a:pos x="1060" y="362"/>
                  </a:cxn>
                  <a:cxn ang="0">
                    <a:pos x="733" y="434"/>
                  </a:cxn>
                  <a:cxn ang="0">
                    <a:pos x="1100" y="578"/>
                  </a:cxn>
                  <a:cxn ang="0">
                    <a:pos x="1220" y="551"/>
                  </a:cxn>
                  <a:cxn ang="0">
                    <a:pos x="1253" y="615"/>
                  </a:cxn>
                  <a:cxn ang="0">
                    <a:pos x="1449" y="857"/>
                  </a:cxn>
                  <a:cxn ang="0">
                    <a:pos x="1294" y="933"/>
                  </a:cxn>
                  <a:cxn ang="0">
                    <a:pos x="1025" y="714"/>
                  </a:cxn>
                  <a:cxn ang="0">
                    <a:pos x="929" y="537"/>
                  </a:cxn>
                  <a:cxn ang="0">
                    <a:pos x="833" y="646"/>
                  </a:cxn>
                  <a:cxn ang="0">
                    <a:pos x="1476" y="874"/>
                  </a:cxn>
                  <a:cxn ang="0">
                    <a:pos x="1632" y="749"/>
                  </a:cxn>
                  <a:cxn ang="0">
                    <a:pos x="1535" y="942"/>
                  </a:cxn>
                  <a:cxn ang="0">
                    <a:pos x="1399" y="756"/>
                  </a:cxn>
                  <a:cxn ang="0">
                    <a:pos x="1383" y="689"/>
                  </a:cxn>
                  <a:cxn ang="0">
                    <a:pos x="1510" y="663"/>
                  </a:cxn>
                  <a:cxn ang="0">
                    <a:pos x="1630" y="744"/>
                  </a:cxn>
                  <a:cxn ang="0">
                    <a:pos x="1690" y="847"/>
                  </a:cxn>
                  <a:cxn ang="0">
                    <a:pos x="1731" y="947"/>
                  </a:cxn>
                  <a:cxn ang="0">
                    <a:pos x="1670" y="1000"/>
                  </a:cxn>
                  <a:cxn ang="0">
                    <a:pos x="1662" y="1085"/>
                  </a:cxn>
                  <a:cxn ang="0">
                    <a:pos x="1326" y="1051"/>
                  </a:cxn>
                  <a:cxn ang="0">
                    <a:pos x="1627" y="1168"/>
                  </a:cxn>
                  <a:cxn ang="0">
                    <a:pos x="1275" y="1329"/>
                  </a:cxn>
                  <a:cxn ang="0">
                    <a:pos x="1700" y="1548"/>
                  </a:cxn>
                  <a:cxn ang="0">
                    <a:pos x="1768" y="1643"/>
                  </a:cxn>
                  <a:cxn ang="0">
                    <a:pos x="1733" y="1561"/>
                  </a:cxn>
                  <a:cxn ang="0">
                    <a:pos x="1627" y="1663"/>
                  </a:cxn>
                  <a:cxn ang="0">
                    <a:pos x="133" y="1367"/>
                  </a:cxn>
                  <a:cxn ang="0">
                    <a:pos x="567" y="550"/>
                  </a:cxn>
                  <a:cxn ang="0">
                    <a:pos x="153" y="1400"/>
                  </a:cxn>
                  <a:cxn ang="0">
                    <a:pos x="123" y="1156"/>
                  </a:cxn>
                  <a:cxn ang="0">
                    <a:pos x="467" y="606"/>
                  </a:cxn>
                  <a:cxn ang="0">
                    <a:pos x="831" y="797"/>
                  </a:cxn>
                  <a:cxn ang="0">
                    <a:pos x="1067" y="827"/>
                  </a:cxn>
                  <a:cxn ang="0">
                    <a:pos x="1145" y="703"/>
                  </a:cxn>
                  <a:cxn ang="0">
                    <a:pos x="1289" y="854"/>
                  </a:cxn>
                  <a:cxn ang="0">
                    <a:pos x="1258" y="909"/>
                  </a:cxn>
                  <a:cxn ang="0">
                    <a:pos x="1032" y="1095"/>
                  </a:cxn>
                  <a:cxn ang="0">
                    <a:pos x="1246" y="1397"/>
                  </a:cxn>
                  <a:cxn ang="0">
                    <a:pos x="1514" y="1249"/>
                  </a:cxn>
                  <a:cxn ang="0">
                    <a:pos x="1658" y="1370"/>
                  </a:cxn>
                  <a:cxn ang="0">
                    <a:pos x="1680" y="1518"/>
                  </a:cxn>
                  <a:cxn ang="0">
                    <a:pos x="1547" y="1699"/>
                  </a:cxn>
                </a:cxnLst>
                <a:rect l="0" t="0" r="r" b="b"/>
                <a:pathLst>
                  <a:path w="2105" h="1764">
                    <a:moveTo>
                      <a:pt x="1522" y="311"/>
                    </a:moveTo>
                    <a:lnTo>
                      <a:pt x="1525" y="307"/>
                    </a:lnTo>
                    <a:lnTo>
                      <a:pt x="1529" y="302"/>
                    </a:lnTo>
                    <a:lnTo>
                      <a:pt x="1535" y="296"/>
                    </a:lnTo>
                    <a:lnTo>
                      <a:pt x="1539" y="286"/>
                    </a:lnTo>
                    <a:lnTo>
                      <a:pt x="1542" y="284"/>
                    </a:lnTo>
                    <a:lnTo>
                      <a:pt x="1544" y="287"/>
                    </a:lnTo>
                    <a:lnTo>
                      <a:pt x="1540" y="292"/>
                    </a:lnTo>
                    <a:lnTo>
                      <a:pt x="1540" y="294"/>
                    </a:lnTo>
                    <a:lnTo>
                      <a:pt x="1545" y="296"/>
                    </a:lnTo>
                    <a:lnTo>
                      <a:pt x="1550" y="291"/>
                    </a:lnTo>
                    <a:lnTo>
                      <a:pt x="1554" y="289"/>
                    </a:lnTo>
                    <a:lnTo>
                      <a:pt x="1554" y="284"/>
                    </a:lnTo>
                    <a:lnTo>
                      <a:pt x="1549" y="282"/>
                    </a:lnTo>
                    <a:lnTo>
                      <a:pt x="1549" y="282"/>
                    </a:lnTo>
                    <a:lnTo>
                      <a:pt x="1554" y="281"/>
                    </a:lnTo>
                    <a:lnTo>
                      <a:pt x="1554" y="274"/>
                    </a:lnTo>
                    <a:lnTo>
                      <a:pt x="1552" y="272"/>
                    </a:lnTo>
                    <a:lnTo>
                      <a:pt x="1552" y="267"/>
                    </a:lnTo>
                    <a:lnTo>
                      <a:pt x="1559" y="262"/>
                    </a:lnTo>
                    <a:lnTo>
                      <a:pt x="1560" y="256"/>
                    </a:lnTo>
                    <a:lnTo>
                      <a:pt x="1565" y="254"/>
                    </a:lnTo>
                    <a:lnTo>
                      <a:pt x="1567" y="251"/>
                    </a:lnTo>
                    <a:lnTo>
                      <a:pt x="1567" y="254"/>
                    </a:lnTo>
                    <a:lnTo>
                      <a:pt x="1569" y="257"/>
                    </a:lnTo>
                    <a:lnTo>
                      <a:pt x="1565" y="257"/>
                    </a:lnTo>
                    <a:lnTo>
                      <a:pt x="1562" y="266"/>
                    </a:lnTo>
                    <a:lnTo>
                      <a:pt x="1557" y="271"/>
                    </a:lnTo>
                    <a:lnTo>
                      <a:pt x="1557" y="276"/>
                    </a:lnTo>
                    <a:lnTo>
                      <a:pt x="1559" y="281"/>
                    </a:lnTo>
                    <a:lnTo>
                      <a:pt x="1560" y="286"/>
                    </a:lnTo>
                    <a:lnTo>
                      <a:pt x="1562" y="282"/>
                    </a:lnTo>
                    <a:lnTo>
                      <a:pt x="1567" y="276"/>
                    </a:lnTo>
                    <a:lnTo>
                      <a:pt x="1575" y="269"/>
                    </a:lnTo>
                    <a:lnTo>
                      <a:pt x="1579" y="264"/>
                    </a:lnTo>
                    <a:lnTo>
                      <a:pt x="1579" y="259"/>
                    </a:lnTo>
                    <a:lnTo>
                      <a:pt x="1582" y="254"/>
                    </a:lnTo>
                    <a:lnTo>
                      <a:pt x="1585" y="252"/>
                    </a:lnTo>
                    <a:lnTo>
                      <a:pt x="1585" y="256"/>
                    </a:lnTo>
                    <a:lnTo>
                      <a:pt x="1583" y="257"/>
                    </a:lnTo>
                    <a:lnTo>
                      <a:pt x="1583" y="262"/>
                    </a:lnTo>
                    <a:lnTo>
                      <a:pt x="1588" y="261"/>
                    </a:lnTo>
                    <a:lnTo>
                      <a:pt x="1593" y="254"/>
                    </a:lnTo>
                    <a:lnTo>
                      <a:pt x="1597" y="254"/>
                    </a:lnTo>
                    <a:lnTo>
                      <a:pt x="1603" y="256"/>
                    </a:lnTo>
                    <a:lnTo>
                      <a:pt x="1612" y="252"/>
                    </a:lnTo>
                    <a:lnTo>
                      <a:pt x="1617" y="252"/>
                    </a:lnTo>
                    <a:lnTo>
                      <a:pt x="1620" y="249"/>
                    </a:lnTo>
                    <a:lnTo>
                      <a:pt x="1625" y="247"/>
                    </a:lnTo>
                    <a:lnTo>
                      <a:pt x="1627" y="244"/>
                    </a:lnTo>
                    <a:lnTo>
                      <a:pt x="1627" y="241"/>
                    </a:lnTo>
                    <a:lnTo>
                      <a:pt x="1627" y="238"/>
                    </a:lnTo>
                    <a:lnTo>
                      <a:pt x="1623" y="236"/>
                    </a:lnTo>
                    <a:lnTo>
                      <a:pt x="1627" y="229"/>
                    </a:lnTo>
                    <a:lnTo>
                      <a:pt x="1625" y="219"/>
                    </a:lnTo>
                    <a:lnTo>
                      <a:pt x="1623" y="219"/>
                    </a:lnTo>
                    <a:lnTo>
                      <a:pt x="1620" y="226"/>
                    </a:lnTo>
                    <a:lnTo>
                      <a:pt x="1615" y="231"/>
                    </a:lnTo>
                    <a:lnTo>
                      <a:pt x="1612" y="231"/>
                    </a:lnTo>
                    <a:lnTo>
                      <a:pt x="1612" y="229"/>
                    </a:lnTo>
                    <a:lnTo>
                      <a:pt x="1617" y="224"/>
                    </a:lnTo>
                    <a:lnTo>
                      <a:pt x="1622" y="223"/>
                    </a:lnTo>
                    <a:lnTo>
                      <a:pt x="1622" y="219"/>
                    </a:lnTo>
                    <a:lnTo>
                      <a:pt x="1617" y="214"/>
                    </a:lnTo>
                    <a:lnTo>
                      <a:pt x="1615" y="211"/>
                    </a:lnTo>
                    <a:lnTo>
                      <a:pt x="1613" y="211"/>
                    </a:lnTo>
                    <a:lnTo>
                      <a:pt x="1610" y="213"/>
                    </a:lnTo>
                    <a:lnTo>
                      <a:pt x="1610" y="214"/>
                    </a:lnTo>
                    <a:lnTo>
                      <a:pt x="1607" y="213"/>
                    </a:lnTo>
                    <a:lnTo>
                      <a:pt x="1602" y="213"/>
                    </a:lnTo>
                    <a:lnTo>
                      <a:pt x="1598" y="216"/>
                    </a:lnTo>
                    <a:lnTo>
                      <a:pt x="1595" y="214"/>
                    </a:lnTo>
                    <a:lnTo>
                      <a:pt x="1595" y="213"/>
                    </a:lnTo>
                    <a:lnTo>
                      <a:pt x="1607" y="208"/>
                    </a:lnTo>
                    <a:lnTo>
                      <a:pt x="1612" y="208"/>
                    </a:lnTo>
                    <a:lnTo>
                      <a:pt x="1620" y="199"/>
                    </a:lnTo>
                    <a:lnTo>
                      <a:pt x="1623" y="198"/>
                    </a:lnTo>
                    <a:lnTo>
                      <a:pt x="1628" y="189"/>
                    </a:lnTo>
                    <a:lnTo>
                      <a:pt x="1630" y="183"/>
                    </a:lnTo>
                    <a:lnTo>
                      <a:pt x="1628" y="181"/>
                    </a:lnTo>
                    <a:lnTo>
                      <a:pt x="1625" y="181"/>
                    </a:lnTo>
                    <a:lnTo>
                      <a:pt x="1622" y="183"/>
                    </a:lnTo>
                    <a:lnTo>
                      <a:pt x="1620" y="181"/>
                    </a:lnTo>
                    <a:lnTo>
                      <a:pt x="1622" y="179"/>
                    </a:lnTo>
                    <a:lnTo>
                      <a:pt x="1625" y="178"/>
                    </a:lnTo>
                    <a:lnTo>
                      <a:pt x="1628" y="178"/>
                    </a:lnTo>
                    <a:lnTo>
                      <a:pt x="1630" y="174"/>
                    </a:lnTo>
                    <a:lnTo>
                      <a:pt x="1630" y="169"/>
                    </a:lnTo>
                    <a:lnTo>
                      <a:pt x="1635" y="166"/>
                    </a:lnTo>
                    <a:lnTo>
                      <a:pt x="1635" y="161"/>
                    </a:lnTo>
                    <a:lnTo>
                      <a:pt x="1633" y="159"/>
                    </a:lnTo>
                    <a:lnTo>
                      <a:pt x="1633" y="156"/>
                    </a:lnTo>
                    <a:lnTo>
                      <a:pt x="1630" y="154"/>
                    </a:lnTo>
                    <a:lnTo>
                      <a:pt x="1625" y="156"/>
                    </a:lnTo>
                    <a:lnTo>
                      <a:pt x="1620" y="166"/>
                    </a:lnTo>
                    <a:lnTo>
                      <a:pt x="1618" y="171"/>
                    </a:lnTo>
                    <a:lnTo>
                      <a:pt x="1622" y="173"/>
                    </a:lnTo>
                    <a:lnTo>
                      <a:pt x="1618" y="178"/>
                    </a:lnTo>
                    <a:lnTo>
                      <a:pt x="1615" y="179"/>
                    </a:lnTo>
                    <a:lnTo>
                      <a:pt x="1615" y="178"/>
                    </a:lnTo>
                    <a:lnTo>
                      <a:pt x="1615" y="176"/>
                    </a:lnTo>
                    <a:lnTo>
                      <a:pt x="1613" y="173"/>
                    </a:lnTo>
                    <a:lnTo>
                      <a:pt x="1613" y="169"/>
                    </a:lnTo>
                    <a:lnTo>
                      <a:pt x="1617" y="163"/>
                    </a:lnTo>
                    <a:lnTo>
                      <a:pt x="1615" y="158"/>
                    </a:lnTo>
                    <a:lnTo>
                      <a:pt x="1617" y="156"/>
                    </a:lnTo>
                    <a:lnTo>
                      <a:pt x="1618" y="158"/>
                    </a:lnTo>
                    <a:lnTo>
                      <a:pt x="1622" y="156"/>
                    </a:lnTo>
                    <a:lnTo>
                      <a:pt x="1620" y="149"/>
                    </a:lnTo>
                    <a:lnTo>
                      <a:pt x="1617" y="146"/>
                    </a:lnTo>
                    <a:lnTo>
                      <a:pt x="1613" y="146"/>
                    </a:lnTo>
                    <a:lnTo>
                      <a:pt x="1608" y="148"/>
                    </a:lnTo>
                    <a:lnTo>
                      <a:pt x="1605" y="151"/>
                    </a:lnTo>
                    <a:lnTo>
                      <a:pt x="1605" y="148"/>
                    </a:lnTo>
                    <a:lnTo>
                      <a:pt x="1603" y="148"/>
                    </a:lnTo>
                    <a:lnTo>
                      <a:pt x="1603" y="141"/>
                    </a:lnTo>
                    <a:lnTo>
                      <a:pt x="1600" y="135"/>
                    </a:lnTo>
                    <a:lnTo>
                      <a:pt x="1602" y="126"/>
                    </a:lnTo>
                    <a:lnTo>
                      <a:pt x="1602" y="120"/>
                    </a:lnTo>
                    <a:lnTo>
                      <a:pt x="1603" y="115"/>
                    </a:lnTo>
                    <a:lnTo>
                      <a:pt x="1605" y="106"/>
                    </a:lnTo>
                    <a:lnTo>
                      <a:pt x="1605" y="101"/>
                    </a:lnTo>
                    <a:lnTo>
                      <a:pt x="1608" y="95"/>
                    </a:lnTo>
                    <a:lnTo>
                      <a:pt x="1608" y="88"/>
                    </a:lnTo>
                    <a:lnTo>
                      <a:pt x="1605" y="85"/>
                    </a:lnTo>
                    <a:lnTo>
                      <a:pt x="1603" y="80"/>
                    </a:lnTo>
                    <a:lnTo>
                      <a:pt x="1597" y="75"/>
                    </a:lnTo>
                    <a:lnTo>
                      <a:pt x="1595" y="71"/>
                    </a:lnTo>
                    <a:lnTo>
                      <a:pt x="1588" y="68"/>
                    </a:lnTo>
                    <a:lnTo>
                      <a:pt x="1585" y="70"/>
                    </a:lnTo>
                    <a:lnTo>
                      <a:pt x="1585" y="73"/>
                    </a:lnTo>
                    <a:lnTo>
                      <a:pt x="1583" y="73"/>
                    </a:lnTo>
                    <a:lnTo>
                      <a:pt x="1577" y="68"/>
                    </a:lnTo>
                    <a:lnTo>
                      <a:pt x="1572" y="68"/>
                    </a:lnTo>
                    <a:lnTo>
                      <a:pt x="1572" y="73"/>
                    </a:lnTo>
                    <a:lnTo>
                      <a:pt x="1569" y="80"/>
                    </a:lnTo>
                    <a:lnTo>
                      <a:pt x="1572" y="81"/>
                    </a:lnTo>
                    <a:lnTo>
                      <a:pt x="1577" y="81"/>
                    </a:lnTo>
                    <a:lnTo>
                      <a:pt x="1582" y="81"/>
                    </a:lnTo>
                    <a:lnTo>
                      <a:pt x="1587" y="83"/>
                    </a:lnTo>
                    <a:lnTo>
                      <a:pt x="1588" y="86"/>
                    </a:lnTo>
                    <a:lnTo>
                      <a:pt x="1593" y="88"/>
                    </a:lnTo>
                    <a:lnTo>
                      <a:pt x="1592" y="90"/>
                    </a:lnTo>
                    <a:lnTo>
                      <a:pt x="1585" y="96"/>
                    </a:lnTo>
                    <a:lnTo>
                      <a:pt x="1582" y="96"/>
                    </a:lnTo>
                    <a:lnTo>
                      <a:pt x="1577" y="93"/>
                    </a:lnTo>
                    <a:lnTo>
                      <a:pt x="1572" y="93"/>
                    </a:lnTo>
                    <a:lnTo>
                      <a:pt x="1567" y="93"/>
                    </a:lnTo>
                    <a:lnTo>
                      <a:pt x="1570" y="96"/>
                    </a:lnTo>
                    <a:lnTo>
                      <a:pt x="1574" y="96"/>
                    </a:lnTo>
                    <a:lnTo>
                      <a:pt x="1570" y="100"/>
                    </a:lnTo>
                    <a:lnTo>
                      <a:pt x="1565" y="101"/>
                    </a:lnTo>
                    <a:lnTo>
                      <a:pt x="1559" y="95"/>
                    </a:lnTo>
                    <a:lnTo>
                      <a:pt x="1552" y="98"/>
                    </a:lnTo>
                    <a:lnTo>
                      <a:pt x="1550" y="105"/>
                    </a:lnTo>
                    <a:lnTo>
                      <a:pt x="1547" y="106"/>
                    </a:lnTo>
                    <a:lnTo>
                      <a:pt x="1547" y="110"/>
                    </a:lnTo>
                    <a:lnTo>
                      <a:pt x="1550" y="111"/>
                    </a:lnTo>
                    <a:lnTo>
                      <a:pt x="1552" y="116"/>
                    </a:lnTo>
                    <a:lnTo>
                      <a:pt x="1557" y="120"/>
                    </a:lnTo>
                    <a:lnTo>
                      <a:pt x="1557" y="121"/>
                    </a:lnTo>
                    <a:lnTo>
                      <a:pt x="1554" y="121"/>
                    </a:lnTo>
                    <a:lnTo>
                      <a:pt x="1554" y="125"/>
                    </a:lnTo>
                    <a:lnTo>
                      <a:pt x="1555" y="126"/>
                    </a:lnTo>
                    <a:lnTo>
                      <a:pt x="1555" y="130"/>
                    </a:lnTo>
                    <a:lnTo>
                      <a:pt x="1552" y="130"/>
                    </a:lnTo>
                    <a:lnTo>
                      <a:pt x="1549" y="126"/>
                    </a:lnTo>
                    <a:lnTo>
                      <a:pt x="1544" y="126"/>
                    </a:lnTo>
                    <a:lnTo>
                      <a:pt x="1539" y="123"/>
                    </a:lnTo>
                    <a:lnTo>
                      <a:pt x="1535" y="123"/>
                    </a:lnTo>
                    <a:lnTo>
                      <a:pt x="1530" y="125"/>
                    </a:lnTo>
                    <a:lnTo>
                      <a:pt x="1530" y="128"/>
                    </a:lnTo>
                    <a:lnTo>
                      <a:pt x="1534" y="133"/>
                    </a:lnTo>
                    <a:lnTo>
                      <a:pt x="1530" y="136"/>
                    </a:lnTo>
                    <a:lnTo>
                      <a:pt x="1529" y="135"/>
                    </a:lnTo>
                    <a:lnTo>
                      <a:pt x="1529" y="131"/>
                    </a:lnTo>
                    <a:lnTo>
                      <a:pt x="1525" y="130"/>
                    </a:lnTo>
                    <a:lnTo>
                      <a:pt x="1520" y="128"/>
                    </a:lnTo>
                    <a:lnTo>
                      <a:pt x="1519" y="128"/>
                    </a:lnTo>
                    <a:lnTo>
                      <a:pt x="1515" y="125"/>
                    </a:lnTo>
                    <a:lnTo>
                      <a:pt x="1512" y="125"/>
                    </a:lnTo>
                    <a:lnTo>
                      <a:pt x="1510" y="126"/>
                    </a:lnTo>
                    <a:lnTo>
                      <a:pt x="1514" y="133"/>
                    </a:lnTo>
                    <a:lnTo>
                      <a:pt x="1512" y="136"/>
                    </a:lnTo>
                    <a:lnTo>
                      <a:pt x="1514" y="143"/>
                    </a:lnTo>
                    <a:lnTo>
                      <a:pt x="1519" y="145"/>
                    </a:lnTo>
                    <a:lnTo>
                      <a:pt x="1524" y="146"/>
                    </a:lnTo>
                    <a:lnTo>
                      <a:pt x="1525" y="148"/>
                    </a:lnTo>
                    <a:lnTo>
                      <a:pt x="1524" y="149"/>
                    </a:lnTo>
                    <a:lnTo>
                      <a:pt x="1519" y="148"/>
                    </a:lnTo>
                    <a:lnTo>
                      <a:pt x="1525" y="151"/>
                    </a:lnTo>
                    <a:lnTo>
                      <a:pt x="1527" y="154"/>
                    </a:lnTo>
                    <a:lnTo>
                      <a:pt x="1530" y="158"/>
                    </a:lnTo>
                    <a:lnTo>
                      <a:pt x="1537" y="158"/>
                    </a:lnTo>
                    <a:lnTo>
                      <a:pt x="1540" y="154"/>
                    </a:lnTo>
                    <a:lnTo>
                      <a:pt x="1542" y="154"/>
                    </a:lnTo>
                    <a:lnTo>
                      <a:pt x="1544" y="158"/>
                    </a:lnTo>
                    <a:lnTo>
                      <a:pt x="1539" y="161"/>
                    </a:lnTo>
                    <a:lnTo>
                      <a:pt x="1537" y="168"/>
                    </a:lnTo>
                    <a:lnTo>
                      <a:pt x="1534" y="168"/>
                    </a:lnTo>
                    <a:lnTo>
                      <a:pt x="1529" y="163"/>
                    </a:lnTo>
                    <a:lnTo>
                      <a:pt x="1515" y="161"/>
                    </a:lnTo>
                    <a:lnTo>
                      <a:pt x="1510" y="154"/>
                    </a:lnTo>
                    <a:lnTo>
                      <a:pt x="1507" y="153"/>
                    </a:lnTo>
                    <a:lnTo>
                      <a:pt x="1505" y="151"/>
                    </a:lnTo>
                    <a:lnTo>
                      <a:pt x="1504" y="151"/>
                    </a:lnTo>
                    <a:lnTo>
                      <a:pt x="1502" y="156"/>
                    </a:lnTo>
                    <a:lnTo>
                      <a:pt x="1502" y="158"/>
                    </a:lnTo>
                    <a:lnTo>
                      <a:pt x="1500" y="159"/>
                    </a:lnTo>
                    <a:lnTo>
                      <a:pt x="1502" y="166"/>
                    </a:lnTo>
                    <a:lnTo>
                      <a:pt x="1499" y="169"/>
                    </a:lnTo>
                    <a:lnTo>
                      <a:pt x="1495" y="168"/>
                    </a:lnTo>
                    <a:lnTo>
                      <a:pt x="1495" y="173"/>
                    </a:lnTo>
                    <a:lnTo>
                      <a:pt x="1492" y="174"/>
                    </a:lnTo>
                    <a:lnTo>
                      <a:pt x="1492" y="184"/>
                    </a:lnTo>
                    <a:lnTo>
                      <a:pt x="1495" y="186"/>
                    </a:lnTo>
                    <a:lnTo>
                      <a:pt x="1504" y="188"/>
                    </a:lnTo>
                    <a:lnTo>
                      <a:pt x="1507" y="189"/>
                    </a:lnTo>
                    <a:lnTo>
                      <a:pt x="1512" y="188"/>
                    </a:lnTo>
                    <a:lnTo>
                      <a:pt x="1512" y="189"/>
                    </a:lnTo>
                    <a:lnTo>
                      <a:pt x="1509" y="191"/>
                    </a:lnTo>
                    <a:lnTo>
                      <a:pt x="1504" y="189"/>
                    </a:lnTo>
                    <a:lnTo>
                      <a:pt x="1495" y="189"/>
                    </a:lnTo>
                    <a:lnTo>
                      <a:pt x="1494" y="189"/>
                    </a:lnTo>
                    <a:lnTo>
                      <a:pt x="1489" y="189"/>
                    </a:lnTo>
                    <a:lnTo>
                      <a:pt x="1482" y="198"/>
                    </a:lnTo>
                    <a:lnTo>
                      <a:pt x="1482" y="199"/>
                    </a:lnTo>
                    <a:lnTo>
                      <a:pt x="1485" y="203"/>
                    </a:lnTo>
                    <a:lnTo>
                      <a:pt x="1484" y="206"/>
                    </a:lnTo>
                    <a:lnTo>
                      <a:pt x="1482" y="206"/>
                    </a:lnTo>
                    <a:lnTo>
                      <a:pt x="1481" y="209"/>
                    </a:lnTo>
                    <a:lnTo>
                      <a:pt x="1484" y="213"/>
                    </a:lnTo>
                    <a:lnTo>
                      <a:pt x="1487" y="211"/>
                    </a:lnTo>
                    <a:lnTo>
                      <a:pt x="1492" y="211"/>
                    </a:lnTo>
                    <a:lnTo>
                      <a:pt x="1497" y="208"/>
                    </a:lnTo>
                    <a:lnTo>
                      <a:pt x="1499" y="209"/>
                    </a:lnTo>
                    <a:lnTo>
                      <a:pt x="1499" y="213"/>
                    </a:lnTo>
                    <a:lnTo>
                      <a:pt x="1494" y="213"/>
                    </a:lnTo>
                    <a:lnTo>
                      <a:pt x="1492" y="218"/>
                    </a:lnTo>
                    <a:lnTo>
                      <a:pt x="1494" y="219"/>
                    </a:lnTo>
                    <a:lnTo>
                      <a:pt x="1497" y="219"/>
                    </a:lnTo>
                    <a:lnTo>
                      <a:pt x="1500" y="216"/>
                    </a:lnTo>
                    <a:lnTo>
                      <a:pt x="1504" y="216"/>
                    </a:lnTo>
                    <a:lnTo>
                      <a:pt x="1509" y="213"/>
                    </a:lnTo>
                    <a:lnTo>
                      <a:pt x="1509" y="216"/>
                    </a:lnTo>
                    <a:lnTo>
                      <a:pt x="1505" y="218"/>
                    </a:lnTo>
                    <a:lnTo>
                      <a:pt x="1509" y="219"/>
                    </a:lnTo>
                    <a:lnTo>
                      <a:pt x="1515" y="219"/>
                    </a:lnTo>
                    <a:lnTo>
                      <a:pt x="1517" y="223"/>
                    </a:lnTo>
                    <a:lnTo>
                      <a:pt x="1514" y="223"/>
                    </a:lnTo>
                    <a:lnTo>
                      <a:pt x="1514" y="226"/>
                    </a:lnTo>
                    <a:lnTo>
                      <a:pt x="1517" y="226"/>
                    </a:lnTo>
                    <a:lnTo>
                      <a:pt x="1522" y="224"/>
                    </a:lnTo>
                    <a:lnTo>
                      <a:pt x="1527" y="229"/>
                    </a:lnTo>
                    <a:lnTo>
                      <a:pt x="1539" y="231"/>
                    </a:lnTo>
                    <a:lnTo>
                      <a:pt x="1540" y="233"/>
                    </a:lnTo>
                    <a:lnTo>
                      <a:pt x="1530" y="233"/>
                    </a:lnTo>
                    <a:lnTo>
                      <a:pt x="1525" y="233"/>
                    </a:lnTo>
                    <a:lnTo>
                      <a:pt x="1519" y="229"/>
                    </a:lnTo>
                    <a:lnTo>
                      <a:pt x="1514" y="231"/>
                    </a:lnTo>
                    <a:lnTo>
                      <a:pt x="1512" y="234"/>
                    </a:lnTo>
                    <a:lnTo>
                      <a:pt x="1519" y="236"/>
                    </a:lnTo>
                    <a:lnTo>
                      <a:pt x="1529" y="238"/>
                    </a:lnTo>
                    <a:lnTo>
                      <a:pt x="1539" y="238"/>
                    </a:lnTo>
                    <a:lnTo>
                      <a:pt x="1542" y="239"/>
                    </a:lnTo>
                    <a:lnTo>
                      <a:pt x="1530" y="241"/>
                    </a:lnTo>
                    <a:lnTo>
                      <a:pt x="1527" y="241"/>
                    </a:lnTo>
                    <a:lnTo>
                      <a:pt x="1519" y="239"/>
                    </a:lnTo>
                    <a:lnTo>
                      <a:pt x="1512" y="239"/>
                    </a:lnTo>
                    <a:lnTo>
                      <a:pt x="1509" y="236"/>
                    </a:lnTo>
                    <a:lnTo>
                      <a:pt x="1504" y="234"/>
                    </a:lnTo>
                    <a:lnTo>
                      <a:pt x="1497" y="229"/>
                    </a:lnTo>
                    <a:lnTo>
                      <a:pt x="1495" y="231"/>
                    </a:lnTo>
                    <a:lnTo>
                      <a:pt x="1492" y="234"/>
                    </a:lnTo>
                    <a:lnTo>
                      <a:pt x="1484" y="234"/>
                    </a:lnTo>
                    <a:lnTo>
                      <a:pt x="1481" y="236"/>
                    </a:lnTo>
                    <a:lnTo>
                      <a:pt x="1479" y="244"/>
                    </a:lnTo>
                    <a:lnTo>
                      <a:pt x="1485" y="249"/>
                    </a:lnTo>
                    <a:lnTo>
                      <a:pt x="1485" y="254"/>
                    </a:lnTo>
                    <a:lnTo>
                      <a:pt x="1484" y="256"/>
                    </a:lnTo>
                    <a:lnTo>
                      <a:pt x="1481" y="249"/>
                    </a:lnTo>
                    <a:lnTo>
                      <a:pt x="1477" y="249"/>
                    </a:lnTo>
                    <a:lnTo>
                      <a:pt x="1474" y="257"/>
                    </a:lnTo>
                    <a:lnTo>
                      <a:pt x="1476" y="264"/>
                    </a:lnTo>
                    <a:lnTo>
                      <a:pt x="1479" y="264"/>
                    </a:lnTo>
                    <a:lnTo>
                      <a:pt x="1481" y="262"/>
                    </a:lnTo>
                    <a:lnTo>
                      <a:pt x="1484" y="262"/>
                    </a:lnTo>
                    <a:lnTo>
                      <a:pt x="1487" y="267"/>
                    </a:lnTo>
                    <a:lnTo>
                      <a:pt x="1490" y="269"/>
                    </a:lnTo>
                    <a:lnTo>
                      <a:pt x="1485" y="269"/>
                    </a:lnTo>
                    <a:lnTo>
                      <a:pt x="1484" y="271"/>
                    </a:lnTo>
                    <a:lnTo>
                      <a:pt x="1479" y="267"/>
                    </a:lnTo>
                    <a:lnTo>
                      <a:pt x="1474" y="267"/>
                    </a:lnTo>
                    <a:lnTo>
                      <a:pt x="1472" y="276"/>
                    </a:lnTo>
                    <a:lnTo>
                      <a:pt x="1474" y="279"/>
                    </a:lnTo>
                    <a:lnTo>
                      <a:pt x="1477" y="277"/>
                    </a:lnTo>
                    <a:lnTo>
                      <a:pt x="1476" y="281"/>
                    </a:lnTo>
                    <a:lnTo>
                      <a:pt x="1476" y="289"/>
                    </a:lnTo>
                    <a:lnTo>
                      <a:pt x="1479" y="287"/>
                    </a:lnTo>
                    <a:lnTo>
                      <a:pt x="1482" y="289"/>
                    </a:lnTo>
                    <a:lnTo>
                      <a:pt x="1482" y="296"/>
                    </a:lnTo>
                    <a:lnTo>
                      <a:pt x="1489" y="297"/>
                    </a:lnTo>
                    <a:lnTo>
                      <a:pt x="1499" y="302"/>
                    </a:lnTo>
                    <a:lnTo>
                      <a:pt x="1504" y="301"/>
                    </a:lnTo>
                    <a:lnTo>
                      <a:pt x="1505" y="297"/>
                    </a:lnTo>
                    <a:lnTo>
                      <a:pt x="1504" y="294"/>
                    </a:lnTo>
                    <a:lnTo>
                      <a:pt x="1510" y="294"/>
                    </a:lnTo>
                    <a:lnTo>
                      <a:pt x="1512" y="297"/>
                    </a:lnTo>
                    <a:lnTo>
                      <a:pt x="1510" y="302"/>
                    </a:lnTo>
                    <a:lnTo>
                      <a:pt x="1512" y="306"/>
                    </a:lnTo>
                    <a:lnTo>
                      <a:pt x="1514" y="306"/>
                    </a:lnTo>
                    <a:lnTo>
                      <a:pt x="1517" y="294"/>
                    </a:lnTo>
                    <a:lnTo>
                      <a:pt x="1517" y="286"/>
                    </a:lnTo>
                    <a:lnTo>
                      <a:pt x="1519" y="279"/>
                    </a:lnTo>
                    <a:lnTo>
                      <a:pt x="1524" y="274"/>
                    </a:lnTo>
                    <a:lnTo>
                      <a:pt x="1527" y="271"/>
                    </a:lnTo>
                    <a:lnTo>
                      <a:pt x="1527" y="276"/>
                    </a:lnTo>
                    <a:lnTo>
                      <a:pt x="1520" y="284"/>
                    </a:lnTo>
                    <a:lnTo>
                      <a:pt x="1520" y="291"/>
                    </a:lnTo>
                    <a:lnTo>
                      <a:pt x="1522" y="294"/>
                    </a:lnTo>
                    <a:lnTo>
                      <a:pt x="1519" y="302"/>
                    </a:lnTo>
                    <a:lnTo>
                      <a:pt x="1522" y="306"/>
                    </a:lnTo>
                    <a:lnTo>
                      <a:pt x="1520" y="309"/>
                    </a:lnTo>
                    <a:lnTo>
                      <a:pt x="1522" y="311"/>
                    </a:lnTo>
                    <a:lnTo>
                      <a:pt x="1522" y="311"/>
                    </a:lnTo>
                    <a:close/>
                    <a:moveTo>
                      <a:pt x="1534" y="118"/>
                    </a:moveTo>
                    <a:lnTo>
                      <a:pt x="1535" y="116"/>
                    </a:lnTo>
                    <a:lnTo>
                      <a:pt x="1539" y="116"/>
                    </a:lnTo>
                    <a:lnTo>
                      <a:pt x="1540" y="118"/>
                    </a:lnTo>
                    <a:lnTo>
                      <a:pt x="1544" y="118"/>
                    </a:lnTo>
                    <a:lnTo>
                      <a:pt x="1545" y="121"/>
                    </a:lnTo>
                    <a:lnTo>
                      <a:pt x="1542" y="121"/>
                    </a:lnTo>
                    <a:lnTo>
                      <a:pt x="1540" y="120"/>
                    </a:lnTo>
                    <a:lnTo>
                      <a:pt x="1535" y="120"/>
                    </a:lnTo>
                    <a:lnTo>
                      <a:pt x="1534" y="118"/>
                    </a:lnTo>
                    <a:lnTo>
                      <a:pt x="1534" y="118"/>
                    </a:lnTo>
                    <a:close/>
                    <a:moveTo>
                      <a:pt x="1537" y="309"/>
                    </a:moveTo>
                    <a:lnTo>
                      <a:pt x="1539" y="304"/>
                    </a:lnTo>
                    <a:lnTo>
                      <a:pt x="1542" y="302"/>
                    </a:lnTo>
                    <a:lnTo>
                      <a:pt x="1542" y="299"/>
                    </a:lnTo>
                    <a:lnTo>
                      <a:pt x="1545" y="297"/>
                    </a:lnTo>
                    <a:lnTo>
                      <a:pt x="1547" y="299"/>
                    </a:lnTo>
                    <a:lnTo>
                      <a:pt x="1545" y="301"/>
                    </a:lnTo>
                    <a:lnTo>
                      <a:pt x="1544" y="304"/>
                    </a:lnTo>
                    <a:lnTo>
                      <a:pt x="1539" y="307"/>
                    </a:lnTo>
                    <a:lnTo>
                      <a:pt x="1537" y="309"/>
                    </a:lnTo>
                    <a:lnTo>
                      <a:pt x="1537" y="309"/>
                    </a:lnTo>
                    <a:close/>
                    <a:moveTo>
                      <a:pt x="1587" y="267"/>
                    </a:moveTo>
                    <a:lnTo>
                      <a:pt x="1593" y="259"/>
                    </a:lnTo>
                    <a:lnTo>
                      <a:pt x="1597" y="259"/>
                    </a:lnTo>
                    <a:lnTo>
                      <a:pt x="1602" y="257"/>
                    </a:lnTo>
                    <a:lnTo>
                      <a:pt x="1605" y="259"/>
                    </a:lnTo>
                    <a:lnTo>
                      <a:pt x="1610" y="262"/>
                    </a:lnTo>
                    <a:lnTo>
                      <a:pt x="1608" y="266"/>
                    </a:lnTo>
                    <a:lnTo>
                      <a:pt x="1602" y="266"/>
                    </a:lnTo>
                    <a:lnTo>
                      <a:pt x="1598" y="269"/>
                    </a:lnTo>
                    <a:lnTo>
                      <a:pt x="1592" y="269"/>
                    </a:lnTo>
                    <a:lnTo>
                      <a:pt x="1588" y="269"/>
                    </a:lnTo>
                    <a:lnTo>
                      <a:pt x="1587" y="267"/>
                    </a:lnTo>
                    <a:lnTo>
                      <a:pt x="1587" y="267"/>
                    </a:lnTo>
                    <a:close/>
                    <a:moveTo>
                      <a:pt x="1952" y="8"/>
                    </a:moveTo>
                    <a:lnTo>
                      <a:pt x="1954" y="5"/>
                    </a:lnTo>
                    <a:lnTo>
                      <a:pt x="1957" y="5"/>
                    </a:lnTo>
                    <a:lnTo>
                      <a:pt x="1959" y="8"/>
                    </a:lnTo>
                    <a:lnTo>
                      <a:pt x="1956" y="10"/>
                    </a:lnTo>
                    <a:lnTo>
                      <a:pt x="1952" y="8"/>
                    </a:lnTo>
                    <a:lnTo>
                      <a:pt x="1952" y="8"/>
                    </a:lnTo>
                    <a:close/>
                    <a:moveTo>
                      <a:pt x="1776" y="317"/>
                    </a:moveTo>
                    <a:lnTo>
                      <a:pt x="1775" y="319"/>
                    </a:lnTo>
                    <a:lnTo>
                      <a:pt x="1778" y="322"/>
                    </a:lnTo>
                    <a:lnTo>
                      <a:pt x="1781" y="322"/>
                    </a:lnTo>
                    <a:lnTo>
                      <a:pt x="1783" y="319"/>
                    </a:lnTo>
                    <a:lnTo>
                      <a:pt x="1780" y="317"/>
                    </a:lnTo>
                    <a:lnTo>
                      <a:pt x="1780" y="317"/>
                    </a:lnTo>
                    <a:lnTo>
                      <a:pt x="1776" y="317"/>
                    </a:lnTo>
                    <a:lnTo>
                      <a:pt x="1776" y="317"/>
                    </a:lnTo>
                    <a:close/>
                    <a:moveTo>
                      <a:pt x="1690" y="367"/>
                    </a:moveTo>
                    <a:lnTo>
                      <a:pt x="1691" y="369"/>
                    </a:lnTo>
                    <a:lnTo>
                      <a:pt x="1696" y="369"/>
                    </a:lnTo>
                    <a:lnTo>
                      <a:pt x="1693" y="365"/>
                    </a:lnTo>
                    <a:lnTo>
                      <a:pt x="1690" y="367"/>
                    </a:lnTo>
                    <a:lnTo>
                      <a:pt x="1690" y="367"/>
                    </a:lnTo>
                    <a:close/>
                    <a:moveTo>
                      <a:pt x="1567" y="364"/>
                    </a:moveTo>
                    <a:lnTo>
                      <a:pt x="1565" y="359"/>
                    </a:lnTo>
                    <a:lnTo>
                      <a:pt x="1565" y="357"/>
                    </a:lnTo>
                    <a:lnTo>
                      <a:pt x="1567" y="355"/>
                    </a:lnTo>
                    <a:lnTo>
                      <a:pt x="1570" y="359"/>
                    </a:lnTo>
                    <a:lnTo>
                      <a:pt x="1570" y="362"/>
                    </a:lnTo>
                    <a:lnTo>
                      <a:pt x="1569" y="364"/>
                    </a:lnTo>
                    <a:lnTo>
                      <a:pt x="1567" y="364"/>
                    </a:lnTo>
                    <a:lnTo>
                      <a:pt x="1567" y="364"/>
                    </a:lnTo>
                    <a:close/>
                    <a:moveTo>
                      <a:pt x="1532" y="430"/>
                    </a:moveTo>
                    <a:lnTo>
                      <a:pt x="1532" y="429"/>
                    </a:lnTo>
                    <a:lnTo>
                      <a:pt x="1532" y="424"/>
                    </a:lnTo>
                    <a:lnTo>
                      <a:pt x="1530" y="419"/>
                    </a:lnTo>
                    <a:lnTo>
                      <a:pt x="1529" y="417"/>
                    </a:lnTo>
                    <a:lnTo>
                      <a:pt x="1527" y="419"/>
                    </a:lnTo>
                    <a:lnTo>
                      <a:pt x="1525" y="424"/>
                    </a:lnTo>
                    <a:lnTo>
                      <a:pt x="1527" y="432"/>
                    </a:lnTo>
                    <a:lnTo>
                      <a:pt x="1530" y="437"/>
                    </a:lnTo>
                    <a:lnTo>
                      <a:pt x="1529" y="440"/>
                    </a:lnTo>
                    <a:lnTo>
                      <a:pt x="1527" y="440"/>
                    </a:lnTo>
                    <a:lnTo>
                      <a:pt x="1524" y="439"/>
                    </a:lnTo>
                    <a:lnTo>
                      <a:pt x="1514" y="439"/>
                    </a:lnTo>
                    <a:lnTo>
                      <a:pt x="1514" y="435"/>
                    </a:lnTo>
                    <a:lnTo>
                      <a:pt x="1512" y="434"/>
                    </a:lnTo>
                    <a:lnTo>
                      <a:pt x="1504" y="430"/>
                    </a:lnTo>
                    <a:lnTo>
                      <a:pt x="1500" y="430"/>
                    </a:lnTo>
                    <a:lnTo>
                      <a:pt x="1500" y="429"/>
                    </a:lnTo>
                    <a:lnTo>
                      <a:pt x="1499" y="427"/>
                    </a:lnTo>
                    <a:lnTo>
                      <a:pt x="1495" y="427"/>
                    </a:lnTo>
                    <a:lnTo>
                      <a:pt x="1495" y="425"/>
                    </a:lnTo>
                    <a:lnTo>
                      <a:pt x="1497" y="422"/>
                    </a:lnTo>
                    <a:lnTo>
                      <a:pt x="1500" y="420"/>
                    </a:lnTo>
                    <a:lnTo>
                      <a:pt x="1502" y="417"/>
                    </a:lnTo>
                    <a:lnTo>
                      <a:pt x="1502" y="414"/>
                    </a:lnTo>
                    <a:lnTo>
                      <a:pt x="1499" y="409"/>
                    </a:lnTo>
                    <a:lnTo>
                      <a:pt x="1497" y="407"/>
                    </a:lnTo>
                    <a:lnTo>
                      <a:pt x="1497" y="410"/>
                    </a:lnTo>
                    <a:lnTo>
                      <a:pt x="1499" y="412"/>
                    </a:lnTo>
                    <a:lnTo>
                      <a:pt x="1499" y="415"/>
                    </a:lnTo>
                    <a:lnTo>
                      <a:pt x="1497" y="419"/>
                    </a:lnTo>
                    <a:lnTo>
                      <a:pt x="1494" y="419"/>
                    </a:lnTo>
                    <a:lnTo>
                      <a:pt x="1492" y="419"/>
                    </a:lnTo>
                    <a:lnTo>
                      <a:pt x="1494" y="420"/>
                    </a:lnTo>
                    <a:lnTo>
                      <a:pt x="1494" y="424"/>
                    </a:lnTo>
                    <a:lnTo>
                      <a:pt x="1490" y="425"/>
                    </a:lnTo>
                    <a:lnTo>
                      <a:pt x="1489" y="425"/>
                    </a:lnTo>
                    <a:lnTo>
                      <a:pt x="1485" y="420"/>
                    </a:lnTo>
                    <a:lnTo>
                      <a:pt x="1485" y="419"/>
                    </a:lnTo>
                    <a:lnTo>
                      <a:pt x="1485" y="415"/>
                    </a:lnTo>
                    <a:lnTo>
                      <a:pt x="1487" y="410"/>
                    </a:lnTo>
                    <a:lnTo>
                      <a:pt x="1487" y="409"/>
                    </a:lnTo>
                    <a:lnTo>
                      <a:pt x="1487" y="405"/>
                    </a:lnTo>
                    <a:lnTo>
                      <a:pt x="1484" y="407"/>
                    </a:lnTo>
                    <a:lnTo>
                      <a:pt x="1484" y="412"/>
                    </a:lnTo>
                    <a:lnTo>
                      <a:pt x="1481" y="415"/>
                    </a:lnTo>
                    <a:lnTo>
                      <a:pt x="1482" y="417"/>
                    </a:lnTo>
                    <a:lnTo>
                      <a:pt x="1481" y="420"/>
                    </a:lnTo>
                    <a:lnTo>
                      <a:pt x="1476" y="420"/>
                    </a:lnTo>
                    <a:lnTo>
                      <a:pt x="1474" y="417"/>
                    </a:lnTo>
                    <a:lnTo>
                      <a:pt x="1471" y="417"/>
                    </a:lnTo>
                    <a:lnTo>
                      <a:pt x="1469" y="415"/>
                    </a:lnTo>
                    <a:lnTo>
                      <a:pt x="1471" y="412"/>
                    </a:lnTo>
                    <a:lnTo>
                      <a:pt x="1472" y="407"/>
                    </a:lnTo>
                    <a:lnTo>
                      <a:pt x="1474" y="405"/>
                    </a:lnTo>
                    <a:lnTo>
                      <a:pt x="1474" y="402"/>
                    </a:lnTo>
                    <a:lnTo>
                      <a:pt x="1479" y="392"/>
                    </a:lnTo>
                    <a:lnTo>
                      <a:pt x="1476" y="394"/>
                    </a:lnTo>
                    <a:lnTo>
                      <a:pt x="1472" y="395"/>
                    </a:lnTo>
                    <a:lnTo>
                      <a:pt x="1469" y="404"/>
                    </a:lnTo>
                    <a:lnTo>
                      <a:pt x="1469" y="410"/>
                    </a:lnTo>
                    <a:lnTo>
                      <a:pt x="1466" y="414"/>
                    </a:lnTo>
                    <a:lnTo>
                      <a:pt x="1464" y="412"/>
                    </a:lnTo>
                    <a:lnTo>
                      <a:pt x="1467" y="409"/>
                    </a:lnTo>
                    <a:lnTo>
                      <a:pt x="1467" y="407"/>
                    </a:lnTo>
                    <a:lnTo>
                      <a:pt x="1466" y="407"/>
                    </a:lnTo>
                    <a:lnTo>
                      <a:pt x="1462" y="412"/>
                    </a:lnTo>
                    <a:lnTo>
                      <a:pt x="1457" y="412"/>
                    </a:lnTo>
                    <a:lnTo>
                      <a:pt x="1456" y="410"/>
                    </a:lnTo>
                    <a:lnTo>
                      <a:pt x="1457" y="405"/>
                    </a:lnTo>
                    <a:lnTo>
                      <a:pt x="1456" y="402"/>
                    </a:lnTo>
                    <a:lnTo>
                      <a:pt x="1456" y="399"/>
                    </a:lnTo>
                    <a:lnTo>
                      <a:pt x="1461" y="395"/>
                    </a:lnTo>
                    <a:lnTo>
                      <a:pt x="1462" y="394"/>
                    </a:lnTo>
                    <a:lnTo>
                      <a:pt x="1462" y="390"/>
                    </a:lnTo>
                    <a:lnTo>
                      <a:pt x="1464" y="387"/>
                    </a:lnTo>
                    <a:lnTo>
                      <a:pt x="1467" y="384"/>
                    </a:lnTo>
                    <a:lnTo>
                      <a:pt x="1471" y="384"/>
                    </a:lnTo>
                    <a:lnTo>
                      <a:pt x="1472" y="382"/>
                    </a:lnTo>
                    <a:lnTo>
                      <a:pt x="1479" y="382"/>
                    </a:lnTo>
                    <a:lnTo>
                      <a:pt x="1482" y="379"/>
                    </a:lnTo>
                    <a:lnTo>
                      <a:pt x="1487" y="377"/>
                    </a:lnTo>
                    <a:lnTo>
                      <a:pt x="1489" y="377"/>
                    </a:lnTo>
                    <a:lnTo>
                      <a:pt x="1489" y="374"/>
                    </a:lnTo>
                    <a:lnTo>
                      <a:pt x="1492" y="372"/>
                    </a:lnTo>
                    <a:lnTo>
                      <a:pt x="1495" y="372"/>
                    </a:lnTo>
                    <a:lnTo>
                      <a:pt x="1502" y="374"/>
                    </a:lnTo>
                    <a:lnTo>
                      <a:pt x="1510" y="374"/>
                    </a:lnTo>
                    <a:lnTo>
                      <a:pt x="1512" y="372"/>
                    </a:lnTo>
                    <a:lnTo>
                      <a:pt x="1517" y="374"/>
                    </a:lnTo>
                    <a:lnTo>
                      <a:pt x="1519" y="377"/>
                    </a:lnTo>
                    <a:lnTo>
                      <a:pt x="1522" y="377"/>
                    </a:lnTo>
                    <a:lnTo>
                      <a:pt x="1522" y="375"/>
                    </a:lnTo>
                    <a:lnTo>
                      <a:pt x="1525" y="375"/>
                    </a:lnTo>
                    <a:lnTo>
                      <a:pt x="1530" y="379"/>
                    </a:lnTo>
                    <a:lnTo>
                      <a:pt x="1532" y="377"/>
                    </a:lnTo>
                    <a:lnTo>
                      <a:pt x="1537" y="377"/>
                    </a:lnTo>
                    <a:lnTo>
                      <a:pt x="1539" y="375"/>
                    </a:lnTo>
                    <a:lnTo>
                      <a:pt x="1537" y="374"/>
                    </a:lnTo>
                    <a:lnTo>
                      <a:pt x="1534" y="375"/>
                    </a:lnTo>
                    <a:lnTo>
                      <a:pt x="1530" y="372"/>
                    </a:lnTo>
                    <a:lnTo>
                      <a:pt x="1527" y="372"/>
                    </a:lnTo>
                    <a:lnTo>
                      <a:pt x="1529" y="370"/>
                    </a:lnTo>
                    <a:lnTo>
                      <a:pt x="1530" y="369"/>
                    </a:lnTo>
                    <a:lnTo>
                      <a:pt x="1532" y="365"/>
                    </a:lnTo>
                    <a:lnTo>
                      <a:pt x="1527" y="365"/>
                    </a:lnTo>
                    <a:lnTo>
                      <a:pt x="1529" y="364"/>
                    </a:lnTo>
                    <a:lnTo>
                      <a:pt x="1534" y="364"/>
                    </a:lnTo>
                    <a:lnTo>
                      <a:pt x="1534" y="362"/>
                    </a:lnTo>
                    <a:lnTo>
                      <a:pt x="1529" y="360"/>
                    </a:lnTo>
                    <a:lnTo>
                      <a:pt x="1529" y="362"/>
                    </a:lnTo>
                    <a:lnTo>
                      <a:pt x="1525" y="362"/>
                    </a:lnTo>
                    <a:lnTo>
                      <a:pt x="1522" y="359"/>
                    </a:lnTo>
                    <a:lnTo>
                      <a:pt x="1522" y="357"/>
                    </a:lnTo>
                    <a:lnTo>
                      <a:pt x="1527" y="354"/>
                    </a:lnTo>
                    <a:lnTo>
                      <a:pt x="1527" y="350"/>
                    </a:lnTo>
                    <a:lnTo>
                      <a:pt x="1525" y="350"/>
                    </a:lnTo>
                    <a:lnTo>
                      <a:pt x="1524" y="347"/>
                    </a:lnTo>
                    <a:lnTo>
                      <a:pt x="1524" y="341"/>
                    </a:lnTo>
                    <a:lnTo>
                      <a:pt x="1525" y="339"/>
                    </a:lnTo>
                    <a:lnTo>
                      <a:pt x="1524" y="336"/>
                    </a:lnTo>
                    <a:lnTo>
                      <a:pt x="1524" y="331"/>
                    </a:lnTo>
                    <a:lnTo>
                      <a:pt x="1527" y="331"/>
                    </a:lnTo>
                    <a:lnTo>
                      <a:pt x="1532" y="329"/>
                    </a:lnTo>
                    <a:lnTo>
                      <a:pt x="1537" y="331"/>
                    </a:lnTo>
                    <a:lnTo>
                      <a:pt x="1540" y="329"/>
                    </a:lnTo>
                    <a:lnTo>
                      <a:pt x="1545" y="331"/>
                    </a:lnTo>
                    <a:lnTo>
                      <a:pt x="1549" y="331"/>
                    </a:lnTo>
                    <a:lnTo>
                      <a:pt x="1554" y="336"/>
                    </a:lnTo>
                    <a:lnTo>
                      <a:pt x="1557" y="345"/>
                    </a:lnTo>
                    <a:lnTo>
                      <a:pt x="1557" y="357"/>
                    </a:lnTo>
                    <a:lnTo>
                      <a:pt x="1555" y="364"/>
                    </a:lnTo>
                    <a:lnTo>
                      <a:pt x="1557" y="365"/>
                    </a:lnTo>
                    <a:lnTo>
                      <a:pt x="1560" y="364"/>
                    </a:lnTo>
                    <a:lnTo>
                      <a:pt x="1569" y="367"/>
                    </a:lnTo>
                    <a:lnTo>
                      <a:pt x="1572" y="372"/>
                    </a:lnTo>
                    <a:lnTo>
                      <a:pt x="1575" y="374"/>
                    </a:lnTo>
                    <a:lnTo>
                      <a:pt x="1575" y="370"/>
                    </a:lnTo>
                    <a:lnTo>
                      <a:pt x="1585" y="370"/>
                    </a:lnTo>
                    <a:lnTo>
                      <a:pt x="1590" y="375"/>
                    </a:lnTo>
                    <a:lnTo>
                      <a:pt x="1593" y="374"/>
                    </a:lnTo>
                    <a:lnTo>
                      <a:pt x="1590" y="372"/>
                    </a:lnTo>
                    <a:lnTo>
                      <a:pt x="1593" y="369"/>
                    </a:lnTo>
                    <a:lnTo>
                      <a:pt x="1602" y="365"/>
                    </a:lnTo>
                    <a:lnTo>
                      <a:pt x="1607" y="359"/>
                    </a:lnTo>
                    <a:lnTo>
                      <a:pt x="1615" y="354"/>
                    </a:lnTo>
                    <a:lnTo>
                      <a:pt x="1623" y="347"/>
                    </a:lnTo>
                    <a:lnTo>
                      <a:pt x="1623" y="342"/>
                    </a:lnTo>
                    <a:lnTo>
                      <a:pt x="1627" y="341"/>
                    </a:lnTo>
                    <a:lnTo>
                      <a:pt x="1623" y="341"/>
                    </a:lnTo>
                    <a:lnTo>
                      <a:pt x="1620" y="342"/>
                    </a:lnTo>
                    <a:lnTo>
                      <a:pt x="1620" y="345"/>
                    </a:lnTo>
                    <a:lnTo>
                      <a:pt x="1612" y="354"/>
                    </a:lnTo>
                    <a:lnTo>
                      <a:pt x="1607" y="357"/>
                    </a:lnTo>
                    <a:lnTo>
                      <a:pt x="1607" y="357"/>
                    </a:lnTo>
                    <a:lnTo>
                      <a:pt x="1600" y="364"/>
                    </a:lnTo>
                    <a:lnTo>
                      <a:pt x="1592" y="365"/>
                    </a:lnTo>
                    <a:lnTo>
                      <a:pt x="1588" y="364"/>
                    </a:lnTo>
                    <a:lnTo>
                      <a:pt x="1585" y="364"/>
                    </a:lnTo>
                    <a:lnTo>
                      <a:pt x="1585" y="365"/>
                    </a:lnTo>
                    <a:lnTo>
                      <a:pt x="1580" y="365"/>
                    </a:lnTo>
                    <a:lnTo>
                      <a:pt x="1574" y="362"/>
                    </a:lnTo>
                    <a:lnTo>
                      <a:pt x="1574" y="360"/>
                    </a:lnTo>
                    <a:lnTo>
                      <a:pt x="1577" y="357"/>
                    </a:lnTo>
                    <a:lnTo>
                      <a:pt x="1582" y="354"/>
                    </a:lnTo>
                    <a:lnTo>
                      <a:pt x="1582" y="350"/>
                    </a:lnTo>
                    <a:lnTo>
                      <a:pt x="1577" y="354"/>
                    </a:lnTo>
                    <a:lnTo>
                      <a:pt x="1575" y="357"/>
                    </a:lnTo>
                    <a:lnTo>
                      <a:pt x="1572" y="355"/>
                    </a:lnTo>
                    <a:lnTo>
                      <a:pt x="1569" y="350"/>
                    </a:lnTo>
                    <a:lnTo>
                      <a:pt x="1569" y="349"/>
                    </a:lnTo>
                    <a:lnTo>
                      <a:pt x="1572" y="349"/>
                    </a:lnTo>
                    <a:lnTo>
                      <a:pt x="1575" y="347"/>
                    </a:lnTo>
                    <a:lnTo>
                      <a:pt x="1577" y="345"/>
                    </a:lnTo>
                    <a:lnTo>
                      <a:pt x="1572" y="345"/>
                    </a:lnTo>
                    <a:lnTo>
                      <a:pt x="1572" y="344"/>
                    </a:lnTo>
                    <a:lnTo>
                      <a:pt x="1575" y="342"/>
                    </a:lnTo>
                    <a:lnTo>
                      <a:pt x="1579" y="342"/>
                    </a:lnTo>
                    <a:lnTo>
                      <a:pt x="1582" y="342"/>
                    </a:lnTo>
                    <a:lnTo>
                      <a:pt x="1582" y="341"/>
                    </a:lnTo>
                    <a:lnTo>
                      <a:pt x="1579" y="341"/>
                    </a:lnTo>
                    <a:lnTo>
                      <a:pt x="1575" y="339"/>
                    </a:lnTo>
                    <a:lnTo>
                      <a:pt x="1574" y="341"/>
                    </a:lnTo>
                    <a:lnTo>
                      <a:pt x="1570" y="341"/>
                    </a:lnTo>
                    <a:lnTo>
                      <a:pt x="1569" y="337"/>
                    </a:lnTo>
                    <a:lnTo>
                      <a:pt x="1570" y="336"/>
                    </a:lnTo>
                    <a:lnTo>
                      <a:pt x="1574" y="334"/>
                    </a:lnTo>
                    <a:lnTo>
                      <a:pt x="1577" y="332"/>
                    </a:lnTo>
                    <a:lnTo>
                      <a:pt x="1582" y="332"/>
                    </a:lnTo>
                    <a:lnTo>
                      <a:pt x="1587" y="334"/>
                    </a:lnTo>
                    <a:lnTo>
                      <a:pt x="1590" y="332"/>
                    </a:lnTo>
                    <a:lnTo>
                      <a:pt x="1585" y="332"/>
                    </a:lnTo>
                    <a:lnTo>
                      <a:pt x="1583" y="329"/>
                    </a:lnTo>
                    <a:lnTo>
                      <a:pt x="1588" y="326"/>
                    </a:lnTo>
                    <a:lnTo>
                      <a:pt x="1592" y="326"/>
                    </a:lnTo>
                    <a:lnTo>
                      <a:pt x="1593" y="324"/>
                    </a:lnTo>
                    <a:lnTo>
                      <a:pt x="1588" y="324"/>
                    </a:lnTo>
                    <a:lnTo>
                      <a:pt x="1588" y="321"/>
                    </a:lnTo>
                    <a:lnTo>
                      <a:pt x="1592" y="317"/>
                    </a:lnTo>
                    <a:lnTo>
                      <a:pt x="1597" y="317"/>
                    </a:lnTo>
                    <a:lnTo>
                      <a:pt x="1593" y="314"/>
                    </a:lnTo>
                    <a:lnTo>
                      <a:pt x="1600" y="306"/>
                    </a:lnTo>
                    <a:lnTo>
                      <a:pt x="1603" y="302"/>
                    </a:lnTo>
                    <a:lnTo>
                      <a:pt x="1605" y="301"/>
                    </a:lnTo>
                    <a:lnTo>
                      <a:pt x="1602" y="301"/>
                    </a:lnTo>
                    <a:lnTo>
                      <a:pt x="1595" y="307"/>
                    </a:lnTo>
                    <a:lnTo>
                      <a:pt x="1588" y="317"/>
                    </a:lnTo>
                    <a:lnTo>
                      <a:pt x="1582" y="322"/>
                    </a:lnTo>
                    <a:lnTo>
                      <a:pt x="1577" y="327"/>
                    </a:lnTo>
                    <a:lnTo>
                      <a:pt x="1572" y="327"/>
                    </a:lnTo>
                    <a:lnTo>
                      <a:pt x="1565" y="327"/>
                    </a:lnTo>
                    <a:lnTo>
                      <a:pt x="1565" y="324"/>
                    </a:lnTo>
                    <a:lnTo>
                      <a:pt x="1569" y="319"/>
                    </a:lnTo>
                    <a:lnTo>
                      <a:pt x="1574" y="317"/>
                    </a:lnTo>
                    <a:lnTo>
                      <a:pt x="1574" y="312"/>
                    </a:lnTo>
                    <a:lnTo>
                      <a:pt x="1567" y="317"/>
                    </a:lnTo>
                    <a:lnTo>
                      <a:pt x="1560" y="317"/>
                    </a:lnTo>
                    <a:lnTo>
                      <a:pt x="1560" y="321"/>
                    </a:lnTo>
                    <a:lnTo>
                      <a:pt x="1557" y="322"/>
                    </a:lnTo>
                    <a:lnTo>
                      <a:pt x="1550" y="322"/>
                    </a:lnTo>
                    <a:lnTo>
                      <a:pt x="1544" y="317"/>
                    </a:lnTo>
                    <a:lnTo>
                      <a:pt x="1547" y="316"/>
                    </a:lnTo>
                    <a:lnTo>
                      <a:pt x="1552" y="314"/>
                    </a:lnTo>
                    <a:lnTo>
                      <a:pt x="1550" y="312"/>
                    </a:lnTo>
                    <a:lnTo>
                      <a:pt x="1547" y="312"/>
                    </a:lnTo>
                    <a:lnTo>
                      <a:pt x="1549" y="307"/>
                    </a:lnTo>
                    <a:lnTo>
                      <a:pt x="1554" y="302"/>
                    </a:lnTo>
                    <a:lnTo>
                      <a:pt x="1555" y="299"/>
                    </a:lnTo>
                    <a:lnTo>
                      <a:pt x="1560" y="297"/>
                    </a:lnTo>
                    <a:lnTo>
                      <a:pt x="1564" y="296"/>
                    </a:lnTo>
                    <a:lnTo>
                      <a:pt x="1569" y="294"/>
                    </a:lnTo>
                    <a:lnTo>
                      <a:pt x="1569" y="289"/>
                    </a:lnTo>
                    <a:lnTo>
                      <a:pt x="1572" y="284"/>
                    </a:lnTo>
                    <a:lnTo>
                      <a:pt x="1579" y="276"/>
                    </a:lnTo>
                    <a:lnTo>
                      <a:pt x="1583" y="277"/>
                    </a:lnTo>
                    <a:lnTo>
                      <a:pt x="1592" y="276"/>
                    </a:lnTo>
                    <a:lnTo>
                      <a:pt x="1600" y="277"/>
                    </a:lnTo>
                    <a:lnTo>
                      <a:pt x="1603" y="276"/>
                    </a:lnTo>
                    <a:lnTo>
                      <a:pt x="1607" y="276"/>
                    </a:lnTo>
                    <a:lnTo>
                      <a:pt x="1612" y="272"/>
                    </a:lnTo>
                    <a:lnTo>
                      <a:pt x="1615" y="272"/>
                    </a:lnTo>
                    <a:lnTo>
                      <a:pt x="1617" y="274"/>
                    </a:lnTo>
                    <a:lnTo>
                      <a:pt x="1622" y="279"/>
                    </a:lnTo>
                    <a:lnTo>
                      <a:pt x="1625" y="279"/>
                    </a:lnTo>
                    <a:lnTo>
                      <a:pt x="1637" y="286"/>
                    </a:lnTo>
                    <a:lnTo>
                      <a:pt x="1638" y="289"/>
                    </a:lnTo>
                    <a:lnTo>
                      <a:pt x="1640" y="292"/>
                    </a:lnTo>
                    <a:lnTo>
                      <a:pt x="1643" y="292"/>
                    </a:lnTo>
                    <a:lnTo>
                      <a:pt x="1650" y="302"/>
                    </a:lnTo>
                    <a:lnTo>
                      <a:pt x="1650" y="296"/>
                    </a:lnTo>
                    <a:lnTo>
                      <a:pt x="1655" y="296"/>
                    </a:lnTo>
                    <a:lnTo>
                      <a:pt x="1653" y="292"/>
                    </a:lnTo>
                    <a:lnTo>
                      <a:pt x="1648" y="292"/>
                    </a:lnTo>
                    <a:lnTo>
                      <a:pt x="1645" y="291"/>
                    </a:lnTo>
                    <a:lnTo>
                      <a:pt x="1645" y="287"/>
                    </a:lnTo>
                    <a:lnTo>
                      <a:pt x="1650" y="286"/>
                    </a:lnTo>
                    <a:lnTo>
                      <a:pt x="1660" y="286"/>
                    </a:lnTo>
                    <a:lnTo>
                      <a:pt x="1665" y="289"/>
                    </a:lnTo>
                    <a:lnTo>
                      <a:pt x="1667" y="286"/>
                    </a:lnTo>
                    <a:lnTo>
                      <a:pt x="1667" y="281"/>
                    </a:lnTo>
                    <a:lnTo>
                      <a:pt x="1668" y="277"/>
                    </a:lnTo>
                    <a:lnTo>
                      <a:pt x="1668" y="274"/>
                    </a:lnTo>
                    <a:lnTo>
                      <a:pt x="1667" y="276"/>
                    </a:lnTo>
                    <a:lnTo>
                      <a:pt x="1665" y="279"/>
                    </a:lnTo>
                    <a:lnTo>
                      <a:pt x="1660" y="282"/>
                    </a:lnTo>
                    <a:lnTo>
                      <a:pt x="1657" y="284"/>
                    </a:lnTo>
                    <a:lnTo>
                      <a:pt x="1648" y="282"/>
                    </a:lnTo>
                    <a:lnTo>
                      <a:pt x="1640" y="281"/>
                    </a:lnTo>
                    <a:lnTo>
                      <a:pt x="1638" y="277"/>
                    </a:lnTo>
                    <a:lnTo>
                      <a:pt x="1633" y="276"/>
                    </a:lnTo>
                    <a:lnTo>
                      <a:pt x="1627" y="277"/>
                    </a:lnTo>
                    <a:lnTo>
                      <a:pt x="1622" y="267"/>
                    </a:lnTo>
                    <a:lnTo>
                      <a:pt x="1620" y="259"/>
                    </a:lnTo>
                    <a:lnTo>
                      <a:pt x="1623" y="257"/>
                    </a:lnTo>
                    <a:lnTo>
                      <a:pt x="1628" y="261"/>
                    </a:lnTo>
                    <a:lnTo>
                      <a:pt x="1630" y="264"/>
                    </a:lnTo>
                    <a:lnTo>
                      <a:pt x="1632" y="267"/>
                    </a:lnTo>
                    <a:lnTo>
                      <a:pt x="1635" y="262"/>
                    </a:lnTo>
                    <a:lnTo>
                      <a:pt x="1637" y="256"/>
                    </a:lnTo>
                    <a:lnTo>
                      <a:pt x="1633" y="257"/>
                    </a:lnTo>
                    <a:lnTo>
                      <a:pt x="1632" y="256"/>
                    </a:lnTo>
                    <a:lnTo>
                      <a:pt x="1632" y="251"/>
                    </a:lnTo>
                    <a:lnTo>
                      <a:pt x="1635" y="244"/>
                    </a:lnTo>
                    <a:lnTo>
                      <a:pt x="1635" y="239"/>
                    </a:lnTo>
                    <a:lnTo>
                      <a:pt x="1638" y="233"/>
                    </a:lnTo>
                    <a:lnTo>
                      <a:pt x="1637" y="221"/>
                    </a:lnTo>
                    <a:lnTo>
                      <a:pt x="1635" y="214"/>
                    </a:lnTo>
                    <a:lnTo>
                      <a:pt x="1632" y="213"/>
                    </a:lnTo>
                    <a:lnTo>
                      <a:pt x="1630" y="208"/>
                    </a:lnTo>
                    <a:lnTo>
                      <a:pt x="1630" y="204"/>
                    </a:lnTo>
                    <a:lnTo>
                      <a:pt x="1633" y="203"/>
                    </a:lnTo>
                    <a:lnTo>
                      <a:pt x="1637" y="203"/>
                    </a:lnTo>
                    <a:lnTo>
                      <a:pt x="1638" y="204"/>
                    </a:lnTo>
                    <a:lnTo>
                      <a:pt x="1642" y="206"/>
                    </a:lnTo>
                    <a:lnTo>
                      <a:pt x="1645" y="211"/>
                    </a:lnTo>
                    <a:lnTo>
                      <a:pt x="1647" y="209"/>
                    </a:lnTo>
                    <a:lnTo>
                      <a:pt x="1647" y="206"/>
                    </a:lnTo>
                    <a:lnTo>
                      <a:pt x="1645" y="201"/>
                    </a:lnTo>
                    <a:lnTo>
                      <a:pt x="1640" y="199"/>
                    </a:lnTo>
                    <a:lnTo>
                      <a:pt x="1637" y="198"/>
                    </a:lnTo>
                    <a:lnTo>
                      <a:pt x="1637" y="194"/>
                    </a:lnTo>
                    <a:lnTo>
                      <a:pt x="1638" y="188"/>
                    </a:lnTo>
                    <a:lnTo>
                      <a:pt x="1653" y="174"/>
                    </a:lnTo>
                    <a:lnTo>
                      <a:pt x="1660" y="173"/>
                    </a:lnTo>
                    <a:lnTo>
                      <a:pt x="1665" y="174"/>
                    </a:lnTo>
                    <a:lnTo>
                      <a:pt x="1667" y="178"/>
                    </a:lnTo>
                    <a:lnTo>
                      <a:pt x="1672" y="183"/>
                    </a:lnTo>
                    <a:lnTo>
                      <a:pt x="1677" y="183"/>
                    </a:lnTo>
                    <a:lnTo>
                      <a:pt x="1686" y="188"/>
                    </a:lnTo>
                    <a:lnTo>
                      <a:pt x="1686" y="193"/>
                    </a:lnTo>
                    <a:lnTo>
                      <a:pt x="1691" y="199"/>
                    </a:lnTo>
                    <a:lnTo>
                      <a:pt x="1695" y="209"/>
                    </a:lnTo>
                    <a:lnTo>
                      <a:pt x="1693" y="218"/>
                    </a:lnTo>
                    <a:lnTo>
                      <a:pt x="1695" y="224"/>
                    </a:lnTo>
                    <a:lnTo>
                      <a:pt x="1698" y="229"/>
                    </a:lnTo>
                    <a:lnTo>
                      <a:pt x="1700" y="226"/>
                    </a:lnTo>
                    <a:lnTo>
                      <a:pt x="1701" y="226"/>
                    </a:lnTo>
                    <a:lnTo>
                      <a:pt x="1706" y="231"/>
                    </a:lnTo>
                    <a:lnTo>
                      <a:pt x="1706" y="234"/>
                    </a:lnTo>
                    <a:lnTo>
                      <a:pt x="1708" y="231"/>
                    </a:lnTo>
                    <a:lnTo>
                      <a:pt x="1711" y="229"/>
                    </a:lnTo>
                    <a:lnTo>
                      <a:pt x="1716" y="229"/>
                    </a:lnTo>
                    <a:lnTo>
                      <a:pt x="1713" y="228"/>
                    </a:lnTo>
                    <a:lnTo>
                      <a:pt x="1706" y="228"/>
                    </a:lnTo>
                    <a:lnTo>
                      <a:pt x="1703" y="223"/>
                    </a:lnTo>
                    <a:lnTo>
                      <a:pt x="1700" y="221"/>
                    </a:lnTo>
                    <a:lnTo>
                      <a:pt x="1700" y="219"/>
                    </a:lnTo>
                    <a:lnTo>
                      <a:pt x="1705" y="214"/>
                    </a:lnTo>
                    <a:lnTo>
                      <a:pt x="1705" y="211"/>
                    </a:lnTo>
                    <a:lnTo>
                      <a:pt x="1703" y="196"/>
                    </a:lnTo>
                    <a:lnTo>
                      <a:pt x="1703" y="191"/>
                    </a:lnTo>
                    <a:lnTo>
                      <a:pt x="1703" y="186"/>
                    </a:lnTo>
                    <a:lnTo>
                      <a:pt x="1713" y="186"/>
                    </a:lnTo>
                    <a:lnTo>
                      <a:pt x="1716" y="188"/>
                    </a:lnTo>
                    <a:lnTo>
                      <a:pt x="1723" y="189"/>
                    </a:lnTo>
                    <a:lnTo>
                      <a:pt x="1730" y="189"/>
                    </a:lnTo>
                    <a:lnTo>
                      <a:pt x="1738" y="193"/>
                    </a:lnTo>
                    <a:lnTo>
                      <a:pt x="1746" y="193"/>
                    </a:lnTo>
                    <a:lnTo>
                      <a:pt x="1755" y="189"/>
                    </a:lnTo>
                    <a:lnTo>
                      <a:pt x="1758" y="189"/>
                    </a:lnTo>
                    <a:lnTo>
                      <a:pt x="1763" y="193"/>
                    </a:lnTo>
                    <a:lnTo>
                      <a:pt x="1773" y="194"/>
                    </a:lnTo>
                    <a:lnTo>
                      <a:pt x="1778" y="196"/>
                    </a:lnTo>
                    <a:lnTo>
                      <a:pt x="1783" y="196"/>
                    </a:lnTo>
                    <a:lnTo>
                      <a:pt x="1783" y="193"/>
                    </a:lnTo>
                    <a:lnTo>
                      <a:pt x="1778" y="191"/>
                    </a:lnTo>
                    <a:lnTo>
                      <a:pt x="1771" y="191"/>
                    </a:lnTo>
                    <a:lnTo>
                      <a:pt x="1765" y="189"/>
                    </a:lnTo>
                    <a:lnTo>
                      <a:pt x="1761" y="186"/>
                    </a:lnTo>
                    <a:lnTo>
                      <a:pt x="1763" y="184"/>
                    </a:lnTo>
                    <a:lnTo>
                      <a:pt x="1766" y="184"/>
                    </a:lnTo>
                    <a:lnTo>
                      <a:pt x="1773" y="183"/>
                    </a:lnTo>
                    <a:lnTo>
                      <a:pt x="1789" y="181"/>
                    </a:lnTo>
                    <a:lnTo>
                      <a:pt x="1801" y="179"/>
                    </a:lnTo>
                    <a:lnTo>
                      <a:pt x="1809" y="183"/>
                    </a:lnTo>
                    <a:lnTo>
                      <a:pt x="1816" y="188"/>
                    </a:lnTo>
                    <a:lnTo>
                      <a:pt x="1819" y="184"/>
                    </a:lnTo>
                    <a:lnTo>
                      <a:pt x="1826" y="184"/>
                    </a:lnTo>
                    <a:lnTo>
                      <a:pt x="1823" y="181"/>
                    </a:lnTo>
                    <a:lnTo>
                      <a:pt x="1819" y="181"/>
                    </a:lnTo>
                    <a:lnTo>
                      <a:pt x="1816" y="179"/>
                    </a:lnTo>
                    <a:lnTo>
                      <a:pt x="1816" y="178"/>
                    </a:lnTo>
                    <a:lnTo>
                      <a:pt x="1811" y="174"/>
                    </a:lnTo>
                    <a:lnTo>
                      <a:pt x="1804" y="174"/>
                    </a:lnTo>
                    <a:lnTo>
                      <a:pt x="1801" y="173"/>
                    </a:lnTo>
                    <a:lnTo>
                      <a:pt x="1789" y="174"/>
                    </a:lnTo>
                    <a:lnTo>
                      <a:pt x="1789" y="173"/>
                    </a:lnTo>
                    <a:lnTo>
                      <a:pt x="1791" y="169"/>
                    </a:lnTo>
                    <a:lnTo>
                      <a:pt x="1794" y="164"/>
                    </a:lnTo>
                    <a:lnTo>
                      <a:pt x="1799" y="163"/>
                    </a:lnTo>
                    <a:lnTo>
                      <a:pt x="1804" y="159"/>
                    </a:lnTo>
                    <a:lnTo>
                      <a:pt x="1808" y="154"/>
                    </a:lnTo>
                    <a:lnTo>
                      <a:pt x="1821" y="146"/>
                    </a:lnTo>
                    <a:lnTo>
                      <a:pt x="1828" y="146"/>
                    </a:lnTo>
                    <a:lnTo>
                      <a:pt x="1839" y="141"/>
                    </a:lnTo>
                    <a:lnTo>
                      <a:pt x="1839" y="140"/>
                    </a:lnTo>
                    <a:lnTo>
                      <a:pt x="1826" y="145"/>
                    </a:lnTo>
                    <a:lnTo>
                      <a:pt x="1816" y="145"/>
                    </a:lnTo>
                    <a:lnTo>
                      <a:pt x="1803" y="153"/>
                    </a:lnTo>
                    <a:lnTo>
                      <a:pt x="1803" y="158"/>
                    </a:lnTo>
                    <a:lnTo>
                      <a:pt x="1801" y="158"/>
                    </a:lnTo>
                    <a:lnTo>
                      <a:pt x="1799" y="153"/>
                    </a:lnTo>
                    <a:lnTo>
                      <a:pt x="1798" y="153"/>
                    </a:lnTo>
                    <a:lnTo>
                      <a:pt x="1794" y="158"/>
                    </a:lnTo>
                    <a:lnTo>
                      <a:pt x="1789" y="158"/>
                    </a:lnTo>
                    <a:lnTo>
                      <a:pt x="1783" y="164"/>
                    </a:lnTo>
                    <a:lnTo>
                      <a:pt x="1786" y="164"/>
                    </a:lnTo>
                    <a:lnTo>
                      <a:pt x="1786" y="168"/>
                    </a:lnTo>
                    <a:lnTo>
                      <a:pt x="1778" y="173"/>
                    </a:lnTo>
                    <a:lnTo>
                      <a:pt x="1773" y="174"/>
                    </a:lnTo>
                    <a:lnTo>
                      <a:pt x="1756" y="179"/>
                    </a:lnTo>
                    <a:lnTo>
                      <a:pt x="1751" y="181"/>
                    </a:lnTo>
                    <a:lnTo>
                      <a:pt x="1746" y="181"/>
                    </a:lnTo>
                    <a:lnTo>
                      <a:pt x="1731" y="181"/>
                    </a:lnTo>
                    <a:lnTo>
                      <a:pt x="1726" y="174"/>
                    </a:lnTo>
                    <a:lnTo>
                      <a:pt x="1718" y="176"/>
                    </a:lnTo>
                    <a:lnTo>
                      <a:pt x="1715" y="174"/>
                    </a:lnTo>
                    <a:lnTo>
                      <a:pt x="1715" y="171"/>
                    </a:lnTo>
                    <a:lnTo>
                      <a:pt x="1721" y="166"/>
                    </a:lnTo>
                    <a:lnTo>
                      <a:pt x="1726" y="166"/>
                    </a:lnTo>
                    <a:lnTo>
                      <a:pt x="1731" y="164"/>
                    </a:lnTo>
                    <a:lnTo>
                      <a:pt x="1740" y="163"/>
                    </a:lnTo>
                    <a:lnTo>
                      <a:pt x="1745" y="159"/>
                    </a:lnTo>
                    <a:lnTo>
                      <a:pt x="1741" y="159"/>
                    </a:lnTo>
                    <a:lnTo>
                      <a:pt x="1735" y="161"/>
                    </a:lnTo>
                    <a:lnTo>
                      <a:pt x="1730" y="161"/>
                    </a:lnTo>
                    <a:lnTo>
                      <a:pt x="1723" y="163"/>
                    </a:lnTo>
                    <a:lnTo>
                      <a:pt x="1718" y="163"/>
                    </a:lnTo>
                    <a:lnTo>
                      <a:pt x="1718" y="158"/>
                    </a:lnTo>
                    <a:lnTo>
                      <a:pt x="1725" y="156"/>
                    </a:lnTo>
                    <a:lnTo>
                      <a:pt x="1720" y="154"/>
                    </a:lnTo>
                    <a:lnTo>
                      <a:pt x="1713" y="158"/>
                    </a:lnTo>
                    <a:lnTo>
                      <a:pt x="1711" y="163"/>
                    </a:lnTo>
                    <a:lnTo>
                      <a:pt x="1705" y="169"/>
                    </a:lnTo>
                    <a:lnTo>
                      <a:pt x="1696" y="169"/>
                    </a:lnTo>
                    <a:lnTo>
                      <a:pt x="1686" y="168"/>
                    </a:lnTo>
                    <a:lnTo>
                      <a:pt x="1677" y="166"/>
                    </a:lnTo>
                    <a:lnTo>
                      <a:pt x="1673" y="163"/>
                    </a:lnTo>
                    <a:lnTo>
                      <a:pt x="1673" y="159"/>
                    </a:lnTo>
                    <a:lnTo>
                      <a:pt x="1668" y="159"/>
                    </a:lnTo>
                    <a:lnTo>
                      <a:pt x="1662" y="156"/>
                    </a:lnTo>
                    <a:lnTo>
                      <a:pt x="1663" y="153"/>
                    </a:lnTo>
                    <a:lnTo>
                      <a:pt x="1667" y="151"/>
                    </a:lnTo>
                    <a:lnTo>
                      <a:pt x="1670" y="145"/>
                    </a:lnTo>
                    <a:lnTo>
                      <a:pt x="1678" y="141"/>
                    </a:lnTo>
                    <a:lnTo>
                      <a:pt x="1682" y="136"/>
                    </a:lnTo>
                    <a:lnTo>
                      <a:pt x="1688" y="133"/>
                    </a:lnTo>
                    <a:lnTo>
                      <a:pt x="1691" y="130"/>
                    </a:lnTo>
                    <a:lnTo>
                      <a:pt x="1696" y="131"/>
                    </a:lnTo>
                    <a:lnTo>
                      <a:pt x="1706" y="131"/>
                    </a:lnTo>
                    <a:lnTo>
                      <a:pt x="1710" y="131"/>
                    </a:lnTo>
                    <a:lnTo>
                      <a:pt x="1713" y="131"/>
                    </a:lnTo>
                    <a:lnTo>
                      <a:pt x="1723" y="136"/>
                    </a:lnTo>
                    <a:lnTo>
                      <a:pt x="1731" y="136"/>
                    </a:lnTo>
                    <a:lnTo>
                      <a:pt x="1735" y="138"/>
                    </a:lnTo>
                    <a:lnTo>
                      <a:pt x="1743" y="136"/>
                    </a:lnTo>
                    <a:lnTo>
                      <a:pt x="1745" y="135"/>
                    </a:lnTo>
                    <a:lnTo>
                      <a:pt x="1740" y="133"/>
                    </a:lnTo>
                    <a:lnTo>
                      <a:pt x="1731" y="133"/>
                    </a:lnTo>
                    <a:lnTo>
                      <a:pt x="1721" y="131"/>
                    </a:lnTo>
                    <a:lnTo>
                      <a:pt x="1715" y="128"/>
                    </a:lnTo>
                    <a:lnTo>
                      <a:pt x="1708" y="128"/>
                    </a:lnTo>
                    <a:lnTo>
                      <a:pt x="1700" y="130"/>
                    </a:lnTo>
                    <a:lnTo>
                      <a:pt x="1690" y="126"/>
                    </a:lnTo>
                    <a:lnTo>
                      <a:pt x="1686" y="126"/>
                    </a:lnTo>
                    <a:lnTo>
                      <a:pt x="1683" y="130"/>
                    </a:lnTo>
                    <a:lnTo>
                      <a:pt x="1678" y="135"/>
                    </a:lnTo>
                    <a:lnTo>
                      <a:pt x="1670" y="140"/>
                    </a:lnTo>
                    <a:lnTo>
                      <a:pt x="1662" y="143"/>
                    </a:lnTo>
                    <a:lnTo>
                      <a:pt x="1657" y="149"/>
                    </a:lnTo>
                    <a:lnTo>
                      <a:pt x="1653" y="151"/>
                    </a:lnTo>
                    <a:lnTo>
                      <a:pt x="1650" y="149"/>
                    </a:lnTo>
                    <a:lnTo>
                      <a:pt x="1643" y="141"/>
                    </a:lnTo>
                    <a:lnTo>
                      <a:pt x="1640" y="141"/>
                    </a:lnTo>
                    <a:lnTo>
                      <a:pt x="1638" y="138"/>
                    </a:lnTo>
                    <a:lnTo>
                      <a:pt x="1637" y="133"/>
                    </a:lnTo>
                    <a:lnTo>
                      <a:pt x="1635" y="126"/>
                    </a:lnTo>
                    <a:lnTo>
                      <a:pt x="1633" y="125"/>
                    </a:lnTo>
                    <a:lnTo>
                      <a:pt x="1633" y="118"/>
                    </a:lnTo>
                    <a:lnTo>
                      <a:pt x="1635" y="116"/>
                    </a:lnTo>
                    <a:lnTo>
                      <a:pt x="1640" y="118"/>
                    </a:lnTo>
                    <a:lnTo>
                      <a:pt x="1645" y="116"/>
                    </a:lnTo>
                    <a:lnTo>
                      <a:pt x="1647" y="118"/>
                    </a:lnTo>
                    <a:lnTo>
                      <a:pt x="1662" y="118"/>
                    </a:lnTo>
                    <a:lnTo>
                      <a:pt x="1668" y="123"/>
                    </a:lnTo>
                    <a:lnTo>
                      <a:pt x="1673" y="123"/>
                    </a:lnTo>
                    <a:lnTo>
                      <a:pt x="1675" y="125"/>
                    </a:lnTo>
                    <a:lnTo>
                      <a:pt x="1680" y="125"/>
                    </a:lnTo>
                    <a:lnTo>
                      <a:pt x="1686" y="121"/>
                    </a:lnTo>
                    <a:lnTo>
                      <a:pt x="1691" y="123"/>
                    </a:lnTo>
                    <a:lnTo>
                      <a:pt x="1693" y="121"/>
                    </a:lnTo>
                    <a:lnTo>
                      <a:pt x="1698" y="121"/>
                    </a:lnTo>
                    <a:lnTo>
                      <a:pt x="1700" y="120"/>
                    </a:lnTo>
                    <a:lnTo>
                      <a:pt x="1710" y="118"/>
                    </a:lnTo>
                    <a:lnTo>
                      <a:pt x="1720" y="116"/>
                    </a:lnTo>
                    <a:lnTo>
                      <a:pt x="1721" y="113"/>
                    </a:lnTo>
                    <a:lnTo>
                      <a:pt x="1720" y="111"/>
                    </a:lnTo>
                    <a:lnTo>
                      <a:pt x="1718" y="111"/>
                    </a:lnTo>
                    <a:lnTo>
                      <a:pt x="1715" y="113"/>
                    </a:lnTo>
                    <a:lnTo>
                      <a:pt x="1711" y="115"/>
                    </a:lnTo>
                    <a:lnTo>
                      <a:pt x="1705" y="115"/>
                    </a:lnTo>
                    <a:lnTo>
                      <a:pt x="1696" y="115"/>
                    </a:lnTo>
                    <a:lnTo>
                      <a:pt x="1688" y="120"/>
                    </a:lnTo>
                    <a:lnTo>
                      <a:pt x="1685" y="120"/>
                    </a:lnTo>
                    <a:lnTo>
                      <a:pt x="1678" y="118"/>
                    </a:lnTo>
                    <a:lnTo>
                      <a:pt x="1677" y="120"/>
                    </a:lnTo>
                    <a:lnTo>
                      <a:pt x="1672" y="120"/>
                    </a:lnTo>
                    <a:lnTo>
                      <a:pt x="1667" y="115"/>
                    </a:lnTo>
                    <a:lnTo>
                      <a:pt x="1663" y="115"/>
                    </a:lnTo>
                    <a:lnTo>
                      <a:pt x="1660" y="113"/>
                    </a:lnTo>
                    <a:lnTo>
                      <a:pt x="1655" y="113"/>
                    </a:lnTo>
                    <a:lnTo>
                      <a:pt x="1647" y="110"/>
                    </a:lnTo>
                    <a:lnTo>
                      <a:pt x="1642" y="113"/>
                    </a:lnTo>
                    <a:lnTo>
                      <a:pt x="1637" y="110"/>
                    </a:lnTo>
                    <a:lnTo>
                      <a:pt x="1635" y="106"/>
                    </a:lnTo>
                    <a:lnTo>
                      <a:pt x="1638" y="105"/>
                    </a:lnTo>
                    <a:lnTo>
                      <a:pt x="1638" y="100"/>
                    </a:lnTo>
                    <a:lnTo>
                      <a:pt x="1642" y="96"/>
                    </a:lnTo>
                    <a:lnTo>
                      <a:pt x="1643" y="96"/>
                    </a:lnTo>
                    <a:lnTo>
                      <a:pt x="1647" y="101"/>
                    </a:lnTo>
                    <a:lnTo>
                      <a:pt x="1655" y="100"/>
                    </a:lnTo>
                    <a:lnTo>
                      <a:pt x="1657" y="100"/>
                    </a:lnTo>
                    <a:lnTo>
                      <a:pt x="1653" y="96"/>
                    </a:lnTo>
                    <a:lnTo>
                      <a:pt x="1648" y="96"/>
                    </a:lnTo>
                    <a:lnTo>
                      <a:pt x="1645" y="91"/>
                    </a:lnTo>
                    <a:lnTo>
                      <a:pt x="1647" y="90"/>
                    </a:lnTo>
                    <a:lnTo>
                      <a:pt x="1653" y="90"/>
                    </a:lnTo>
                    <a:lnTo>
                      <a:pt x="1660" y="85"/>
                    </a:lnTo>
                    <a:lnTo>
                      <a:pt x="1668" y="85"/>
                    </a:lnTo>
                    <a:lnTo>
                      <a:pt x="1672" y="83"/>
                    </a:lnTo>
                    <a:lnTo>
                      <a:pt x="1677" y="83"/>
                    </a:lnTo>
                    <a:lnTo>
                      <a:pt x="1680" y="85"/>
                    </a:lnTo>
                    <a:lnTo>
                      <a:pt x="1683" y="83"/>
                    </a:lnTo>
                    <a:lnTo>
                      <a:pt x="1683" y="81"/>
                    </a:lnTo>
                    <a:lnTo>
                      <a:pt x="1682" y="78"/>
                    </a:lnTo>
                    <a:lnTo>
                      <a:pt x="1672" y="80"/>
                    </a:lnTo>
                    <a:lnTo>
                      <a:pt x="1663" y="81"/>
                    </a:lnTo>
                    <a:lnTo>
                      <a:pt x="1657" y="83"/>
                    </a:lnTo>
                    <a:lnTo>
                      <a:pt x="1652" y="83"/>
                    </a:lnTo>
                    <a:lnTo>
                      <a:pt x="1648" y="86"/>
                    </a:lnTo>
                    <a:lnTo>
                      <a:pt x="1645" y="86"/>
                    </a:lnTo>
                    <a:lnTo>
                      <a:pt x="1645" y="83"/>
                    </a:lnTo>
                    <a:lnTo>
                      <a:pt x="1643" y="80"/>
                    </a:lnTo>
                    <a:lnTo>
                      <a:pt x="1648" y="76"/>
                    </a:lnTo>
                    <a:lnTo>
                      <a:pt x="1657" y="71"/>
                    </a:lnTo>
                    <a:lnTo>
                      <a:pt x="1663" y="71"/>
                    </a:lnTo>
                    <a:lnTo>
                      <a:pt x="1667" y="70"/>
                    </a:lnTo>
                    <a:lnTo>
                      <a:pt x="1662" y="70"/>
                    </a:lnTo>
                    <a:lnTo>
                      <a:pt x="1660" y="68"/>
                    </a:lnTo>
                    <a:lnTo>
                      <a:pt x="1662" y="61"/>
                    </a:lnTo>
                    <a:lnTo>
                      <a:pt x="1658" y="63"/>
                    </a:lnTo>
                    <a:lnTo>
                      <a:pt x="1658" y="66"/>
                    </a:lnTo>
                    <a:lnTo>
                      <a:pt x="1655" y="68"/>
                    </a:lnTo>
                    <a:lnTo>
                      <a:pt x="1653" y="63"/>
                    </a:lnTo>
                    <a:lnTo>
                      <a:pt x="1652" y="65"/>
                    </a:lnTo>
                    <a:lnTo>
                      <a:pt x="1648" y="66"/>
                    </a:lnTo>
                    <a:lnTo>
                      <a:pt x="1643" y="66"/>
                    </a:lnTo>
                    <a:lnTo>
                      <a:pt x="1643" y="71"/>
                    </a:lnTo>
                    <a:lnTo>
                      <a:pt x="1642" y="73"/>
                    </a:lnTo>
                    <a:lnTo>
                      <a:pt x="1635" y="75"/>
                    </a:lnTo>
                    <a:lnTo>
                      <a:pt x="1635" y="71"/>
                    </a:lnTo>
                    <a:lnTo>
                      <a:pt x="1635" y="66"/>
                    </a:lnTo>
                    <a:lnTo>
                      <a:pt x="1633" y="66"/>
                    </a:lnTo>
                    <a:lnTo>
                      <a:pt x="1633" y="61"/>
                    </a:lnTo>
                    <a:lnTo>
                      <a:pt x="1633" y="60"/>
                    </a:lnTo>
                    <a:lnTo>
                      <a:pt x="1637" y="61"/>
                    </a:lnTo>
                    <a:lnTo>
                      <a:pt x="1638" y="56"/>
                    </a:lnTo>
                    <a:lnTo>
                      <a:pt x="1642" y="55"/>
                    </a:lnTo>
                    <a:lnTo>
                      <a:pt x="1648" y="56"/>
                    </a:lnTo>
                    <a:lnTo>
                      <a:pt x="1650" y="51"/>
                    </a:lnTo>
                    <a:lnTo>
                      <a:pt x="1657" y="48"/>
                    </a:lnTo>
                    <a:lnTo>
                      <a:pt x="1660" y="50"/>
                    </a:lnTo>
                    <a:lnTo>
                      <a:pt x="1667" y="47"/>
                    </a:lnTo>
                    <a:lnTo>
                      <a:pt x="1677" y="45"/>
                    </a:lnTo>
                    <a:lnTo>
                      <a:pt x="1680" y="43"/>
                    </a:lnTo>
                    <a:lnTo>
                      <a:pt x="1683" y="45"/>
                    </a:lnTo>
                    <a:lnTo>
                      <a:pt x="1683" y="48"/>
                    </a:lnTo>
                    <a:lnTo>
                      <a:pt x="1682" y="50"/>
                    </a:lnTo>
                    <a:lnTo>
                      <a:pt x="1682" y="61"/>
                    </a:lnTo>
                    <a:lnTo>
                      <a:pt x="1685" y="60"/>
                    </a:lnTo>
                    <a:lnTo>
                      <a:pt x="1686" y="53"/>
                    </a:lnTo>
                    <a:lnTo>
                      <a:pt x="1690" y="50"/>
                    </a:lnTo>
                    <a:lnTo>
                      <a:pt x="1691" y="53"/>
                    </a:lnTo>
                    <a:lnTo>
                      <a:pt x="1690" y="55"/>
                    </a:lnTo>
                    <a:lnTo>
                      <a:pt x="1691" y="58"/>
                    </a:lnTo>
                    <a:lnTo>
                      <a:pt x="1693" y="56"/>
                    </a:lnTo>
                    <a:lnTo>
                      <a:pt x="1693" y="53"/>
                    </a:lnTo>
                    <a:lnTo>
                      <a:pt x="1695" y="50"/>
                    </a:lnTo>
                    <a:lnTo>
                      <a:pt x="1695" y="47"/>
                    </a:lnTo>
                    <a:lnTo>
                      <a:pt x="1695" y="42"/>
                    </a:lnTo>
                    <a:lnTo>
                      <a:pt x="1698" y="42"/>
                    </a:lnTo>
                    <a:lnTo>
                      <a:pt x="1705" y="37"/>
                    </a:lnTo>
                    <a:lnTo>
                      <a:pt x="1706" y="37"/>
                    </a:lnTo>
                    <a:lnTo>
                      <a:pt x="1708" y="42"/>
                    </a:lnTo>
                    <a:lnTo>
                      <a:pt x="1708" y="47"/>
                    </a:lnTo>
                    <a:lnTo>
                      <a:pt x="1711" y="48"/>
                    </a:lnTo>
                    <a:lnTo>
                      <a:pt x="1713" y="53"/>
                    </a:lnTo>
                    <a:lnTo>
                      <a:pt x="1711" y="56"/>
                    </a:lnTo>
                    <a:lnTo>
                      <a:pt x="1713" y="60"/>
                    </a:lnTo>
                    <a:lnTo>
                      <a:pt x="1713" y="63"/>
                    </a:lnTo>
                    <a:lnTo>
                      <a:pt x="1716" y="66"/>
                    </a:lnTo>
                    <a:lnTo>
                      <a:pt x="1718" y="65"/>
                    </a:lnTo>
                    <a:lnTo>
                      <a:pt x="1716" y="61"/>
                    </a:lnTo>
                    <a:lnTo>
                      <a:pt x="1716" y="56"/>
                    </a:lnTo>
                    <a:lnTo>
                      <a:pt x="1718" y="55"/>
                    </a:lnTo>
                    <a:lnTo>
                      <a:pt x="1723" y="48"/>
                    </a:lnTo>
                    <a:lnTo>
                      <a:pt x="1726" y="48"/>
                    </a:lnTo>
                    <a:lnTo>
                      <a:pt x="1730" y="55"/>
                    </a:lnTo>
                    <a:lnTo>
                      <a:pt x="1731" y="60"/>
                    </a:lnTo>
                    <a:lnTo>
                      <a:pt x="1730" y="63"/>
                    </a:lnTo>
                    <a:lnTo>
                      <a:pt x="1731" y="66"/>
                    </a:lnTo>
                    <a:lnTo>
                      <a:pt x="1733" y="70"/>
                    </a:lnTo>
                    <a:lnTo>
                      <a:pt x="1735" y="66"/>
                    </a:lnTo>
                    <a:lnTo>
                      <a:pt x="1735" y="61"/>
                    </a:lnTo>
                    <a:lnTo>
                      <a:pt x="1738" y="60"/>
                    </a:lnTo>
                    <a:lnTo>
                      <a:pt x="1741" y="58"/>
                    </a:lnTo>
                    <a:lnTo>
                      <a:pt x="1741" y="61"/>
                    </a:lnTo>
                    <a:lnTo>
                      <a:pt x="1740" y="63"/>
                    </a:lnTo>
                    <a:lnTo>
                      <a:pt x="1741" y="66"/>
                    </a:lnTo>
                    <a:lnTo>
                      <a:pt x="1743" y="70"/>
                    </a:lnTo>
                    <a:lnTo>
                      <a:pt x="1746" y="65"/>
                    </a:lnTo>
                    <a:lnTo>
                      <a:pt x="1748" y="65"/>
                    </a:lnTo>
                    <a:lnTo>
                      <a:pt x="1748" y="70"/>
                    </a:lnTo>
                    <a:lnTo>
                      <a:pt x="1751" y="66"/>
                    </a:lnTo>
                    <a:lnTo>
                      <a:pt x="1750" y="61"/>
                    </a:lnTo>
                    <a:lnTo>
                      <a:pt x="1746" y="56"/>
                    </a:lnTo>
                    <a:lnTo>
                      <a:pt x="1745" y="56"/>
                    </a:lnTo>
                    <a:lnTo>
                      <a:pt x="1741" y="53"/>
                    </a:lnTo>
                    <a:lnTo>
                      <a:pt x="1741" y="48"/>
                    </a:lnTo>
                    <a:lnTo>
                      <a:pt x="1738" y="45"/>
                    </a:lnTo>
                    <a:lnTo>
                      <a:pt x="1736" y="42"/>
                    </a:lnTo>
                    <a:lnTo>
                      <a:pt x="1735" y="38"/>
                    </a:lnTo>
                    <a:lnTo>
                      <a:pt x="1735" y="33"/>
                    </a:lnTo>
                    <a:lnTo>
                      <a:pt x="1740" y="35"/>
                    </a:lnTo>
                    <a:lnTo>
                      <a:pt x="1743" y="37"/>
                    </a:lnTo>
                    <a:lnTo>
                      <a:pt x="1748" y="35"/>
                    </a:lnTo>
                    <a:lnTo>
                      <a:pt x="1753" y="37"/>
                    </a:lnTo>
                    <a:lnTo>
                      <a:pt x="1755" y="35"/>
                    </a:lnTo>
                    <a:lnTo>
                      <a:pt x="1755" y="27"/>
                    </a:lnTo>
                    <a:lnTo>
                      <a:pt x="1751" y="23"/>
                    </a:lnTo>
                    <a:lnTo>
                      <a:pt x="1753" y="20"/>
                    </a:lnTo>
                    <a:lnTo>
                      <a:pt x="1758" y="18"/>
                    </a:lnTo>
                    <a:lnTo>
                      <a:pt x="1760" y="20"/>
                    </a:lnTo>
                    <a:lnTo>
                      <a:pt x="1770" y="20"/>
                    </a:lnTo>
                    <a:lnTo>
                      <a:pt x="1773" y="23"/>
                    </a:lnTo>
                    <a:lnTo>
                      <a:pt x="1773" y="27"/>
                    </a:lnTo>
                    <a:lnTo>
                      <a:pt x="1770" y="28"/>
                    </a:lnTo>
                    <a:lnTo>
                      <a:pt x="1770" y="32"/>
                    </a:lnTo>
                    <a:lnTo>
                      <a:pt x="1780" y="35"/>
                    </a:lnTo>
                    <a:lnTo>
                      <a:pt x="1780" y="37"/>
                    </a:lnTo>
                    <a:lnTo>
                      <a:pt x="1778" y="43"/>
                    </a:lnTo>
                    <a:lnTo>
                      <a:pt x="1778" y="53"/>
                    </a:lnTo>
                    <a:lnTo>
                      <a:pt x="1783" y="51"/>
                    </a:lnTo>
                    <a:lnTo>
                      <a:pt x="1784" y="47"/>
                    </a:lnTo>
                    <a:lnTo>
                      <a:pt x="1788" y="47"/>
                    </a:lnTo>
                    <a:lnTo>
                      <a:pt x="1788" y="50"/>
                    </a:lnTo>
                    <a:lnTo>
                      <a:pt x="1789" y="53"/>
                    </a:lnTo>
                    <a:lnTo>
                      <a:pt x="1793" y="50"/>
                    </a:lnTo>
                    <a:lnTo>
                      <a:pt x="1796" y="47"/>
                    </a:lnTo>
                    <a:lnTo>
                      <a:pt x="1801" y="45"/>
                    </a:lnTo>
                    <a:lnTo>
                      <a:pt x="1801" y="43"/>
                    </a:lnTo>
                    <a:lnTo>
                      <a:pt x="1799" y="35"/>
                    </a:lnTo>
                    <a:lnTo>
                      <a:pt x="1801" y="32"/>
                    </a:lnTo>
                    <a:lnTo>
                      <a:pt x="1804" y="32"/>
                    </a:lnTo>
                    <a:lnTo>
                      <a:pt x="1808" y="33"/>
                    </a:lnTo>
                    <a:lnTo>
                      <a:pt x="1814" y="33"/>
                    </a:lnTo>
                    <a:lnTo>
                      <a:pt x="1814" y="30"/>
                    </a:lnTo>
                    <a:lnTo>
                      <a:pt x="1808" y="25"/>
                    </a:lnTo>
                    <a:lnTo>
                      <a:pt x="1806" y="20"/>
                    </a:lnTo>
                    <a:lnTo>
                      <a:pt x="1808" y="18"/>
                    </a:lnTo>
                    <a:lnTo>
                      <a:pt x="1809" y="13"/>
                    </a:lnTo>
                    <a:lnTo>
                      <a:pt x="1811" y="13"/>
                    </a:lnTo>
                    <a:lnTo>
                      <a:pt x="1821" y="17"/>
                    </a:lnTo>
                    <a:lnTo>
                      <a:pt x="1823" y="23"/>
                    </a:lnTo>
                    <a:lnTo>
                      <a:pt x="1823" y="28"/>
                    </a:lnTo>
                    <a:lnTo>
                      <a:pt x="1823" y="33"/>
                    </a:lnTo>
                    <a:lnTo>
                      <a:pt x="1824" y="37"/>
                    </a:lnTo>
                    <a:lnTo>
                      <a:pt x="1826" y="43"/>
                    </a:lnTo>
                    <a:lnTo>
                      <a:pt x="1828" y="47"/>
                    </a:lnTo>
                    <a:lnTo>
                      <a:pt x="1831" y="45"/>
                    </a:lnTo>
                    <a:lnTo>
                      <a:pt x="1831" y="40"/>
                    </a:lnTo>
                    <a:lnTo>
                      <a:pt x="1829" y="37"/>
                    </a:lnTo>
                    <a:lnTo>
                      <a:pt x="1829" y="30"/>
                    </a:lnTo>
                    <a:lnTo>
                      <a:pt x="1826" y="25"/>
                    </a:lnTo>
                    <a:lnTo>
                      <a:pt x="1828" y="17"/>
                    </a:lnTo>
                    <a:lnTo>
                      <a:pt x="1828" y="8"/>
                    </a:lnTo>
                    <a:lnTo>
                      <a:pt x="1829" y="5"/>
                    </a:lnTo>
                    <a:lnTo>
                      <a:pt x="1833" y="5"/>
                    </a:lnTo>
                    <a:lnTo>
                      <a:pt x="1836" y="8"/>
                    </a:lnTo>
                    <a:lnTo>
                      <a:pt x="1839" y="8"/>
                    </a:lnTo>
                    <a:lnTo>
                      <a:pt x="1841" y="10"/>
                    </a:lnTo>
                    <a:lnTo>
                      <a:pt x="1841" y="17"/>
                    </a:lnTo>
                    <a:lnTo>
                      <a:pt x="1844" y="20"/>
                    </a:lnTo>
                    <a:lnTo>
                      <a:pt x="1844" y="25"/>
                    </a:lnTo>
                    <a:lnTo>
                      <a:pt x="1844" y="33"/>
                    </a:lnTo>
                    <a:lnTo>
                      <a:pt x="1846" y="33"/>
                    </a:lnTo>
                    <a:lnTo>
                      <a:pt x="1846" y="30"/>
                    </a:lnTo>
                    <a:lnTo>
                      <a:pt x="1848" y="27"/>
                    </a:lnTo>
                    <a:lnTo>
                      <a:pt x="1849" y="27"/>
                    </a:lnTo>
                    <a:lnTo>
                      <a:pt x="1859" y="35"/>
                    </a:lnTo>
                    <a:lnTo>
                      <a:pt x="1859" y="33"/>
                    </a:lnTo>
                    <a:lnTo>
                      <a:pt x="1863" y="33"/>
                    </a:lnTo>
                    <a:lnTo>
                      <a:pt x="1863" y="32"/>
                    </a:lnTo>
                    <a:lnTo>
                      <a:pt x="1859" y="30"/>
                    </a:lnTo>
                    <a:lnTo>
                      <a:pt x="1856" y="25"/>
                    </a:lnTo>
                    <a:lnTo>
                      <a:pt x="1858" y="23"/>
                    </a:lnTo>
                    <a:lnTo>
                      <a:pt x="1858" y="22"/>
                    </a:lnTo>
                    <a:lnTo>
                      <a:pt x="1853" y="17"/>
                    </a:lnTo>
                    <a:lnTo>
                      <a:pt x="1851" y="13"/>
                    </a:lnTo>
                    <a:lnTo>
                      <a:pt x="1853" y="12"/>
                    </a:lnTo>
                    <a:lnTo>
                      <a:pt x="1858" y="12"/>
                    </a:lnTo>
                    <a:lnTo>
                      <a:pt x="1856" y="10"/>
                    </a:lnTo>
                    <a:lnTo>
                      <a:pt x="1851" y="8"/>
                    </a:lnTo>
                    <a:lnTo>
                      <a:pt x="1849" y="5"/>
                    </a:lnTo>
                    <a:lnTo>
                      <a:pt x="1851" y="5"/>
                    </a:lnTo>
                    <a:lnTo>
                      <a:pt x="1856" y="5"/>
                    </a:lnTo>
                    <a:lnTo>
                      <a:pt x="1861" y="0"/>
                    </a:lnTo>
                    <a:lnTo>
                      <a:pt x="1871" y="2"/>
                    </a:lnTo>
                    <a:lnTo>
                      <a:pt x="1873" y="3"/>
                    </a:lnTo>
                    <a:lnTo>
                      <a:pt x="1873" y="8"/>
                    </a:lnTo>
                    <a:lnTo>
                      <a:pt x="1869" y="13"/>
                    </a:lnTo>
                    <a:lnTo>
                      <a:pt x="1871" y="15"/>
                    </a:lnTo>
                    <a:lnTo>
                      <a:pt x="1874" y="15"/>
                    </a:lnTo>
                    <a:lnTo>
                      <a:pt x="1878" y="8"/>
                    </a:lnTo>
                    <a:lnTo>
                      <a:pt x="1879" y="7"/>
                    </a:lnTo>
                    <a:lnTo>
                      <a:pt x="1881" y="10"/>
                    </a:lnTo>
                    <a:lnTo>
                      <a:pt x="1879" y="17"/>
                    </a:lnTo>
                    <a:lnTo>
                      <a:pt x="1882" y="18"/>
                    </a:lnTo>
                    <a:lnTo>
                      <a:pt x="1884" y="17"/>
                    </a:lnTo>
                    <a:lnTo>
                      <a:pt x="1886" y="15"/>
                    </a:lnTo>
                    <a:lnTo>
                      <a:pt x="1892" y="10"/>
                    </a:lnTo>
                    <a:lnTo>
                      <a:pt x="1894" y="12"/>
                    </a:lnTo>
                    <a:lnTo>
                      <a:pt x="1892" y="17"/>
                    </a:lnTo>
                    <a:lnTo>
                      <a:pt x="1891" y="20"/>
                    </a:lnTo>
                    <a:lnTo>
                      <a:pt x="1892" y="28"/>
                    </a:lnTo>
                    <a:lnTo>
                      <a:pt x="1889" y="32"/>
                    </a:lnTo>
                    <a:lnTo>
                      <a:pt x="1892" y="33"/>
                    </a:lnTo>
                    <a:lnTo>
                      <a:pt x="1897" y="32"/>
                    </a:lnTo>
                    <a:lnTo>
                      <a:pt x="1901" y="33"/>
                    </a:lnTo>
                    <a:lnTo>
                      <a:pt x="1902" y="32"/>
                    </a:lnTo>
                    <a:lnTo>
                      <a:pt x="1902" y="25"/>
                    </a:lnTo>
                    <a:lnTo>
                      <a:pt x="1906" y="17"/>
                    </a:lnTo>
                    <a:lnTo>
                      <a:pt x="1902" y="8"/>
                    </a:lnTo>
                    <a:lnTo>
                      <a:pt x="1902" y="2"/>
                    </a:lnTo>
                    <a:lnTo>
                      <a:pt x="1906" y="0"/>
                    </a:lnTo>
                    <a:lnTo>
                      <a:pt x="1909" y="2"/>
                    </a:lnTo>
                    <a:lnTo>
                      <a:pt x="1912" y="2"/>
                    </a:lnTo>
                    <a:lnTo>
                      <a:pt x="1917" y="3"/>
                    </a:lnTo>
                    <a:lnTo>
                      <a:pt x="1924" y="2"/>
                    </a:lnTo>
                    <a:lnTo>
                      <a:pt x="1929" y="3"/>
                    </a:lnTo>
                    <a:lnTo>
                      <a:pt x="1931" y="7"/>
                    </a:lnTo>
                    <a:lnTo>
                      <a:pt x="1937" y="8"/>
                    </a:lnTo>
                    <a:lnTo>
                      <a:pt x="1942" y="7"/>
                    </a:lnTo>
                    <a:lnTo>
                      <a:pt x="1949" y="10"/>
                    </a:lnTo>
                    <a:lnTo>
                      <a:pt x="1951" y="13"/>
                    </a:lnTo>
                    <a:lnTo>
                      <a:pt x="1952" y="17"/>
                    </a:lnTo>
                    <a:lnTo>
                      <a:pt x="1952" y="22"/>
                    </a:lnTo>
                    <a:lnTo>
                      <a:pt x="1951" y="27"/>
                    </a:lnTo>
                    <a:lnTo>
                      <a:pt x="1951" y="28"/>
                    </a:lnTo>
                    <a:lnTo>
                      <a:pt x="1956" y="28"/>
                    </a:lnTo>
                    <a:lnTo>
                      <a:pt x="1961" y="23"/>
                    </a:lnTo>
                    <a:lnTo>
                      <a:pt x="1967" y="18"/>
                    </a:lnTo>
                    <a:lnTo>
                      <a:pt x="1971" y="15"/>
                    </a:lnTo>
                    <a:lnTo>
                      <a:pt x="1976" y="13"/>
                    </a:lnTo>
                    <a:lnTo>
                      <a:pt x="1980" y="17"/>
                    </a:lnTo>
                    <a:lnTo>
                      <a:pt x="1987" y="17"/>
                    </a:lnTo>
                    <a:lnTo>
                      <a:pt x="1987" y="20"/>
                    </a:lnTo>
                    <a:lnTo>
                      <a:pt x="1982" y="25"/>
                    </a:lnTo>
                    <a:lnTo>
                      <a:pt x="1984" y="28"/>
                    </a:lnTo>
                    <a:lnTo>
                      <a:pt x="1987" y="28"/>
                    </a:lnTo>
                    <a:lnTo>
                      <a:pt x="1987" y="23"/>
                    </a:lnTo>
                    <a:lnTo>
                      <a:pt x="1992" y="20"/>
                    </a:lnTo>
                    <a:lnTo>
                      <a:pt x="1997" y="18"/>
                    </a:lnTo>
                    <a:lnTo>
                      <a:pt x="2005" y="22"/>
                    </a:lnTo>
                    <a:lnTo>
                      <a:pt x="2014" y="23"/>
                    </a:lnTo>
                    <a:lnTo>
                      <a:pt x="2017" y="27"/>
                    </a:lnTo>
                    <a:lnTo>
                      <a:pt x="2015" y="28"/>
                    </a:lnTo>
                    <a:lnTo>
                      <a:pt x="2012" y="28"/>
                    </a:lnTo>
                    <a:lnTo>
                      <a:pt x="2014" y="32"/>
                    </a:lnTo>
                    <a:lnTo>
                      <a:pt x="2010" y="35"/>
                    </a:lnTo>
                    <a:lnTo>
                      <a:pt x="2012" y="38"/>
                    </a:lnTo>
                    <a:lnTo>
                      <a:pt x="2015" y="35"/>
                    </a:lnTo>
                    <a:lnTo>
                      <a:pt x="2020" y="33"/>
                    </a:lnTo>
                    <a:lnTo>
                      <a:pt x="2020" y="38"/>
                    </a:lnTo>
                    <a:lnTo>
                      <a:pt x="2024" y="40"/>
                    </a:lnTo>
                    <a:lnTo>
                      <a:pt x="2027" y="35"/>
                    </a:lnTo>
                    <a:lnTo>
                      <a:pt x="2034" y="35"/>
                    </a:lnTo>
                    <a:lnTo>
                      <a:pt x="2034" y="38"/>
                    </a:lnTo>
                    <a:lnTo>
                      <a:pt x="2032" y="40"/>
                    </a:lnTo>
                    <a:lnTo>
                      <a:pt x="2032" y="43"/>
                    </a:lnTo>
                    <a:lnTo>
                      <a:pt x="2035" y="45"/>
                    </a:lnTo>
                    <a:lnTo>
                      <a:pt x="2039" y="43"/>
                    </a:lnTo>
                    <a:lnTo>
                      <a:pt x="2042" y="40"/>
                    </a:lnTo>
                    <a:lnTo>
                      <a:pt x="2044" y="40"/>
                    </a:lnTo>
                    <a:lnTo>
                      <a:pt x="2045" y="43"/>
                    </a:lnTo>
                    <a:lnTo>
                      <a:pt x="2055" y="48"/>
                    </a:lnTo>
                    <a:lnTo>
                      <a:pt x="2059" y="48"/>
                    </a:lnTo>
                    <a:lnTo>
                      <a:pt x="2060" y="50"/>
                    </a:lnTo>
                    <a:lnTo>
                      <a:pt x="2059" y="53"/>
                    </a:lnTo>
                    <a:lnTo>
                      <a:pt x="2049" y="56"/>
                    </a:lnTo>
                    <a:lnTo>
                      <a:pt x="2044" y="61"/>
                    </a:lnTo>
                    <a:lnTo>
                      <a:pt x="2039" y="63"/>
                    </a:lnTo>
                    <a:lnTo>
                      <a:pt x="2032" y="65"/>
                    </a:lnTo>
                    <a:lnTo>
                      <a:pt x="2029" y="66"/>
                    </a:lnTo>
                    <a:lnTo>
                      <a:pt x="2025" y="65"/>
                    </a:lnTo>
                    <a:lnTo>
                      <a:pt x="2022" y="66"/>
                    </a:lnTo>
                    <a:lnTo>
                      <a:pt x="2015" y="68"/>
                    </a:lnTo>
                    <a:lnTo>
                      <a:pt x="2025" y="68"/>
                    </a:lnTo>
                    <a:lnTo>
                      <a:pt x="2035" y="70"/>
                    </a:lnTo>
                    <a:lnTo>
                      <a:pt x="2039" y="71"/>
                    </a:lnTo>
                    <a:lnTo>
                      <a:pt x="2042" y="71"/>
                    </a:lnTo>
                    <a:lnTo>
                      <a:pt x="2045" y="66"/>
                    </a:lnTo>
                    <a:lnTo>
                      <a:pt x="2047" y="66"/>
                    </a:lnTo>
                    <a:lnTo>
                      <a:pt x="2052" y="66"/>
                    </a:lnTo>
                    <a:lnTo>
                      <a:pt x="2055" y="61"/>
                    </a:lnTo>
                    <a:lnTo>
                      <a:pt x="2062" y="58"/>
                    </a:lnTo>
                    <a:lnTo>
                      <a:pt x="2067" y="58"/>
                    </a:lnTo>
                    <a:lnTo>
                      <a:pt x="2069" y="61"/>
                    </a:lnTo>
                    <a:lnTo>
                      <a:pt x="2065" y="66"/>
                    </a:lnTo>
                    <a:lnTo>
                      <a:pt x="2069" y="68"/>
                    </a:lnTo>
                    <a:lnTo>
                      <a:pt x="2070" y="66"/>
                    </a:lnTo>
                    <a:lnTo>
                      <a:pt x="2072" y="63"/>
                    </a:lnTo>
                    <a:lnTo>
                      <a:pt x="2077" y="60"/>
                    </a:lnTo>
                    <a:lnTo>
                      <a:pt x="2079" y="61"/>
                    </a:lnTo>
                    <a:lnTo>
                      <a:pt x="2077" y="65"/>
                    </a:lnTo>
                    <a:lnTo>
                      <a:pt x="2077" y="66"/>
                    </a:lnTo>
                    <a:lnTo>
                      <a:pt x="2075" y="70"/>
                    </a:lnTo>
                    <a:lnTo>
                      <a:pt x="2077" y="73"/>
                    </a:lnTo>
                    <a:lnTo>
                      <a:pt x="2080" y="71"/>
                    </a:lnTo>
                    <a:lnTo>
                      <a:pt x="2082" y="70"/>
                    </a:lnTo>
                    <a:lnTo>
                      <a:pt x="2083" y="65"/>
                    </a:lnTo>
                    <a:lnTo>
                      <a:pt x="2088" y="65"/>
                    </a:lnTo>
                    <a:lnTo>
                      <a:pt x="2092" y="65"/>
                    </a:lnTo>
                    <a:lnTo>
                      <a:pt x="2090" y="75"/>
                    </a:lnTo>
                    <a:lnTo>
                      <a:pt x="2087" y="76"/>
                    </a:lnTo>
                    <a:lnTo>
                      <a:pt x="2088" y="76"/>
                    </a:lnTo>
                    <a:lnTo>
                      <a:pt x="2090" y="81"/>
                    </a:lnTo>
                    <a:lnTo>
                      <a:pt x="2090" y="88"/>
                    </a:lnTo>
                    <a:lnTo>
                      <a:pt x="2085" y="90"/>
                    </a:lnTo>
                    <a:lnTo>
                      <a:pt x="2085" y="93"/>
                    </a:lnTo>
                    <a:lnTo>
                      <a:pt x="2079" y="100"/>
                    </a:lnTo>
                    <a:lnTo>
                      <a:pt x="2080" y="101"/>
                    </a:lnTo>
                    <a:lnTo>
                      <a:pt x="2083" y="101"/>
                    </a:lnTo>
                    <a:lnTo>
                      <a:pt x="2087" y="96"/>
                    </a:lnTo>
                    <a:lnTo>
                      <a:pt x="2092" y="96"/>
                    </a:lnTo>
                    <a:lnTo>
                      <a:pt x="2092" y="95"/>
                    </a:lnTo>
                    <a:lnTo>
                      <a:pt x="2095" y="95"/>
                    </a:lnTo>
                    <a:lnTo>
                      <a:pt x="2102" y="98"/>
                    </a:lnTo>
                    <a:lnTo>
                      <a:pt x="2103" y="103"/>
                    </a:lnTo>
                    <a:lnTo>
                      <a:pt x="2105" y="110"/>
                    </a:lnTo>
                    <a:lnTo>
                      <a:pt x="2103" y="120"/>
                    </a:lnTo>
                    <a:lnTo>
                      <a:pt x="2097" y="130"/>
                    </a:lnTo>
                    <a:lnTo>
                      <a:pt x="2088" y="135"/>
                    </a:lnTo>
                    <a:lnTo>
                      <a:pt x="2085" y="136"/>
                    </a:lnTo>
                    <a:lnTo>
                      <a:pt x="2082" y="136"/>
                    </a:lnTo>
                    <a:lnTo>
                      <a:pt x="2077" y="138"/>
                    </a:lnTo>
                    <a:lnTo>
                      <a:pt x="2077" y="140"/>
                    </a:lnTo>
                    <a:lnTo>
                      <a:pt x="2074" y="141"/>
                    </a:lnTo>
                    <a:lnTo>
                      <a:pt x="2059" y="148"/>
                    </a:lnTo>
                    <a:lnTo>
                      <a:pt x="2054" y="151"/>
                    </a:lnTo>
                    <a:lnTo>
                      <a:pt x="2049" y="153"/>
                    </a:lnTo>
                    <a:lnTo>
                      <a:pt x="2042" y="154"/>
                    </a:lnTo>
                    <a:lnTo>
                      <a:pt x="2035" y="154"/>
                    </a:lnTo>
                    <a:lnTo>
                      <a:pt x="2032" y="153"/>
                    </a:lnTo>
                    <a:lnTo>
                      <a:pt x="2030" y="156"/>
                    </a:lnTo>
                    <a:lnTo>
                      <a:pt x="2027" y="158"/>
                    </a:lnTo>
                    <a:lnTo>
                      <a:pt x="2022" y="154"/>
                    </a:lnTo>
                    <a:lnTo>
                      <a:pt x="2017" y="151"/>
                    </a:lnTo>
                    <a:lnTo>
                      <a:pt x="2009" y="151"/>
                    </a:lnTo>
                    <a:lnTo>
                      <a:pt x="2009" y="154"/>
                    </a:lnTo>
                    <a:lnTo>
                      <a:pt x="2014" y="154"/>
                    </a:lnTo>
                    <a:lnTo>
                      <a:pt x="2017" y="156"/>
                    </a:lnTo>
                    <a:lnTo>
                      <a:pt x="2014" y="158"/>
                    </a:lnTo>
                    <a:lnTo>
                      <a:pt x="2007" y="156"/>
                    </a:lnTo>
                    <a:lnTo>
                      <a:pt x="2004" y="158"/>
                    </a:lnTo>
                    <a:lnTo>
                      <a:pt x="2000" y="154"/>
                    </a:lnTo>
                    <a:lnTo>
                      <a:pt x="1992" y="154"/>
                    </a:lnTo>
                    <a:lnTo>
                      <a:pt x="1989" y="153"/>
                    </a:lnTo>
                    <a:lnTo>
                      <a:pt x="1987" y="153"/>
                    </a:lnTo>
                    <a:lnTo>
                      <a:pt x="1984" y="154"/>
                    </a:lnTo>
                    <a:lnTo>
                      <a:pt x="1977" y="146"/>
                    </a:lnTo>
                    <a:lnTo>
                      <a:pt x="1972" y="141"/>
                    </a:lnTo>
                    <a:lnTo>
                      <a:pt x="1974" y="146"/>
                    </a:lnTo>
                    <a:lnTo>
                      <a:pt x="1979" y="151"/>
                    </a:lnTo>
                    <a:lnTo>
                      <a:pt x="1979" y="153"/>
                    </a:lnTo>
                    <a:lnTo>
                      <a:pt x="1976" y="154"/>
                    </a:lnTo>
                    <a:lnTo>
                      <a:pt x="1967" y="151"/>
                    </a:lnTo>
                    <a:lnTo>
                      <a:pt x="1971" y="154"/>
                    </a:lnTo>
                    <a:lnTo>
                      <a:pt x="1987" y="158"/>
                    </a:lnTo>
                    <a:lnTo>
                      <a:pt x="1995" y="159"/>
                    </a:lnTo>
                    <a:lnTo>
                      <a:pt x="1999" y="161"/>
                    </a:lnTo>
                    <a:lnTo>
                      <a:pt x="1995" y="164"/>
                    </a:lnTo>
                    <a:lnTo>
                      <a:pt x="1974" y="171"/>
                    </a:lnTo>
                    <a:lnTo>
                      <a:pt x="1961" y="174"/>
                    </a:lnTo>
                    <a:lnTo>
                      <a:pt x="1956" y="174"/>
                    </a:lnTo>
                    <a:lnTo>
                      <a:pt x="1947" y="174"/>
                    </a:lnTo>
                    <a:lnTo>
                      <a:pt x="1942" y="174"/>
                    </a:lnTo>
                    <a:lnTo>
                      <a:pt x="1941" y="171"/>
                    </a:lnTo>
                    <a:lnTo>
                      <a:pt x="1936" y="173"/>
                    </a:lnTo>
                    <a:lnTo>
                      <a:pt x="1932" y="173"/>
                    </a:lnTo>
                    <a:lnTo>
                      <a:pt x="1927" y="173"/>
                    </a:lnTo>
                    <a:lnTo>
                      <a:pt x="1926" y="178"/>
                    </a:lnTo>
                    <a:lnTo>
                      <a:pt x="1931" y="176"/>
                    </a:lnTo>
                    <a:lnTo>
                      <a:pt x="1931" y="181"/>
                    </a:lnTo>
                    <a:lnTo>
                      <a:pt x="1937" y="178"/>
                    </a:lnTo>
                    <a:lnTo>
                      <a:pt x="1951" y="178"/>
                    </a:lnTo>
                    <a:lnTo>
                      <a:pt x="1957" y="178"/>
                    </a:lnTo>
                    <a:lnTo>
                      <a:pt x="1976" y="178"/>
                    </a:lnTo>
                    <a:lnTo>
                      <a:pt x="1987" y="176"/>
                    </a:lnTo>
                    <a:lnTo>
                      <a:pt x="1995" y="168"/>
                    </a:lnTo>
                    <a:lnTo>
                      <a:pt x="2000" y="168"/>
                    </a:lnTo>
                    <a:lnTo>
                      <a:pt x="2004" y="169"/>
                    </a:lnTo>
                    <a:lnTo>
                      <a:pt x="2010" y="168"/>
                    </a:lnTo>
                    <a:lnTo>
                      <a:pt x="2017" y="169"/>
                    </a:lnTo>
                    <a:lnTo>
                      <a:pt x="2015" y="174"/>
                    </a:lnTo>
                    <a:lnTo>
                      <a:pt x="2010" y="181"/>
                    </a:lnTo>
                    <a:lnTo>
                      <a:pt x="2002" y="184"/>
                    </a:lnTo>
                    <a:lnTo>
                      <a:pt x="2000" y="186"/>
                    </a:lnTo>
                    <a:lnTo>
                      <a:pt x="1990" y="188"/>
                    </a:lnTo>
                    <a:lnTo>
                      <a:pt x="1987" y="193"/>
                    </a:lnTo>
                    <a:lnTo>
                      <a:pt x="1984" y="193"/>
                    </a:lnTo>
                    <a:lnTo>
                      <a:pt x="1979" y="198"/>
                    </a:lnTo>
                    <a:lnTo>
                      <a:pt x="1971" y="201"/>
                    </a:lnTo>
                    <a:lnTo>
                      <a:pt x="1966" y="201"/>
                    </a:lnTo>
                    <a:lnTo>
                      <a:pt x="1962" y="203"/>
                    </a:lnTo>
                    <a:lnTo>
                      <a:pt x="1957" y="203"/>
                    </a:lnTo>
                    <a:lnTo>
                      <a:pt x="1952" y="206"/>
                    </a:lnTo>
                    <a:lnTo>
                      <a:pt x="1944" y="208"/>
                    </a:lnTo>
                    <a:lnTo>
                      <a:pt x="1941" y="213"/>
                    </a:lnTo>
                    <a:lnTo>
                      <a:pt x="1931" y="214"/>
                    </a:lnTo>
                    <a:lnTo>
                      <a:pt x="1927" y="216"/>
                    </a:lnTo>
                    <a:lnTo>
                      <a:pt x="1922" y="214"/>
                    </a:lnTo>
                    <a:lnTo>
                      <a:pt x="1919" y="218"/>
                    </a:lnTo>
                    <a:lnTo>
                      <a:pt x="1916" y="218"/>
                    </a:lnTo>
                    <a:lnTo>
                      <a:pt x="1914" y="219"/>
                    </a:lnTo>
                    <a:lnTo>
                      <a:pt x="1914" y="224"/>
                    </a:lnTo>
                    <a:lnTo>
                      <a:pt x="1909" y="228"/>
                    </a:lnTo>
                    <a:lnTo>
                      <a:pt x="1906" y="233"/>
                    </a:lnTo>
                    <a:lnTo>
                      <a:pt x="1894" y="233"/>
                    </a:lnTo>
                    <a:lnTo>
                      <a:pt x="1891" y="234"/>
                    </a:lnTo>
                    <a:lnTo>
                      <a:pt x="1887" y="233"/>
                    </a:lnTo>
                    <a:lnTo>
                      <a:pt x="1886" y="231"/>
                    </a:lnTo>
                    <a:lnTo>
                      <a:pt x="1889" y="228"/>
                    </a:lnTo>
                    <a:lnTo>
                      <a:pt x="1889" y="224"/>
                    </a:lnTo>
                    <a:lnTo>
                      <a:pt x="1886" y="221"/>
                    </a:lnTo>
                    <a:lnTo>
                      <a:pt x="1886" y="228"/>
                    </a:lnTo>
                    <a:lnTo>
                      <a:pt x="1884" y="229"/>
                    </a:lnTo>
                    <a:lnTo>
                      <a:pt x="1882" y="233"/>
                    </a:lnTo>
                    <a:lnTo>
                      <a:pt x="1887" y="236"/>
                    </a:lnTo>
                    <a:lnTo>
                      <a:pt x="1889" y="239"/>
                    </a:lnTo>
                    <a:lnTo>
                      <a:pt x="1884" y="244"/>
                    </a:lnTo>
                    <a:lnTo>
                      <a:pt x="1882" y="244"/>
                    </a:lnTo>
                    <a:lnTo>
                      <a:pt x="1878" y="241"/>
                    </a:lnTo>
                    <a:lnTo>
                      <a:pt x="1874" y="243"/>
                    </a:lnTo>
                    <a:lnTo>
                      <a:pt x="1866" y="241"/>
                    </a:lnTo>
                    <a:lnTo>
                      <a:pt x="1863" y="243"/>
                    </a:lnTo>
                    <a:lnTo>
                      <a:pt x="1859" y="243"/>
                    </a:lnTo>
                    <a:lnTo>
                      <a:pt x="1859" y="239"/>
                    </a:lnTo>
                    <a:lnTo>
                      <a:pt x="1858" y="238"/>
                    </a:lnTo>
                    <a:lnTo>
                      <a:pt x="1856" y="241"/>
                    </a:lnTo>
                    <a:lnTo>
                      <a:pt x="1851" y="241"/>
                    </a:lnTo>
                    <a:lnTo>
                      <a:pt x="1851" y="244"/>
                    </a:lnTo>
                    <a:lnTo>
                      <a:pt x="1859" y="246"/>
                    </a:lnTo>
                    <a:lnTo>
                      <a:pt x="1873" y="246"/>
                    </a:lnTo>
                    <a:lnTo>
                      <a:pt x="1876" y="249"/>
                    </a:lnTo>
                    <a:lnTo>
                      <a:pt x="1874" y="252"/>
                    </a:lnTo>
                    <a:lnTo>
                      <a:pt x="1869" y="256"/>
                    </a:lnTo>
                    <a:lnTo>
                      <a:pt x="1863" y="254"/>
                    </a:lnTo>
                    <a:lnTo>
                      <a:pt x="1856" y="256"/>
                    </a:lnTo>
                    <a:lnTo>
                      <a:pt x="1854" y="257"/>
                    </a:lnTo>
                    <a:lnTo>
                      <a:pt x="1858" y="259"/>
                    </a:lnTo>
                    <a:lnTo>
                      <a:pt x="1859" y="257"/>
                    </a:lnTo>
                    <a:lnTo>
                      <a:pt x="1863" y="261"/>
                    </a:lnTo>
                    <a:lnTo>
                      <a:pt x="1863" y="264"/>
                    </a:lnTo>
                    <a:lnTo>
                      <a:pt x="1854" y="271"/>
                    </a:lnTo>
                    <a:lnTo>
                      <a:pt x="1848" y="269"/>
                    </a:lnTo>
                    <a:lnTo>
                      <a:pt x="1836" y="269"/>
                    </a:lnTo>
                    <a:lnTo>
                      <a:pt x="1834" y="267"/>
                    </a:lnTo>
                    <a:lnTo>
                      <a:pt x="1829" y="267"/>
                    </a:lnTo>
                    <a:lnTo>
                      <a:pt x="1828" y="264"/>
                    </a:lnTo>
                    <a:lnTo>
                      <a:pt x="1828" y="257"/>
                    </a:lnTo>
                    <a:lnTo>
                      <a:pt x="1821" y="256"/>
                    </a:lnTo>
                    <a:lnTo>
                      <a:pt x="1818" y="254"/>
                    </a:lnTo>
                    <a:lnTo>
                      <a:pt x="1819" y="251"/>
                    </a:lnTo>
                    <a:lnTo>
                      <a:pt x="1816" y="247"/>
                    </a:lnTo>
                    <a:lnTo>
                      <a:pt x="1813" y="249"/>
                    </a:lnTo>
                    <a:lnTo>
                      <a:pt x="1809" y="247"/>
                    </a:lnTo>
                    <a:lnTo>
                      <a:pt x="1801" y="249"/>
                    </a:lnTo>
                    <a:lnTo>
                      <a:pt x="1801" y="251"/>
                    </a:lnTo>
                    <a:lnTo>
                      <a:pt x="1804" y="252"/>
                    </a:lnTo>
                    <a:lnTo>
                      <a:pt x="1806" y="251"/>
                    </a:lnTo>
                    <a:lnTo>
                      <a:pt x="1809" y="252"/>
                    </a:lnTo>
                    <a:lnTo>
                      <a:pt x="1821" y="261"/>
                    </a:lnTo>
                    <a:lnTo>
                      <a:pt x="1819" y="274"/>
                    </a:lnTo>
                    <a:lnTo>
                      <a:pt x="1818" y="276"/>
                    </a:lnTo>
                    <a:lnTo>
                      <a:pt x="1813" y="274"/>
                    </a:lnTo>
                    <a:lnTo>
                      <a:pt x="1809" y="271"/>
                    </a:lnTo>
                    <a:lnTo>
                      <a:pt x="1806" y="272"/>
                    </a:lnTo>
                    <a:lnTo>
                      <a:pt x="1806" y="276"/>
                    </a:lnTo>
                    <a:lnTo>
                      <a:pt x="1804" y="276"/>
                    </a:lnTo>
                    <a:lnTo>
                      <a:pt x="1799" y="272"/>
                    </a:lnTo>
                    <a:lnTo>
                      <a:pt x="1796" y="272"/>
                    </a:lnTo>
                    <a:lnTo>
                      <a:pt x="1793" y="276"/>
                    </a:lnTo>
                    <a:lnTo>
                      <a:pt x="1789" y="276"/>
                    </a:lnTo>
                    <a:lnTo>
                      <a:pt x="1788" y="272"/>
                    </a:lnTo>
                    <a:lnTo>
                      <a:pt x="1783" y="272"/>
                    </a:lnTo>
                    <a:lnTo>
                      <a:pt x="1780" y="267"/>
                    </a:lnTo>
                    <a:lnTo>
                      <a:pt x="1778" y="269"/>
                    </a:lnTo>
                    <a:lnTo>
                      <a:pt x="1776" y="264"/>
                    </a:lnTo>
                    <a:lnTo>
                      <a:pt x="1773" y="262"/>
                    </a:lnTo>
                    <a:lnTo>
                      <a:pt x="1766" y="262"/>
                    </a:lnTo>
                    <a:lnTo>
                      <a:pt x="1763" y="257"/>
                    </a:lnTo>
                    <a:lnTo>
                      <a:pt x="1761" y="259"/>
                    </a:lnTo>
                    <a:lnTo>
                      <a:pt x="1763" y="262"/>
                    </a:lnTo>
                    <a:lnTo>
                      <a:pt x="1766" y="266"/>
                    </a:lnTo>
                    <a:lnTo>
                      <a:pt x="1773" y="267"/>
                    </a:lnTo>
                    <a:lnTo>
                      <a:pt x="1778" y="276"/>
                    </a:lnTo>
                    <a:lnTo>
                      <a:pt x="1776" y="277"/>
                    </a:lnTo>
                    <a:lnTo>
                      <a:pt x="1763" y="274"/>
                    </a:lnTo>
                    <a:lnTo>
                      <a:pt x="1760" y="272"/>
                    </a:lnTo>
                    <a:lnTo>
                      <a:pt x="1760" y="267"/>
                    </a:lnTo>
                    <a:lnTo>
                      <a:pt x="1756" y="264"/>
                    </a:lnTo>
                    <a:lnTo>
                      <a:pt x="1755" y="266"/>
                    </a:lnTo>
                    <a:lnTo>
                      <a:pt x="1755" y="269"/>
                    </a:lnTo>
                    <a:lnTo>
                      <a:pt x="1755" y="271"/>
                    </a:lnTo>
                    <a:lnTo>
                      <a:pt x="1750" y="271"/>
                    </a:lnTo>
                    <a:lnTo>
                      <a:pt x="1746" y="267"/>
                    </a:lnTo>
                    <a:lnTo>
                      <a:pt x="1743" y="269"/>
                    </a:lnTo>
                    <a:lnTo>
                      <a:pt x="1743" y="272"/>
                    </a:lnTo>
                    <a:lnTo>
                      <a:pt x="1750" y="274"/>
                    </a:lnTo>
                    <a:lnTo>
                      <a:pt x="1750" y="277"/>
                    </a:lnTo>
                    <a:lnTo>
                      <a:pt x="1751" y="277"/>
                    </a:lnTo>
                    <a:lnTo>
                      <a:pt x="1755" y="276"/>
                    </a:lnTo>
                    <a:lnTo>
                      <a:pt x="1758" y="276"/>
                    </a:lnTo>
                    <a:lnTo>
                      <a:pt x="1761" y="279"/>
                    </a:lnTo>
                    <a:lnTo>
                      <a:pt x="1766" y="281"/>
                    </a:lnTo>
                    <a:lnTo>
                      <a:pt x="1771" y="286"/>
                    </a:lnTo>
                    <a:lnTo>
                      <a:pt x="1775" y="286"/>
                    </a:lnTo>
                    <a:lnTo>
                      <a:pt x="1778" y="284"/>
                    </a:lnTo>
                    <a:lnTo>
                      <a:pt x="1791" y="287"/>
                    </a:lnTo>
                    <a:lnTo>
                      <a:pt x="1794" y="289"/>
                    </a:lnTo>
                    <a:lnTo>
                      <a:pt x="1789" y="292"/>
                    </a:lnTo>
                    <a:lnTo>
                      <a:pt x="1791" y="294"/>
                    </a:lnTo>
                    <a:lnTo>
                      <a:pt x="1789" y="299"/>
                    </a:lnTo>
                    <a:lnTo>
                      <a:pt x="1791" y="302"/>
                    </a:lnTo>
                    <a:lnTo>
                      <a:pt x="1788" y="306"/>
                    </a:lnTo>
                    <a:lnTo>
                      <a:pt x="1786" y="304"/>
                    </a:lnTo>
                    <a:lnTo>
                      <a:pt x="1783" y="302"/>
                    </a:lnTo>
                    <a:lnTo>
                      <a:pt x="1776" y="301"/>
                    </a:lnTo>
                    <a:lnTo>
                      <a:pt x="1770" y="296"/>
                    </a:lnTo>
                    <a:lnTo>
                      <a:pt x="1768" y="292"/>
                    </a:lnTo>
                    <a:lnTo>
                      <a:pt x="1770" y="287"/>
                    </a:lnTo>
                    <a:lnTo>
                      <a:pt x="1766" y="284"/>
                    </a:lnTo>
                    <a:lnTo>
                      <a:pt x="1760" y="284"/>
                    </a:lnTo>
                    <a:lnTo>
                      <a:pt x="1748" y="282"/>
                    </a:lnTo>
                    <a:lnTo>
                      <a:pt x="1745" y="279"/>
                    </a:lnTo>
                    <a:lnTo>
                      <a:pt x="1740" y="281"/>
                    </a:lnTo>
                    <a:lnTo>
                      <a:pt x="1740" y="282"/>
                    </a:lnTo>
                    <a:lnTo>
                      <a:pt x="1746" y="284"/>
                    </a:lnTo>
                    <a:lnTo>
                      <a:pt x="1755" y="286"/>
                    </a:lnTo>
                    <a:lnTo>
                      <a:pt x="1765" y="289"/>
                    </a:lnTo>
                    <a:lnTo>
                      <a:pt x="1765" y="292"/>
                    </a:lnTo>
                    <a:lnTo>
                      <a:pt x="1763" y="294"/>
                    </a:lnTo>
                    <a:lnTo>
                      <a:pt x="1758" y="291"/>
                    </a:lnTo>
                    <a:lnTo>
                      <a:pt x="1750" y="291"/>
                    </a:lnTo>
                    <a:lnTo>
                      <a:pt x="1741" y="292"/>
                    </a:lnTo>
                    <a:lnTo>
                      <a:pt x="1741" y="289"/>
                    </a:lnTo>
                    <a:lnTo>
                      <a:pt x="1740" y="287"/>
                    </a:lnTo>
                    <a:lnTo>
                      <a:pt x="1731" y="286"/>
                    </a:lnTo>
                    <a:lnTo>
                      <a:pt x="1728" y="284"/>
                    </a:lnTo>
                    <a:lnTo>
                      <a:pt x="1728" y="286"/>
                    </a:lnTo>
                    <a:lnTo>
                      <a:pt x="1736" y="289"/>
                    </a:lnTo>
                    <a:lnTo>
                      <a:pt x="1736" y="292"/>
                    </a:lnTo>
                    <a:lnTo>
                      <a:pt x="1736" y="294"/>
                    </a:lnTo>
                    <a:lnTo>
                      <a:pt x="1740" y="296"/>
                    </a:lnTo>
                    <a:lnTo>
                      <a:pt x="1741" y="294"/>
                    </a:lnTo>
                    <a:lnTo>
                      <a:pt x="1743" y="296"/>
                    </a:lnTo>
                    <a:lnTo>
                      <a:pt x="1746" y="294"/>
                    </a:lnTo>
                    <a:lnTo>
                      <a:pt x="1748" y="292"/>
                    </a:lnTo>
                    <a:lnTo>
                      <a:pt x="1750" y="294"/>
                    </a:lnTo>
                    <a:lnTo>
                      <a:pt x="1755" y="294"/>
                    </a:lnTo>
                    <a:lnTo>
                      <a:pt x="1758" y="296"/>
                    </a:lnTo>
                    <a:lnTo>
                      <a:pt x="1765" y="301"/>
                    </a:lnTo>
                    <a:lnTo>
                      <a:pt x="1765" y="302"/>
                    </a:lnTo>
                    <a:lnTo>
                      <a:pt x="1760" y="302"/>
                    </a:lnTo>
                    <a:lnTo>
                      <a:pt x="1755" y="306"/>
                    </a:lnTo>
                    <a:lnTo>
                      <a:pt x="1753" y="307"/>
                    </a:lnTo>
                    <a:lnTo>
                      <a:pt x="1758" y="306"/>
                    </a:lnTo>
                    <a:lnTo>
                      <a:pt x="1761" y="306"/>
                    </a:lnTo>
                    <a:lnTo>
                      <a:pt x="1766" y="306"/>
                    </a:lnTo>
                    <a:lnTo>
                      <a:pt x="1771" y="309"/>
                    </a:lnTo>
                    <a:lnTo>
                      <a:pt x="1775" y="312"/>
                    </a:lnTo>
                    <a:lnTo>
                      <a:pt x="1775" y="316"/>
                    </a:lnTo>
                    <a:lnTo>
                      <a:pt x="1770" y="324"/>
                    </a:lnTo>
                    <a:lnTo>
                      <a:pt x="1768" y="331"/>
                    </a:lnTo>
                    <a:lnTo>
                      <a:pt x="1765" y="331"/>
                    </a:lnTo>
                    <a:lnTo>
                      <a:pt x="1758" y="336"/>
                    </a:lnTo>
                    <a:lnTo>
                      <a:pt x="1755" y="334"/>
                    </a:lnTo>
                    <a:lnTo>
                      <a:pt x="1751" y="334"/>
                    </a:lnTo>
                    <a:lnTo>
                      <a:pt x="1748" y="332"/>
                    </a:lnTo>
                    <a:lnTo>
                      <a:pt x="1746" y="331"/>
                    </a:lnTo>
                    <a:lnTo>
                      <a:pt x="1743" y="329"/>
                    </a:lnTo>
                    <a:lnTo>
                      <a:pt x="1738" y="329"/>
                    </a:lnTo>
                    <a:lnTo>
                      <a:pt x="1738" y="331"/>
                    </a:lnTo>
                    <a:lnTo>
                      <a:pt x="1743" y="332"/>
                    </a:lnTo>
                    <a:lnTo>
                      <a:pt x="1745" y="334"/>
                    </a:lnTo>
                    <a:lnTo>
                      <a:pt x="1748" y="336"/>
                    </a:lnTo>
                    <a:lnTo>
                      <a:pt x="1753" y="339"/>
                    </a:lnTo>
                    <a:lnTo>
                      <a:pt x="1755" y="344"/>
                    </a:lnTo>
                    <a:lnTo>
                      <a:pt x="1753" y="347"/>
                    </a:lnTo>
                    <a:lnTo>
                      <a:pt x="1748" y="347"/>
                    </a:lnTo>
                    <a:lnTo>
                      <a:pt x="1743" y="352"/>
                    </a:lnTo>
                    <a:lnTo>
                      <a:pt x="1740" y="352"/>
                    </a:lnTo>
                    <a:lnTo>
                      <a:pt x="1733" y="347"/>
                    </a:lnTo>
                    <a:lnTo>
                      <a:pt x="1728" y="347"/>
                    </a:lnTo>
                    <a:lnTo>
                      <a:pt x="1726" y="345"/>
                    </a:lnTo>
                    <a:lnTo>
                      <a:pt x="1721" y="345"/>
                    </a:lnTo>
                    <a:lnTo>
                      <a:pt x="1718" y="347"/>
                    </a:lnTo>
                    <a:lnTo>
                      <a:pt x="1720" y="349"/>
                    </a:lnTo>
                    <a:lnTo>
                      <a:pt x="1735" y="357"/>
                    </a:lnTo>
                    <a:lnTo>
                      <a:pt x="1740" y="357"/>
                    </a:lnTo>
                    <a:lnTo>
                      <a:pt x="1740" y="359"/>
                    </a:lnTo>
                    <a:lnTo>
                      <a:pt x="1735" y="360"/>
                    </a:lnTo>
                    <a:lnTo>
                      <a:pt x="1731" y="365"/>
                    </a:lnTo>
                    <a:lnTo>
                      <a:pt x="1728" y="365"/>
                    </a:lnTo>
                    <a:lnTo>
                      <a:pt x="1723" y="362"/>
                    </a:lnTo>
                    <a:lnTo>
                      <a:pt x="1720" y="362"/>
                    </a:lnTo>
                    <a:lnTo>
                      <a:pt x="1715" y="365"/>
                    </a:lnTo>
                    <a:lnTo>
                      <a:pt x="1708" y="365"/>
                    </a:lnTo>
                    <a:lnTo>
                      <a:pt x="1705" y="362"/>
                    </a:lnTo>
                    <a:lnTo>
                      <a:pt x="1695" y="360"/>
                    </a:lnTo>
                    <a:lnTo>
                      <a:pt x="1690" y="362"/>
                    </a:lnTo>
                    <a:lnTo>
                      <a:pt x="1688" y="369"/>
                    </a:lnTo>
                    <a:lnTo>
                      <a:pt x="1683" y="374"/>
                    </a:lnTo>
                    <a:lnTo>
                      <a:pt x="1688" y="374"/>
                    </a:lnTo>
                    <a:lnTo>
                      <a:pt x="1690" y="374"/>
                    </a:lnTo>
                    <a:lnTo>
                      <a:pt x="1690" y="379"/>
                    </a:lnTo>
                    <a:lnTo>
                      <a:pt x="1682" y="382"/>
                    </a:lnTo>
                    <a:lnTo>
                      <a:pt x="1682" y="387"/>
                    </a:lnTo>
                    <a:lnTo>
                      <a:pt x="1677" y="390"/>
                    </a:lnTo>
                    <a:lnTo>
                      <a:pt x="1675" y="389"/>
                    </a:lnTo>
                    <a:lnTo>
                      <a:pt x="1673" y="389"/>
                    </a:lnTo>
                    <a:lnTo>
                      <a:pt x="1672" y="392"/>
                    </a:lnTo>
                    <a:lnTo>
                      <a:pt x="1668" y="394"/>
                    </a:lnTo>
                    <a:lnTo>
                      <a:pt x="1665" y="394"/>
                    </a:lnTo>
                    <a:lnTo>
                      <a:pt x="1667" y="390"/>
                    </a:lnTo>
                    <a:lnTo>
                      <a:pt x="1663" y="390"/>
                    </a:lnTo>
                    <a:lnTo>
                      <a:pt x="1662" y="394"/>
                    </a:lnTo>
                    <a:lnTo>
                      <a:pt x="1658" y="399"/>
                    </a:lnTo>
                    <a:lnTo>
                      <a:pt x="1655" y="400"/>
                    </a:lnTo>
                    <a:lnTo>
                      <a:pt x="1643" y="395"/>
                    </a:lnTo>
                    <a:lnTo>
                      <a:pt x="1638" y="395"/>
                    </a:lnTo>
                    <a:lnTo>
                      <a:pt x="1637" y="397"/>
                    </a:lnTo>
                    <a:lnTo>
                      <a:pt x="1630" y="395"/>
                    </a:lnTo>
                    <a:lnTo>
                      <a:pt x="1620" y="384"/>
                    </a:lnTo>
                    <a:lnTo>
                      <a:pt x="1618" y="375"/>
                    </a:lnTo>
                    <a:lnTo>
                      <a:pt x="1622" y="374"/>
                    </a:lnTo>
                    <a:lnTo>
                      <a:pt x="1622" y="370"/>
                    </a:lnTo>
                    <a:lnTo>
                      <a:pt x="1620" y="367"/>
                    </a:lnTo>
                    <a:lnTo>
                      <a:pt x="1620" y="364"/>
                    </a:lnTo>
                    <a:lnTo>
                      <a:pt x="1617" y="369"/>
                    </a:lnTo>
                    <a:lnTo>
                      <a:pt x="1617" y="372"/>
                    </a:lnTo>
                    <a:lnTo>
                      <a:pt x="1615" y="379"/>
                    </a:lnTo>
                    <a:lnTo>
                      <a:pt x="1612" y="382"/>
                    </a:lnTo>
                    <a:lnTo>
                      <a:pt x="1617" y="387"/>
                    </a:lnTo>
                    <a:lnTo>
                      <a:pt x="1615" y="389"/>
                    </a:lnTo>
                    <a:lnTo>
                      <a:pt x="1613" y="389"/>
                    </a:lnTo>
                    <a:lnTo>
                      <a:pt x="1607" y="389"/>
                    </a:lnTo>
                    <a:lnTo>
                      <a:pt x="1605" y="389"/>
                    </a:lnTo>
                    <a:lnTo>
                      <a:pt x="1600" y="389"/>
                    </a:lnTo>
                    <a:lnTo>
                      <a:pt x="1605" y="392"/>
                    </a:lnTo>
                    <a:lnTo>
                      <a:pt x="1602" y="399"/>
                    </a:lnTo>
                    <a:lnTo>
                      <a:pt x="1605" y="399"/>
                    </a:lnTo>
                    <a:lnTo>
                      <a:pt x="1612" y="394"/>
                    </a:lnTo>
                    <a:lnTo>
                      <a:pt x="1613" y="394"/>
                    </a:lnTo>
                    <a:lnTo>
                      <a:pt x="1615" y="392"/>
                    </a:lnTo>
                    <a:lnTo>
                      <a:pt x="1618" y="390"/>
                    </a:lnTo>
                    <a:lnTo>
                      <a:pt x="1625" y="394"/>
                    </a:lnTo>
                    <a:lnTo>
                      <a:pt x="1628" y="399"/>
                    </a:lnTo>
                    <a:lnTo>
                      <a:pt x="1627" y="404"/>
                    </a:lnTo>
                    <a:lnTo>
                      <a:pt x="1632" y="400"/>
                    </a:lnTo>
                    <a:lnTo>
                      <a:pt x="1640" y="397"/>
                    </a:lnTo>
                    <a:lnTo>
                      <a:pt x="1647" y="400"/>
                    </a:lnTo>
                    <a:lnTo>
                      <a:pt x="1647" y="404"/>
                    </a:lnTo>
                    <a:lnTo>
                      <a:pt x="1645" y="407"/>
                    </a:lnTo>
                    <a:lnTo>
                      <a:pt x="1642" y="414"/>
                    </a:lnTo>
                    <a:lnTo>
                      <a:pt x="1640" y="415"/>
                    </a:lnTo>
                    <a:lnTo>
                      <a:pt x="1638" y="417"/>
                    </a:lnTo>
                    <a:lnTo>
                      <a:pt x="1640" y="419"/>
                    </a:lnTo>
                    <a:lnTo>
                      <a:pt x="1643" y="419"/>
                    </a:lnTo>
                    <a:lnTo>
                      <a:pt x="1643" y="422"/>
                    </a:lnTo>
                    <a:lnTo>
                      <a:pt x="1638" y="425"/>
                    </a:lnTo>
                    <a:lnTo>
                      <a:pt x="1643" y="425"/>
                    </a:lnTo>
                    <a:lnTo>
                      <a:pt x="1645" y="422"/>
                    </a:lnTo>
                    <a:lnTo>
                      <a:pt x="1652" y="419"/>
                    </a:lnTo>
                    <a:lnTo>
                      <a:pt x="1655" y="419"/>
                    </a:lnTo>
                    <a:lnTo>
                      <a:pt x="1657" y="419"/>
                    </a:lnTo>
                    <a:lnTo>
                      <a:pt x="1660" y="419"/>
                    </a:lnTo>
                    <a:lnTo>
                      <a:pt x="1658" y="424"/>
                    </a:lnTo>
                    <a:lnTo>
                      <a:pt x="1660" y="427"/>
                    </a:lnTo>
                    <a:lnTo>
                      <a:pt x="1658" y="434"/>
                    </a:lnTo>
                    <a:lnTo>
                      <a:pt x="1653" y="442"/>
                    </a:lnTo>
                    <a:lnTo>
                      <a:pt x="1648" y="442"/>
                    </a:lnTo>
                    <a:lnTo>
                      <a:pt x="1643" y="445"/>
                    </a:lnTo>
                    <a:lnTo>
                      <a:pt x="1640" y="450"/>
                    </a:lnTo>
                    <a:lnTo>
                      <a:pt x="1637" y="453"/>
                    </a:lnTo>
                    <a:lnTo>
                      <a:pt x="1635" y="452"/>
                    </a:lnTo>
                    <a:lnTo>
                      <a:pt x="1637" y="447"/>
                    </a:lnTo>
                    <a:lnTo>
                      <a:pt x="1637" y="442"/>
                    </a:lnTo>
                    <a:lnTo>
                      <a:pt x="1635" y="440"/>
                    </a:lnTo>
                    <a:lnTo>
                      <a:pt x="1632" y="442"/>
                    </a:lnTo>
                    <a:lnTo>
                      <a:pt x="1628" y="448"/>
                    </a:lnTo>
                    <a:lnTo>
                      <a:pt x="1625" y="448"/>
                    </a:lnTo>
                    <a:lnTo>
                      <a:pt x="1618" y="455"/>
                    </a:lnTo>
                    <a:lnTo>
                      <a:pt x="1617" y="453"/>
                    </a:lnTo>
                    <a:lnTo>
                      <a:pt x="1612" y="453"/>
                    </a:lnTo>
                    <a:lnTo>
                      <a:pt x="1603" y="458"/>
                    </a:lnTo>
                    <a:lnTo>
                      <a:pt x="1602" y="458"/>
                    </a:lnTo>
                    <a:lnTo>
                      <a:pt x="1597" y="460"/>
                    </a:lnTo>
                    <a:lnTo>
                      <a:pt x="1593" y="458"/>
                    </a:lnTo>
                    <a:lnTo>
                      <a:pt x="1592" y="457"/>
                    </a:lnTo>
                    <a:lnTo>
                      <a:pt x="1588" y="455"/>
                    </a:lnTo>
                    <a:lnTo>
                      <a:pt x="1593" y="452"/>
                    </a:lnTo>
                    <a:lnTo>
                      <a:pt x="1597" y="448"/>
                    </a:lnTo>
                    <a:lnTo>
                      <a:pt x="1597" y="443"/>
                    </a:lnTo>
                    <a:lnTo>
                      <a:pt x="1592" y="437"/>
                    </a:lnTo>
                    <a:lnTo>
                      <a:pt x="1588" y="440"/>
                    </a:lnTo>
                    <a:lnTo>
                      <a:pt x="1582" y="439"/>
                    </a:lnTo>
                    <a:lnTo>
                      <a:pt x="1580" y="435"/>
                    </a:lnTo>
                    <a:lnTo>
                      <a:pt x="1583" y="430"/>
                    </a:lnTo>
                    <a:lnTo>
                      <a:pt x="1587" y="430"/>
                    </a:lnTo>
                    <a:lnTo>
                      <a:pt x="1583" y="429"/>
                    </a:lnTo>
                    <a:lnTo>
                      <a:pt x="1580" y="427"/>
                    </a:lnTo>
                    <a:lnTo>
                      <a:pt x="1577" y="422"/>
                    </a:lnTo>
                    <a:lnTo>
                      <a:pt x="1579" y="419"/>
                    </a:lnTo>
                    <a:lnTo>
                      <a:pt x="1579" y="414"/>
                    </a:lnTo>
                    <a:lnTo>
                      <a:pt x="1577" y="410"/>
                    </a:lnTo>
                    <a:lnTo>
                      <a:pt x="1577" y="415"/>
                    </a:lnTo>
                    <a:lnTo>
                      <a:pt x="1574" y="422"/>
                    </a:lnTo>
                    <a:lnTo>
                      <a:pt x="1579" y="429"/>
                    </a:lnTo>
                    <a:lnTo>
                      <a:pt x="1579" y="432"/>
                    </a:lnTo>
                    <a:lnTo>
                      <a:pt x="1575" y="434"/>
                    </a:lnTo>
                    <a:lnTo>
                      <a:pt x="1575" y="439"/>
                    </a:lnTo>
                    <a:lnTo>
                      <a:pt x="1572" y="440"/>
                    </a:lnTo>
                    <a:lnTo>
                      <a:pt x="1569" y="439"/>
                    </a:lnTo>
                    <a:lnTo>
                      <a:pt x="1565" y="440"/>
                    </a:lnTo>
                    <a:lnTo>
                      <a:pt x="1562" y="437"/>
                    </a:lnTo>
                    <a:lnTo>
                      <a:pt x="1560" y="434"/>
                    </a:lnTo>
                    <a:lnTo>
                      <a:pt x="1564" y="427"/>
                    </a:lnTo>
                    <a:lnTo>
                      <a:pt x="1562" y="422"/>
                    </a:lnTo>
                    <a:lnTo>
                      <a:pt x="1564" y="419"/>
                    </a:lnTo>
                    <a:lnTo>
                      <a:pt x="1569" y="414"/>
                    </a:lnTo>
                    <a:lnTo>
                      <a:pt x="1564" y="415"/>
                    </a:lnTo>
                    <a:lnTo>
                      <a:pt x="1559" y="419"/>
                    </a:lnTo>
                    <a:lnTo>
                      <a:pt x="1559" y="424"/>
                    </a:lnTo>
                    <a:lnTo>
                      <a:pt x="1560" y="429"/>
                    </a:lnTo>
                    <a:lnTo>
                      <a:pt x="1557" y="435"/>
                    </a:lnTo>
                    <a:lnTo>
                      <a:pt x="1552" y="435"/>
                    </a:lnTo>
                    <a:lnTo>
                      <a:pt x="1547" y="434"/>
                    </a:lnTo>
                    <a:lnTo>
                      <a:pt x="1549" y="430"/>
                    </a:lnTo>
                    <a:lnTo>
                      <a:pt x="1547" y="429"/>
                    </a:lnTo>
                    <a:lnTo>
                      <a:pt x="1547" y="425"/>
                    </a:lnTo>
                    <a:lnTo>
                      <a:pt x="1549" y="422"/>
                    </a:lnTo>
                    <a:lnTo>
                      <a:pt x="1550" y="419"/>
                    </a:lnTo>
                    <a:lnTo>
                      <a:pt x="1549" y="415"/>
                    </a:lnTo>
                    <a:lnTo>
                      <a:pt x="1547" y="414"/>
                    </a:lnTo>
                    <a:lnTo>
                      <a:pt x="1545" y="417"/>
                    </a:lnTo>
                    <a:lnTo>
                      <a:pt x="1545" y="420"/>
                    </a:lnTo>
                    <a:lnTo>
                      <a:pt x="1542" y="424"/>
                    </a:lnTo>
                    <a:lnTo>
                      <a:pt x="1542" y="427"/>
                    </a:lnTo>
                    <a:lnTo>
                      <a:pt x="1540" y="429"/>
                    </a:lnTo>
                    <a:lnTo>
                      <a:pt x="1537" y="429"/>
                    </a:lnTo>
                    <a:lnTo>
                      <a:pt x="1535" y="430"/>
                    </a:lnTo>
                    <a:lnTo>
                      <a:pt x="1532" y="430"/>
                    </a:lnTo>
                    <a:lnTo>
                      <a:pt x="1532" y="430"/>
                    </a:lnTo>
                    <a:close/>
                    <a:moveTo>
                      <a:pt x="1663" y="1080"/>
                    </a:moveTo>
                    <a:lnTo>
                      <a:pt x="1663" y="1086"/>
                    </a:lnTo>
                    <a:lnTo>
                      <a:pt x="1662" y="1091"/>
                    </a:lnTo>
                    <a:lnTo>
                      <a:pt x="1663" y="1095"/>
                    </a:lnTo>
                    <a:lnTo>
                      <a:pt x="1665" y="1093"/>
                    </a:lnTo>
                    <a:lnTo>
                      <a:pt x="1665" y="1091"/>
                    </a:lnTo>
                    <a:lnTo>
                      <a:pt x="1667" y="1086"/>
                    </a:lnTo>
                    <a:lnTo>
                      <a:pt x="1665" y="1081"/>
                    </a:lnTo>
                    <a:lnTo>
                      <a:pt x="1663" y="1080"/>
                    </a:lnTo>
                    <a:lnTo>
                      <a:pt x="1663" y="1080"/>
                    </a:lnTo>
                    <a:close/>
                    <a:moveTo>
                      <a:pt x="1658" y="1056"/>
                    </a:moveTo>
                    <a:lnTo>
                      <a:pt x="1658" y="1055"/>
                    </a:lnTo>
                    <a:lnTo>
                      <a:pt x="1660" y="1053"/>
                    </a:lnTo>
                    <a:lnTo>
                      <a:pt x="1662" y="1055"/>
                    </a:lnTo>
                    <a:lnTo>
                      <a:pt x="1660" y="1056"/>
                    </a:lnTo>
                    <a:lnTo>
                      <a:pt x="1658" y="1056"/>
                    </a:lnTo>
                    <a:lnTo>
                      <a:pt x="1658" y="1056"/>
                    </a:lnTo>
                    <a:close/>
                    <a:moveTo>
                      <a:pt x="1652" y="1043"/>
                    </a:moveTo>
                    <a:lnTo>
                      <a:pt x="1655" y="1038"/>
                    </a:lnTo>
                    <a:lnTo>
                      <a:pt x="1658" y="1036"/>
                    </a:lnTo>
                    <a:lnTo>
                      <a:pt x="1660" y="1040"/>
                    </a:lnTo>
                    <a:lnTo>
                      <a:pt x="1655" y="1041"/>
                    </a:lnTo>
                    <a:lnTo>
                      <a:pt x="1653" y="1043"/>
                    </a:lnTo>
                    <a:lnTo>
                      <a:pt x="1652" y="1043"/>
                    </a:lnTo>
                    <a:lnTo>
                      <a:pt x="1652" y="1043"/>
                    </a:lnTo>
                    <a:close/>
                    <a:moveTo>
                      <a:pt x="1613" y="716"/>
                    </a:moveTo>
                    <a:lnTo>
                      <a:pt x="1613" y="713"/>
                    </a:lnTo>
                    <a:lnTo>
                      <a:pt x="1615" y="711"/>
                    </a:lnTo>
                    <a:lnTo>
                      <a:pt x="1615" y="716"/>
                    </a:lnTo>
                    <a:lnTo>
                      <a:pt x="1613" y="716"/>
                    </a:lnTo>
                    <a:lnTo>
                      <a:pt x="1613" y="716"/>
                    </a:lnTo>
                    <a:close/>
                    <a:moveTo>
                      <a:pt x="1620" y="719"/>
                    </a:moveTo>
                    <a:lnTo>
                      <a:pt x="1618" y="718"/>
                    </a:lnTo>
                    <a:lnTo>
                      <a:pt x="1618" y="714"/>
                    </a:lnTo>
                    <a:lnTo>
                      <a:pt x="1622" y="713"/>
                    </a:lnTo>
                    <a:lnTo>
                      <a:pt x="1623" y="716"/>
                    </a:lnTo>
                    <a:lnTo>
                      <a:pt x="1622" y="719"/>
                    </a:lnTo>
                    <a:lnTo>
                      <a:pt x="1620" y="719"/>
                    </a:lnTo>
                    <a:lnTo>
                      <a:pt x="1620" y="719"/>
                    </a:lnTo>
                    <a:close/>
                    <a:moveTo>
                      <a:pt x="1612" y="731"/>
                    </a:moveTo>
                    <a:lnTo>
                      <a:pt x="1610" y="728"/>
                    </a:lnTo>
                    <a:lnTo>
                      <a:pt x="1612" y="726"/>
                    </a:lnTo>
                    <a:lnTo>
                      <a:pt x="1610" y="721"/>
                    </a:lnTo>
                    <a:lnTo>
                      <a:pt x="1613" y="719"/>
                    </a:lnTo>
                    <a:lnTo>
                      <a:pt x="1615" y="723"/>
                    </a:lnTo>
                    <a:lnTo>
                      <a:pt x="1617" y="723"/>
                    </a:lnTo>
                    <a:lnTo>
                      <a:pt x="1618" y="724"/>
                    </a:lnTo>
                    <a:lnTo>
                      <a:pt x="1615" y="726"/>
                    </a:lnTo>
                    <a:lnTo>
                      <a:pt x="1613" y="731"/>
                    </a:lnTo>
                    <a:lnTo>
                      <a:pt x="1612" y="731"/>
                    </a:lnTo>
                    <a:lnTo>
                      <a:pt x="1612" y="731"/>
                    </a:lnTo>
                    <a:close/>
                    <a:moveTo>
                      <a:pt x="1685" y="829"/>
                    </a:moveTo>
                    <a:lnTo>
                      <a:pt x="1688" y="826"/>
                    </a:lnTo>
                    <a:lnTo>
                      <a:pt x="1691" y="827"/>
                    </a:lnTo>
                    <a:lnTo>
                      <a:pt x="1688" y="829"/>
                    </a:lnTo>
                    <a:lnTo>
                      <a:pt x="1686" y="829"/>
                    </a:lnTo>
                    <a:lnTo>
                      <a:pt x="1685" y="829"/>
                    </a:lnTo>
                    <a:lnTo>
                      <a:pt x="1685" y="829"/>
                    </a:lnTo>
                    <a:close/>
                    <a:moveTo>
                      <a:pt x="1677" y="827"/>
                    </a:moveTo>
                    <a:lnTo>
                      <a:pt x="1677" y="824"/>
                    </a:lnTo>
                    <a:lnTo>
                      <a:pt x="1682" y="824"/>
                    </a:lnTo>
                    <a:lnTo>
                      <a:pt x="1683" y="822"/>
                    </a:lnTo>
                    <a:lnTo>
                      <a:pt x="1685" y="824"/>
                    </a:lnTo>
                    <a:lnTo>
                      <a:pt x="1680" y="829"/>
                    </a:lnTo>
                    <a:lnTo>
                      <a:pt x="1677" y="829"/>
                    </a:lnTo>
                    <a:lnTo>
                      <a:pt x="1677" y="827"/>
                    </a:lnTo>
                    <a:lnTo>
                      <a:pt x="1677" y="827"/>
                    </a:lnTo>
                    <a:close/>
                    <a:moveTo>
                      <a:pt x="1662" y="872"/>
                    </a:moveTo>
                    <a:lnTo>
                      <a:pt x="1665" y="874"/>
                    </a:lnTo>
                    <a:lnTo>
                      <a:pt x="1667" y="874"/>
                    </a:lnTo>
                    <a:lnTo>
                      <a:pt x="1665" y="872"/>
                    </a:lnTo>
                    <a:lnTo>
                      <a:pt x="1662" y="872"/>
                    </a:lnTo>
                    <a:lnTo>
                      <a:pt x="1662" y="872"/>
                    </a:lnTo>
                    <a:close/>
                    <a:moveTo>
                      <a:pt x="1682" y="892"/>
                    </a:moveTo>
                    <a:lnTo>
                      <a:pt x="1686" y="894"/>
                    </a:lnTo>
                    <a:lnTo>
                      <a:pt x="1688" y="894"/>
                    </a:lnTo>
                    <a:lnTo>
                      <a:pt x="1686" y="890"/>
                    </a:lnTo>
                    <a:lnTo>
                      <a:pt x="1685" y="890"/>
                    </a:lnTo>
                    <a:lnTo>
                      <a:pt x="1685" y="890"/>
                    </a:lnTo>
                    <a:lnTo>
                      <a:pt x="1682" y="892"/>
                    </a:lnTo>
                    <a:lnTo>
                      <a:pt x="1682" y="892"/>
                    </a:lnTo>
                    <a:close/>
                    <a:moveTo>
                      <a:pt x="1720" y="925"/>
                    </a:moveTo>
                    <a:lnTo>
                      <a:pt x="1718" y="920"/>
                    </a:lnTo>
                    <a:lnTo>
                      <a:pt x="1721" y="917"/>
                    </a:lnTo>
                    <a:lnTo>
                      <a:pt x="1725" y="920"/>
                    </a:lnTo>
                    <a:lnTo>
                      <a:pt x="1725" y="925"/>
                    </a:lnTo>
                    <a:lnTo>
                      <a:pt x="1721" y="925"/>
                    </a:lnTo>
                    <a:lnTo>
                      <a:pt x="1720" y="925"/>
                    </a:lnTo>
                    <a:lnTo>
                      <a:pt x="1720" y="925"/>
                    </a:lnTo>
                    <a:close/>
                    <a:moveTo>
                      <a:pt x="1738" y="947"/>
                    </a:moveTo>
                    <a:lnTo>
                      <a:pt x="1738" y="942"/>
                    </a:lnTo>
                    <a:lnTo>
                      <a:pt x="1741" y="940"/>
                    </a:lnTo>
                    <a:lnTo>
                      <a:pt x="1743" y="938"/>
                    </a:lnTo>
                    <a:lnTo>
                      <a:pt x="1746" y="940"/>
                    </a:lnTo>
                    <a:lnTo>
                      <a:pt x="1743" y="945"/>
                    </a:lnTo>
                    <a:lnTo>
                      <a:pt x="1740" y="945"/>
                    </a:lnTo>
                    <a:lnTo>
                      <a:pt x="1740" y="945"/>
                    </a:lnTo>
                    <a:lnTo>
                      <a:pt x="1738" y="947"/>
                    </a:lnTo>
                    <a:lnTo>
                      <a:pt x="1738" y="947"/>
                    </a:lnTo>
                    <a:close/>
                    <a:moveTo>
                      <a:pt x="1603" y="478"/>
                    </a:moveTo>
                    <a:lnTo>
                      <a:pt x="1603" y="473"/>
                    </a:lnTo>
                    <a:lnTo>
                      <a:pt x="1607" y="472"/>
                    </a:lnTo>
                    <a:lnTo>
                      <a:pt x="1608" y="468"/>
                    </a:lnTo>
                    <a:lnTo>
                      <a:pt x="1620" y="462"/>
                    </a:lnTo>
                    <a:lnTo>
                      <a:pt x="1625" y="462"/>
                    </a:lnTo>
                    <a:lnTo>
                      <a:pt x="1622" y="465"/>
                    </a:lnTo>
                    <a:lnTo>
                      <a:pt x="1615" y="470"/>
                    </a:lnTo>
                    <a:lnTo>
                      <a:pt x="1613" y="473"/>
                    </a:lnTo>
                    <a:lnTo>
                      <a:pt x="1615" y="477"/>
                    </a:lnTo>
                    <a:lnTo>
                      <a:pt x="1615" y="478"/>
                    </a:lnTo>
                    <a:lnTo>
                      <a:pt x="1612" y="478"/>
                    </a:lnTo>
                    <a:lnTo>
                      <a:pt x="1610" y="475"/>
                    </a:lnTo>
                    <a:lnTo>
                      <a:pt x="1608" y="477"/>
                    </a:lnTo>
                    <a:lnTo>
                      <a:pt x="1607" y="478"/>
                    </a:lnTo>
                    <a:lnTo>
                      <a:pt x="1603" y="478"/>
                    </a:lnTo>
                    <a:lnTo>
                      <a:pt x="1603" y="478"/>
                    </a:lnTo>
                    <a:close/>
                    <a:moveTo>
                      <a:pt x="1580" y="458"/>
                    </a:moveTo>
                    <a:lnTo>
                      <a:pt x="1580" y="458"/>
                    </a:lnTo>
                    <a:lnTo>
                      <a:pt x="1582" y="460"/>
                    </a:lnTo>
                    <a:lnTo>
                      <a:pt x="1585" y="460"/>
                    </a:lnTo>
                    <a:lnTo>
                      <a:pt x="1587" y="458"/>
                    </a:lnTo>
                    <a:lnTo>
                      <a:pt x="1585" y="457"/>
                    </a:lnTo>
                    <a:lnTo>
                      <a:pt x="1580" y="458"/>
                    </a:lnTo>
                    <a:lnTo>
                      <a:pt x="1580" y="458"/>
                    </a:lnTo>
                    <a:close/>
                    <a:moveTo>
                      <a:pt x="1449" y="405"/>
                    </a:moveTo>
                    <a:lnTo>
                      <a:pt x="1444" y="404"/>
                    </a:lnTo>
                    <a:lnTo>
                      <a:pt x="1444" y="399"/>
                    </a:lnTo>
                    <a:lnTo>
                      <a:pt x="1444" y="392"/>
                    </a:lnTo>
                    <a:lnTo>
                      <a:pt x="1442" y="389"/>
                    </a:lnTo>
                    <a:lnTo>
                      <a:pt x="1442" y="384"/>
                    </a:lnTo>
                    <a:lnTo>
                      <a:pt x="1441" y="384"/>
                    </a:lnTo>
                    <a:lnTo>
                      <a:pt x="1446" y="382"/>
                    </a:lnTo>
                    <a:lnTo>
                      <a:pt x="1454" y="384"/>
                    </a:lnTo>
                    <a:lnTo>
                      <a:pt x="1454" y="389"/>
                    </a:lnTo>
                    <a:lnTo>
                      <a:pt x="1451" y="399"/>
                    </a:lnTo>
                    <a:lnTo>
                      <a:pt x="1449" y="400"/>
                    </a:lnTo>
                    <a:lnTo>
                      <a:pt x="1451" y="402"/>
                    </a:lnTo>
                    <a:lnTo>
                      <a:pt x="1452" y="405"/>
                    </a:lnTo>
                    <a:lnTo>
                      <a:pt x="1449" y="405"/>
                    </a:lnTo>
                    <a:lnTo>
                      <a:pt x="1449" y="405"/>
                    </a:lnTo>
                    <a:close/>
                    <a:moveTo>
                      <a:pt x="1449" y="163"/>
                    </a:moveTo>
                    <a:lnTo>
                      <a:pt x="1454" y="159"/>
                    </a:lnTo>
                    <a:lnTo>
                      <a:pt x="1457" y="153"/>
                    </a:lnTo>
                    <a:lnTo>
                      <a:pt x="1457" y="149"/>
                    </a:lnTo>
                    <a:lnTo>
                      <a:pt x="1462" y="146"/>
                    </a:lnTo>
                    <a:lnTo>
                      <a:pt x="1466" y="140"/>
                    </a:lnTo>
                    <a:lnTo>
                      <a:pt x="1464" y="136"/>
                    </a:lnTo>
                    <a:lnTo>
                      <a:pt x="1459" y="136"/>
                    </a:lnTo>
                    <a:lnTo>
                      <a:pt x="1456" y="135"/>
                    </a:lnTo>
                    <a:lnTo>
                      <a:pt x="1457" y="131"/>
                    </a:lnTo>
                    <a:lnTo>
                      <a:pt x="1456" y="131"/>
                    </a:lnTo>
                    <a:lnTo>
                      <a:pt x="1449" y="136"/>
                    </a:lnTo>
                    <a:lnTo>
                      <a:pt x="1442" y="138"/>
                    </a:lnTo>
                    <a:lnTo>
                      <a:pt x="1442" y="141"/>
                    </a:lnTo>
                    <a:lnTo>
                      <a:pt x="1439" y="143"/>
                    </a:lnTo>
                    <a:lnTo>
                      <a:pt x="1439" y="146"/>
                    </a:lnTo>
                    <a:lnTo>
                      <a:pt x="1444" y="148"/>
                    </a:lnTo>
                    <a:lnTo>
                      <a:pt x="1449" y="146"/>
                    </a:lnTo>
                    <a:lnTo>
                      <a:pt x="1449" y="151"/>
                    </a:lnTo>
                    <a:lnTo>
                      <a:pt x="1444" y="154"/>
                    </a:lnTo>
                    <a:lnTo>
                      <a:pt x="1444" y="158"/>
                    </a:lnTo>
                    <a:lnTo>
                      <a:pt x="1447" y="159"/>
                    </a:lnTo>
                    <a:lnTo>
                      <a:pt x="1449" y="163"/>
                    </a:lnTo>
                    <a:lnTo>
                      <a:pt x="1449" y="163"/>
                    </a:lnTo>
                    <a:close/>
                    <a:moveTo>
                      <a:pt x="1386" y="294"/>
                    </a:moveTo>
                    <a:lnTo>
                      <a:pt x="1386" y="289"/>
                    </a:lnTo>
                    <a:lnTo>
                      <a:pt x="1389" y="286"/>
                    </a:lnTo>
                    <a:lnTo>
                      <a:pt x="1386" y="284"/>
                    </a:lnTo>
                    <a:lnTo>
                      <a:pt x="1386" y="279"/>
                    </a:lnTo>
                    <a:lnTo>
                      <a:pt x="1381" y="277"/>
                    </a:lnTo>
                    <a:lnTo>
                      <a:pt x="1383" y="274"/>
                    </a:lnTo>
                    <a:lnTo>
                      <a:pt x="1384" y="271"/>
                    </a:lnTo>
                    <a:lnTo>
                      <a:pt x="1389" y="271"/>
                    </a:lnTo>
                    <a:lnTo>
                      <a:pt x="1394" y="276"/>
                    </a:lnTo>
                    <a:lnTo>
                      <a:pt x="1397" y="276"/>
                    </a:lnTo>
                    <a:lnTo>
                      <a:pt x="1397" y="271"/>
                    </a:lnTo>
                    <a:lnTo>
                      <a:pt x="1392" y="264"/>
                    </a:lnTo>
                    <a:lnTo>
                      <a:pt x="1387" y="262"/>
                    </a:lnTo>
                    <a:lnTo>
                      <a:pt x="1387" y="261"/>
                    </a:lnTo>
                    <a:lnTo>
                      <a:pt x="1391" y="259"/>
                    </a:lnTo>
                    <a:lnTo>
                      <a:pt x="1389" y="256"/>
                    </a:lnTo>
                    <a:lnTo>
                      <a:pt x="1392" y="251"/>
                    </a:lnTo>
                    <a:lnTo>
                      <a:pt x="1392" y="244"/>
                    </a:lnTo>
                    <a:lnTo>
                      <a:pt x="1394" y="239"/>
                    </a:lnTo>
                    <a:lnTo>
                      <a:pt x="1397" y="239"/>
                    </a:lnTo>
                    <a:lnTo>
                      <a:pt x="1401" y="238"/>
                    </a:lnTo>
                    <a:lnTo>
                      <a:pt x="1402" y="231"/>
                    </a:lnTo>
                    <a:lnTo>
                      <a:pt x="1406" y="228"/>
                    </a:lnTo>
                    <a:lnTo>
                      <a:pt x="1411" y="223"/>
                    </a:lnTo>
                    <a:lnTo>
                      <a:pt x="1416" y="223"/>
                    </a:lnTo>
                    <a:lnTo>
                      <a:pt x="1421" y="229"/>
                    </a:lnTo>
                    <a:lnTo>
                      <a:pt x="1424" y="234"/>
                    </a:lnTo>
                    <a:lnTo>
                      <a:pt x="1422" y="238"/>
                    </a:lnTo>
                    <a:lnTo>
                      <a:pt x="1424" y="241"/>
                    </a:lnTo>
                    <a:lnTo>
                      <a:pt x="1427" y="243"/>
                    </a:lnTo>
                    <a:lnTo>
                      <a:pt x="1427" y="247"/>
                    </a:lnTo>
                    <a:lnTo>
                      <a:pt x="1431" y="247"/>
                    </a:lnTo>
                    <a:lnTo>
                      <a:pt x="1431" y="251"/>
                    </a:lnTo>
                    <a:lnTo>
                      <a:pt x="1432" y="256"/>
                    </a:lnTo>
                    <a:lnTo>
                      <a:pt x="1437" y="256"/>
                    </a:lnTo>
                    <a:lnTo>
                      <a:pt x="1437" y="257"/>
                    </a:lnTo>
                    <a:lnTo>
                      <a:pt x="1441" y="261"/>
                    </a:lnTo>
                    <a:lnTo>
                      <a:pt x="1442" y="269"/>
                    </a:lnTo>
                    <a:lnTo>
                      <a:pt x="1437" y="272"/>
                    </a:lnTo>
                    <a:lnTo>
                      <a:pt x="1434" y="276"/>
                    </a:lnTo>
                    <a:lnTo>
                      <a:pt x="1431" y="276"/>
                    </a:lnTo>
                    <a:lnTo>
                      <a:pt x="1427" y="277"/>
                    </a:lnTo>
                    <a:lnTo>
                      <a:pt x="1429" y="279"/>
                    </a:lnTo>
                    <a:lnTo>
                      <a:pt x="1432" y="279"/>
                    </a:lnTo>
                    <a:lnTo>
                      <a:pt x="1432" y="286"/>
                    </a:lnTo>
                    <a:lnTo>
                      <a:pt x="1432" y="289"/>
                    </a:lnTo>
                    <a:lnTo>
                      <a:pt x="1424" y="294"/>
                    </a:lnTo>
                    <a:lnTo>
                      <a:pt x="1421" y="297"/>
                    </a:lnTo>
                    <a:lnTo>
                      <a:pt x="1419" y="297"/>
                    </a:lnTo>
                    <a:lnTo>
                      <a:pt x="1417" y="292"/>
                    </a:lnTo>
                    <a:lnTo>
                      <a:pt x="1416" y="291"/>
                    </a:lnTo>
                    <a:lnTo>
                      <a:pt x="1411" y="296"/>
                    </a:lnTo>
                    <a:lnTo>
                      <a:pt x="1406" y="294"/>
                    </a:lnTo>
                    <a:lnTo>
                      <a:pt x="1399" y="296"/>
                    </a:lnTo>
                    <a:lnTo>
                      <a:pt x="1396" y="296"/>
                    </a:lnTo>
                    <a:lnTo>
                      <a:pt x="1396" y="291"/>
                    </a:lnTo>
                    <a:lnTo>
                      <a:pt x="1391" y="291"/>
                    </a:lnTo>
                    <a:lnTo>
                      <a:pt x="1391" y="292"/>
                    </a:lnTo>
                    <a:lnTo>
                      <a:pt x="1386" y="294"/>
                    </a:lnTo>
                    <a:lnTo>
                      <a:pt x="1386" y="294"/>
                    </a:lnTo>
                    <a:close/>
                    <a:moveTo>
                      <a:pt x="1441" y="287"/>
                    </a:moveTo>
                    <a:lnTo>
                      <a:pt x="1444" y="287"/>
                    </a:lnTo>
                    <a:lnTo>
                      <a:pt x="1444" y="284"/>
                    </a:lnTo>
                    <a:lnTo>
                      <a:pt x="1444" y="277"/>
                    </a:lnTo>
                    <a:lnTo>
                      <a:pt x="1441" y="277"/>
                    </a:lnTo>
                    <a:lnTo>
                      <a:pt x="1439" y="279"/>
                    </a:lnTo>
                    <a:lnTo>
                      <a:pt x="1441" y="284"/>
                    </a:lnTo>
                    <a:lnTo>
                      <a:pt x="1441" y="287"/>
                    </a:lnTo>
                    <a:lnTo>
                      <a:pt x="1441" y="287"/>
                    </a:lnTo>
                    <a:close/>
                    <a:moveTo>
                      <a:pt x="1459" y="354"/>
                    </a:moveTo>
                    <a:lnTo>
                      <a:pt x="1459" y="357"/>
                    </a:lnTo>
                    <a:lnTo>
                      <a:pt x="1462" y="360"/>
                    </a:lnTo>
                    <a:lnTo>
                      <a:pt x="1469" y="360"/>
                    </a:lnTo>
                    <a:lnTo>
                      <a:pt x="1474" y="359"/>
                    </a:lnTo>
                    <a:lnTo>
                      <a:pt x="1479" y="352"/>
                    </a:lnTo>
                    <a:lnTo>
                      <a:pt x="1479" y="349"/>
                    </a:lnTo>
                    <a:lnTo>
                      <a:pt x="1477" y="347"/>
                    </a:lnTo>
                    <a:lnTo>
                      <a:pt x="1477" y="345"/>
                    </a:lnTo>
                    <a:lnTo>
                      <a:pt x="1476" y="342"/>
                    </a:lnTo>
                    <a:lnTo>
                      <a:pt x="1472" y="342"/>
                    </a:lnTo>
                    <a:lnTo>
                      <a:pt x="1469" y="337"/>
                    </a:lnTo>
                    <a:lnTo>
                      <a:pt x="1466" y="337"/>
                    </a:lnTo>
                    <a:lnTo>
                      <a:pt x="1461" y="341"/>
                    </a:lnTo>
                    <a:lnTo>
                      <a:pt x="1461" y="345"/>
                    </a:lnTo>
                    <a:lnTo>
                      <a:pt x="1457" y="349"/>
                    </a:lnTo>
                    <a:lnTo>
                      <a:pt x="1459" y="354"/>
                    </a:lnTo>
                    <a:lnTo>
                      <a:pt x="1459" y="354"/>
                    </a:lnTo>
                    <a:close/>
                    <a:moveTo>
                      <a:pt x="1452" y="355"/>
                    </a:moveTo>
                    <a:lnTo>
                      <a:pt x="1452" y="359"/>
                    </a:lnTo>
                    <a:lnTo>
                      <a:pt x="1454" y="362"/>
                    </a:lnTo>
                    <a:lnTo>
                      <a:pt x="1456" y="364"/>
                    </a:lnTo>
                    <a:lnTo>
                      <a:pt x="1457" y="362"/>
                    </a:lnTo>
                    <a:lnTo>
                      <a:pt x="1457" y="360"/>
                    </a:lnTo>
                    <a:lnTo>
                      <a:pt x="1456" y="359"/>
                    </a:lnTo>
                    <a:lnTo>
                      <a:pt x="1454" y="355"/>
                    </a:lnTo>
                    <a:lnTo>
                      <a:pt x="1452" y="355"/>
                    </a:lnTo>
                    <a:lnTo>
                      <a:pt x="1452" y="355"/>
                    </a:lnTo>
                    <a:close/>
                    <a:moveTo>
                      <a:pt x="1383" y="322"/>
                    </a:moveTo>
                    <a:lnTo>
                      <a:pt x="1381" y="316"/>
                    </a:lnTo>
                    <a:lnTo>
                      <a:pt x="1384" y="309"/>
                    </a:lnTo>
                    <a:lnTo>
                      <a:pt x="1387" y="306"/>
                    </a:lnTo>
                    <a:lnTo>
                      <a:pt x="1392" y="306"/>
                    </a:lnTo>
                    <a:lnTo>
                      <a:pt x="1396" y="304"/>
                    </a:lnTo>
                    <a:lnTo>
                      <a:pt x="1399" y="306"/>
                    </a:lnTo>
                    <a:lnTo>
                      <a:pt x="1402" y="306"/>
                    </a:lnTo>
                    <a:lnTo>
                      <a:pt x="1406" y="306"/>
                    </a:lnTo>
                    <a:lnTo>
                      <a:pt x="1406" y="307"/>
                    </a:lnTo>
                    <a:lnTo>
                      <a:pt x="1411" y="309"/>
                    </a:lnTo>
                    <a:lnTo>
                      <a:pt x="1412" y="307"/>
                    </a:lnTo>
                    <a:lnTo>
                      <a:pt x="1416" y="309"/>
                    </a:lnTo>
                    <a:lnTo>
                      <a:pt x="1419" y="309"/>
                    </a:lnTo>
                    <a:lnTo>
                      <a:pt x="1424" y="316"/>
                    </a:lnTo>
                    <a:lnTo>
                      <a:pt x="1427" y="317"/>
                    </a:lnTo>
                    <a:lnTo>
                      <a:pt x="1426" y="319"/>
                    </a:lnTo>
                    <a:lnTo>
                      <a:pt x="1427" y="321"/>
                    </a:lnTo>
                    <a:lnTo>
                      <a:pt x="1431" y="321"/>
                    </a:lnTo>
                    <a:lnTo>
                      <a:pt x="1434" y="319"/>
                    </a:lnTo>
                    <a:lnTo>
                      <a:pt x="1437" y="322"/>
                    </a:lnTo>
                    <a:lnTo>
                      <a:pt x="1441" y="324"/>
                    </a:lnTo>
                    <a:lnTo>
                      <a:pt x="1439" y="327"/>
                    </a:lnTo>
                    <a:lnTo>
                      <a:pt x="1441" y="329"/>
                    </a:lnTo>
                    <a:lnTo>
                      <a:pt x="1439" y="331"/>
                    </a:lnTo>
                    <a:lnTo>
                      <a:pt x="1432" y="331"/>
                    </a:lnTo>
                    <a:lnTo>
                      <a:pt x="1427" y="336"/>
                    </a:lnTo>
                    <a:lnTo>
                      <a:pt x="1422" y="336"/>
                    </a:lnTo>
                    <a:lnTo>
                      <a:pt x="1417" y="332"/>
                    </a:lnTo>
                    <a:lnTo>
                      <a:pt x="1409" y="332"/>
                    </a:lnTo>
                    <a:lnTo>
                      <a:pt x="1402" y="327"/>
                    </a:lnTo>
                    <a:lnTo>
                      <a:pt x="1397" y="327"/>
                    </a:lnTo>
                    <a:lnTo>
                      <a:pt x="1392" y="326"/>
                    </a:lnTo>
                    <a:lnTo>
                      <a:pt x="1389" y="322"/>
                    </a:lnTo>
                    <a:lnTo>
                      <a:pt x="1384" y="322"/>
                    </a:lnTo>
                    <a:lnTo>
                      <a:pt x="1383" y="322"/>
                    </a:lnTo>
                    <a:lnTo>
                      <a:pt x="1383" y="322"/>
                    </a:lnTo>
                    <a:close/>
                    <a:moveTo>
                      <a:pt x="1323" y="249"/>
                    </a:moveTo>
                    <a:lnTo>
                      <a:pt x="1324" y="247"/>
                    </a:lnTo>
                    <a:lnTo>
                      <a:pt x="1326" y="246"/>
                    </a:lnTo>
                    <a:lnTo>
                      <a:pt x="1328" y="247"/>
                    </a:lnTo>
                    <a:lnTo>
                      <a:pt x="1326" y="251"/>
                    </a:lnTo>
                    <a:lnTo>
                      <a:pt x="1324" y="251"/>
                    </a:lnTo>
                    <a:lnTo>
                      <a:pt x="1323" y="249"/>
                    </a:lnTo>
                    <a:lnTo>
                      <a:pt x="1323" y="249"/>
                    </a:lnTo>
                    <a:close/>
                    <a:moveTo>
                      <a:pt x="1326" y="274"/>
                    </a:moveTo>
                    <a:lnTo>
                      <a:pt x="1329" y="281"/>
                    </a:lnTo>
                    <a:lnTo>
                      <a:pt x="1331" y="286"/>
                    </a:lnTo>
                    <a:lnTo>
                      <a:pt x="1334" y="284"/>
                    </a:lnTo>
                    <a:lnTo>
                      <a:pt x="1339" y="284"/>
                    </a:lnTo>
                    <a:lnTo>
                      <a:pt x="1341" y="286"/>
                    </a:lnTo>
                    <a:lnTo>
                      <a:pt x="1344" y="286"/>
                    </a:lnTo>
                    <a:lnTo>
                      <a:pt x="1351" y="282"/>
                    </a:lnTo>
                    <a:lnTo>
                      <a:pt x="1351" y="279"/>
                    </a:lnTo>
                    <a:lnTo>
                      <a:pt x="1356" y="277"/>
                    </a:lnTo>
                    <a:lnTo>
                      <a:pt x="1359" y="272"/>
                    </a:lnTo>
                    <a:lnTo>
                      <a:pt x="1359" y="267"/>
                    </a:lnTo>
                    <a:lnTo>
                      <a:pt x="1361" y="261"/>
                    </a:lnTo>
                    <a:lnTo>
                      <a:pt x="1364" y="254"/>
                    </a:lnTo>
                    <a:lnTo>
                      <a:pt x="1363" y="252"/>
                    </a:lnTo>
                    <a:lnTo>
                      <a:pt x="1363" y="251"/>
                    </a:lnTo>
                    <a:lnTo>
                      <a:pt x="1366" y="247"/>
                    </a:lnTo>
                    <a:lnTo>
                      <a:pt x="1369" y="243"/>
                    </a:lnTo>
                    <a:lnTo>
                      <a:pt x="1373" y="243"/>
                    </a:lnTo>
                    <a:lnTo>
                      <a:pt x="1376" y="239"/>
                    </a:lnTo>
                    <a:lnTo>
                      <a:pt x="1381" y="236"/>
                    </a:lnTo>
                    <a:lnTo>
                      <a:pt x="1383" y="229"/>
                    </a:lnTo>
                    <a:lnTo>
                      <a:pt x="1383" y="226"/>
                    </a:lnTo>
                    <a:lnTo>
                      <a:pt x="1386" y="223"/>
                    </a:lnTo>
                    <a:lnTo>
                      <a:pt x="1386" y="219"/>
                    </a:lnTo>
                    <a:lnTo>
                      <a:pt x="1384" y="216"/>
                    </a:lnTo>
                    <a:lnTo>
                      <a:pt x="1383" y="211"/>
                    </a:lnTo>
                    <a:lnTo>
                      <a:pt x="1381" y="211"/>
                    </a:lnTo>
                    <a:lnTo>
                      <a:pt x="1376" y="209"/>
                    </a:lnTo>
                    <a:lnTo>
                      <a:pt x="1371" y="209"/>
                    </a:lnTo>
                    <a:lnTo>
                      <a:pt x="1369" y="208"/>
                    </a:lnTo>
                    <a:lnTo>
                      <a:pt x="1371" y="204"/>
                    </a:lnTo>
                    <a:lnTo>
                      <a:pt x="1379" y="199"/>
                    </a:lnTo>
                    <a:lnTo>
                      <a:pt x="1379" y="198"/>
                    </a:lnTo>
                    <a:lnTo>
                      <a:pt x="1376" y="194"/>
                    </a:lnTo>
                    <a:lnTo>
                      <a:pt x="1376" y="189"/>
                    </a:lnTo>
                    <a:lnTo>
                      <a:pt x="1378" y="186"/>
                    </a:lnTo>
                    <a:lnTo>
                      <a:pt x="1373" y="181"/>
                    </a:lnTo>
                    <a:lnTo>
                      <a:pt x="1369" y="181"/>
                    </a:lnTo>
                    <a:lnTo>
                      <a:pt x="1364" y="184"/>
                    </a:lnTo>
                    <a:lnTo>
                      <a:pt x="1358" y="186"/>
                    </a:lnTo>
                    <a:lnTo>
                      <a:pt x="1356" y="189"/>
                    </a:lnTo>
                    <a:lnTo>
                      <a:pt x="1353" y="193"/>
                    </a:lnTo>
                    <a:lnTo>
                      <a:pt x="1349" y="193"/>
                    </a:lnTo>
                    <a:lnTo>
                      <a:pt x="1348" y="189"/>
                    </a:lnTo>
                    <a:lnTo>
                      <a:pt x="1353" y="186"/>
                    </a:lnTo>
                    <a:lnTo>
                      <a:pt x="1356" y="183"/>
                    </a:lnTo>
                    <a:lnTo>
                      <a:pt x="1356" y="178"/>
                    </a:lnTo>
                    <a:lnTo>
                      <a:pt x="1358" y="169"/>
                    </a:lnTo>
                    <a:lnTo>
                      <a:pt x="1356" y="166"/>
                    </a:lnTo>
                    <a:lnTo>
                      <a:pt x="1353" y="163"/>
                    </a:lnTo>
                    <a:lnTo>
                      <a:pt x="1351" y="159"/>
                    </a:lnTo>
                    <a:lnTo>
                      <a:pt x="1346" y="156"/>
                    </a:lnTo>
                    <a:lnTo>
                      <a:pt x="1341" y="158"/>
                    </a:lnTo>
                    <a:lnTo>
                      <a:pt x="1336" y="156"/>
                    </a:lnTo>
                    <a:lnTo>
                      <a:pt x="1329" y="161"/>
                    </a:lnTo>
                    <a:lnTo>
                      <a:pt x="1326" y="159"/>
                    </a:lnTo>
                    <a:lnTo>
                      <a:pt x="1326" y="153"/>
                    </a:lnTo>
                    <a:lnTo>
                      <a:pt x="1324" y="151"/>
                    </a:lnTo>
                    <a:lnTo>
                      <a:pt x="1321" y="154"/>
                    </a:lnTo>
                    <a:lnTo>
                      <a:pt x="1319" y="158"/>
                    </a:lnTo>
                    <a:lnTo>
                      <a:pt x="1314" y="161"/>
                    </a:lnTo>
                    <a:lnTo>
                      <a:pt x="1313" y="164"/>
                    </a:lnTo>
                    <a:lnTo>
                      <a:pt x="1308" y="171"/>
                    </a:lnTo>
                    <a:lnTo>
                      <a:pt x="1308" y="174"/>
                    </a:lnTo>
                    <a:lnTo>
                      <a:pt x="1311" y="178"/>
                    </a:lnTo>
                    <a:lnTo>
                      <a:pt x="1314" y="174"/>
                    </a:lnTo>
                    <a:lnTo>
                      <a:pt x="1319" y="174"/>
                    </a:lnTo>
                    <a:lnTo>
                      <a:pt x="1321" y="176"/>
                    </a:lnTo>
                    <a:lnTo>
                      <a:pt x="1316" y="181"/>
                    </a:lnTo>
                    <a:lnTo>
                      <a:pt x="1309" y="183"/>
                    </a:lnTo>
                    <a:lnTo>
                      <a:pt x="1304" y="189"/>
                    </a:lnTo>
                    <a:lnTo>
                      <a:pt x="1306" y="191"/>
                    </a:lnTo>
                    <a:lnTo>
                      <a:pt x="1313" y="189"/>
                    </a:lnTo>
                    <a:lnTo>
                      <a:pt x="1319" y="183"/>
                    </a:lnTo>
                    <a:lnTo>
                      <a:pt x="1321" y="183"/>
                    </a:lnTo>
                    <a:lnTo>
                      <a:pt x="1324" y="181"/>
                    </a:lnTo>
                    <a:lnTo>
                      <a:pt x="1328" y="184"/>
                    </a:lnTo>
                    <a:lnTo>
                      <a:pt x="1326" y="189"/>
                    </a:lnTo>
                    <a:lnTo>
                      <a:pt x="1323" y="189"/>
                    </a:lnTo>
                    <a:lnTo>
                      <a:pt x="1318" y="194"/>
                    </a:lnTo>
                    <a:lnTo>
                      <a:pt x="1316" y="198"/>
                    </a:lnTo>
                    <a:lnTo>
                      <a:pt x="1318" y="201"/>
                    </a:lnTo>
                    <a:lnTo>
                      <a:pt x="1324" y="199"/>
                    </a:lnTo>
                    <a:lnTo>
                      <a:pt x="1328" y="201"/>
                    </a:lnTo>
                    <a:lnTo>
                      <a:pt x="1323" y="204"/>
                    </a:lnTo>
                    <a:lnTo>
                      <a:pt x="1316" y="208"/>
                    </a:lnTo>
                    <a:lnTo>
                      <a:pt x="1313" y="206"/>
                    </a:lnTo>
                    <a:lnTo>
                      <a:pt x="1311" y="209"/>
                    </a:lnTo>
                    <a:lnTo>
                      <a:pt x="1316" y="209"/>
                    </a:lnTo>
                    <a:lnTo>
                      <a:pt x="1316" y="213"/>
                    </a:lnTo>
                    <a:lnTo>
                      <a:pt x="1309" y="219"/>
                    </a:lnTo>
                    <a:lnTo>
                      <a:pt x="1308" y="219"/>
                    </a:lnTo>
                    <a:lnTo>
                      <a:pt x="1304" y="213"/>
                    </a:lnTo>
                    <a:lnTo>
                      <a:pt x="1301" y="211"/>
                    </a:lnTo>
                    <a:lnTo>
                      <a:pt x="1296" y="206"/>
                    </a:lnTo>
                    <a:lnTo>
                      <a:pt x="1288" y="211"/>
                    </a:lnTo>
                    <a:lnTo>
                      <a:pt x="1288" y="213"/>
                    </a:lnTo>
                    <a:lnTo>
                      <a:pt x="1283" y="221"/>
                    </a:lnTo>
                    <a:lnTo>
                      <a:pt x="1286" y="226"/>
                    </a:lnTo>
                    <a:lnTo>
                      <a:pt x="1286" y="229"/>
                    </a:lnTo>
                    <a:lnTo>
                      <a:pt x="1289" y="231"/>
                    </a:lnTo>
                    <a:lnTo>
                      <a:pt x="1293" y="229"/>
                    </a:lnTo>
                    <a:lnTo>
                      <a:pt x="1298" y="228"/>
                    </a:lnTo>
                    <a:lnTo>
                      <a:pt x="1304" y="231"/>
                    </a:lnTo>
                    <a:lnTo>
                      <a:pt x="1313" y="231"/>
                    </a:lnTo>
                    <a:lnTo>
                      <a:pt x="1314" y="233"/>
                    </a:lnTo>
                    <a:lnTo>
                      <a:pt x="1321" y="231"/>
                    </a:lnTo>
                    <a:lnTo>
                      <a:pt x="1321" y="234"/>
                    </a:lnTo>
                    <a:lnTo>
                      <a:pt x="1318" y="234"/>
                    </a:lnTo>
                    <a:lnTo>
                      <a:pt x="1316" y="238"/>
                    </a:lnTo>
                    <a:lnTo>
                      <a:pt x="1316" y="241"/>
                    </a:lnTo>
                    <a:lnTo>
                      <a:pt x="1323" y="241"/>
                    </a:lnTo>
                    <a:lnTo>
                      <a:pt x="1328" y="244"/>
                    </a:lnTo>
                    <a:lnTo>
                      <a:pt x="1331" y="251"/>
                    </a:lnTo>
                    <a:lnTo>
                      <a:pt x="1334" y="251"/>
                    </a:lnTo>
                    <a:lnTo>
                      <a:pt x="1336" y="252"/>
                    </a:lnTo>
                    <a:lnTo>
                      <a:pt x="1334" y="256"/>
                    </a:lnTo>
                    <a:lnTo>
                      <a:pt x="1334" y="261"/>
                    </a:lnTo>
                    <a:lnTo>
                      <a:pt x="1326" y="274"/>
                    </a:lnTo>
                    <a:lnTo>
                      <a:pt x="1326" y="274"/>
                    </a:lnTo>
                    <a:close/>
                    <a:moveTo>
                      <a:pt x="1301" y="243"/>
                    </a:moveTo>
                    <a:lnTo>
                      <a:pt x="1303" y="238"/>
                    </a:lnTo>
                    <a:lnTo>
                      <a:pt x="1308" y="236"/>
                    </a:lnTo>
                    <a:lnTo>
                      <a:pt x="1313" y="236"/>
                    </a:lnTo>
                    <a:lnTo>
                      <a:pt x="1309" y="238"/>
                    </a:lnTo>
                    <a:lnTo>
                      <a:pt x="1309" y="241"/>
                    </a:lnTo>
                    <a:lnTo>
                      <a:pt x="1304" y="243"/>
                    </a:lnTo>
                    <a:lnTo>
                      <a:pt x="1301" y="243"/>
                    </a:lnTo>
                    <a:lnTo>
                      <a:pt x="1301" y="243"/>
                    </a:lnTo>
                    <a:close/>
                    <a:moveTo>
                      <a:pt x="1291" y="266"/>
                    </a:moveTo>
                    <a:lnTo>
                      <a:pt x="1293" y="262"/>
                    </a:lnTo>
                    <a:lnTo>
                      <a:pt x="1301" y="261"/>
                    </a:lnTo>
                    <a:lnTo>
                      <a:pt x="1308" y="262"/>
                    </a:lnTo>
                    <a:lnTo>
                      <a:pt x="1316" y="271"/>
                    </a:lnTo>
                    <a:lnTo>
                      <a:pt x="1314" y="276"/>
                    </a:lnTo>
                    <a:lnTo>
                      <a:pt x="1316" y="282"/>
                    </a:lnTo>
                    <a:lnTo>
                      <a:pt x="1313" y="282"/>
                    </a:lnTo>
                    <a:lnTo>
                      <a:pt x="1308" y="281"/>
                    </a:lnTo>
                    <a:lnTo>
                      <a:pt x="1303" y="282"/>
                    </a:lnTo>
                    <a:lnTo>
                      <a:pt x="1299" y="282"/>
                    </a:lnTo>
                    <a:lnTo>
                      <a:pt x="1296" y="276"/>
                    </a:lnTo>
                    <a:lnTo>
                      <a:pt x="1291" y="272"/>
                    </a:lnTo>
                    <a:lnTo>
                      <a:pt x="1291" y="266"/>
                    </a:lnTo>
                    <a:lnTo>
                      <a:pt x="1291" y="266"/>
                    </a:lnTo>
                    <a:close/>
                    <a:moveTo>
                      <a:pt x="1230" y="304"/>
                    </a:moveTo>
                    <a:lnTo>
                      <a:pt x="1233" y="301"/>
                    </a:lnTo>
                    <a:lnTo>
                      <a:pt x="1241" y="301"/>
                    </a:lnTo>
                    <a:lnTo>
                      <a:pt x="1238" y="304"/>
                    </a:lnTo>
                    <a:lnTo>
                      <a:pt x="1233" y="306"/>
                    </a:lnTo>
                    <a:lnTo>
                      <a:pt x="1230" y="304"/>
                    </a:lnTo>
                    <a:lnTo>
                      <a:pt x="1230" y="304"/>
                    </a:lnTo>
                    <a:close/>
                    <a:moveTo>
                      <a:pt x="1226" y="297"/>
                    </a:moveTo>
                    <a:lnTo>
                      <a:pt x="1223" y="292"/>
                    </a:lnTo>
                    <a:lnTo>
                      <a:pt x="1226" y="287"/>
                    </a:lnTo>
                    <a:lnTo>
                      <a:pt x="1228" y="282"/>
                    </a:lnTo>
                    <a:lnTo>
                      <a:pt x="1228" y="277"/>
                    </a:lnTo>
                    <a:lnTo>
                      <a:pt x="1233" y="274"/>
                    </a:lnTo>
                    <a:lnTo>
                      <a:pt x="1233" y="271"/>
                    </a:lnTo>
                    <a:lnTo>
                      <a:pt x="1235" y="269"/>
                    </a:lnTo>
                    <a:lnTo>
                      <a:pt x="1235" y="267"/>
                    </a:lnTo>
                    <a:lnTo>
                      <a:pt x="1238" y="261"/>
                    </a:lnTo>
                    <a:lnTo>
                      <a:pt x="1238" y="256"/>
                    </a:lnTo>
                    <a:lnTo>
                      <a:pt x="1240" y="254"/>
                    </a:lnTo>
                    <a:lnTo>
                      <a:pt x="1243" y="257"/>
                    </a:lnTo>
                    <a:lnTo>
                      <a:pt x="1245" y="262"/>
                    </a:lnTo>
                    <a:lnTo>
                      <a:pt x="1246" y="266"/>
                    </a:lnTo>
                    <a:lnTo>
                      <a:pt x="1241" y="274"/>
                    </a:lnTo>
                    <a:lnTo>
                      <a:pt x="1243" y="277"/>
                    </a:lnTo>
                    <a:lnTo>
                      <a:pt x="1240" y="282"/>
                    </a:lnTo>
                    <a:lnTo>
                      <a:pt x="1241" y="286"/>
                    </a:lnTo>
                    <a:lnTo>
                      <a:pt x="1238" y="296"/>
                    </a:lnTo>
                    <a:lnTo>
                      <a:pt x="1233" y="299"/>
                    </a:lnTo>
                    <a:lnTo>
                      <a:pt x="1226" y="297"/>
                    </a:lnTo>
                    <a:lnTo>
                      <a:pt x="1226" y="297"/>
                    </a:lnTo>
                    <a:close/>
                    <a:moveTo>
                      <a:pt x="1172" y="198"/>
                    </a:moveTo>
                    <a:lnTo>
                      <a:pt x="1168" y="193"/>
                    </a:lnTo>
                    <a:lnTo>
                      <a:pt x="1167" y="188"/>
                    </a:lnTo>
                    <a:lnTo>
                      <a:pt x="1170" y="186"/>
                    </a:lnTo>
                    <a:lnTo>
                      <a:pt x="1167" y="183"/>
                    </a:lnTo>
                    <a:lnTo>
                      <a:pt x="1162" y="184"/>
                    </a:lnTo>
                    <a:lnTo>
                      <a:pt x="1158" y="183"/>
                    </a:lnTo>
                    <a:lnTo>
                      <a:pt x="1155" y="184"/>
                    </a:lnTo>
                    <a:lnTo>
                      <a:pt x="1150" y="184"/>
                    </a:lnTo>
                    <a:lnTo>
                      <a:pt x="1147" y="184"/>
                    </a:lnTo>
                    <a:lnTo>
                      <a:pt x="1147" y="181"/>
                    </a:lnTo>
                    <a:lnTo>
                      <a:pt x="1150" y="178"/>
                    </a:lnTo>
                    <a:lnTo>
                      <a:pt x="1152" y="174"/>
                    </a:lnTo>
                    <a:lnTo>
                      <a:pt x="1157" y="174"/>
                    </a:lnTo>
                    <a:lnTo>
                      <a:pt x="1162" y="174"/>
                    </a:lnTo>
                    <a:lnTo>
                      <a:pt x="1175" y="169"/>
                    </a:lnTo>
                    <a:lnTo>
                      <a:pt x="1180" y="171"/>
                    </a:lnTo>
                    <a:lnTo>
                      <a:pt x="1183" y="173"/>
                    </a:lnTo>
                    <a:lnTo>
                      <a:pt x="1187" y="173"/>
                    </a:lnTo>
                    <a:lnTo>
                      <a:pt x="1193" y="173"/>
                    </a:lnTo>
                    <a:lnTo>
                      <a:pt x="1198" y="169"/>
                    </a:lnTo>
                    <a:lnTo>
                      <a:pt x="1206" y="169"/>
                    </a:lnTo>
                    <a:lnTo>
                      <a:pt x="1208" y="169"/>
                    </a:lnTo>
                    <a:lnTo>
                      <a:pt x="1211" y="168"/>
                    </a:lnTo>
                    <a:lnTo>
                      <a:pt x="1215" y="168"/>
                    </a:lnTo>
                    <a:lnTo>
                      <a:pt x="1215" y="171"/>
                    </a:lnTo>
                    <a:lnTo>
                      <a:pt x="1216" y="176"/>
                    </a:lnTo>
                    <a:lnTo>
                      <a:pt x="1216" y="179"/>
                    </a:lnTo>
                    <a:lnTo>
                      <a:pt x="1213" y="186"/>
                    </a:lnTo>
                    <a:lnTo>
                      <a:pt x="1216" y="191"/>
                    </a:lnTo>
                    <a:lnTo>
                      <a:pt x="1213" y="201"/>
                    </a:lnTo>
                    <a:lnTo>
                      <a:pt x="1206" y="203"/>
                    </a:lnTo>
                    <a:lnTo>
                      <a:pt x="1203" y="208"/>
                    </a:lnTo>
                    <a:lnTo>
                      <a:pt x="1198" y="206"/>
                    </a:lnTo>
                    <a:lnTo>
                      <a:pt x="1195" y="206"/>
                    </a:lnTo>
                    <a:lnTo>
                      <a:pt x="1191" y="204"/>
                    </a:lnTo>
                    <a:lnTo>
                      <a:pt x="1187" y="204"/>
                    </a:lnTo>
                    <a:lnTo>
                      <a:pt x="1182" y="199"/>
                    </a:lnTo>
                    <a:lnTo>
                      <a:pt x="1182" y="193"/>
                    </a:lnTo>
                    <a:lnTo>
                      <a:pt x="1178" y="188"/>
                    </a:lnTo>
                    <a:lnTo>
                      <a:pt x="1175" y="191"/>
                    </a:lnTo>
                    <a:lnTo>
                      <a:pt x="1177" y="194"/>
                    </a:lnTo>
                    <a:lnTo>
                      <a:pt x="1172" y="198"/>
                    </a:lnTo>
                    <a:lnTo>
                      <a:pt x="1172" y="198"/>
                    </a:lnTo>
                    <a:close/>
                    <a:moveTo>
                      <a:pt x="1105" y="231"/>
                    </a:moveTo>
                    <a:lnTo>
                      <a:pt x="1108" y="228"/>
                    </a:lnTo>
                    <a:lnTo>
                      <a:pt x="1108" y="224"/>
                    </a:lnTo>
                    <a:lnTo>
                      <a:pt x="1113" y="219"/>
                    </a:lnTo>
                    <a:lnTo>
                      <a:pt x="1115" y="214"/>
                    </a:lnTo>
                    <a:lnTo>
                      <a:pt x="1120" y="213"/>
                    </a:lnTo>
                    <a:lnTo>
                      <a:pt x="1123" y="209"/>
                    </a:lnTo>
                    <a:lnTo>
                      <a:pt x="1127" y="209"/>
                    </a:lnTo>
                    <a:lnTo>
                      <a:pt x="1138" y="208"/>
                    </a:lnTo>
                    <a:lnTo>
                      <a:pt x="1142" y="209"/>
                    </a:lnTo>
                    <a:lnTo>
                      <a:pt x="1147" y="209"/>
                    </a:lnTo>
                    <a:lnTo>
                      <a:pt x="1150" y="211"/>
                    </a:lnTo>
                    <a:lnTo>
                      <a:pt x="1155" y="211"/>
                    </a:lnTo>
                    <a:lnTo>
                      <a:pt x="1158" y="209"/>
                    </a:lnTo>
                    <a:lnTo>
                      <a:pt x="1165" y="211"/>
                    </a:lnTo>
                    <a:lnTo>
                      <a:pt x="1165" y="213"/>
                    </a:lnTo>
                    <a:lnTo>
                      <a:pt x="1172" y="213"/>
                    </a:lnTo>
                    <a:lnTo>
                      <a:pt x="1178" y="214"/>
                    </a:lnTo>
                    <a:lnTo>
                      <a:pt x="1180" y="216"/>
                    </a:lnTo>
                    <a:lnTo>
                      <a:pt x="1185" y="216"/>
                    </a:lnTo>
                    <a:lnTo>
                      <a:pt x="1187" y="218"/>
                    </a:lnTo>
                    <a:lnTo>
                      <a:pt x="1182" y="226"/>
                    </a:lnTo>
                    <a:lnTo>
                      <a:pt x="1178" y="224"/>
                    </a:lnTo>
                    <a:lnTo>
                      <a:pt x="1167" y="228"/>
                    </a:lnTo>
                    <a:lnTo>
                      <a:pt x="1162" y="229"/>
                    </a:lnTo>
                    <a:lnTo>
                      <a:pt x="1157" y="233"/>
                    </a:lnTo>
                    <a:lnTo>
                      <a:pt x="1157" y="236"/>
                    </a:lnTo>
                    <a:lnTo>
                      <a:pt x="1162" y="236"/>
                    </a:lnTo>
                    <a:lnTo>
                      <a:pt x="1163" y="236"/>
                    </a:lnTo>
                    <a:lnTo>
                      <a:pt x="1165" y="239"/>
                    </a:lnTo>
                    <a:lnTo>
                      <a:pt x="1158" y="246"/>
                    </a:lnTo>
                    <a:lnTo>
                      <a:pt x="1157" y="247"/>
                    </a:lnTo>
                    <a:lnTo>
                      <a:pt x="1153" y="249"/>
                    </a:lnTo>
                    <a:lnTo>
                      <a:pt x="1153" y="251"/>
                    </a:lnTo>
                    <a:lnTo>
                      <a:pt x="1150" y="256"/>
                    </a:lnTo>
                    <a:lnTo>
                      <a:pt x="1145" y="256"/>
                    </a:lnTo>
                    <a:lnTo>
                      <a:pt x="1140" y="257"/>
                    </a:lnTo>
                    <a:lnTo>
                      <a:pt x="1133" y="257"/>
                    </a:lnTo>
                    <a:lnTo>
                      <a:pt x="1130" y="254"/>
                    </a:lnTo>
                    <a:lnTo>
                      <a:pt x="1127" y="256"/>
                    </a:lnTo>
                    <a:lnTo>
                      <a:pt x="1122" y="254"/>
                    </a:lnTo>
                    <a:lnTo>
                      <a:pt x="1117" y="254"/>
                    </a:lnTo>
                    <a:lnTo>
                      <a:pt x="1115" y="252"/>
                    </a:lnTo>
                    <a:lnTo>
                      <a:pt x="1118" y="251"/>
                    </a:lnTo>
                    <a:lnTo>
                      <a:pt x="1115" y="244"/>
                    </a:lnTo>
                    <a:lnTo>
                      <a:pt x="1110" y="243"/>
                    </a:lnTo>
                    <a:lnTo>
                      <a:pt x="1107" y="241"/>
                    </a:lnTo>
                    <a:lnTo>
                      <a:pt x="1105" y="236"/>
                    </a:lnTo>
                    <a:lnTo>
                      <a:pt x="1105" y="231"/>
                    </a:lnTo>
                    <a:lnTo>
                      <a:pt x="1105" y="231"/>
                    </a:lnTo>
                    <a:close/>
                    <a:moveTo>
                      <a:pt x="1098" y="216"/>
                    </a:moveTo>
                    <a:lnTo>
                      <a:pt x="1102" y="218"/>
                    </a:lnTo>
                    <a:lnTo>
                      <a:pt x="1108" y="216"/>
                    </a:lnTo>
                    <a:lnTo>
                      <a:pt x="1112" y="211"/>
                    </a:lnTo>
                    <a:lnTo>
                      <a:pt x="1112" y="206"/>
                    </a:lnTo>
                    <a:lnTo>
                      <a:pt x="1113" y="203"/>
                    </a:lnTo>
                    <a:lnTo>
                      <a:pt x="1113" y="199"/>
                    </a:lnTo>
                    <a:lnTo>
                      <a:pt x="1113" y="194"/>
                    </a:lnTo>
                    <a:lnTo>
                      <a:pt x="1110" y="194"/>
                    </a:lnTo>
                    <a:lnTo>
                      <a:pt x="1107" y="194"/>
                    </a:lnTo>
                    <a:lnTo>
                      <a:pt x="1103" y="193"/>
                    </a:lnTo>
                    <a:lnTo>
                      <a:pt x="1100" y="196"/>
                    </a:lnTo>
                    <a:lnTo>
                      <a:pt x="1097" y="196"/>
                    </a:lnTo>
                    <a:lnTo>
                      <a:pt x="1095" y="199"/>
                    </a:lnTo>
                    <a:lnTo>
                      <a:pt x="1095" y="204"/>
                    </a:lnTo>
                    <a:lnTo>
                      <a:pt x="1095" y="209"/>
                    </a:lnTo>
                    <a:lnTo>
                      <a:pt x="1098" y="216"/>
                    </a:lnTo>
                    <a:lnTo>
                      <a:pt x="1098" y="216"/>
                    </a:lnTo>
                    <a:close/>
                    <a:moveTo>
                      <a:pt x="1507" y="538"/>
                    </a:moveTo>
                    <a:lnTo>
                      <a:pt x="1512" y="540"/>
                    </a:lnTo>
                    <a:lnTo>
                      <a:pt x="1517" y="538"/>
                    </a:lnTo>
                    <a:lnTo>
                      <a:pt x="1517" y="543"/>
                    </a:lnTo>
                    <a:lnTo>
                      <a:pt x="1522" y="543"/>
                    </a:lnTo>
                    <a:lnTo>
                      <a:pt x="1524" y="545"/>
                    </a:lnTo>
                    <a:lnTo>
                      <a:pt x="1527" y="545"/>
                    </a:lnTo>
                    <a:lnTo>
                      <a:pt x="1535" y="540"/>
                    </a:lnTo>
                    <a:lnTo>
                      <a:pt x="1540" y="538"/>
                    </a:lnTo>
                    <a:lnTo>
                      <a:pt x="1547" y="541"/>
                    </a:lnTo>
                    <a:lnTo>
                      <a:pt x="1552" y="541"/>
                    </a:lnTo>
                    <a:lnTo>
                      <a:pt x="1554" y="543"/>
                    </a:lnTo>
                    <a:lnTo>
                      <a:pt x="1557" y="541"/>
                    </a:lnTo>
                    <a:lnTo>
                      <a:pt x="1557" y="538"/>
                    </a:lnTo>
                    <a:lnTo>
                      <a:pt x="1560" y="533"/>
                    </a:lnTo>
                    <a:lnTo>
                      <a:pt x="1564" y="533"/>
                    </a:lnTo>
                    <a:lnTo>
                      <a:pt x="1564" y="530"/>
                    </a:lnTo>
                    <a:lnTo>
                      <a:pt x="1560" y="525"/>
                    </a:lnTo>
                    <a:lnTo>
                      <a:pt x="1560" y="522"/>
                    </a:lnTo>
                    <a:lnTo>
                      <a:pt x="1564" y="523"/>
                    </a:lnTo>
                    <a:lnTo>
                      <a:pt x="1564" y="527"/>
                    </a:lnTo>
                    <a:lnTo>
                      <a:pt x="1567" y="532"/>
                    </a:lnTo>
                    <a:lnTo>
                      <a:pt x="1570" y="528"/>
                    </a:lnTo>
                    <a:lnTo>
                      <a:pt x="1572" y="528"/>
                    </a:lnTo>
                    <a:lnTo>
                      <a:pt x="1575" y="528"/>
                    </a:lnTo>
                    <a:lnTo>
                      <a:pt x="1579" y="530"/>
                    </a:lnTo>
                    <a:lnTo>
                      <a:pt x="1579" y="527"/>
                    </a:lnTo>
                    <a:lnTo>
                      <a:pt x="1577" y="522"/>
                    </a:lnTo>
                    <a:lnTo>
                      <a:pt x="1579" y="520"/>
                    </a:lnTo>
                    <a:lnTo>
                      <a:pt x="1575" y="517"/>
                    </a:lnTo>
                    <a:lnTo>
                      <a:pt x="1570" y="518"/>
                    </a:lnTo>
                    <a:lnTo>
                      <a:pt x="1564" y="520"/>
                    </a:lnTo>
                    <a:lnTo>
                      <a:pt x="1564" y="515"/>
                    </a:lnTo>
                    <a:lnTo>
                      <a:pt x="1565" y="515"/>
                    </a:lnTo>
                    <a:lnTo>
                      <a:pt x="1569" y="515"/>
                    </a:lnTo>
                    <a:lnTo>
                      <a:pt x="1574" y="513"/>
                    </a:lnTo>
                    <a:lnTo>
                      <a:pt x="1575" y="510"/>
                    </a:lnTo>
                    <a:lnTo>
                      <a:pt x="1579" y="512"/>
                    </a:lnTo>
                    <a:lnTo>
                      <a:pt x="1582" y="512"/>
                    </a:lnTo>
                    <a:lnTo>
                      <a:pt x="1583" y="508"/>
                    </a:lnTo>
                    <a:lnTo>
                      <a:pt x="1583" y="505"/>
                    </a:lnTo>
                    <a:lnTo>
                      <a:pt x="1585" y="502"/>
                    </a:lnTo>
                    <a:lnTo>
                      <a:pt x="1585" y="498"/>
                    </a:lnTo>
                    <a:lnTo>
                      <a:pt x="1588" y="498"/>
                    </a:lnTo>
                    <a:lnTo>
                      <a:pt x="1588" y="495"/>
                    </a:lnTo>
                    <a:lnTo>
                      <a:pt x="1582" y="493"/>
                    </a:lnTo>
                    <a:lnTo>
                      <a:pt x="1579" y="495"/>
                    </a:lnTo>
                    <a:lnTo>
                      <a:pt x="1580" y="492"/>
                    </a:lnTo>
                    <a:lnTo>
                      <a:pt x="1582" y="490"/>
                    </a:lnTo>
                    <a:lnTo>
                      <a:pt x="1583" y="487"/>
                    </a:lnTo>
                    <a:lnTo>
                      <a:pt x="1579" y="483"/>
                    </a:lnTo>
                    <a:lnTo>
                      <a:pt x="1569" y="483"/>
                    </a:lnTo>
                    <a:lnTo>
                      <a:pt x="1567" y="482"/>
                    </a:lnTo>
                    <a:lnTo>
                      <a:pt x="1569" y="478"/>
                    </a:lnTo>
                    <a:lnTo>
                      <a:pt x="1570" y="478"/>
                    </a:lnTo>
                    <a:lnTo>
                      <a:pt x="1569" y="473"/>
                    </a:lnTo>
                    <a:lnTo>
                      <a:pt x="1562" y="468"/>
                    </a:lnTo>
                    <a:lnTo>
                      <a:pt x="1557" y="468"/>
                    </a:lnTo>
                    <a:lnTo>
                      <a:pt x="1554" y="470"/>
                    </a:lnTo>
                    <a:lnTo>
                      <a:pt x="1547" y="470"/>
                    </a:lnTo>
                    <a:lnTo>
                      <a:pt x="1540" y="472"/>
                    </a:lnTo>
                    <a:lnTo>
                      <a:pt x="1532" y="467"/>
                    </a:lnTo>
                    <a:lnTo>
                      <a:pt x="1530" y="463"/>
                    </a:lnTo>
                    <a:lnTo>
                      <a:pt x="1529" y="462"/>
                    </a:lnTo>
                    <a:lnTo>
                      <a:pt x="1524" y="465"/>
                    </a:lnTo>
                    <a:lnTo>
                      <a:pt x="1520" y="465"/>
                    </a:lnTo>
                    <a:lnTo>
                      <a:pt x="1517" y="465"/>
                    </a:lnTo>
                    <a:lnTo>
                      <a:pt x="1512" y="467"/>
                    </a:lnTo>
                    <a:lnTo>
                      <a:pt x="1510" y="470"/>
                    </a:lnTo>
                    <a:lnTo>
                      <a:pt x="1507" y="467"/>
                    </a:lnTo>
                    <a:lnTo>
                      <a:pt x="1504" y="465"/>
                    </a:lnTo>
                    <a:lnTo>
                      <a:pt x="1499" y="467"/>
                    </a:lnTo>
                    <a:lnTo>
                      <a:pt x="1494" y="467"/>
                    </a:lnTo>
                    <a:lnTo>
                      <a:pt x="1494" y="470"/>
                    </a:lnTo>
                    <a:lnTo>
                      <a:pt x="1492" y="472"/>
                    </a:lnTo>
                    <a:lnTo>
                      <a:pt x="1492" y="468"/>
                    </a:lnTo>
                    <a:lnTo>
                      <a:pt x="1490" y="467"/>
                    </a:lnTo>
                    <a:lnTo>
                      <a:pt x="1485" y="468"/>
                    </a:lnTo>
                    <a:lnTo>
                      <a:pt x="1476" y="467"/>
                    </a:lnTo>
                    <a:lnTo>
                      <a:pt x="1474" y="468"/>
                    </a:lnTo>
                    <a:lnTo>
                      <a:pt x="1477" y="472"/>
                    </a:lnTo>
                    <a:lnTo>
                      <a:pt x="1477" y="475"/>
                    </a:lnTo>
                    <a:lnTo>
                      <a:pt x="1481" y="477"/>
                    </a:lnTo>
                    <a:lnTo>
                      <a:pt x="1476" y="477"/>
                    </a:lnTo>
                    <a:lnTo>
                      <a:pt x="1474" y="473"/>
                    </a:lnTo>
                    <a:lnTo>
                      <a:pt x="1471" y="473"/>
                    </a:lnTo>
                    <a:lnTo>
                      <a:pt x="1464" y="475"/>
                    </a:lnTo>
                    <a:lnTo>
                      <a:pt x="1461" y="473"/>
                    </a:lnTo>
                    <a:lnTo>
                      <a:pt x="1466" y="472"/>
                    </a:lnTo>
                    <a:lnTo>
                      <a:pt x="1467" y="468"/>
                    </a:lnTo>
                    <a:lnTo>
                      <a:pt x="1462" y="463"/>
                    </a:lnTo>
                    <a:lnTo>
                      <a:pt x="1462" y="460"/>
                    </a:lnTo>
                    <a:lnTo>
                      <a:pt x="1461" y="458"/>
                    </a:lnTo>
                    <a:lnTo>
                      <a:pt x="1454" y="460"/>
                    </a:lnTo>
                    <a:lnTo>
                      <a:pt x="1456" y="463"/>
                    </a:lnTo>
                    <a:lnTo>
                      <a:pt x="1454" y="467"/>
                    </a:lnTo>
                    <a:lnTo>
                      <a:pt x="1451" y="465"/>
                    </a:lnTo>
                    <a:lnTo>
                      <a:pt x="1452" y="462"/>
                    </a:lnTo>
                    <a:lnTo>
                      <a:pt x="1452" y="460"/>
                    </a:lnTo>
                    <a:lnTo>
                      <a:pt x="1447" y="458"/>
                    </a:lnTo>
                    <a:lnTo>
                      <a:pt x="1444" y="460"/>
                    </a:lnTo>
                    <a:lnTo>
                      <a:pt x="1441" y="460"/>
                    </a:lnTo>
                    <a:lnTo>
                      <a:pt x="1442" y="457"/>
                    </a:lnTo>
                    <a:lnTo>
                      <a:pt x="1442" y="455"/>
                    </a:lnTo>
                    <a:lnTo>
                      <a:pt x="1442" y="450"/>
                    </a:lnTo>
                    <a:lnTo>
                      <a:pt x="1437" y="450"/>
                    </a:lnTo>
                    <a:lnTo>
                      <a:pt x="1432" y="455"/>
                    </a:lnTo>
                    <a:lnTo>
                      <a:pt x="1432" y="462"/>
                    </a:lnTo>
                    <a:lnTo>
                      <a:pt x="1429" y="462"/>
                    </a:lnTo>
                    <a:lnTo>
                      <a:pt x="1427" y="457"/>
                    </a:lnTo>
                    <a:lnTo>
                      <a:pt x="1429" y="453"/>
                    </a:lnTo>
                    <a:lnTo>
                      <a:pt x="1429" y="452"/>
                    </a:lnTo>
                    <a:lnTo>
                      <a:pt x="1432" y="445"/>
                    </a:lnTo>
                    <a:lnTo>
                      <a:pt x="1429" y="442"/>
                    </a:lnTo>
                    <a:lnTo>
                      <a:pt x="1422" y="443"/>
                    </a:lnTo>
                    <a:lnTo>
                      <a:pt x="1422" y="442"/>
                    </a:lnTo>
                    <a:lnTo>
                      <a:pt x="1427" y="440"/>
                    </a:lnTo>
                    <a:lnTo>
                      <a:pt x="1429" y="435"/>
                    </a:lnTo>
                    <a:lnTo>
                      <a:pt x="1429" y="432"/>
                    </a:lnTo>
                    <a:lnTo>
                      <a:pt x="1426" y="434"/>
                    </a:lnTo>
                    <a:lnTo>
                      <a:pt x="1421" y="432"/>
                    </a:lnTo>
                    <a:lnTo>
                      <a:pt x="1419" y="434"/>
                    </a:lnTo>
                    <a:lnTo>
                      <a:pt x="1416" y="434"/>
                    </a:lnTo>
                    <a:lnTo>
                      <a:pt x="1417" y="432"/>
                    </a:lnTo>
                    <a:lnTo>
                      <a:pt x="1417" y="429"/>
                    </a:lnTo>
                    <a:lnTo>
                      <a:pt x="1412" y="429"/>
                    </a:lnTo>
                    <a:lnTo>
                      <a:pt x="1411" y="432"/>
                    </a:lnTo>
                    <a:lnTo>
                      <a:pt x="1404" y="434"/>
                    </a:lnTo>
                    <a:lnTo>
                      <a:pt x="1404" y="430"/>
                    </a:lnTo>
                    <a:lnTo>
                      <a:pt x="1407" y="429"/>
                    </a:lnTo>
                    <a:lnTo>
                      <a:pt x="1409" y="425"/>
                    </a:lnTo>
                    <a:lnTo>
                      <a:pt x="1411" y="422"/>
                    </a:lnTo>
                    <a:lnTo>
                      <a:pt x="1414" y="422"/>
                    </a:lnTo>
                    <a:lnTo>
                      <a:pt x="1417" y="427"/>
                    </a:lnTo>
                    <a:lnTo>
                      <a:pt x="1424" y="427"/>
                    </a:lnTo>
                    <a:lnTo>
                      <a:pt x="1424" y="424"/>
                    </a:lnTo>
                    <a:lnTo>
                      <a:pt x="1419" y="420"/>
                    </a:lnTo>
                    <a:lnTo>
                      <a:pt x="1416" y="419"/>
                    </a:lnTo>
                    <a:lnTo>
                      <a:pt x="1417" y="417"/>
                    </a:lnTo>
                    <a:lnTo>
                      <a:pt x="1412" y="412"/>
                    </a:lnTo>
                    <a:lnTo>
                      <a:pt x="1407" y="410"/>
                    </a:lnTo>
                    <a:lnTo>
                      <a:pt x="1409" y="409"/>
                    </a:lnTo>
                    <a:lnTo>
                      <a:pt x="1411" y="407"/>
                    </a:lnTo>
                    <a:lnTo>
                      <a:pt x="1412" y="407"/>
                    </a:lnTo>
                    <a:lnTo>
                      <a:pt x="1416" y="410"/>
                    </a:lnTo>
                    <a:lnTo>
                      <a:pt x="1419" y="415"/>
                    </a:lnTo>
                    <a:lnTo>
                      <a:pt x="1426" y="417"/>
                    </a:lnTo>
                    <a:lnTo>
                      <a:pt x="1429" y="420"/>
                    </a:lnTo>
                    <a:lnTo>
                      <a:pt x="1432" y="417"/>
                    </a:lnTo>
                    <a:lnTo>
                      <a:pt x="1434" y="420"/>
                    </a:lnTo>
                    <a:lnTo>
                      <a:pt x="1442" y="422"/>
                    </a:lnTo>
                    <a:lnTo>
                      <a:pt x="1447" y="422"/>
                    </a:lnTo>
                    <a:lnTo>
                      <a:pt x="1449" y="419"/>
                    </a:lnTo>
                    <a:lnTo>
                      <a:pt x="1447" y="414"/>
                    </a:lnTo>
                    <a:lnTo>
                      <a:pt x="1437" y="407"/>
                    </a:lnTo>
                    <a:lnTo>
                      <a:pt x="1434" y="404"/>
                    </a:lnTo>
                    <a:lnTo>
                      <a:pt x="1431" y="404"/>
                    </a:lnTo>
                    <a:lnTo>
                      <a:pt x="1429" y="400"/>
                    </a:lnTo>
                    <a:lnTo>
                      <a:pt x="1426" y="395"/>
                    </a:lnTo>
                    <a:lnTo>
                      <a:pt x="1422" y="395"/>
                    </a:lnTo>
                    <a:lnTo>
                      <a:pt x="1421" y="394"/>
                    </a:lnTo>
                    <a:lnTo>
                      <a:pt x="1422" y="390"/>
                    </a:lnTo>
                    <a:lnTo>
                      <a:pt x="1426" y="392"/>
                    </a:lnTo>
                    <a:lnTo>
                      <a:pt x="1429" y="395"/>
                    </a:lnTo>
                    <a:lnTo>
                      <a:pt x="1432" y="395"/>
                    </a:lnTo>
                    <a:lnTo>
                      <a:pt x="1434" y="399"/>
                    </a:lnTo>
                    <a:lnTo>
                      <a:pt x="1436" y="400"/>
                    </a:lnTo>
                    <a:lnTo>
                      <a:pt x="1437" y="397"/>
                    </a:lnTo>
                    <a:lnTo>
                      <a:pt x="1436" y="389"/>
                    </a:lnTo>
                    <a:lnTo>
                      <a:pt x="1431" y="384"/>
                    </a:lnTo>
                    <a:lnTo>
                      <a:pt x="1427" y="384"/>
                    </a:lnTo>
                    <a:lnTo>
                      <a:pt x="1426" y="382"/>
                    </a:lnTo>
                    <a:lnTo>
                      <a:pt x="1421" y="382"/>
                    </a:lnTo>
                    <a:lnTo>
                      <a:pt x="1416" y="385"/>
                    </a:lnTo>
                    <a:lnTo>
                      <a:pt x="1411" y="385"/>
                    </a:lnTo>
                    <a:lnTo>
                      <a:pt x="1407" y="382"/>
                    </a:lnTo>
                    <a:lnTo>
                      <a:pt x="1404" y="384"/>
                    </a:lnTo>
                    <a:lnTo>
                      <a:pt x="1401" y="380"/>
                    </a:lnTo>
                    <a:lnTo>
                      <a:pt x="1396" y="387"/>
                    </a:lnTo>
                    <a:lnTo>
                      <a:pt x="1389" y="390"/>
                    </a:lnTo>
                    <a:lnTo>
                      <a:pt x="1387" y="394"/>
                    </a:lnTo>
                    <a:lnTo>
                      <a:pt x="1384" y="395"/>
                    </a:lnTo>
                    <a:lnTo>
                      <a:pt x="1384" y="392"/>
                    </a:lnTo>
                    <a:lnTo>
                      <a:pt x="1387" y="389"/>
                    </a:lnTo>
                    <a:lnTo>
                      <a:pt x="1389" y="387"/>
                    </a:lnTo>
                    <a:lnTo>
                      <a:pt x="1399" y="379"/>
                    </a:lnTo>
                    <a:lnTo>
                      <a:pt x="1401" y="375"/>
                    </a:lnTo>
                    <a:lnTo>
                      <a:pt x="1399" y="372"/>
                    </a:lnTo>
                    <a:lnTo>
                      <a:pt x="1399" y="362"/>
                    </a:lnTo>
                    <a:lnTo>
                      <a:pt x="1401" y="360"/>
                    </a:lnTo>
                    <a:lnTo>
                      <a:pt x="1396" y="357"/>
                    </a:lnTo>
                    <a:lnTo>
                      <a:pt x="1394" y="359"/>
                    </a:lnTo>
                    <a:lnTo>
                      <a:pt x="1389" y="359"/>
                    </a:lnTo>
                    <a:lnTo>
                      <a:pt x="1387" y="357"/>
                    </a:lnTo>
                    <a:lnTo>
                      <a:pt x="1386" y="352"/>
                    </a:lnTo>
                    <a:lnTo>
                      <a:pt x="1386" y="350"/>
                    </a:lnTo>
                    <a:lnTo>
                      <a:pt x="1378" y="347"/>
                    </a:lnTo>
                    <a:lnTo>
                      <a:pt x="1374" y="344"/>
                    </a:lnTo>
                    <a:lnTo>
                      <a:pt x="1369" y="344"/>
                    </a:lnTo>
                    <a:lnTo>
                      <a:pt x="1364" y="341"/>
                    </a:lnTo>
                    <a:lnTo>
                      <a:pt x="1363" y="344"/>
                    </a:lnTo>
                    <a:lnTo>
                      <a:pt x="1353" y="344"/>
                    </a:lnTo>
                    <a:lnTo>
                      <a:pt x="1353" y="345"/>
                    </a:lnTo>
                    <a:lnTo>
                      <a:pt x="1349" y="345"/>
                    </a:lnTo>
                    <a:lnTo>
                      <a:pt x="1348" y="350"/>
                    </a:lnTo>
                    <a:lnTo>
                      <a:pt x="1351" y="354"/>
                    </a:lnTo>
                    <a:lnTo>
                      <a:pt x="1353" y="357"/>
                    </a:lnTo>
                    <a:lnTo>
                      <a:pt x="1349" y="357"/>
                    </a:lnTo>
                    <a:lnTo>
                      <a:pt x="1344" y="350"/>
                    </a:lnTo>
                    <a:lnTo>
                      <a:pt x="1343" y="355"/>
                    </a:lnTo>
                    <a:lnTo>
                      <a:pt x="1344" y="359"/>
                    </a:lnTo>
                    <a:lnTo>
                      <a:pt x="1349" y="362"/>
                    </a:lnTo>
                    <a:lnTo>
                      <a:pt x="1354" y="369"/>
                    </a:lnTo>
                    <a:lnTo>
                      <a:pt x="1359" y="369"/>
                    </a:lnTo>
                    <a:lnTo>
                      <a:pt x="1356" y="370"/>
                    </a:lnTo>
                    <a:lnTo>
                      <a:pt x="1353" y="370"/>
                    </a:lnTo>
                    <a:lnTo>
                      <a:pt x="1351" y="375"/>
                    </a:lnTo>
                    <a:lnTo>
                      <a:pt x="1358" y="382"/>
                    </a:lnTo>
                    <a:lnTo>
                      <a:pt x="1361" y="384"/>
                    </a:lnTo>
                    <a:lnTo>
                      <a:pt x="1361" y="387"/>
                    </a:lnTo>
                    <a:lnTo>
                      <a:pt x="1359" y="385"/>
                    </a:lnTo>
                    <a:lnTo>
                      <a:pt x="1353" y="385"/>
                    </a:lnTo>
                    <a:lnTo>
                      <a:pt x="1353" y="387"/>
                    </a:lnTo>
                    <a:lnTo>
                      <a:pt x="1349" y="389"/>
                    </a:lnTo>
                    <a:lnTo>
                      <a:pt x="1348" y="392"/>
                    </a:lnTo>
                    <a:lnTo>
                      <a:pt x="1354" y="390"/>
                    </a:lnTo>
                    <a:lnTo>
                      <a:pt x="1358" y="392"/>
                    </a:lnTo>
                    <a:lnTo>
                      <a:pt x="1366" y="390"/>
                    </a:lnTo>
                    <a:lnTo>
                      <a:pt x="1366" y="392"/>
                    </a:lnTo>
                    <a:lnTo>
                      <a:pt x="1371" y="394"/>
                    </a:lnTo>
                    <a:lnTo>
                      <a:pt x="1373" y="397"/>
                    </a:lnTo>
                    <a:lnTo>
                      <a:pt x="1379" y="400"/>
                    </a:lnTo>
                    <a:lnTo>
                      <a:pt x="1381" y="400"/>
                    </a:lnTo>
                    <a:lnTo>
                      <a:pt x="1381" y="399"/>
                    </a:lnTo>
                    <a:lnTo>
                      <a:pt x="1383" y="400"/>
                    </a:lnTo>
                    <a:lnTo>
                      <a:pt x="1387" y="397"/>
                    </a:lnTo>
                    <a:lnTo>
                      <a:pt x="1391" y="399"/>
                    </a:lnTo>
                    <a:lnTo>
                      <a:pt x="1392" y="400"/>
                    </a:lnTo>
                    <a:lnTo>
                      <a:pt x="1391" y="405"/>
                    </a:lnTo>
                    <a:lnTo>
                      <a:pt x="1391" y="412"/>
                    </a:lnTo>
                    <a:lnTo>
                      <a:pt x="1389" y="419"/>
                    </a:lnTo>
                    <a:lnTo>
                      <a:pt x="1389" y="422"/>
                    </a:lnTo>
                    <a:lnTo>
                      <a:pt x="1391" y="425"/>
                    </a:lnTo>
                    <a:lnTo>
                      <a:pt x="1389" y="432"/>
                    </a:lnTo>
                    <a:lnTo>
                      <a:pt x="1389" y="434"/>
                    </a:lnTo>
                    <a:lnTo>
                      <a:pt x="1387" y="439"/>
                    </a:lnTo>
                    <a:lnTo>
                      <a:pt x="1381" y="443"/>
                    </a:lnTo>
                    <a:lnTo>
                      <a:pt x="1376" y="445"/>
                    </a:lnTo>
                    <a:lnTo>
                      <a:pt x="1374" y="448"/>
                    </a:lnTo>
                    <a:lnTo>
                      <a:pt x="1369" y="453"/>
                    </a:lnTo>
                    <a:lnTo>
                      <a:pt x="1369" y="457"/>
                    </a:lnTo>
                    <a:lnTo>
                      <a:pt x="1366" y="460"/>
                    </a:lnTo>
                    <a:lnTo>
                      <a:pt x="1363" y="463"/>
                    </a:lnTo>
                    <a:lnTo>
                      <a:pt x="1363" y="468"/>
                    </a:lnTo>
                    <a:lnTo>
                      <a:pt x="1366" y="468"/>
                    </a:lnTo>
                    <a:lnTo>
                      <a:pt x="1366" y="472"/>
                    </a:lnTo>
                    <a:lnTo>
                      <a:pt x="1363" y="473"/>
                    </a:lnTo>
                    <a:lnTo>
                      <a:pt x="1361" y="477"/>
                    </a:lnTo>
                    <a:lnTo>
                      <a:pt x="1364" y="478"/>
                    </a:lnTo>
                    <a:lnTo>
                      <a:pt x="1359" y="483"/>
                    </a:lnTo>
                    <a:lnTo>
                      <a:pt x="1359" y="487"/>
                    </a:lnTo>
                    <a:lnTo>
                      <a:pt x="1361" y="492"/>
                    </a:lnTo>
                    <a:lnTo>
                      <a:pt x="1364" y="492"/>
                    </a:lnTo>
                    <a:lnTo>
                      <a:pt x="1364" y="495"/>
                    </a:lnTo>
                    <a:lnTo>
                      <a:pt x="1368" y="498"/>
                    </a:lnTo>
                    <a:lnTo>
                      <a:pt x="1371" y="497"/>
                    </a:lnTo>
                    <a:lnTo>
                      <a:pt x="1371" y="493"/>
                    </a:lnTo>
                    <a:lnTo>
                      <a:pt x="1373" y="492"/>
                    </a:lnTo>
                    <a:lnTo>
                      <a:pt x="1374" y="493"/>
                    </a:lnTo>
                    <a:lnTo>
                      <a:pt x="1378" y="493"/>
                    </a:lnTo>
                    <a:lnTo>
                      <a:pt x="1381" y="487"/>
                    </a:lnTo>
                    <a:lnTo>
                      <a:pt x="1383" y="490"/>
                    </a:lnTo>
                    <a:lnTo>
                      <a:pt x="1381" y="495"/>
                    </a:lnTo>
                    <a:lnTo>
                      <a:pt x="1376" y="495"/>
                    </a:lnTo>
                    <a:lnTo>
                      <a:pt x="1376" y="498"/>
                    </a:lnTo>
                    <a:lnTo>
                      <a:pt x="1378" y="500"/>
                    </a:lnTo>
                    <a:lnTo>
                      <a:pt x="1378" y="502"/>
                    </a:lnTo>
                    <a:lnTo>
                      <a:pt x="1383" y="507"/>
                    </a:lnTo>
                    <a:lnTo>
                      <a:pt x="1387" y="507"/>
                    </a:lnTo>
                    <a:lnTo>
                      <a:pt x="1387" y="508"/>
                    </a:lnTo>
                    <a:lnTo>
                      <a:pt x="1394" y="508"/>
                    </a:lnTo>
                    <a:lnTo>
                      <a:pt x="1397" y="507"/>
                    </a:lnTo>
                    <a:lnTo>
                      <a:pt x="1402" y="505"/>
                    </a:lnTo>
                    <a:lnTo>
                      <a:pt x="1402" y="498"/>
                    </a:lnTo>
                    <a:lnTo>
                      <a:pt x="1404" y="498"/>
                    </a:lnTo>
                    <a:lnTo>
                      <a:pt x="1407" y="497"/>
                    </a:lnTo>
                    <a:lnTo>
                      <a:pt x="1407" y="500"/>
                    </a:lnTo>
                    <a:lnTo>
                      <a:pt x="1407" y="502"/>
                    </a:lnTo>
                    <a:lnTo>
                      <a:pt x="1407" y="505"/>
                    </a:lnTo>
                    <a:lnTo>
                      <a:pt x="1409" y="503"/>
                    </a:lnTo>
                    <a:lnTo>
                      <a:pt x="1412" y="497"/>
                    </a:lnTo>
                    <a:lnTo>
                      <a:pt x="1416" y="497"/>
                    </a:lnTo>
                    <a:lnTo>
                      <a:pt x="1416" y="498"/>
                    </a:lnTo>
                    <a:lnTo>
                      <a:pt x="1416" y="503"/>
                    </a:lnTo>
                    <a:lnTo>
                      <a:pt x="1409" y="510"/>
                    </a:lnTo>
                    <a:lnTo>
                      <a:pt x="1406" y="513"/>
                    </a:lnTo>
                    <a:lnTo>
                      <a:pt x="1406" y="517"/>
                    </a:lnTo>
                    <a:lnTo>
                      <a:pt x="1411" y="518"/>
                    </a:lnTo>
                    <a:lnTo>
                      <a:pt x="1416" y="522"/>
                    </a:lnTo>
                    <a:lnTo>
                      <a:pt x="1419" y="520"/>
                    </a:lnTo>
                    <a:lnTo>
                      <a:pt x="1421" y="522"/>
                    </a:lnTo>
                    <a:lnTo>
                      <a:pt x="1426" y="523"/>
                    </a:lnTo>
                    <a:lnTo>
                      <a:pt x="1427" y="520"/>
                    </a:lnTo>
                    <a:lnTo>
                      <a:pt x="1432" y="520"/>
                    </a:lnTo>
                    <a:lnTo>
                      <a:pt x="1431" y="522"/>
                    </a:lnTo>
                    <a:lnTo>
                      <a:pt x="1431" y="523"/>
                    </a:lnTo>
                    <a:lnTo>
                      <a:pt x="1434" y="525"/>
                    </a:lnTo>
                    <a:lnTo>
                      <a:pt x="1437" y="527"/>
                    </a:lnTo>
                    <a:lnTo>
                      <a:pt x="1441" y="525"/>
                    </a:lnTo>
                    <a:lnTo>
                      <a:pt x="1441" y="523"/>
                    </a:lnTo>
                    <a:lnTo>
                      <a:pt x="1439" y="520"/>
                    </a:lnTo>
                    <a:lnTo>
                      <a:pt x="1442" y="515"/>
                    </a:lnTo>
                    <a:lnTo>
                      <a:pt x="1444" y="518"/>
                    </a:lnTo>
                    <a:lnTo>
                      <a:pt x="1442" y="523"/>
                    </a:lnTo>
                    <a:lnTo>
                      <a:pt x="1444" y="527"/>
                    </a:lnTo>
                    <a:lnTo>
                      <a:pt x="1447" y="527"/>
                    </a:lnTo>
                    <a:lnTo>
                      <a:pt x="1449" y="523"/>
                    </a:lnTo>
                    <a:lnTo>
                      <a:pt x="1451" y="520"/>
                    </a:lnTo>
                    <a:lnTo>
                      <a:pt x="1454" y="520"/>
                    </a:lnTo>
                    <a:lnTo>
                      <a:pt x="1452" y="523"/>
                    </a:lnTo>
                    <a:lnTo>
                      <a:pt x="1451" y="525"/>
                    </a:lnTo>
                    <a:lnTo>
                      <a:pt x="1451" y="528"/>
                    </a:lnTo>
                    <a:lnTo>
                      <a:pt x="1457" y="528"/>
                    </a:lnTo>
                    <a:lnTo>
                      <a:pt x="1461" y="525"/>
                    </a:lnTo>
                    <a:lnTo>
                      <a:pt x="1464" y="518"/>
                    </a:lnTo>
                    <a:lnTo>
                      <a:pt x="1466" y="522"/>
                    </a:lnTo>
                    <a:lnTo>
                      <a:pt x="1462" y="525"/>
                    </a:lnTo>
                    <a:lnTo>
                      <a:pt x="1462" y="528"/>
                    </a:lnTo>
                    <a:lnTo>
                      <a:pt x="1469" y="527"/>
                    </a:lnTo>
                    <a:lnTo>
                      <a:pt x="1471" y="522"/>
                    </a:lnTo>
                    <a:lnTo>
                      <a:pt x="1472" y="518"/>
                    </a:lnTo>
                    <a:lnTo>
                      <a:pt x="1471" y="528"/>
                    </a:lnTo>
                    <a:lnTo>
                      <a:pt x="1472" y="530"/>
                    </a:lnTo>
                    <a:lnTo>
                      <a:pt x="1477" y="532"/>
                    </a:lnTo>
                    <a:lnTo>
                      <a:pt x="1484" y="535"/>
                    </a:lnTo>
                    <a:lnTo>
                      <a:pt x="1487" y="533"/>
                    </a:lnTo>
                    <a:lnTo>
                      <a:pt x="1490" y="532"/>
                    </a:lnTo>
                    <a:lnTo>
                      <a:pt x="1492" y="535"/>
                    </a:lnTo>
                    <a:lnTo>
                      <a:pt x="1497" y="533"/>
                    </a:lnTo>
                    <a:lnTo>
                      <a:pt x="1500" y="532"/>
                    </a:lnTo>
                    <a:lnTo>
                      <a:pt x="1500" y="527"/>
                    </a:lnTo>
                    <a:lnTo>
                      <a:pt x="1505" y="523"/>
                    </a:lnTo>
                    <a:lnTo>
                      <a:pt x="1507" y="520"/>
                    </a:lnTo>
                    <a:lnTo>
                      <a:pt x="1504" y="517"/>
                    </a:lnTo>
                    <a:lnTo>
                      <a:pt x="1507" y="512"/>
                    </a:lnTo>
                    <a:lnTo>
                      <a:pt x="1509" y="513"/>
                    </a:lnTo>
                    <a:lnTo>
                      <a:pt x="1509" y="518"/>
                    </a:lnTo>
                    <a:lnTo>
                      <a:pt x="1512" y="518"/>
                    </a:lnTo>
                    <a:lnTo>
                      <a:pt x="1512" y="522"/>
                    </a:lnTo>
                    <a:lnTo>
                      <a:pt x="1509" y="523"/>
                    </a:lnTo>
                    <a:lnTo>
                      <a:pt x="1505" y="530"/>
                    </a:lnTo>
                    <a:lnTo>
                      <a:pt x="1507" y="538"/>
                    </a:lnTo>
                    <a:lnTo>
                      <a:pt x="1507" y="538"/>
                    </a:lnTo>
                    <a:close/>
                    <a:moveTo>
                      <a:pt x="1341" y="341"/>
                    </a:moveTo>
                    <a:lnTo>
                      <a:pt x="1344" y="339"/>
                    </a:lnTo>
                    <a:lnTo>
                      <a:pt x="1344" y="337"/>
                    </a:lnTo>
                    <a:lnTo>
                      <a:pt x="1341" y="337"/>
                    </a:lnTo>
                    <a:lnTo>
                      <a:pt x="1339" y="339"/>
                    </a:lnTo>
                    <a:lnTo>
                      <a:pt x="1341" y="341"/>
                    </a:lnTo>
                    <a:lnTo>
                      <a:pt x="1341" y="341"/>
                    </a:lnTo>
                    <a:close/>
                    <a:moveTo>
                      <a:pt x="1333" y="367"/>
                    </a:moveTo>
                    <a:lnTo>
                      <a:pt x="1336" y="364"/>
                    </a:lnTo>
                    <a:lnTo>
                      <a:pt x="1336" y="360"/>
                    </a:lnTo>
                    <a:lnTo>
                      <a:pt x="1338" y="364"/>
                    </a:lnTo>
                    <a:lnTo>
                      <a:pt x="1334" y="367"/>
                    </a:lnTo>
                    <a:lnTo>
                      <a:pt x="1333" y="367"/>
                    </a:lnTo>
                    <a:lnTo>
                      <a:pt x="1333" y="367"/>
                    </a:lnTo>
                    <a:close/>
                    <a:moveTo>
                      <a:pt x="1216" y="405"/>
                    </a:moveTo>
                    <a:lnTo>
                      <a:pt x="1215" y="407"/>
                    </a:lnTo>
                    <a:lnTo>
                      <a:pt x="1216" y="409"/>
                    </a:lnTo>
                    <a:lnTo>
                      <a:pt x="1218" y="407"/>
                    </a:lnTo>
                    <a:lnTo>
                      <a:pt x="1216" y="405"/>
                    </a:lnTo>
                    <a:lnTo>
                      <a:pt x="1216" y="405"/>
                    </a:lnTo>
                    <a:close/>
                    <a:moveTo>
                      <a:pt x="1291" y="339"/>
                    </a:moveTo>
                    <a:lnTo>
                      <a:pt x="1291" y="341"/>
                    </a:lnTo>
                    <a:lnTo>
                      <a:pt x="1294" y="344"/>
                    </a:lnTo>
                    <a:lnTo>
                      <a:pt x="1294" y="347"/>
                    </a:lnTo>
                    <a:lnTo>
                      <a:pt x="1298" y="345"/>
                    </a:lnTo>
                    <a:lnTo>
                      <a:pt x="1296" y="342"/>
                    </a:lnTo>
                    <a:lnTo>
                      <a:pt x="1294" y="339"/>
                    </a:lnTo>
                    <a:lnTo>
                      <a:pt x="1291" y="339"/>
                    </a:lnTo>
                    <a:lnTo>
                      <a:pt x="1291" y="339"/>
                    </a:lnTo>
                    <a:close/>
                    <a:moveTo>
                      <a:pt x="1255" y="341"/>
                    </a:moveTo>
                    <a:lnTo>
                      <a:pt x="1255" y="342"/>
                    </a:lnTo>
                    <a:lnTo>
                      <a:pt x="1258" y="344"/>
                    </a:lnTo>
                    <a:lnTo>
                      <a:pt x="1261" y="342"/>
                    </a:lnTo>
                    <a:lnTo>
                      <a:pt x="1266" y="342"/>
                    </a:lnTo>
                    <a:lnTo>
                      <a:pt x="1270" y="342"/>
                    </a:lnTo>
                    <a:lnTo>
                      <a:pt x="1276" y="339"/>
                    </a:lnTo>
                    <a:lnTo>
                      <a:pt x="1280" y="339"/>
                    </a:lnTo>
                    <a:lnTo>
                      <a:pt x="1285" y="337"/>
                    </a:lnTo>
                    <a:lnTo>
                      <a:pt x="1283" y="336"/>
                    </a:lnTo>
                    <a:lnTo>
                      <a:pt x="1276" y="336"/>
                    </a:lnTo>
                    <a:lnTo>
                      <a:pt x="1270" y="336"/>
                    </a:lnTo>
                    <a:lnTo>
                      <a:pt x="1270" y="336"/>
                    </a:lnTo>
                    <a:lnTo>
                      <a:pt x="1266" y="339"/>
                    </a:lnTo>
                    <a:lnTo>
                      <a:pt x="1266" y="339"/>
                    </a:lnTo>
                    <a:lnTo>
                      <a:pt x="1263" y="337"/>
                    </a:lnTo>
                    <a:lnTo>
                      <a:pt x="1258" y="339"/>
                    </a:lnTo>
                    <a:lnTo>
                      <a:pt x="1255" y="341"/>
                    </a:lnTo>
                    <a:lnTo>
                      <a:pt x="1255" y="341"/>
                    </a:lnTo>
                    <a:close/>
                    <a:moveTo>
                      <a:pt x="1218" y="352"/>
                    </a:moveTo>
                    <a:lnTo>
                      <a:pt x="1215" y="349"/>
                    </a:lnTo>
                    <a:lnTo>
                      <a:pt x="1208" y="349"/>
                    </a:lnTo>
                    <a:lnTo>
                      <a:pt x="1205" y="347"/>
                    </a:lnTo>
                    <a:lnTo>
                      <a:pt x="1203" y="342"/>
                    </a:lnTo>
                    <a:lnTo>
                      <a:pt x="1206" y="339"/>
                    </a:lnTo>
                    <a:lnTo>
                      <a:pt x="1206" y="336"/>
                    </a:lnTo>
                    <a:lnTo>
                      <a:pt x="1206" y="332"/>
                    </a:lnTo>
                    <a:lnTo>
                      <a:pt x="1206" y="329"/>
                    </a:lnTo>
                    <a:lnTo>
                      <a:pt x="1210" y="327"/>
                    </a:lnTo>
                    <a:lnTo>
                      <a:pt x="1216" y="327"/>
                    </a:lnTo>
                    <a:lnTo>
                      <a:pt x="1218" y="327"/>
                    </a:lnTo>
                    <a:lnTo>
                      <a:pt x="1220" y="329"/>
                    </a:lnTo>
                    <a:lnTo>
                      <a:pt x="1220" y="331"/>
                    </a:lnTo>
                    <a:lnTo>
                      <a:pt x="1218" y="332"/>
                    </a:lnTo>
                    <a:lnTo>
                      <a:pt x="1216" y="336"/>
                    </a:lnTo>
                    <a:lnTo>
                      <a:pt x="1218" y="336"/>
                    </a:lnTo>
                    <a:lnTo>
                      <a:pt x="1223" y="336"/>
                    </a:lnTo>
                    <a:lnTo>
                      <a:pt x="1223" y="337"/>
                    </a:lnTo>
                    <a:lnTo>
                      <a:pt x="1221" y="341"/>
                    </a:lnTo>
                    <a:lnTo>
                      <a:pt x="1223" y="342"/>
                    </a:lnTo>
                    <a:lnTo>
                      <a:pt x="1223" y="347"/>
                    </a:lnTo>
                    <a:lnTo>
                      <a:pt x="1221" y="350"/>
                    </a:lnTo>
                    <a:lnTo>
                      <a:pt x="1218" y="352"/>
                    </a:lnTo>
                    <a:lnTo>
                      <a:pt x="1218" y="352"/>
                    </a:lnTo>
                    <a:close/>
                    <a:moveTo>
                      <a:pt x="1211" y="367"/>
                    </a:moveTo>
                    <a:lnTo>
                      <a:pt x="1221" y="369"/>
                    </a:lnTo>
                    <a:lnTo>
                      <a:pt x="1225" y="365"/>
                    </a:lnTo>
                    <a:lnTo>
                      <a:pt x="1228" y="360"/>
                    </a:lnTo>
                    <a:lnTo>
                      <a:pt x="1225" y="355"/>
                    </a:lnTo>
                    <a:lnTo>
                      <a:pt x="1220" y="357"/>
                    </a:lnTo>
                    <a:lnTo>
                      <a:pt x="1215" y="354"/>
                    </a:lnTo>
                    <a:lnTo>
                      <a:pt x="1208" y="354"/>
                    </a:lnTo>
                    <a:lnTo>
                      <a:pt x="1205" y="354"/>
                    </a:lnTo>
                    <a:lnTo>
                      <a:pt x="1200" y="354"/>
                    </a:lnTo>
                    <a:lnTo>
                      <a:pt x="1198" y="355"/>
                    </a:lnTo>
                    <a:lnTo>
                      <a:pt x="1195" y="357"/>
                    </a:lnTo>
                    <a:lnTo>
                      <a:pt x="1195" y="360"/>
                    </a:lnTo>
                    <a:lnTo>
                      <a:pt x="1195" y="362"/>
                    </a:lnTo>
                    <a:lnTo>
                      <a:pt x="1196" y="362"/>
                    </a:lnTo>
                    <a:lnTo>
                      <a:pt x="1198" y="364"/>
                    </a:lnTo>
                    <a:lnTo>
                      <a:pt x="1201" y="365"/>
                    </a:lnTo>
                    <a:lnTo>
                      <a:pt x="1206" y="367"/>
                    </a:lnTo>
                    <a:lnTo>
                      <a:pt x="1211" y="367"/>
                    </a:lnTo>
                    <a:lnTo>
                      <a:pt x="1211" y="367"/>
                    </a:lnTo>
                    <a:close/>
                    <a:moveTo>
                      <a:pt x="1195" y="374"/>
                    </a:moveTo>
                    <a:lnTo>
                      <a:pt x="1205" y="377"/>
                    </a:lnTo>
                    <a:lnTo>
                      <a:pt x="1210" y="375"/>
                    </a:lnTo>
                    <a:lnTo>
                      <a:pt x="1213" y="375"/>
                    </a:lnTo>
                    <a:lnTo>
                      <a:pt x="1215" y="375"/>
                    </a:lnTo>
                    <a:lnTo>
                      <a:pt x="1218" y="375"/>
                    </a:lnTo>
                    <a:lnTo>
                      <a:pt x="1223" y="374"/>
                    </a:lnTo>
                    <a:lnTo>
                      <a:pt x="1223" y="372"/>
                    </a:lnTo>
                    <a:lnTo>
                      <a:pt x="1220" y="370"/>
                    </a:lnTo>
                    <a:lnTo>
                      <a:pt x="1210" y="372"/>
                    </a:lnTo>
                    <a:lnTo>
                      <a:pt x="1205" y="372"/>
                    </a:lnTo>
                    <a:lnTo>
                      <a:pt x="1203" y="370"/>
                    </a:lnTo>
                    <a:lnTo>
                      <a:pt x="1196" y="370"/>
                    </a:lnTo>
                    <a:lnTo>
                      <a:pt x="1193" y="372"/>
                    </a:lnTo>
                    <a:lnTo>
                      <a:pt x="1195" y="374"/>
                    </a:lnTo>
                    <a:lnTo>
                      <a:pt x="1195" y="374"/>
                    </a:lnTo>
                    <a:close/>
                    <a:moveTo>
                      <a:pt x="1191" y="385"/>
                    </a:moveTo>
                    <a:lnTo>
                      <a:pt x="1195" y="384"/>
                    </a:lnTo>
                    <a:lnTo>
                      <a:pt x="1200" y="384"/>
                    </a:lnTo>
                    <a:lnTo>
                      <a:pt x="1205" y="380"/>
                    </a:lnTo>
                    <a:lnTo>
                      <a:pt x="1215" y="379"/>
                    </a:lnTo>
                    <a:lnTo>
                      <a:pt x="1216" y="379"/>
                    </a:lnTo>
                    <a:lnTo>
                      <a:pt x="1220" y="379"/>
                    </a:lnTo>
                    <a:lnTo>
                      <a:pt x="1223" y="379"/>
                    </a:lnTo>
                    <a:lnTo>
                      <a:pt x="1223" y="380"/>
                    </a:lnTo>
                    <a:lnTo>
                      <a:pt x="1220" y="384"/>
                    </a:lnTo>
                    <a:lnTo>
                      <a:pt x="1216" y="384"/>
                    </a:lnTo>
                    <a:lnTo>
                      <a:pt x="1211" y="384"/>
                    </a:lnTo>
                    <a:lnTo>
                      <a:pt x="1210" y="385"/>
                    </a:lnTo>
                    <a:lnTo>
                      <a:pt x="1205" y="389"/>
                    </a:lnTo>
                    <a:lnTo>
                      <a:pt x="1200" y="387"/>
                    </a:lnTo>
                    <a:lnTo>
                      <a:pt x="1195" y="387"/>
                    </a:lnTo>
                    <a:lnTo>
                      <a:pt x="1193" y="389"/>
                    </a:lnTo>
                    <a:lnTo>
                      <a:pt x="1191" y="387"/>
                    </a:lnTo>
                    <a:lnTo>
                      <a:pt x="1191" y="385"/>
                    </a:lnTo>
                    <a:lnTo>
                      <a:pt x="1191" y="385"/>
                    </a:lnTo>
                    <a:close/>
                    <a:moveTo>
                      <a:pt x="1079" y="254"/>
                    </a:moveTo>
                    <a:lnTo>
                      <a:pt x="1077" y="252"/>
                    </a:lnTo>
                    <a:lnTo>
                      <a:pt x="1079" y="249"/>
                    </a:lnTo>
                    <a:lnTo>
                      <a:pt x="1084" y="249"/>
                    </a:lnTo>
                    <a:lnTo>
                      <a:pt x="1082" y="252"/>
                    </a:lnTo>
                    <a:lnTo>
                      <a:pt x="1079" y="254"/>
                    </a:lnTo>
                    <a:lnTo>
                      <a:pt x="1079" y="254"/>
                    </a:lnTo>
                    <a:close/>
                    <a:moveTo>
                      <a:pt x="1045" y="266"/>
                    </a:moveTo>
                    <a:lnTo>
                      <a:pt x="1050" y="266"/>
                    </a:lnTo>
                    <a:lnTo>
                      <a:pt x="1052" y="264"/>
                    </a:lnTo>
                    <a:lnTo>
                      <a:pt x="1059" y="267"/>
                    </a:lnTo>
                    <a:lnTo>
                      <a:pt x="1064" y="266"/>
                    </a:lnTo>
                    <a:lnTo>
                      <a:pt x="1067" y="267"/>
                    </a:lnTo>
                    <a:lnTo>
                      <a:pt x="1067" y="271"/>
                    </a:lnTo>
                    <a:lnTo>
                      <a:pt x="1069" y="272"/>
                    </a:lnTo>
                    <a:lnTo>
                      <a:pt x="1065" y="276"/>
                    </a:lnTo>
                    <a:lnTo>
                      <a:pt x="1062" y="277"/>
                    </a:lnTo>
                    <a:lnTo>
                      <a:pt x="1057" y="276"/>
                    </a:lnTo>
                    <a:lnTo>
                      <a:pt x="1054" y="276"/>
                    </a:lnTo>
                    <a:lnTo>
                      <a:pt x="1052" y="272"/>
                    </a:lnTo>
                    <a:lnTo>
                      <a:pt x="1049" y="269"/>
                    </a:lnTo>
                    <a:lnTo>
                      <a:pt x="1047" y="267"/>
                    </a:lnTo>
                    <a:lnTo>
                      <a:pt x="1047" y="267"/>
                    </a:lnTo>
                    <a:lnTo>
                      <a:pt x="1045" y="266"/>
                    </a:lnTo>
                    <a:lnTo>
                      <a:pt x="1045" y="266"/>
                    </a:lnTo>
                    <a:close/>
                    <a:moveTo>
                      <a:pt x="876" y="274"/>
                    </a:moveTo>
                    <a:lnTo>
                      <a:pt x="871" y="272"/>
                    </a:lnTo>
                    <a:lnTo>
                      <a:pt x="871" y="271"/>
                    </a:lnTo>
                    <a:lnTo>
                      <a:pt x="873" y="271"/>
                    </a:lnTo>
                    <a:lnTo>
                      <a:pt x="878" y="271"/>
                    </a:lnTo>
                    <a:lnTo>
                      <a:pt x="878" y="274"/>
                    </a:lnTo>
                    <a:lnTo>
                      <a:pt x="876" y="274"/>
                    </a:lnTo>
                    <a:lnTo>
                      <a:pt x="876" y="274"/>
                    </a:lnTo>
                    <a:close/>
                    <a:moveTo>
                      <a:pt x="894" y="296"/>
                    </a:moveTo>
                    <a:lnTo>
                      <a:pt x="899" y="292"/>
                    </a:lnTo>
                    <a:lnTo>
                      <a:pt x="899" y="294"/>
                    </a:lnTo>
                    <a:lnTo>
                      <a:pt x="894" y="297"/>
                    </a:lnTo>
                    <a:lnTo>
                      <a:pt x="894" y="297"/>
                    </a:lnTo>
                    <a:lnTo>
                      <a:pt x="894" y="296"/>
                    </a:lnTo>
                    <a:lnTo>
                      <a:pt x="894" y="296"/>
                    </a:lnTo>
                    <a:close/>
                    <a:moveTo>
                      <a:pt x="902" y="289"/>
                    </a:moveTo>
                    <a:lnTo>
                      <a:pt x="904" y="287"/>
                    </a:lnTo>
                    <a:lnTo>
                      <a:pt x="904" y="284"/>
                    </a:lnTo>
                    <a:lnTo>
                      <a:pt x="906" y="282"/>
                    </a:lnTo>
                    <a:lnTo>
                      <a:pt x="909" y="277"/>
                    </a:lnTo>
                    <a:lnTo>
                      <a:pt x="911" y="277"/>
                    </a:lnTo>
                    <a:lnTo>
                      <a:pt x="916" y="274"/>
                    </a:lnTo>
                    <a:lnTo>
                      <a:pt x="919" y="276"/>
                    </a:lnTo>
                    <a:lnTo>
                      <a:pt x="919" y="279"/>
                    </a:lnTo>
                    <a:lnTo>
                      <a:pt x="914" y="281"/>
                    </a:lnTo>
                    <a:lnTo>
                      <a:pt x="911" y="287"/>
                    </a:lnTo>
                    <a:lnTo>
                      <a:pt x="914" y="291"/>
                    </a:lnTo>
                    <a:lnTo>
                      <a:pt x="911" y="292"/>
                    </a:lnTo>
                    <a:lnTo>
                      <a:pt x="909" y="296"/>
                    </a:lnTo>
                    <a:lnTo>
                      <a:pt x="911" y="299"/>
                    </a:lnTo>
                    <a:lnTo>
                      <a:pt x="912" y="296"/>
                    </a:lnTo>
                    <a:lnTo>
                      <a:pt x="916" y="297"/>
                    </a:lnTo>
                    <a:lnTo>
                      <a:pt x="916" y="301"/>
                    </a:lnTo>
                    <a:lnTo>
                      <a:pt x="917" y="301"/>
                    </a:lnTo>
                    <a:lnTo>
                      <a:pt x="926" y="296"/>
                    </a:lnTo>
                    <a:lnTo>
                      <a:pt x="929" y="292"/>
                    </a:lnTo>
                    <a:lnTo>
                      <a:pt x="932" y="292"/>
                    </a:lnTo>
                    <a:lnTo>
                      <a:pt x="936" y="289"/>
                    </a:lnTo>
                    <a:lnTo>
                      <a:pt x="934" y="284"/>
                    </a:lnTo>
                    <a:lnTo>
                      <a:pt x="937" y="284"/>
                    </a:lnTo>
                    <a:lnTo>
                      <a:pt x="941" y="281"/>
                    </a:lnTo>
                    <a:lnTo>
                      <a:pt x="941" y="276"/>
                    </a:lnTo>
                    <a:lnTo>
                      <a:pt x="942" y="274"/>
                    </a:lnTo>
                    <a:lnTo>
                      <a:pt x="946" y="274"/>
                    </a:lnTo>
                    <a:lnTo>
                      <a:pt x="944" y="279"/>
                    </a:lnTo>
                    <a:lnTo>
                      <a:pt x="944" y="281"/>
                    </a:lnTo>
                    <a:lnTo>
                      <a:pt x="942" y="286"/>
                    </a:lnTo>
                    <a:lnTo>
                      <a:pt x="946" y="291"/>
                    </a:lnTo>
                    <a:lnTo>
                      <a:pt x="947" y="291"/>
                    </a:lnTo>
                    <a:lnTo>
                      <a:pt x="952" y="286"/>
                    </a:lnTo>
                    <a:lnTo>
                      <a:pt x="952" y="281"/>
                    </a:lnTo>
                    <a:lnTo>
                      <a:pt x="952" y="279"/>
                    </a:lnTo>
                    <a:lnTo>
                      <a:pt x="957" y="279"/>
                    </a:lnTo>
                    <a:lnTo>
                      <a:pt x="962" y="272"/>
                    </a:lnTo>
                    <a:lnTo>
                      <a:pt x="962" y="267"/>
                    </a:lnTo>
                    <a:lnTo>
                      <a:pt x="962" y="264"/>
                    </a:lnTo>
                    <a:lnTo>
                      <a:pt x="964" y="259"/>
                    </a:lnTo>
                    <a:lnTo>
                      <a:pt x="967" y="264"/>
                    </a:lnTo>
                    <a:lnTo>
                      <a:pt x="976" y="259"/>
                    </a:lnTo>
                    <a:lnTo>
                      <a:pt x="977" y="254"/>
                    </a:lnTo>
                    <a:lnTo>
                      <a:pt x="979" y="249"/>
                    </a:lnTo>
                    <a:lnTo>
                      <a:pt x="982" y="249"/>
                    </a:lnTo>
                    <a:lnTo>
                      <a:pt x="986" y="247"/>
                    </a:lnTo>
                    <a:lnTo>
                      <a:pt x="989" y="249"/>
                    </a:lnTo>
                    <a:lnTo>
                      <a:pt x="992" y="246"/>
                    </a:lnTo>
                    <a:lnTo>
                      <a:pt x="995" y="247"/>
                    </a:lnTo>
                    <a:lnTo>
                      <a:pt x="992" y="256"/>
                    </a:lnTo>
                    <a:lnTo>
                      <a:pt x="987" y="261"/>
                    </a:lnTo>
                    <a:lnTo>
                      <a:pt x="986" y="266"/>
                    </a:lnTo>
                    <a:lnTo>
                      <a:pt x="982" y="269"/>
                    </a:lnTo>
                    <a:lnTo>
                      <a:pt x="982" y="271"/>
                    </a:lnTo>
                    <a:lnTo>
                      <a:pt x="979" y="272"/>
                    </a:lnTo>
                    <a:lnTo>
                      <a:pt x="972" y="281"/>
                    </a:lnTo>
                    <a:lnTo>
                      <a:pt x="972" y="284"/>
                    </a:lnTo>
                    <a:lnTo>
                      <a:pt x="974" y="287"/>
                    </a:lnTo>
                    <a:lnTo>
                      <a:pt x="972" y="291"/>
                    </a:lnTo>
                    <a:lnTo>
                      <a:pt x="977" y="292"/>
                    </a:lnTo>
                    <a:lnTo>
                      <a:pt x="981" y="294"/>
                    </a:lnTo>
                    <a:lnTo>
                      <a:pt x="984" y="291"/>
                    </a:lnTo>
                    <a:lnTo>
                      <a:pt x="989" y="289"/>
                    </a:lnTo>
                    <a:lnTo>
                      <a:pt x="989" y="286"/>
                    </a:lnTo>
                    <a:lnTo>
                      <a:pt x="989" y="281"/>
                    </a:lnTo>
                    <a:lnTo>
                      <a:pt x="992" y="279"/>
                    </a:lnTo>
                    <a:lnTo>
                      <a:pt x="995" y="274"/>
                    </a:lnTo>
                    <a:lnTo>
                      <a:pt x="999" y="274"/>
                    </a:lnTo>
                    <a:lnTo>
                      <a:pt x="1000" y="272"/>
                    </a:lnTo>
                    <a:lnTo>
                      <a:pt x="1004" y="276"/>
                    </a:lnTo>
                    <a:lnTo>
                      <a:pt x="1009" y="276"/>
                    </a:lnTo>
                    <a:lnTo>
                      <a:pt x="1010" y="272"/>
                    </a:lnTo>
                    <a:lnTo>
                      <a:pt x="1019" y="272"/>
                    </a:lnTo>
                    <a:lnTo>
                      <a:pt x="1022" y="269"/>
                    </a:lnTo>
                    <a:lnTo>
                      <a:pt x="1024" y="262"/>
                    </a:lnTo>
                    <a:lnTo>
                      <a:pt x="1027" y="256"/>
                    </a:lnTo>
                    <a:lnTo>
                      <a:pt x="1029" y="251"/>
                    </a:lnTo>
                    <a:lnTo>
                      <a:pt x="1029" y="249"/>
                    </a:lnTo>
                    <a:lnTo>
                      <a:pt x="1034" y="254"/>
                    </a:lnTo>
                    <a:lnTo>
                      <a:pt x="1037" y="256"/>
                    </a:lnTo>
                    <a:lnTo>
                      <a:pt x="1039" y="252"/>
                    </a:lnTo>
                    <a:lnTo>
                      <a:pt x="1039" y="251"/>
                    </a:lnTo>
                    <a:lnTo>
                      <a:pt x="1034" y="244"/>
                    </a:lnTo>
                    <a:lnTo>
                      <a:pt x="1034" y="241"/>
                    </a:lnTo>
                    <a:lnTo>
                      <a:pt x="1039" y="238"/>
                    </a:lnTo>
                    <a:lnTo>
                      <a:pt x="1044" y="236"/>
                    </a:lnTo>
                    <a:lnTo>
                      <a:pt x="1049" y="234"/>
                    </a:lnTo>
                    <a:lnTo>
                      <a:pt x="1052" y="236"/>
                    </a:lnTo>
                    <a:lnTo>
                      <a:pt x="1054" y="236"/>
                    </a:lnTo>
                    <a:lnTo>
                      <a:pt x="1059" y="231"/>
                    </a:lnTo>
                    <a:lnTo>
                      <a:pt x="1057" y="228"/>
                    </a:lnTo>
                    <a:lnTo>
                      <a:pt x="1057" y="218"/>
                    </a:lnTo>
                    <a:lnTo>
                      <a:pt x="1059" y="216"/>
                    </a:lnTo>
                    <a:lnTo>
                      <a:pt x="1057" y="214"/>
                    </a:lnTo>
                    <a:lnTo>
                      <a:pt x="1057" y="209"/>
                    </a:lnTo>
                    <a:lnTo>
                      <a:pt x="1054" y="208"/>
                    </a:lnTo>
                    <a:lnTo>
                      <a:pt x="1050" y="209"/>
                    </a:lnTo>
                    <a:lnTo>
                      <a:pt x="1044" y="211"/>
                    </a:lnTo>
                    <a:lnTo>
                      <a:pt x="1044" y="218"/>
                    </a:lnTo>
                    <a:lnTo>
                      <a:pt x="1044" y="221"/>
                    </a:lnTo>
                    <a:lnTo>
                      <a:pt x="1044" y="223"/>
                    </a:lnTo>
                    <a:lnTo>
                      <a:pt x="1040" y="224"/>
                    </a:lnTo>
                    <a:lnTo>
                      <a:pt x="1039" y="219"/>
                    </a:lnTo>
                    <a:lnTo>
                      <a:pt x="1037" y="219"/>
                    </a:lnTo>
                    <a:lnTo>
                      <a:pt x="1037" y="223"/>
                    </a:lnTo>
                    <a:lnTo>
                      <a:pt x="1035" y="224"/>
                    </a:lnTo>
                    <a:lnTo>
                      <a:pt x="1032" y="221"/>
                    </a:lnTo>
                    <a:lnTo>
                      <a:pt x="1032" y="214"/>
                    </a:lnTo>
                    <a:lnTo>
                      <a:pt x="1027" y="211"/>
                    </a:lnTo>
                    <a:lnTo>
                      <a:pt x="1025" y="211"/>
                    </a:lnTo>
                    <a:lnTo>
                      <a:pt x="1024" y="213"/>
                    </a:lnTo>
                    <a:lnTo>
                      <a:pt x="1017" y="213"/>
                    </a:lnTo>
                    <a:lnTo>
                      <a:pt x="1012" y="211"/>
                    </a:lnTo>
                    <a:lnTo>
                      <a:pt x="1009" y="211"/>
                    </a:lnTo>
                    <a:lnTo>
                      <a:pt x="999" y="209"/>
                    </a:lnTo>
                    <a:lnTo>
                      <a:pt x="994" y="213"/>
                    </a:lnTo>
                    <a:lnTo>
                      <a:pt x="992" y="216"/>
                    </a:lnTo>
                    <a:lnTo>
                      <a:pt x="990" y="219"/>
                    </a:lnTo>
                    <a:lnTo>
                      <a:pt x="987" y="219"/>
                    </a:lnTo>
                    <a:lnTo>
                      <a:pt x="986" y="219"/>
                    </a:lnTo>
                    <a:lnTo>
                      <a:pt x="974" y="226"/>
                    </a:lnTo>
                    <a:lnTo>
                      <a:pt x="971" y="229"/>
                    </a:lnTo>
                    <a:lnTo>
                      <a:pt x="966" y="229"/>
                    </a:lnTo>
                    <a:lnTo>
                      <a:pt x="961" y="234"/>
                    </a:lnTo>
                    <a:lnTo>
                      <a:pt x="956" y="234"/>
                    </a:lnTo>
                    <a:lnTo>
                      <a:pt x="952" y="238"/>
                    </a:lnTo>
                    <a:lnTo>
                      <a:pt x="951" y="239"/>
                    </a:lnTo>
                    <a:lnTo>
                      <a:pt x="944" y="239"/>
                    </a:lnTo>
                    <a:lnTo>
                      <a:pt x="941" y="241"/>
                    </a:lnTo>
                    <a:lnTo>
                      <a:pt x="936" y="241"/>
                    </a:lnTo>
                    <a:lnTo>
                      <a:pt x="934" y="243"/>
                    </a:lnTo>
                    <a:lnTo>
                      <a:pt x="931" y="243"/>
                    </a:lnTo>
                    <a:lnTo>
                      <a:pt x="922" y="247"/>
                    </a:lnTo>
                    <a:lnTo>
                      <a:pt x="917" y="251"/>
                    </a:lnTo>
                    <a:lnTo>
                      <a:pt x="912" y="249"/>
                    </a:lnTo>
                    <a:lnTo>
                      <a:pt x="907" y="251"/>
                    </a:lnTo>
                    <a:lnTo>
                      <a:pt x="896" y="252"/>
                    </a:lnTo>
                    <a:lnTo>
                      <a:pt x="891" y="259"/>
                    </a:lnTo>
                    <a:lnTo>
                      <a:pt x="888" y="261"/>
                    </a:lnTo>
                    <a:lnTo>
                      <a:pt x="881" y="261"/>
                    </a:lnTo>
                    <a:lnTo>
                      <a:pt x="878" y="266"/>
                    </a:lnTo>
                    <a:lnTo>
                      <a:pt x="883" y="266"/>
                    </a:lnTo>
                    <a:lnTo>
                      <a:pt x="884" y="267"/>
                    </a:lnTo>
                    <a:lnTo>
                      <a:pt x="881" y="267"/>
                    </a:lnTo>
                    <a:lnTo>
                      <a:pt x="879" y="271"/>
                    </a:lnTo>
                    <a:lnTo>
                      <a:pt x="883" y="272"/>
                    </a:lnTo>
                    <a:lnTo>
                      <a:pt x="881" y="276"/>
                    </a:lnTo>
                    <a:lnTo>
                      <a:pt x="874" y="277"/>
                    </a:lnTo>
                    <a:lnTo>
                      <a:pt x="874" y="279"/>
                    </a:lnTo>
                    <a:lnTo>
                      <a:pt x="879" y="281"/>
                    </a:lnTo>
                    <a:lnTo>
                      <a:pt x="884" y="281"/>
                    </a:lnTo>
                    <a:lnTo>
                      <a:pt x="886" y="277"/>
                    </a:lnTo>
                    <a:lnTo>
                      <a:pt x="889" y="276"/>
                    </a:lnTo>
                    <a:lnTo>
                      <a:pt x="894" y="277"/>
                    </a:lnTo>
                    <a:lnTo>
                      <a:pt x="897" y="284"/>
                    </a:lnTo>
                    <a:lnTo>
                      <a:pt x="897" y="287"/>
                    </a:lnTo>
                    <a:lnTo>
                      <a:pt x="902" y="289"/>
                    </a:lnTo>
                    <a:lnTo>
                      <a:pt x="902" y="289"/>
                    </a:lnTo>
                    <a:close/>
                    <a:moveTo>
                      <a:pt x="1364" y="535"/>
                    </a:moveTo>
                    <a:lnTo>
                      <a:pt x="1366" y="533"/>
                    </a:lnTo>
                    <a:lnTo>
                      <a:pt x="1371" y="535"/>
                    </a:lnTo>
                    <a:lnTo>
                      <a:pt x="1373" y="537"/>
                    </a:lnTo>
                    <a:lnTo>
                      <a:pt x="1369" y="538"/>
                    </a:lnTo>
                    <a:lnTo>
                      <a:pt x="1368" y="538"/>
                    </a:lnTo>
                    <a:lnTo>
                      <a:pt x="1364" y="535"/>
                    </a:lnTo>
                    <a:lnTo>
                      <a:pt x="1364" y="535"/>
                    </a:lnTo>
                    <a:close/>
                    <a:moveTo>
                      <a:pt x="1311" y="440"/>
                    </a:moveTo>
                    <a:lnTo>
                      <a:pt x="1306" y="437"/>
                    </a:lnTo>
                    <a:lnTo>
                      <a:pt x="1303" y="437"/>
                    </a:lnTo>
                    <a:lnTo>
                      <a:pt x="1301" y="439"/>
                    </a:lnTo>
                    <a:lnTo>
                      <a:pt x="1306" y="439"/>
                    </a:lnTo>
                    <a:lnTo>
                      <a:pt x="1308" y="440"/>
                    </a:lnTo>
                    <a:lnTo>
                      <a:pt x="1306" y="442"/>
                    </a:lnTo>
                    <a:lnTo>
                      <a:pt x="1301" y="443"/>
                    </a:lnTo>
                    <a:lnTo>
                      <a:pt x="1298" y="443"/>
                    </a:lnTo>
                    <a:lnTo>
                      <a:pt x="1301" y="448"/>
                    </a:lnTo>
                    <a:lnTo>
                      <a:pt x="1301" y="448"/>
                    </a:lnTo>
                    <a:lnTo>
                      <a:pt x="1301" y="450"/>
                    </a:lnTo>
                    <a:lnTo>
                      <a:pt x="1296" y="448"/>
                    </a:lnTo>
                    <a:lnTo>
                      <a:pt x="1291" y="450"/>
                    </a:lnTo>
                    <a:lnTo>
                      <a:pt x="1288" y="453"/>
                    </a:lnTo>
                    <a:lnTo>
                      <a:pt x="1285" y="457"/>
                    </a:lnTo>
                    <a:lnTo>
                      <a:pt x="1285" y="458"/>
                    </a:lnTo>
                    <a:lnTo>
                      <a:pt x="1285" y="460"/>
                    </a:lnTo>
                    <a:lnTo>
                      <a:pt x="1286" y="460"/>
                    </a:lnTo>
                    <a:lnTo>
                      <a:pt x="1286" y="462"/>
                    </a:lnTo>
                    <a:lnTo>
                      <a:pt x="1285" y="465"/>
                    </a:lnTo>
                    <a:lnTo>
                      <a:pt x="1286" y="465"/>
                    </a:lnTo>
                    <a:lnTo>
                      <a:pt x="1289" y="462"/>
                    </a:lnTo>
                    <a:lnTo>
                      <a:pt x="1291" y="463"/>
                    </a:lnTo>
                    <a:lnTo>
                      <a:pt x="1289" y="467"/>
                    </a:lnTo>
                    <a:lnTo>
                      <a:pt x="1289" y="470"/>
                    </a:lnTo>
                    <a:lnTo>
                      <a:pt x="1293" y="472"/>
                    </a:lnTo>
                    <a:lnTo>
                      <a:pt x="1294" y="470"/>
                    </a:lnTo>
                    <a:lnTo>
                      <a:pt x="1296" y="472"/>
                    </a:lnTo>
                    <a:lnTo>
                      <a:pt x="1296" y="475"/>
                    </a:lnTo>
                    <a:lnTo>
                      <a:pt x="1298" y="475"/>
                    </a:lnTo>
                    <a:lnTo>
                      <a:pt x="1301" y="473"/>
                    </a:lnTo>
                    <a:lnTo>
                      <a:pt x="1303" y="473"/>
                    </a:lnTo>
                    <a:lnTo>
                      <a:pt x="1303" y="478"/>
                    </a:lnTo>
                    <a:lnTo>
                      <a:pt x="1304" y="482"/>
                    </a:lnTo>
                    <a:lnTo>
                      <a:pt x="1308" y="480"/>
                    </a:lnTo>
                    <a:lnTo>
                      <a:pt x="1309" y="485"/>
                    </a:lnTo>
                    <a:lnTo>
                      <a:pt x="1314" y="485"/>
                    </a:lnTo>
                    <a:lnTo>
                      <a:pt x="1319" y="488"/>
                    </a:lnTo>
                    <a:lnTo>
                      <a:pt x="1324" y="488"/>
                    </a:lnTo>
                    <a:lnTo>
                      <a:pt x="1326" y="488"/>
                    </a:lnTo>
                    <a:lnTo>
                      <a:pt x="1328" y="488"/>
                    </a:lnTo>
                    <a:lnTo>
                      <a:pt x="1326" y="485"/>
                    </a:lnTo>
                    <a:lnTo>
                      <a:pt x="1329" y="483"/>
                    </a:lnTo>
                    <a:lnTo>
                      <a:pt x="1333" y="478"/>
                    </a:lnTo>
                    <a:lnTo>
                      <a:pt x="1331" y="473"/>
                    </a:lnTo>
                    <a:lnTo>
                      <a:pt x="1334" y="467"/>
                    </a:lnTo>
                    <a:lnTo>
                      <a:pt x="1336" y="465"/>
                    </a:lnTo>
                    <a:lnTo>
                      <a:pt x="1339" y="458"/>
                    </a:lnTo>
                    <a:lnTo>
                      <a:pt x="1339" y="453"/>
                    </a:lnTo>
                    <a:lnTo>
                      <a:pt x="1341" y="452"/>
                    </a:lnTo>
                    <a:lnTo>
                      <a:pt x="1339" y="447"/>
                    </a:lnTo>
                    <a:lnTo>
                      <a:pt x="1336" y="443"/>
                    </a:lnTo>
                    <a:lnTo>
                      <a:pt x="1336" y="440"/>
                    </a:lnTo>
                    <a:lnTo>
                      <a:pt x="1333" y="437"/>
                    </a:lnTo>
                    <a:lnTo>
                      <a:pt x="1333" y="434"/>
                    </a:lnTo>
                    <a:lnTo>
                      <a:pt x="1326" y="430"/>
                    </a:lnTo>
                    <a:lnTo>
                      <a:pt x="1321" y="434"/>
                    </a:lnTo>
                    <a:lnTo>
                      <a:pt x="1318" y="432"/>
                    </a:lnTo>
                    <a:lnTo>
                      <a:pt x="1311" y="432"/>
                    </a:lnTo>
                    <a:lnTo>
                      <a:pt x="1309" y="434"/>
                    </a:lnTo>
                    <a:lnTo>
                      <a:pt x="1313" y="437"/>
                    </a:lnTo>
                    <a:lnTo>
                      <a:pt x="1313" y="440"/>
                    </a:lnTo>
                    <a:lnTo>
                      <a:pt x="1311" y="440"/>
                    </a:lnTo>
                    <a:lnTo>
                      <a:pt x="1311" y="440"/>
                    </a:lnTo>
                    <a:close/>
                    <a:moveTo>
                      <a:pt x="1343" y="405"/>
                    </a:moveTo>
                    <a:lnTo>
                      <a:pt x="1339" y="404"/>
                    </a:lnTo>
                    <a:lnTo>
                      <a:pt x="1339" y="402"/>
                    </a:lnTo>
                    <a:lnTo>
                      <a:pt x="1344" y="400"/>
                    </a:lnTo>
                    <a:lnTo>
                      <a:pt x="1344" y="400"/>
                    </a:lnTo>
                    <a:lnTo>
                      <a:pt x="1343" y="405"/>
                    </a:lnTo>
                    <a:lnTo>
                      <a:pt x="1343" y="405"/>
                    </a:lnTo>
                    <a:close/>
                    <a:moveTo>
                      <a:pt x="1336" y="427"/>
                    </a:moveTo>
                    <a:lnTo>
                      <a:pt x="1336" y="424"/>
                    </a:lnTo>
                    <a:lnTo>
                      <a:pt x="1334" y="422"/>
                    </a:lnTo>
                    <a:lnTo>
                      <a:pt x="1334" y="420"/>
                    </a:lnTo>
                    <a:lnTo>
                      <a:pt x="1336" y="419"/>
                    </a:lnTo>
                    <a:lnTo>
                      <a:pt x="1336" y="414"/>
                    </a:lnTo>
                    <a:lnTo>
                      <a:pt x="1336" y="412"/>
                    </a:lnTo>
                    <a:lnTo>
                      <a:pt x="1343" y="412"/>
                    </a:lnTo>
                    <a:lnTo>
                      <a:pt x="1341" y="422"/>
                    </a:lnTo>
                    <a:lnTo>
                      <a:pt x="1338" y="425"/>
                    </a:lnTo>
                    <a:lnTo>
                      <a:pt x="1338" y="425"/>
                    </a:lnTo>
                    <a:lnTo>
                      <a:pt x="1336" y="427"/>
                    </a:lnTo>
                    <a:lnTo>
                      <a:pt x="1336" y="427"/>
                    </a:lnTo>
                    <a:close/>
                    <a:moveTo>
                      <a:pt x="1303" y="417"/>
                    </a:moveTo>
                    <a:lnTo>
                      <a:pt x="1301" y="415"/>
                    </a:lnTo>
                    <a:lnTo>
                      <a:pt x="1303" y="414"/>
                    </a:lnTo>
                    <a:lnTo>
                      <a:pt x="1308" y="414"/>
                    </a:lnTo>
                    <a:lnTo>
                      <a:pt x="1309" y="414"/>
                    </a:lnTo>
                    <a:lnTo>
                      <a:pt x="1306" y="415"/>
                    </a:lnTo>
                    <a:lnTo>
                      <a:pt x="1304" y="417"/>
                    </a:lnTo>
                    <a:lnTo>
                      <a:pt x="1303" y="417"/>
                    </a:lnTo>
                    <a:lnTo>
                      <a:pt x="1303" y="417"/>
                    </a:lnTo>
                    <a:close/>
                    <a:moveTo>
                      <a:pt x="1294" y="424"/>
                    </a:moveTo>
                    <a:lnTo>
                      <a:pt x="1293" y="422"/>
                    </a:lnTo>
                    <a:lnTo>
                      <a:pt x="1296" y="420"/>
                    </a:lnTo>
                    <a:lnTo>
                      <a:pt x="1298" y="420"/>
                    </a:lnTo>
                    <a:lnTo>
                      <a:pt x="1296" y="422"/>
                    </a:lnTo>
                    <a:lnTo>
                      <a:pt x="1294" y="424"/>
                    </a:lnTo>
                    <a:lnTo>
                      <a:pt x="1294" y="424"/>
                    </a:lnTo>
                    <a:close/>
                    <a:moveTo>
                      <a:pt x="1301" y="434"/>
                    </a:moveTo>
                    <a:lnTo>
                      <a:pt x="1301" y="430"/>
                    </a:lnTo>
                    <a:lnTo>
                      <a:pt x="1299" y="429"/>
                    </a:lnTo>
                    <a:lnTo>
                      <a:pt x="1301" y="425"/>
                    </a:lnTo>
                    <a:lnTo>
                      <a:pt x="1303" y="425"/>
                    </a:lnTo>
                    <a:lnTo>
                      <a:pt x="1304" y="427"/>
                    </a:lnTo>
                    <a:lnTo>
                      <a:pt x="1306" y="430"/>
                    </a:lnTo>
                    <a:lnTo>
                      <a:pt x="1303" y="432"/>
                    </a:lnTo>
                    <a:lnTo>
                      <a:pt x="1301" y="434"/>
                    </a:lnTo>
                    <a:lnTo>
                      <a:pt x="1301" y="434"/>
                    </a:lnTo>
                    <a:close/>
                    <a:moveTo>
                      <a:pt x="1291" y="437"/>
                    </a:moveTo>
                    <a:lnTo>
                      <a:pt x="1288" y="435"/>
                    </a:lnTo>
                    <a:lnTo>
                      <a:pt x="1288" y="430"/>
                    </a:lnTo>
                    <a:lnTo>
                      <a:pt x="1289" y="429"/>
                    </a:lnTo>
                    <a:lnTo>
                      <a:pt x="1291" y="427"/>
                    </a:lnTo>
                    <a:lnTo>
                      <a:pt x="1294" y="427"/>
                    </a:lnTo>
                    <a:lnTo>
                      <a:pt x="1296" y="429"/>
                    </a:lnTo>
                    <a:lnTo>
                      <a:pt x="1298" y="429"/>
                    </a:lnTo>
                    <a:lnTo>
                      <a:pt x="1298" y="430"/>
                    </a:lnTo>
                    <a:lnTo>
                      <a:pt x="1298" y="434"/>
                    </a:lnTo>
                    <a:lnTo>
                      <a:pt x="1294" y="435"/>
                    </a:lnTo>
                    <a:lnTo>
                      <a:pt x="1293" y="437"/>
                    </a:lnTo>
                    <a:lnTo>
                      <a:pt x="1291" y="437"/>
                    </a:lnTo>
                    <a:lnTo>
                      <a:pt x="1291" y="437"/>
                    </a:lnTo>
                    <a:close/>
                    <a:moveTo>
                      <a:pt x="1278" y="439"/>
                    </a:moveTo>
                    <a:lnTo>
                      <a:pt x="1278" y="435"/>
                    </a:lnTo>
                    <a:lnTo>
                      <a:pt x="1280" y="435"/>
                    </a:lnTo>
                    <a:lnTo>
                      <a:pt x="1281" y="437"/>
                    </a:lnTo>
                    <a:lnTo>
                      <a:pt x="1280" y="439"/>
                    </a:lnTo>
                    <a:lnTo>
                      <a:pt x="1278" y="439"/>
                    </a:lnTo>
                    <a:lnTo>
                      <a:pt x="1278" y="439"/>
                    </a:lnTo>
                    <a:close/>
                    <a:moveTo>
                      <a:pt x="1228" y="445"/>
                    </a:moveTo>
                    <a:lnTo>
                      <a:pt x="1226" y="442"/>
                    </a:lnTo>
                    <a:lnTo>
                      <a:pt x="1221" y="443"/>
                    </a:lnTo>
                    <a:lnTo>
                      <a:pt x="1220" y="440"/>
                    </a:lnTo>
                    <a:lnTo>
                      <a:pt x="1220" y="437"/>
                    </a:lnTo>
                    <a:lnTo>
                      <a:pt x="1220" y="435"/>
                    </a:lnTo>
                    <a:lnTo>
                      <a:pt x="1220" y="432"/>
                    </a:lnTo>
                    <a:lnTo>
                      <a:pt x="1221" y="429"/>
                    </a:lnTo>
                    <a:lnTo>
                      <a:pt x="1223" y="429"/>
                    </a:lnTo>
                    <a:lnTo>
                      <a:pt x="1226" y="432"/>
                    </a:lnTo>
                    <a:lnTo>
                      <a:pt x="1228" y="430"/>
                    </a:lnTo>
                    <a:lnTo>
                      <a:pt x="1225" y="429"/>
                    </a:lnTo>
                    <a:lnTo>
                      <a:pt x="1226" y="425"/>
                    </a:lnTo>
                    <a:lnTo>
                      <a:pt x="1223" y="425"/>
                    </a:lnTo>
                    <a:lnTo>
                      <a:pt x="1221" y="422"/>
                    </a:lnTo>
                    <a:lnTo>
                      <a:pt x="1221" y="420"/>
                    </a:lnTo>
                    <a:lnTo>
                      <a:pt x="1220" y="419"/>
                    </a:lnTo>
                    <a:lnTo>
                      <a:pt x="1221" y="419"/>
                    </a:lnTo>
                    <a:lnTo>
                      <a:pt x="1225" y="420"/>
                    </a:lnTo>
                    <a:lnTo>
                      <a:pt x="1225" y="419"/>
                    </a:lnTo>
                    <a:lnTo>
                      <a:pt x="1225" y="417"/>
                    </a:lnTo>
                    <a:lnTo>
                      <a:pt x="1228" y="415"/>
                    </a:lnTo>
                    <a:lnTo>
                      <a:pt x="1231" y="417"/>
                    </a:lnTo>
                    <a:lnTo>
                      <a:pt x="1238" y="419"/>
                    </a:lnTo>
                    <a:lnTo>
                      <a:pt x="1241" y="417"/>
                    </a:lnTo>
                    <a:lnTo>
                      <a:pt x="1238" y="415"/>
                    </a:lnTo>
                    <a:lnTo>
                      <a:pt x="1235" y="415"/>
                    </a:lnTo>
                    <a:lnTo>
                      <a:pt x="1236" y="414"/>
                    </a:lnTo>
                    <a:lnTo>
                      <a:pt x="1245" y="414"/>
                    </a:lnTo>
                    <a:lnTo>
                      <a:pt x="1250" y="410"/>
                    </a:lnTo>
                    <a:lnTo>
                      <a:pt x="1255" y="410"/>
                    </a:lnTo>
                    <a:lnTo>
                      <a:pt x="1260" y="412"/>
                    </a:lnTo>
                    <a:lnTo>
                      <a:pt x="1265" y="409"/>
                    </a:lnTo>
                    <a:lnTo>
                      <a:pt x="1261" y="407"/>
                    </a:lnTo>
                    <a:lnTo>
                      <a:pt x="1241" y="404"/>
                    </a:lnTo>
                    <a:lnTo>
                      <a:pt x="1236" y="404"/>
                    </a:lnTo>
                    <a:lnTo>
                      <a:pt x="1233" y="404"/>
                    </a:lnTo>
                    <a:lnTo>
                      <a:pt x="1226" y="404"/>
                    </a:lnTo>
                    <a:lnTo>
                      <a:pt x="1221" y="402"/>
                    </a:lnTo>
                    <a:lnTo>
                      <a:pt x="1218" y="402"/>
                    </a:lnTo>
                    <a:lnTo>
                      <a:pt x="1215" y="400"/>
                    </a:lnTo>
                    <a:lnTo>
                      <a:pt x="1211" y="400"/>
                    </a:lnTo>
                    <a:lnTo>
                      <a:pt x="1210" y="402"/>
                    </a:lnTo>
                    <a:lnTo>
                      <a:pt x="1206" y="400"/>
                    </a:lnTo>
                    <a:lnTo>
                      <a:pt x="1203" y="402"/>
                    </a:lnTo>
                    <a:lnTo>
                      <a:pt x="1201" y="400"/>
                    </a:lnTo>
                    <a:lnTo>
                      <a:pt x="1201" y="395"/>
                    </a:lnTo>
                    <a:lnTo>
                      <a:pt x="1205" y="395"/>
                    </a:lnTo>
                    <a:lnTo>
                      <a:pt x="1208" y="394"/>
                    </a:lnTo>
                    <a:lnTo>
                      <a:pt x="1211" y="395"/>
                    </a:lnTo>
                    <a:lnTo>
                      <a:pt x="1213" y="394"/>
                    </a:lnTo>
                    <a:lnTo>
                      <a:pt x="1211" y="392"/>
                    </a:lnTo>
                    <a:lnTo>
                      <a:pt x="1213" y="389"/>
                    </a:lnTo>
                    <a:lnTo>
                      <a:pt x="1216" y="387"/>
                    </a:lnTo>
                    <a:lnTo>
                      <a:pt x="1221" y="387"/>
                    </a:lnTo>
                    <a:lnTo>
                      <a:pt x="1223" y="385"/>
                    </a:lnTo>
                    <a:lnTo>
                      <a:pt x="1223" y="389"/>
                    </a:lnTo>
                    <a:lnTo>
                      <a:pt x="1226" y="390"/>
                    </a:lnTo>
                    <a:lnTo>
                      <a:pt x="1226" y="397"/>
                    </a:lnTo>
                    <a:lnTo>
                      <a:pt x="1228" y="397"/>
                    </a:lnTo>
                    <a:lnTo>
                      <a:pt x="1230" y="395"/>
                    </a:lnTo>
                    <a:lnTo>
                      <a:pt x="1230" y="390"/>
                    </a:lnTo>
                    <a:lnTo>
                      <a:pt x="1226" y="389"/>
                    </a:lnTo>
                    <a:lnTo>
                      <a:pt x="1228" y="384"/>
                    </a:lnTo>
                    <a:lnTo>
                      <a:pt x="1233" y="382"/>
                    </a:lnTo>
                    <a:lnTo>
                      <a:pt x="1233" y="380"/>
                    </a:lnTo>
                    <a:lnTo>
                      <a:pt x="1230" y="379"/>
                    </a:lnTo>
                    <a:lnTo>
                      <a:pt x="1231" y="374"/>
                    </a:lnTo>
                    <a:lnTo>
                      <a:pt x="1236" y="372"/>
                    </a:lnTo>
                    <a:lnTo>
                      <a:pt x="1236" y="369"/>
                    </a:lnTo>
                    <a:lnTo>
                      <a:pt x="1241" y="367"/>
                    </a:lnTo>
                    <a:lnTo>
                      <a:pt x="1240" y="364"/>
                    </a:lnTo>
                    <a:lnTo>
                      <a:pt x="1236" y="365"/>
                    </a:lnTo>
                    <a:lnTo>
                      <a:pt x="1235" y="364"/>
                    </a:lnTo>
                    <a:lnTo>
                      <a:pt x="1235" y="362"/>
                    </a:lnTo>
                    <a:lnTo>
                      <a:pt x="1240" y="359"/>
                    </a:lnTo>
                    <a:lnTo>
                      <a:pt x="1241" y="355"/>
                    </a:lnTo>
                    <a:lnTo>
                      <a:pt x="1246" y="354"/>
                    </a:lnTo>
                    <a:lnTo>
                      <a:pt x="1248" y="355"/>
                    </a:lnTo>
                    <a:lnTo>
                      <a:pt x="1248" y="360"/>
                    </a:lnTo>
                    <a:lnTo>
                      <a:pt x="1251" y="362"/>
                    </a:lnTo>
                    <a:lnTo>
                      <a:pt x="1251" y="365"/>
                    </a:lnTo>
                    <a:lnTo>
                      <a:pt x="1250" y="367"/>
                    </a:lnTo>
                    <a:lnTo>
                      <a:pt x="1251" y="370"/>
                    </a:lnTo>
                    <a:lnTo>
                      <a:pt x="1255" y="372"/>
                    </a:lnTo>
                    <a:lnTo>
                      <a:pt x="1255" y="385"/>
                    </a:lnTo>
                    <a:lnTo>
                      <a:pt x="1255" y="389"/>
                    </a:lnTo>
                    <a:lnTo>
                      <a:pt x="1255" y="390"/>
                    </a:lnTo>
                    <a:lnTo>
                      <a:pt x="1260" y="394"/>
                    </a:lnTo>
                    <a:lnTo>
                      <a:pt x="1263" y="390"/>
                    </a:lnTo>
                    <a:lnTo>
                      <a:pt x="1261" y="387"/>
                    </a:lnTo>
                    <a:lnTo>
                      <a:pt x="1263" y="380"/>
                    </a:lnTo>
                    <a:lnTo>
                      <a:pt x="1266" y="380"/>
                    </a:lnTo>
                    <a:lnTo>
                      <a:pt x="1266" y="377"/>
                    </a:lnTo>
                    <a:lnTo>
                      <a:pt x="1260" y="372"/>
                    </a:lnTo>
                    <a:lnTo>
                      <a:pt x="1260" y="370"/>
                    </a:lnTo>
                    <a:lnTo>
                      <a:pt x="1265" y="370"/>
                    </a:lnTo>
                    <a:lnTo>
                      <a:pt x="1268" y="372"/>
                    </a:lnTo>
                    <a:lnTo>
                      <a:pt x="1268" y="369"/>
                    </a:lnTo>
                    <a:lnTo>
                      <a:pt x="1263" y="365"/>
                    </a:lnTo>
                    <a:lnTo>
                      <a:pt x="1261" y="359"/>
                    </a:lnTo>
                    <a:lnTo>
                      <a:pt x="1263" y="357"/>
                    </a:lnTo>
                    <a:lnTo>
                      <a:pt x="1263" y="350"/>
                    </a:lnTo>
                    <a:lnTo>
                      <a:pt x="1266" y="349"/>
                    </a:lnTo>
                    <a:lnTo>
                      <a:pt x="1270" y="349"/>
                    </a:lnTo>
                    <a:lnTo>
                      <a:pt x="1271" y="347"/>
                    </a:lnTo>
                    <a:lnTo>
                      <a:pt x="1276" y="347"/>
                    </a:lnTo>
                    <a:lnTo>
                      <a:pt x="1276" y="347"/>
                    </a:lnTo>
                    <a:lnTo>
                      <a:pt x="1281" y="344"/>
                    </a:lnTo>
                    <a:lnTo>
                      <a:pt x="1281" y="344"/>
                    </a:lnTo>
                    <a:lnTo>
                      <a:pt x="1285" y="344"/>
                    </a:lnTo>
                    <a:lnTo>
                      <a:pt x="1286" y="347"/>
                    </a:lnTo>
                    <a:lnTo>
                      <a:pt x="1289" y="349"/>
                    </a:lnTo>
                    <a:lnTo>
                      <a:pt x="1293" y="349"/>
                    </a:lnTo>
                    <a:lnTo>
                      <a:pt x="1294" y="350"/>
                    </a:lnTo>
                    <a:lnTo>
                      <a:pt x="1293" y="359"/>
                    </a:lnTo>
                    <a:lnTo>
                      <a:pt x="1289" y="362"/>
                    </a:lnTo>
                    <a:lnTo>
                      <a:pt x="1291" y="365"/>
                    </a:lnTo>
                    <a:lnTo>
                      <a:pt x="1293" y="365"/>
                    </a:lnTo>
                    <a:lnTo>
                      <a:pt x="1294" y="364"/>
                    </a:lnTo>
                    <a:lnTo>
                      <a:pt x="1298" y="364"/>
                    </a:lnTo>
                    <a:lnTo>
                      <a:pt x="1299" y="362"/>
                    </a:lnTo>
                    <a:lnTo>
                      <a:pt x="1299" y="355"/>
                    </a:lnTo>
                    <a:lnTo>
                      <a:pt x="1303" y="352"/>
                    </a:lnTo>
                    <a:lnTo>
                      <a:pt x="1308" y="355"/>
                    </a:lnTo>
                    <a:lnTo>
                      <a:pt x="1311" y="354"/>
                    </a:lnTo>
                    <a:lnTo>
                      <a:pt x="1309" y="350"/>
                    </a:lnTo>
                    <a:lnTo>
                      <a:pt x="1309" y="349"/>
                    </a:lnTo>
                    <a:lnTo>
                      <a:pt x="1313" y="349"/>
                    </a:lnTo>
                    <a:lnTo>
                      <a:pt x="1314" y="352"/>
                    </a:lnTo>
                    <a:lnTo>
                      <a:pt x="1313" y="355"/>
                    </a:lnTo>
                    <a:lnTo>
                      <a:pt x="1314" y="357"/>
                    </a:lnTo>
                    <a:lnTo>
                      <a:pt x="1313" y="359"/>
                    </a:lnTo>
                    <a:lnTo>
                      <a:pt x="1311" y="359"/>
                    </a:lnTo>
                    <a:lnTo>
                      <a:pt x="1313" y="362"/>
                    </a:lnTo>
                    <a:lnTo>
                      <a:pt x="1318" y="364"/>
                    </a:lnTo>
                    <a:lnTo>
                      <a:pt x="1319" y="367"/>
                    </a:lnTo>
                    <a:lnTo>
                      <a:pt x="1318" y="372"/>
                    </a:lnTo>
                    <a:lnTo>
                      <a:pt x="1314" y="375"/>
                    </a:lnTo>
                    <a:lnTo>
                      <a:pt x="1309" y="382"/>
                    </a:lnTo>
                    <a:lnTo>
                      <a:pt x="1309" y="385"/>
                    </a:lnTo>
                    <a:lnTo>
                      <a:pt x="1309" y="389"/>
                    </a:lnTo>
                    <a:lnTo>
                      <a:pt x="1304" y="392"/>
                    </a:lnTo>
                    <a:lnTo>
                      <a:pt x="1299" y="397"/>
                    </a:lnTo>
                    <a:lnTo>
                      <a:pt x="1298" y="399"/>
                    </a:lnTo>
                    <a:lnTo>
                      <a:pt x="1293" y="404"/>
                    </a:lnTo>
                    <a:lnTo>
                      <a:pt x="1293" y="405"/>
                    </a:lnTo>
                    <a:lnTo>
                      <a:pt x="1291" y="410"/>
                    </a:lnTo>
                    <a:lnTo>
                      <a:pt x="1288" y="410"/>
                    </a:lnTo>
                    <a:lnTo>
                      <a:pt x="1286" y="409"/>
                    </a:lnTo>
                    <a:lnTo>
                      <a:pt x="1283" y="410"/>
                    </a:lnTo>
                    <a:lnTo>
                      <a:pt x="1283" y="414"/>
                    </a:lnTo>
                    <a:lnTo>
                      <a:pt x="1289" y="415"/>
                    </a:lnTo>
                    <a:lnTo>
                      <a:pt x="1289" y="419"/>
                    </a:lnTo>
                    <a:lnTo>
                      <a:pt x="1283" y="425"/>
                    </a:lnTo>
                    <a:lnTo>
                      <a:pt x="1281" y="427"/>
                    </a:lnTo>
                    <a:lnTo>
                      <a:pt x="1281" y="425"/>
                    </a:lnTo>
                    <a:lnTo>
                      <a:pt x="1281" y="422"/>
                    </a:lnTo>
                    <a:lnTo>
                      <a:pt x="1278" y="420"/>
                    </a:lnTo>
                    <a:lnTo>
                      <a:pt x="1276" y="422"/>
                    </a:lnTo>
                    <a:lnTo>
                      <a:pt x="1275" y="425"/>
                    </a:lnTo>
                    <a:lnTo>
                      <a:pt x="1273" y="427"/>
                    </a:lnTo>
                    <a:lnTo>
                      <a:pt x="1270" y="430"/>
                    </a:lnTo>
                    <a:lnTo>
                      <a:pt x="1265" y="430"/>
                    </a:lnTo>
                    <a:lnTo>
                      <a:pt x="1263" y="434"/>
                    </a:lnTo>
                    <a:lnTo>
                      <a:pt x="1266" y="435"/>
                    </a:lnTo>
                    <a:lnTo>
                      <a:pt x="1270" y="435"/>
                    </a:lnTo>
                    <a:lnTo>
                      <a:pt x="1270" y="437"/>
                    </a:lnTo>
                    <a:lnTo>
                      <a:pt x="1268" y="440"/>
                    </a:lnTo>
                    <a:lnTo>
                      <a:pt x="1268" y="442"/>
                    </a:lnTo>
                    <a:lnTo>
                      <a:pt x="1268" y="445"/>
                    </a:lnTo>
                    <a:lnTo>
                      <a:pt x="1266" y="447"/>
                    </a:lnTo>
                    <a:lnTo>
                      <a:pt x="1263" y="443"/>
                    </a:lnTo>
                    <a:lnTo>
                      <a:pt x="1263" y="439"/>
                    </a:lnTo>
                    <a:lnTo>
                      <a:pt x="1261" y="437"/>
                    </a:lnTo>
                    <a:lnTo>
                      <a:pt x="1260" y="439"/>
                    </a:lnTo>
                    <a:lnTo>
                      <a:pt x="1260" y="442"/>
                    </a:lnTo>
                    <a:lnTo>
                      <a:pt x="1261" y="445"/>
                    </a:lnTo>
                    <a:lnTo>
                      <a:pt x="1256" y="448"/>
                    </a:lnTo>
                    <a:lnTo>
                      <a:pt x="1245" y="448"/>
                    </a:lnTo>
                    <a:lnTo>
                      <a:pt x="1245" y="445"/>
                    </a:lnTo>
                    <a:lnTo>
                      <a:pt x="1243" y="443"/>
                    </a:lnTo>
                    <a:lnTo>
                      <a:pt x="1240" y="445"/>
                    </a:lnTo>
                    <a:lnTo>
                      <a:pt x="1235" y="445"/>
                    </a:lnTo>
                    <a:lnTo>
                      <a:pt x="1235" y="443"/>
                    </a:lnTo>
                    <a:lnTo>
                      <a:pt x="1238" y="439"/>
                    </a:lnTo>
                    <a:lnTo>
                      <a:pt x="1233" y="442"/>
                    </a:lnTo>
                    <a:lnTo>
                      <a:pt x="1231" y="443"/>
                    </a:lnTo>
                    <a:lnTo>
                      <a:pt x="1228" y="445"/>
                    </a:lnTo>
                    <a:lnTo>
                      <a:pt x="1228" y="445"/>
                    </a:lnTo>
                    <a:close/>
                    <a:moveTo>
                      <a:pt x="914" y="326"/>
                    </a:moveTo>
                    <a:lnTo>
                      <a:pt x="912" y="324"/>
                    </a:lnTo>
                    <a:lnTo>
                      <a:pt x="914" y="319"/>
                    </a:lnTo>
                    <a:lnTo>
                      <a:pt x="924" y="311"/>
                    </a:lnTo>
                    <a:lnTo>
                      <a:pt x="931" y="309"/>
                    </a:lnTo>
                    <a:lnTo>
                      <a:pt x="934" y="307"/>
                    </a:lnTo>
                    <a:lnTo>
                      <a:pt x="937" y="306"/>
                    </a:lnTo>
                    <a:lnTo>
                      <a:pt x="944" y="302"/>
                    </a:lnTo>
                    <a:lnTo>
                      <a:pt x="951" y="301"/>
                    </a:lnTo>
                    <a:lnTo>
                      <a:pt x="954" y="299"/>
                    </a:lnTo>
                    <a:lnTo>
                      <a:pt x="957" y="299"/>
                    </a:lnTo>
                    <a:lnTo>
                      <a:pt x="966" y="297"/>
                    </a:lnTo>
                    <a:lnTo>
                      <a:pt x="967" y="297"/>
                    </a:lnTo>
                    <a:lnTo>
                      <a:pt x="966" y="301"/>
                    </a:lnTo>
                    <a:lnTo>
                      <a:pt x="959" y="306"/>
                    </a:lnTo>
                    <a:lnTo>
                      <a:pt x="951" y="311"/>
                    </a:lnTo>
                    <a:lnTo>
                      <a:pt x="937" y="321"/>
                    </a:lnTo>
                    <a:lnTo>
                      <a:pt x="932" y="326"/>
                    </a:lnTo>
                    <a:lnTo>
                      <a:pt x="929" y="327"/>
                    </a:lnTo>
                    <a:lnTo>
                      <a:pt x="926" y="327"/>
                    </a:lnTo>
                    <a:lnTo>
                      <a:pt x="924" y="329"/>
                    </a:lnTo>
                    <a:lnTo>
                      <a:pt x="921" y="331"/>
                    </a:lnTo>
                    <a:lnTo>
                      <a:pt x="919" y="326"/>
                    </a:lnTo>
                    <a:lnTo>
                      <a:pt x="916" y="324"/>
                    </a:lnTo>
                    <a:lnTo>
                      <a:pt x="914" y="326"/>
                    </a:lnTo>
                    <a:lnTo>
                      <a:pt x="914" y="326"/>
                    </a:lnTo>
                    <a:close/>
                    <a:moveTo>
                      <a:pt x="1147" y="414"/>
                    </a:moveTo>
                    <a:lnTo>
                      <a:pt x="1147" y="412"/>
                    </a:lnTo>
                    <a:lnTo>
                      <a:pt x="1147" y="412"/>
                    </a:lnTo>
                    <a:lnTo>
                      <a:pt x="1152" y="410"/>
                    </a:lnTo>
                    <a:lnTo>
                      <a:pt x="1153" y="407"/>
                    </a:lnTo>
                    <a:lnTo>
                      <a:pt x="1153" y="404"/>
                    </a:lnTo>
                    <a:lnTo>
                      <a:pt x="1162" y="400"/>
                    </a:lnTo>
                    <a:lnTo>
                      <a:pt x="1162" y="399"/>
                    </a:lnTo>
                    <a:lnTo>
                      <a:pt x="1167" y="399"/>
                    </a:lnTo>
                    <a:lnTo>
                      <a:pt x="1167" y="404"/>
                    </a:lnTo>
                    <a:lnTo>
                      <a:pt x="1168" y="405"/>
                    </a:lnTo>
                    <a:lnTo>
                      <a:pt x="1168" y="412"/>
                    </a:lnTo>
                    <a:lnTo>
                      <a:pt x="1167" y="415"/>
                    </a:lnTo>
                    <a:lnTo>
                      <a:pt x="1162" y="419"/>
                    </a:lnTo>
                    <a:lnTo>
                      <a:pt x="1158" y="419"/>
                    </a:lnTo>
                    <a:lnTo>
                      <a:pt x="1155" y="420"/>
                    </a:lnTo>
                    <a:lnTo>
                      <a:pt x="1152" y="420"/>
                    </a:lnTo>
                    <a:lnTo>
                      <a:pt x="1150" y="417"/>
                    </a:lnTo>
                    <a:lnTo>
                      <a:pt x="1147" y="414"/>
                    </a:lnTo>
                    <a:lnTo>
                      <a:pt x="1147" y="414"/>
                    </a:lnTo>
                    <a:close/>
                    <a:moveTo>
                      <a:pt x="961" y="409"/>
                    </a:moveTo>
                    <a:lnTo>
                      <a:pt x="962" y="404"/>
                    </a:lnTo>
                    <a:lnTo>
                      <a:pt x="961" y="400"/>
                    </a:lnTo>
                    <a:lnTo>
                      <a:pt x="962" y="394"/>
                    </a:lnTo>
                    <a:lnTo>
                      <a:pt x="969" y="392"/>
                    </a:lnTo>
                    <a:lnTo>
                      <a:pt x="977" y="394"/>
                    </a:lnTo>
                    <a:lnTo>
                      <a:pt x="981" y="392"/>
                    </a:lnTo>
                    <a:lnTo>
                      <a:pt x="986" y="392"/>
                    </a:lnTo>
                    <a:lnTo>
                      <a:pt x="990" y="392"/>
                    </a:lnTo>
                    <a:lnTo>
                      <a:pt x="997" y="389"/>
                    </a:lnTo>
                    <a:lnTo>
                      <a:pt x="1004" y="389"/>
                    </a:lnTo>
                    <a:lnTo>
                      <a:pt x="1012" y="392"/>
                    </a:lnTo>
                    <a:lnTo>
                      <a:pt x="1017" y="392"/>
                    </a:lnTo>
                    <a:lnTo>
                      <a:pt x="1020" y="392"/>
                    </a:lnTo>
                    <a:lnTo>
                      <a:pt x="1024" y="390"/>
                    </a:lnTo>
                    <a:lnTo>
                      <a:pt x="1037" y="389"/>
                    </a:lnTo>
                    <a:lnTo>
                      <a:pt x="1037" y="387"/>
                    </a:lnTo>
                    <a:lnTo>
                      <a:pt x="1040" y="384"/>
                    </a:lnTo>
                    <a:lnTo>
                      <a:pt x="1039" y="382"/>
                    </a:lnTo>
                    <a:lnTo>
                      <a:pt x="1035" y="385"/>
                    </a:lnTo>
                    <a:lnTo>
                      <a:pt x="1029" y="385"/>
                    </a:lnTo>
                    <a:lnTo>
                      <a:pt x="1029" y="382"/>
                    </a:lnTo>
                    <a:lnTo>
                      <a:pt x="1020" y="385"/>
                    </a:lnTo>
                    <a:lnTo>
                      <a:pt x="1015" y="385"/>
                    </a:lnTo>
                    <a:lnTo>
                      <a:pt x="1015" y="382"/>
                    </a:lnTo>
                    <a:lnTo>
                      <a:pt x="1012" y="380"/>
                    </a:lnTo>
                    <a:lnTo>
                      <a:pt x="1009" y="382"/>
                    </a:lnTo>
                    <a:lnTo>
                      <a:pt x="1004" y="384"/>
                    </a:lnTo>
                    <a:lnTo>
                      <a:pt x="999" y="384"/>
                    </a:lnTo>
                    <a:lnTo>
                      <a:pt x="997" y="382"/>
                    </a:lnTo>
                    <a:lnTo>
                      <a:pt x="992" y="384"/>
                    </a:lnTo>
                    <a:lnTo>
                      <a:pt x="987" y="382"/>
                    </a:lnTo>
                    <a:lnTo>
                      <a:pt x="987" y="379"/>
                    </a:lnTo>
                    <a:lnTo>
                      <a:pt x="992" y="374"/>
                    </a:lnTo>
                    <a:lnTo>
                      <a:pt x="997" y="370"/>
                    </a:lnTo>
                    <a:lnTo>
                      <a:pt x="994" y="370"/>
                    </a:lnTo>
                    <a:lnTo>
                      <a:pt x="989" y="372"/>
                    </a:lnTo>
                    <a:lnTo>
                      <a:pt x="986" y="375"/>
                    </a:lnTo>
                    <a:lnTo>
                      <a:pt x="984" y="370"/>
                    </a:lnTo>
                    <a:lnTo>
                      <a:pt x="982" y="372"/>
                    </a:lnTo>
                    <a:lnTo>
                      <a:pt x="981" y="375"/>
                    </a:lnTo>
                    <a:lnTo>
                      <a:pt x="972" y="380"/>
                    </a:lnTo>
                    <a:lnTo>
                      <a:pt x="972" y="382"/>
                    </a:lnTo>
                    <a:lnTo>
                      <a:pt x="967" y="384"/>
                    </a:lnTo>
                    <a:lnTo>
                      <a:pt x="962" y="380"/>
                    </a:lnTo>
                    <a:lnTo>
                      <a:pt x="962" y="377"/>
                    </a:lnTo>
                    <a:lnTo>
                      <a:pt x="964" y="374"/>
                    </a:lnTo>
                    <a:lnTo>
                      <a:pt x="961" y="374"/>
                    </a:lnTo>
                    <a:lnTo>
                      <a:pt x="959" y="372"/>
                    </a:lnTo>
                    <a:lnTo>
                      <a:pt x="957" y="379"/>
                    </a:lnTo>
                    <a:lnTo>
                      <a:pt x="954" y="380"/>
                    </a:lnTo>
                    <a:lnTo>
                      <a:pt x="951" y="379"/>
                    </a:lnTo>
                    <a:lnTo>
                      <a:pt x="951" y="374"/>
                    </a:lnTo>
                    <a:lnTo>
                      <a:pt x="946" y="370"/>
                    </a:lnTo>
                    <a:lnTo>
                      <a:pt x="946" y="367"/>
                    </a:lnTo>
                    <a:lnTo>
                      <a:pt x="944" y="365"/>
                    </a:lnTo>
                    <a:lnTo>
                      <a:pt x="942" y="370"/>
                    </a:lnTo>
                    <a:lnTo>
                      <a:pt x="941" y="369"/>
                    </a:lnTo>
                    <a:lnTo>
                      <a:pt x="936" y="364"/>
                    </a:lnTo>
                    <a:lnTo>
                      <a:pt x="927" y="359"/>
                    </a:lnTo>
                    <a:lnTo>
                      <a:pt x="927" y="357"/>
                    </a:lnTo>
                    <a:lnTo>
                      <a:pt x="932" y="355"/>
                    </a:lnTo>
                    <a:lnTo>
                      <a:pt x="932" y="352"/>
                    </a:lnTo>
                    <a:lnTo>
                      <a:pt x="931" y="349"/>
                    </a:lnTo>
                    <a:lnTo>
                      <a:pt x="939" y="344"/>
                    </a:lnTo>
                    <a:lnTo>
                      <a:pt x="946" y="342"/>
                    </a:lnTo>
                    <a:lnTo>
                      <a:pt x="947" y="344"/>
                    </a:lnTo>
                    <a:lnTo>
                      <a:pt x="956" y="344"/>
                    </a:lnTo>
                    <a:lnTo>
                      <a:pt x="962" y="347"/>
                    </a:lnTo>
                    <a:lnTo>
                      <a:pt x="967" y="347"/>
                    </a:lnTo>
                    <a:lnTo>
                      <a:pt x="972" y="345"/>
                    </a:lnTo>
                    <a:lnTo>
                      <a:pt x="977" y="344"/>
                    </a:lnTo>
                    <a:lnTo>
                      <a:pt x="984" y="341"/>
                    </a:lnTo>
                    <a:lnTo>
                      <a:pt x="979" y="339"/>
                    </a:lnTo>
                    <a:lnTo>
                      <a:pt x="977" y="337"/>
                    </a:lnTo>
                    <a:lnTo>
                      <a:pt x="972" y="337"/>
                    </a:lnTo>
                    <a:lnTo>
                      <a:pt x="967" y="339"/>
                    </a:lnTo>
                    <a:lnTo>
                      <a:pt x="959" y="336"/>
                    </a:lnTo>
                    <a:lnTo>
                      <a:pt x="954" y="336"/>
                    </a:lnTo>
                    <a:lnTo>
                      <a:pt x="952" y="334"/>
                    </a:lnTo>
                    <a:lnTo>
                      <a:pt x="959" y="327"/>
                    </a:lnTo>
                    <a:lnTo>
                      <a:pt x="966" y="322"/>
                    </a:lnTo>
                    <a:lnTo>
                      <a:pt x="971" y="321"/>
                    </a:lnTo>
                    <a:lnTo>
                      <a:pt x="972" y="322"/>
                    </a:lnTo>
                    <a:lnTo>
                      <a:pt x="982" y="321"/>
                    </a:lnTo>
                    <a:lnTo>
                      <a:pt x="992" y="321"/>
                    </a:lnTo>
                    <a:lnTo>
                      <a:pt x="999" y="322"/>
                    </a:lnTo>
                    <a:lnTo>
                      <a:pt x="1000" y="322"/>
                    </a:lnTo>
                    <a:lnTo>
                      <a:pt x="999" y="319"/>
                    </a:lnTo>
                    <a:lnTo>
                      <a:pt x="997" y="319"/>
                    </a:lnTo>
                    <a:lnTo>
                      <a:pt x="992" y="317"/>
                    </a:lnTo>
                    <a:lnTo>
                      <a:pt x="987" y="317"/>
                    </a:lnTo>
                    <a:lnTo>
                      <a:pt x="977" y="314"/>
                    </a:lnTo>
                    <a:lnTo>
                      <a:pt x="974" y="311"/>
                    </a:lnTo>
                    <a:lnTo>
                      <a:pt x="979" y="307"/>
                    </a:lnTo>
                    <a:lnTo>
                      <a:pt x="982" y="304"/>
                    </a:lnTo>
                    <a:lnTo>
                      <a:pt x="986" y="301"/>
                    </a:lnTo>
                    <a:lnTo>
                      <a:pt x="989" y="301"/>
                    </a:lnTo>
                    <a:lnTo>
                      <a:pt x="994" y="299"/>
                    </a:lnTo>
                    <a:lnTo>
                      <a:pt x="999" y="299"/>
                    </a:lnTo>
                    <a:lnTo>
                      <a:pt x="1000" y="301"/>
                    </a:lnTo>
                    <a:lnTo>
                      <a:pt x="1004" y="301"/>
                    </a:lnTo>
                    <a:lnTo>
                      <a:pt x="1010" y="306"/>
                    </a:lnTo>
                    <a:lnTo>
                      <a:pt x="1012" y="306"/>
                    </a:lnTo>
                    <a:lnTo>
                      <a:pt x="1010" y="302"/>
                    </a:lnTo>
                    <a:lnTo>
                      <a:pt x="1005" y="299"/>
                    </a:lnTo>
                    <a:lnTo>
                      <a:pt x="1005" y="296"/>
                    </a:lnTo>
                    <a:lnTo>
                      <a:pt x="1002" y="294"/>
                    </a:lnTo>
                    <a:lnTo>
                      <a:pt x="1005" y="291"/>
                    </a:lnTo>
                    <a:lnTo>
                      <a:pt x="1019" y="289"/>
                    </a:lnTo>
                    <a:lnTo>
                      <a:pt x="1022" y="289"/>
                    </a:lnTo>
                    <a:lnTo>
                      <a:pt x="1030" y="289"/>
                    </a:lnTo>
                    <a:lnTo>
                      <a:pt x="1035" y="292"/>
                    </a:lnTo>
                    <a:lnTo>
                      <a:pt x="1037" y="299"/>
                    </a:lnTo>
                    <a:lnTo>
                      <a:pt x="1034" y="301"/>
                    </a:lnTo>
                    <a:lnTo>
                      <a:pt x="1029" y="307"/>
                    </a:lnTo>
                    <a:lnTo>
                      <a:pt x="1030" y="311"/>
                    </a:lnTo>
                    <a:lnTo>
                      <a:pt x="1040" y="311"/>
                    </a:lnTo>
                    <a:lnTo>
                      <a:pt x="1044" y="307"/>
                    </a:lnTo>
                    <a:lnTo>
                      <a:pt x="1047" y="311"/>
                    </a:lnTo>
                    <a:lnTo>
                      <a:pt x="1049" y="311"/>
                    </a:lnTo>
                    <a:lnTo>
                      <a:pt x="1050" y="312"/>
                    </a:lnTo>
                    <a:lnTo>
                      <a:pt x="1052" y="316"/>
                    </a:lnTo>
                    <a:lnTo>
                      <a:pt x="1054" y="317"/>
                    </a:lnTo>
                    <a:lnTo>
                      <a:pt x="1054" y="321"/>
                    </a:lnTo>
                    <a:lnTo>
                      <a:pt x="1050" y="322"/>
                    </a:lnTo>
                    <a:lnTo>
                      <a:pt x="1049" y="326"/>
                    </a:lnTo>
                    <a:lnTo>
                      <a:pt x="1054" y="331"/>
                    </a:lnTo>
                    <a:lnTo>
                      <a:pt x="1054" y="339"/>
                    </a:lnTo>
                    <a:lnTo>
                      <a:pt x="1052" y="342"/>
                    </a:lnTo>
                    <a:lnTo>
                      <a:pt x="1047" y="341"/>
                    </a:lnTo>
                    <a:lnTo>
                      <a:pt x="1044" y="342"/>
                    </a:lnTo>
                    <a:lnTo>
                      <a:pt x="1044" y="345"/>
                    </a:lnTo>
                    <a:lnTo>
                      <a:pt x="1049" y="344"/>
                    </a:lnTo>
                    <a:lnTo>
                      <a:pt x="1054" y="345"/>
                    </a:lnTo>
                    <a:lnTo>
                      <a:pt x="1057" y="345"/>
                    </a:lnTo>
                    <a:lnTo>
                      <a:pt x="1054" y="355"/>
                    </a:lnTo>
                    <a:lnTo>
                      <a:pt x="1050" y="357"/>
                    </a:lnTo>
                    <a:lnTo>
                      <a:pt x="1050" y="365"/>
                    </a:lnTo>
                    <a:lnTo>
                      <a:pt x="1052" y="367"/>
                    </a:lnTo>
                    <a:lnTo>
                      <a:pt x="1059" y="365"/>
                    </a:lnTo>
                    <a:lnTo>
                      <a:pt x="1060" y="362"/>
                    </a:lnTo>
                    <a:lnTo>
                      <a:pt x="1064" y="365"/>
                    </a:lnTo>
                    <a:lnTo>
                      <a:pt x="1064" y="367"/>
                    </a:lnTo>
                    <a:lnTo>
                      <a:pt x="1069" y="369"/>
                    </a:lnTo>
                    <a:lnTo>
                      <a:pt x="1072" y="367"/>
                    </a:lnTo>
                    <a:lnTo>
                      <a:pt x="1080" y="370"/>
                    </a:lnTo>
                    <a:lnTo>
                      <a:pt x="1085" y="375"/>
                    </a:lnTo>
                    <a:lnTo>
                      <a:pt x="1087" y="374"/>
                    </a:lnTo>
                    <a:lnTo>
                      <a:pt x="1087" y="370"/>
                    </a:lnTo>
                    <a:lnTo>
                      <a:pt x="1085" y="370"/>
                    </a:lnTo>
                    <a:lnTo>
                      <a:pt x="1092" y="367"/>
                    </a:lnTo>
                    <a:lnTo>
                      <a:pt x="1090" y="359"/>
                    </a:lnTo>
                    <a:lnTo>
                      <a:pt x="1087" y="355"/>
                    </a:lnTo>
                    <a:lnTo>
                      <a:pt x="1087" y="352"/>
                    </a:lnTo>
                    <a:lnTo>
                      <a:pt x="1084" y="347"/>
                    </a:lnTo>
                    <a:lnTo>
                      <a:pt x="1087" y="345"/>
                    </a:lnTo>
                    <a:lnTo>
                      <a:pt x="1088" y="345"/>
                    </a:lnTo>
                    <a:lnTo>
                      <a:pt x="1097" y="344"/>
                    </a:lnTo>
                    <a:lnTo>
                      <a:pt x="1102" y="344"/>
                    </a:lnTo>
                    <a:lnTo>
                      <a:pt x="1103" y="337"/>
                    </a:lnTo>
                    <a:lnTo>
                      <a:pt x="1100" y="331"/>
                    </a:lnTo>
                    <a:lnTo>
                      <a:pt x="1098" y="329"/>
                    </a:lnTo>
                    <a:lnTo>
                      <a:pt x="1098" y="324"/>
                    </a:lnTo>
                    <a:lnTo>
                      <a:pt x="1097" y="319"/>
                    </a:lnTo>
                    <a:lnTo>
                      <a:pt x="1100" y="314"/>
                    </a:lnTo>
                    <a:lnTo>
                      <a:pt x="1105" y="311"/>
                    </a:lnTo>
                    <a:lnTo>
                      <a:pt x="1107" y="312"/>
                    </a:lnTo>
                    <a:lnTo>
                      <a:pt x="1112" y="312"/>
                    </a:lnTo>
                    <a:lnTo>
                      <a:pt x="1110" y="309"/>
                    </a:lnTo>
                    <a:lnTo>
                      <a:pt x="1113" y="306"/>
                    </a:lnTo>
                    <a:lnTo>
                      <a:pt x="1118" y="304"/>
                    </a:lnTo>
                    <a:lnTo>
                      <a:pt x="1128" y="294"/>
                    </a:lnTo>
                    <a:lnTo>
                      <a:pt x="1132" y="296"/>
                    </a:lnTo>
                    <a:lnTo>
                      <a:pt x="1138" y="297"/>
                    </a:lnTo>
                    <a:lnTo>
                      <a:pt x="1138" y="301"/>
                    </a:lnTo>
                    <a:lnTo>
                      <a:pt x="1140" y="304"/>
                    </a:lnTo>
                    <a:lnTo>
                      <a:pt x="1138" y="307"/>
                    </a:lnTo>
                    <a:lnTo>
                      <a:pt x="1133" y="307"/>
                    </a:lnTo>
                    <a:lnTo>
                      <a:pt x="1132" y="309"/>
                    </a:lnTo>
                    <a:lnTo>
                      <a:pt x="1132" y="312"/>
                    </a:lnTo>
                    <a:lnTo>
                      <a:pt x="1130" y="317"/>
                    </a:lnTo>
                    <a:lnTo>
                      <a:pt x="1130" y="322"/>
                    </a:lnTo>
                    <a:lnTo>
                      <a:pt x="1132" y="324"/>
                    </a:lnTo>
                    <a:lnTo>
                      <a:pt x="1132" y="336"/>
                    </a:lnTo>
                    <a:lnTo>
                      <a:pt x="1128" y="337"/>
                    </a:lnTo>
                    <a:lnTo>
                      <a:pt x="1127" y="337"/>
                    </a:lnTo>
                    <a:lnTo>
                      <a:pt x="1120" y="342"/>
                    </a:lnTo>
                    <a:lnTo>
                      <a:pt x="1117" y="344"/>
                    </a:lnTo>
                    <a:lnTo>
                      <a:pt x="1117" y="345"/>
                    </a:lnTo>
                    <a:lnTo>
                      <a:pt x="1118" y="347"/>
                    </a:lnTo>
                    <a:lnTo>
                      <a:pt x="1123" y="345"/>
                    </a:lnTo>
                    <a:lnTo>
                      <a:pt x="1130" y="345"/>
                    </a:lnTo>
                    <a:lnTo>
                      <a:pt x="1130" y="347"/>
                    </a:lnTo>
                    <a:lnTo>
                      <a:pt x="1127" y="352"/>
                    </a:lnTo>
                    <a:lnTo>
                      <a:pt x="1120" y="357"/>
                    </a:lnTo>
                    <a:lnTo>
                      <a:pt x="1113" y="362"/>
                    </a:lnTo>
                    <a:lnTo>
                      <a:pt x="1112" y="365"/>
                    </a:lnTo>
                    <a:lnTo>
                      <a:pt x="1113" y="369"/>
                    </a:lnTo>
                    <a:lnTo>
                      <a:pt x="1115" y="364"/>
                    </a:lnTo>
                    <a:lnTo>
                      <a:pt x="1123" y="360"/>
                    </a:lnTo>
                    <a:lnTo>
                      <a:pt x="1127" y="357"/>
                    </a:lnTo>
                    <a:lnTo>
                      <a:pt x="1130" y="357"/>
                    </a:lnTo>
                    <a:lnTo>
                      <a:pt x="1137" y="359"/>
                    </a:lnTo>
                    <a:lnTo>
                      <a:pt x="1137" y="365"/>
                    </a:lnTo>
                    <a:lnTo>
                      <a:pt x="1132" y="372"/>
                    </a:lnTo>
                    <a:lnTo>
                      <a:pt x="1133" y="374"/>
                    </a:lnTo>
                    <a:lnTo>
                      <a:pt x="1138" y="369"/>
                    </a:lnTo>
                    <a:lnTo>
                      <a:pt x="1142" y="370"/>
                    </a:lnTo>
                    <a:lnTo>
                      <a:pt x="1142" y="367"/>
                    </a:lnTo>
                    <a:lnTo>
                      <a:pt x="1142" y="365"/>
                    </a:lnTo>
                    <a:lnTo>
                      <a:pt x="1145" y="362"/>
                    </a:lnTo>
                    <a:lnTo>
                      <a:pt x="1145" y="357"/>
                    </a:lnTo>
                    <a:lnTo>
                      <a:pt x="1153" y="352"/>
                    </a:lnTo>
                    <a:lnTo>
                      <a:pt x="1155" y="352"/>
                    </a:lnTo>
                    <a:lnTo>
                      <a:pt x="1162" y="355"/>
                    </a:lnTo>
                    <a:lnTo>
                      <a:pt x="1165" y="364"/>
                    </a:lnTo>
                    <a:lnTo>
                      <a:pt x="1167" y="367"/>
                    </a:lnTo>
                    <a:lnTo>
                      <a:pt x="1165" y="372"/>
                    </a:lnTo>
                    <a:lnTo>
                      <a:pt x="1158" y="382"/>
                    </a:lnTo>
                    <a:lnTo>
                      <a:pt x="1153" y="387"/>
                    </a:lnTo>
                    <a:lnTo>
                      <a:pt x="1148" y="389"/>
                    </a:lnTo>
                    <a:lnTo>
                      <a:pt x="1145" y="389"/>
                    </a:lnTo>
                    <a:lnTo>
                      <a:pt x="1143" y="392"/>
                    </a:lnTo>
                    <a:lnTo>
                      <a:pt x="1145" y="395"/>
                    </a:lnTo>
                    <a:lnTo>
                      <a:pt x="1140" y="400"/>
                    </a:lnTo>
                    <a:lnTo>
                      <a:pt x="1137" y="400"/>
                    </a:lnTo>
                    <a:lnTo>
                      <a:pt x="1132" y="404"/>
                    </a:lnTo>
                    <a:lnTo>
                      <a:pt x="1132" y="407"/>
                    </a:lnTo>
                    <a:lnTo>
                      <a:pt x="1130" y="410"/>
                    </a:lnTo>
                    <a:lnTo>
                      <a:pt x="1127" y="410"/>
                    </a:lnTo>
                    <a:lnTo>
                      <a:pt x="1125" y="412"/>
                    </a:lnTo>
                    <a:lnTo>
                      <a:pt x="1125" y="414"/>
                    </a:lnTo>
                    <a:lnTo>
                      <a:pt x="1122" y="415"/>
                    </a:lnTo>
                    <a:lnTo>
                      <a:pt x="1118" y="412"/>
                    </a:lnTo>
                    <a:lnTo>
                      <a:pt x="1115" y="414"/>
                    </a:lnTo>
                    <a:lnTo>
                      <a:pt x="1112" y="414"/>
                    </a:lnTo>
                    <a:lnTo>
                      <a:pt x="1103" y="417"/>
                    </a:lnTo>
                    <a:lnTo>
                      <a:pt x="1097" y="417"/>
                    </a:lnTo>
                    <a:lnTo>
                      <a:pt x="1090" y="415"/>
                    </a:lnTo>
                    <a:lnTo>
                      <a:pt x="1090" y="412"/>
                    </a:lnTo>
                    <a:lnTo>
                      <a:pt x="1092" y="409"/>
                    </a:lnTo>
                    <a:lnTo>
                      <a:pt x="1092" y="407"/>
                    </a:lnTo>
                    <a:lnTo>
                      <a:pt x="1090" y="405"/>
                    </a:lnTo>
                    <a:lnTo>
                      <a:pt x="1085" y="409"/>
                    </a:lnTo>
                    <a:lnTo>
                      <a:pt x="1084" y="410"/>
                    </a:lnTo>
                    <a:lnTo>
                      <a:pt x="1080" y="412"/>
                    </a:lnTo>
                    <a:lnTo>
                      <a:pt x="1075" y="410"/>
                    </a:lnTo>
                    <a:lnTo>
                      <a:pt x="1075" y="407"/>
                    </a:lnTo>
                    <a:lnTo>
                      <a:pt x="1077" y="405"/>
                    </a:lnTo>
                    <a:lnTo>
                      <a:pt x="1075" y="402"/>
                    </a:lnTo>
                    <a:lnTo>
                      <a:pt x="1072" y="402"/>
                    </a:lnTo>
                    <a:lnTo>
                      <a:pt x="1072" y="404"/>
                    </a:lnTo>
                    <a:lnTo>
                      <a:pt x="1069" y="405"/>
                    </a:lnTo>
                    <a:lnTo>
                      <a:pt x="1065" y="405"/>
                    </a:lnTo>
                    <a:lnTo>
                      <a:pt x="1057" y="409"/>
                    </a:lnTo>
                    <a:lnTo>
                      <a:pt x="1055" y="410"/>
                    </a:lnTo>
                    <a:lnTo>
                      <a:pt x="1050" y="410"/>
                    </a:lnTo>
                    <a:lnTo>
                      <a:pt x="1049" y="409"/>
                    </a:lnTo>
                    <a:lnTo>
                      <a:pt x="1042" y="410"/>
                    </a:lnTo>
                    <a:lnTo>
                      <a:pt x="1039" y="407"/>
                    </a:lnTo>
                    <a:lnTo>
                      <a:pt x="1037" y="410"/>
                    </a:lnTo>
                    <a:lnTo>
                      <a:pt x="1034" y="410"/>
                    </a:lnTo>
                    <a:lnTo>
                      <a:pt x="1030" y="412"/>
                    </a:lnTo>
                    <a:lnTo>
                      <a:pt x="1030" y="415"/>
                    </a:lnTo>
                    <a:lnTo>
                      <a:pt x="1027" y="417"/>
                    </a:lnTo>
                    <a:lnTo>
                      <a:pt x="1022" y="417"/>
                    </a:lnTo>
                    <a:lnTo>
                      <a:pt x="1020" y="419"/>
                    </a:lnTo>
                    <a:lnTo>
                      <a:pt x="1015" y="420"/>
                    </a:lnTo>
                    <a:lnTo>
                      <a:pt x="1014" y="420"/>
                    </a:lnTo>
                    <a:lnTo>
                      <a:pt x="1009" y="422"/>
                    </a:lnTo>
                    <a:lnTo>
                      <a:pt x="1004" y="422"/>
                    </a:lnTo>
                    <a:lnTo>
                      <a:pt x="1002" y="419"/>
                    </a:lnTo>
                    <a:lnTo>
                      <a:pt x="995" y="419"/>
                    </a:lnTo>
                    <a:lnTo>
                      <a:pt x="989" y="422"/>
                    </a:lnTo>
                    <a:lnTo>
                      <a:pt x="982" y="422"/>
                    </a:lnTo>
                    <a:lnTo>
                      <a:pt x="974" y="419"/>
                    </a:lnTo>
                    <a:lnTo>
                      <a:pt x="969" y="417"/>
                    </a:lnTo>
                    <a:lnTo>
                      <a:pt x="966" y="414"/>
                    </a:lnTo>
                    <a:lnTo>
                      <a:pt x="961" y="409"/>
                    </a:lnTo>
                    <a:lnTo>
                      <a:pt x="961" y="409"/>
                    </a:lnTo>
                    <a:close/>
                    <a:moveTo>
                      <a:pt x="672" y="545"/>
                    </a:moveTo>
                    <a:lnTo>
                      <a:pt x="672" y="537"/>
                    </a:lnTo>
                    <a:lnTo>
                      <a:pt x="677" y="530"/>
                    </a:lnTo>
                    <a:lnTo>
                      <a:pt x="675" y="525"/>
                    </a:lnTo>
                    <a:lnTo>
                      <a:pt x="677" y="518"/>
                    </a:lnTo>
                    <a:lnTo>
                      <a:pt x="677" y="513"/>
                    </a:lnTo>
                    <a:lnTo>
                      <a:pt x="673" y="512"/>
                    </a:lnTo>
                    <a:lnTo>
                      <a:pt x="670" y="500"/>
                    </a:lnTo>
                    <a:lnTo>
                      <a:pt x="675" y="502"/>
                    </a:lnTo>
                    <a:lnTo>
                      <a:pt x="675" y="497"/>
                    </a:lnTo>
                    <a:lnTo>
                      <a:pt x="667" y="497"/>
                    </a:lnTo>
                    <a:lnTo>
                      <a:pt x="658" y="495"/>
                    </a:lnTo>
                    <a:lnTo>
                      <a:pt x="658" y="490"/>
                    </a:lnTo>
                    <a:lnTo>
                      <a:pt x="662" y="492"/>
                    </a:lnTo>
                    <a:lnTo>
                      <a:pt x="667" y="488"/>
                    </a:lnTo>
                    <a:lnTo>
                      <a:pt x="673" y="485"/>
                    </a:lnTo>
                    <a:lnTo>
                      <a:pt x="675" y="482"/>
                    </a:lnTo>
                    <a:lnTo>
                      <a:pt x="677" y="482"/>
                    </a:lnTo>
                    <a:lnTo>
                      <a:pt x="682" y="478"/>
                    </a:lnTo>
                    <a:lnTo>
                      <a:pt x="685" y="477"/>
                    </a:lnTo>
                    <a:lnTo>
                      <a:pt x="688" y="472"/>
                    </a:lnTo>
                    <a:lnTo>
                      <a:pt x="696" y="470"/>
                    </a:lnTo>
                    <a:lnTo>
                      <a:pt x="696" y="467"/>
                    </a:lnTo>
                    <a:lnTo>
                      <a:pt x="700" y="467"/>
                    </a:lnTo>
                    <a:lnTo>
                      <a:pt x="705" y="460"/>
                    </a:lnTo>
                    <a:lnTo>
                      <a:pt x="705" y="453"/>
                    </a:lnTo>
                    <a:lnTo>
                      <a:pt x="706" y="455"/>
                    </a:lnTo>
                    <a:lnTo>
                      <a:pt x="720" y="457"/>
                    </a:lnTo>
                    <a:lnTo>
                      <a:pt x="720" y="452"/>
                    </a:lnTo>
                    <a:lnTo>
                      <a:pt x="718" y="445"/>
                    </a:lnTo>
                    <a:lnTo>
                      <a:pt x="718" y="442"/>
                    </a:lnTo>
                    <a:lnTo>
                      <a:pt x="723" y="440"/>
                    </a:lnTo>
                    <a:lnTo>
                      <a:pt x="733" y="434"/>
                    </a:lnTo>
                    <a:lnTo>
                      <a:pt x="738" y="427"/>
                    </a:lnTo>
                    <a:lnTo>
                      <a:pt x="748" y="424"/>
                    </a:lnTo>
                    <a:lnTo>
                      <a:pt x="750" y="420"/>
                    </a:lnTo>
                    <a:lnTo>
                      <a:pt x="756" y="414"/>
                    </a:lnTo>
                    <a:lnTo>
                      <a:pt x="761" y="414"/>
                    </a:lnTo>
                    <a:lnTo>
                      <a:pt x="765" y="410"/>
                    </a:lnTo>
                    <a:lnTo>
                      <a:pt x="761" y="407"/>
                    </a:lnTo>
                    <a:lnTo>
                      <a:pt x="763" y="397"/>
                    </a:lnTo>
                    <a:lnTo>
                      <a:pt x="763" y="392"/>
                    </a:lnTo>
                    <a:lnTo>
                      <a:pt x="765" y="387"/>
                    </a:lnTo>
                    <a:lnTo>
                      <a:pt x="763" y="385"/>
                    </a:lnTo>
                    <a:lnTo>
                      <a:pt x="765" y="382"/>
                    </a:lnTo>
                    <a:lnTo>
                      <a:pt x="773" y="380"/>
                    </a:lnTo>
                    <a:lnTo>
                      <a:pt x="776" y="380"/>
                    </a:lnTo>
                    <a:lnTo>
                      <a:pt x="791" y="380"/>
                    </a:lnTo>
                    <a:lnTo>
                      <a:pt x="794" y="382"/>
                    </a:lnTo>
                    <a:lnTo>
                      <a:pt x="811" y="382"/>
                    </a:lnTo>
                    <a:lnTo>
                      <a:pt x="821" y="377"/>
                    </a:lnTo>
                    <a:lnTo>
                      <a:pt x="834" y="380"/>
                    </a:lnTo>
                    <a:lnTo>
                      <a:pt x="833" y="385"/>
                    </a:lnTo>
                    <a:lnTo>
                      <a:pt x="836" y="387"/>
                    </a:lnTo>
                    <a:lnTo>
                      <a:pt x="839" y="392"/>
                    </a:lnTo>
                    <a:lnTo>
                      <a:pt x="853" y="399"/>
                    </a:lnTo>
                    <a:lnTo>
                      <a:pt x="853" y="402"/>
                    </a:lnTo>
                    <a:lnTo>
                      <a:pt x="849" y="405"/>
                    </a:lnTo>
                    <a:lnTo>
                      <a:pt x="854" y="405"/>
                    </a:lnTo>
                    <a:lnTo>
                      <a:pt x="858" y="402"/>
                    </a:lnTo>
                    <a:lnTo>
                      <a:pt x="863" y="405"/>
                    </a:lnTo>
                    <a:lnTo>
                      <a:pt x="861" y="410"/>
                    </a:lnTo>
                    <a:lnTo>
                      <a:pt x="854" y="417"/>
                    </a:lnTo>
                    <a:lnTo>
                      <a:pt x="854" y="419"/>
                    </a:lnTo>
                    <a:lnTo>
                      <a:pt x="864" y="414"/>
                    </a:lnTo>
                    <a:lnTo>
                      <a:pt x="864" y="409"/>
                    </a:lnTo>
                    <a:lnTo>
                      <a:pt x="868" y="405"/>
                    </a:lnTo>
                    <a:lnTo>
                      <a:pt x="874" y="407"/>
                    </a:lnTo>
                    <a:lnTo>
                      <a:pt x="881" y="405"/>
                    </a:lnTo>
                    <a:lnTo>
                      <a:pt x="884" y="405"/>
                    </a:lnTo>
                    <a:lnTo>
                      <a:pt x="884" y="410"/>
                    </a:lnTo>
                    <a:lnTo>
                      <a:pt x="894" y="419"/>
                    </a:lnTo>
                    <a:lnTo>
                      <a:pt x="896" y="429"/>
                    </a:lnTo>
                    <a:lnTo>
                      <a:pt x="892" y="434"/>
                    </a:lnTo>
                    <a:lnTo>
                      <a:pt x="896" y="440"/>
                    </a:lnTo>
                    <a:lnTo>
                      <a:pt x="896" y="447"/>
                    </a:lnTo>
                    <a:lnTo>
                      <a:pt x="894" y="448"/>
                    </a:lnTo>
                    <a:lnTo>
                      <a:pt x="897" y="452"/>
                    </a:lnTo>
                    <a:lnTo>
                      <a:pt x="897" y="457"/>
                    </a:lnTo>
                    <a:lnTo>
                      <a:pt x="897" y="460"/>
                    </a:lnTo>
                    <a:lnTo>
                      <a:pt x="894" y="465"/>
                    </a:lnTo>
                    <a:lnTo>
                      <a:pt x="884" y="467"/>
                    </a:lnTo>
                    <a:lnTo>
                      <a:pt x="881" y="470"/>
                    </a:lnTo>
                    <a:lnTo>
                      <a:pt x="871" y="470"/>
                    </a:lnTo>
                    <a:lnTo>
                      <a:pt x="864" y="470"/>
                    </a:lnTo>
                    <a:lnTo>
                      <a:pt x="851" y="475"/>
                    </a:lnTo>
                    <a:lnTo>
                      <a:pt x="841" y="477"/>
                    </a:lnTo>
                    <a:lnTo>
                      <a:pt x="831" y="480"/>
                    </a:lnTo>
                    <a:lnTo>
                      <a:pt x="828" y="480"/>
                    </a:lnTo>
                    <a:lnTo>
                      <a:pt x="821" y="483"/>
                    </a:lnTo>
                    <a:lnTo>
                      <a:pt x="813" y="483"/>
                    </a:lnTo>
                    <a:lnTo>
                      <a:pt x="809" y="487"/>
                    </a:lnTo>
                    <a:lnTo>
                      <a:pt x="808" y="483"/>
                    </a:lnTo>
                    <a:lnTo>
                      <a:pt x="804" y="485"/>
                    </a:lnTo>
                    <a:lnTo>
                      <a:pt x="796" y="487"/>
                    </a:lnTo>
                    <a:lnTo>
                      <a:pt x="794" y="492"/>
                    </a:lnTo>
                    <a:lnTo>
                      <a:pt x="790" y="497"/>
                    </a:lnTo>
                    <a:lnTo>
                      <a:pt x="788" y="497"/>
                    </a:lnTo>
                    <a:lnTo>
                      <a:pt x="785" y="503"/>
                    </a:lnTo>
                    <a:lnTo>
                      <a:pt x="780" y="505"/>
                    </a:lnTo>
                    <a:lnTo>
                      <a:pt x="773" y="508"/>
                    </a:lnTo>
                    <a:lnTo>
                      <a:pt x="766" y="508"/>
                    </a:lnTo>
                    <a:lnTo>
                      <a:pt x="763" y="502"/>
                    </a:lnTo>
                    <a:lnTo>
                      <a:pt x="760" y="508"/>
                    </a:lnTo>
                    <a:lnTo>
                      <a:pt x="760" y="512"/>
                    </a:lnTo>
                    <a:lnTo>
                      <a:pt x="755" y="515"/>
                    </a:lnTo>
                    <a:lnTo>
                      <a:pt x="748" y="520"/>
                    </a:lnTo>
                    <a:lnTo>
                      <a:pt x="746" y="523"/>
                    </a:lnTo>
                    <a:lnTo>
                      <a:pt x="741" y="528"/>
                    </a:lnTo>
                    <a:lnTo>
                      <a:pt x="741" y="532"/>
                    </a:lnTo>
                    <a:lnTo>
                      <a:pt x="735" y="538"/>
                    </a:lnTo>
                    <a:lnTo>
                      <a:pt x="730" y="543"/>
                    </a:lnTo>
                    <a:lnTo>
                      <a:pt x="723" y="541"/>
                    </a:lnTo>
                    <a:lnTo>
                      <a:pt x="716" y="545"/>
                    </a:lnTo>
                    <a:lnTo>
                      <a:pt x="713" y="545"/>
                    </a:lnTo>
                    <a:lnTo>
                      <a:pt x="710" y="541"/>
                    </a:lnTo>
                    <a:lnTo>
                      <a:pt x="713" y="538"/>
                    </a:lnTo>
                    <a:lnTo>
                      <a:pt x="713" y="533"/>
                    </a:lnTo>
                    <a:lnTo>
                      <a:pt x="711" y="530"/>
                    </a:lnTo>
                    <a:lnTo>
                      <a:pt x="706" y="533"/>
                    </a:lnTo>
                    <a:lnTo>
                      <a:pt x="706" y="537"/>
                    </a:lnTo>
                    <a:lnTo>
                      <a:pt x="705" y="537"/>
                    </a:lnTo>
                    <a:lnTo>
                      <a:pt x="696" y="543"/>
                    </a:lnTo>
                    <a:lnTo>
                      <a:pt x="691" y="545"/>
                    </a:lnTo>
                    <a:lnTo>
                      <a:pt x="687" y="543"/>
                    </a:lnTo>
                    <a:lnTo>
                      <a:pt x="682" y="545"/>
                    </a:lnTo>
                    <a:lnTo>
                      <a:pt x="678" y="548"/>
                    </a:lnTo>
                    <a:lnTo>
                      <a:pt x="675" y="546"/>
                    </a:lnTo>
                    <a:lnTo>
                      <a:pt x="672" y="546"/>
                    </a:lnTo>
                    <a:lnTo>
                      <a:pt x="672" y="545"/>
                    </a:lnTo>
                    <a:lnTo>
                      <a:pt x="672" y="545"/>
                    </a:lnTo>
                    <a:close/>
                    <a:moveTo>
                      <a:pt x="1288" y="480"/>
                    </a:moveTo>
                    <a:lnTo>
                      <a:pt x="1289" y="480"/>
                    </a:lnTo>
                    <a:lnTo>
                      <a:pt x="1293" y="483"/>
                    </a:lnTo>
                    <a:lnTo>
                      <a:pt x="1291" y="488"/>
                    </a:lnTo>
                    <a:lnTo>
                      <a:pt x="1289" y="488"/>
                    </a:lnTo>
                    <a:lnTo>
                      <a:pt x="1288" y="487"/>
                    </a:lnTo>
                    <a:lnTo>
                      <a:pt x="1286" y="482"/>
                    </a:lnTo>
                    <a:lnTo>
                      <a:pt x="1288" y="480"/>
                    </a:lnTo>
                    <a:lnTo>
                      <a:pt x="1288" y="480"/>
                    </a:lnTo>
                    <a:close/>
                    <a:moveTo>
                      <a:pt x="1241" y="480"/>
                    </a:moveTo>
                    <a:lnTo>
                      <a:pt x="1243" y="475"/>
                    </a:lnTo>
                    <a:lnTo>
                      <a:pt x="1250" y="473"/>
                    </a:lnTo>
                    <a:lnTo>
                      <a:pt x="1253" y="475"/>
                    </a:lnTo>
                    <a:lnTo>
                      <a:pt x="1251" y="478"/>
                    </a:lnTo>
                    <a:lnTo>
                      <a:pt x="1248" y="478"/>
                    </a:lnTo>
                    <a:lnTo>
                      <a:pt x="1245" y="480"/>
                    </a:lnTo>
                    <a:lnTo>
                      <a:pt x="1241" y="480"/>
                    </a:lnTo>
                    <a:lnTo>
                      <a:pt x="1241" y="480"/>
                    </a:lnTo>
                    <a:close/>
                    <a:moveTo>
                      <a:pt x="1195" y="505"/>
                    </a:moveTo>
                    <a:lnTo>
                      <a:pt x="1196" y="507"/>
                    </a:lnTo>
                    <a:lnTo>
                      <a:pt x="1203" y="508"/>
                    </a:lnTo>
                    <a:lnTo>
                      <a:pt x="1208" y="513"/>
                    </a:lnTo>
                    <a:lnTo>
                      <a:pt x="1211" y="510"/>
                    </a:lnTo>
                    <a:lnTo>
                      <a:pt x="1215" y="512"/>
                    </a:lnTo>
                    <a:lnTo>
                      <a:pt x="1221" y="510"/>
                    </a:lnTo>
                    <a:lnTo>
                      <a:pt x="1225" y="510"/>
                    </a:lnTo>
                    <a:lnTo>
                      <a:pt x="1228" y="510"/>
                    </a:lnTo>
                    <a:lnTo>
                      <a:pt x="1231" y="507"/>
                    </a:lnTo>
                    <a:lnTo>
                      <a:pt x="1238" y="507"/>
                    </a:lnTo>
                    <a:lnTo>
                      <a:pt x="1236" y="503"/>
                    </a:lnTo>
                    <a:lnTo>
                      <a:pt x="1230" y="500"/>
                    </a:lnTo>
                    <a:lnTo>
                      <a:pt x="1226" y="502"/>
                    </a:lnTo>
                    <a:lnTo>
                      <a:pt x="1220" y="502"/>
                    </a:lnTo>
                    <a:lnTo>
                      <a:pt x="1218" y="502"/>
                    </a:lnTo>
                    <a:lnTo>
                      <a:pt x="1213" y="503"/>
                    </a:lnTo>
                    <a:lnTo>
                      <a:pt x="1206" y="502"/>
                    </a:lnTo>
                    <a:lnTo>
                      <a:pt x="1201" y="505"/>
                    </a:lnTo>
                    <a:lnTo>
                      <a:pt x="1196" y="503"/>
                    </a:lnTo>
                    <a:lnTo>
                      <a:pt x="1195" y="505"/>
                    </a:lnTo>
                    <a:lnTo>
                      <a:pt x="1195" y="505"/>
                    </a:lnTo>
                    <a:close/>
                    <a:moveTo>
                      <a:pt x="1168" y="658"/>
                    </a:moveTo>
                    <a:lnTo>
                      <a:pt x="1167" y="656"/>
                    </a:lnTo>
                    <a:lnTo>
                      <a:pt x="1167" y="653"/>
                    </a:lnTo>
                    <a:lnTo>
                      <a:pt x="1170" y="653"/>
                    </a:lnTo>
                    <a:lnTo>
                      <a:pt x="1170" y="656"/>
                    </a:lnTo>
                    <a:lnTo>
                      <a:pt x="1168" y="658"/>
                    </a:lnTo>
                    <a:lnTo>
                      <a:pt x="1168" y="658"/>
                    </a:lnTo>
                    <a:close/>
                    <a:moveTo>
                      <a:pt x="1138" y="653"/>
                    </a:moveTo>
                    <a:lnTo>
                      <a:pt x="1137" y="651"/>
                    </a:lnTo>
                    <a:lnTo>
                      <a:pt x="1135" y="646"/>
                    </a:lnTo>
                    <a:lnTo>
                      <a:pt x="1133" y="643"/>
                    </a:lnTo>
                    <a:lnTo>
                      <a:pt x="1130" y="646"/>
                    </a:lnTo>
                    <a:lnTo>
                      <a:pt x="1130" y="643"/>
                    </a:lnTo>
                    <a:lnTo>
                      <a:pt x="1130" y="639"/>
                    </a:lnTo>
                    <a:lnTo>
                      <a:pt x="1130" y="635"/>
                    </a:lnTo>
                    <a:lnTo>
                      <a:pt x="1127" y="631"/>
                    </a:lnTo>
                    <a:lnTo>
                      <a:pt x="1130" y="626"/>
                    </a:lnTo>
                    <a:lnTo>
                      <a:pt x="1128" y="621"/>
                    </a:lnTo>
                    <a:lnTo>
                      <a:pt x="1130" y="618"/>
                    </a:lnTo>
                    <a:lnTo>
                      <a:pt x="1127" y="616"/>
                    </a:lnTo>
                    <a:lnTo>
                      <a:pt x="1125" y="613"/>
                    </a:lnTo>
                    <a:lnTo>
                      <a:pt x="1125" y="610"/>
                    </a:lnTo>
                    <a:lnTo>
                      <a:pt x="1120" y="605"/>
                    </a:lnTo>
                    <a:lnTo>
                      <a:pt x="1120" y="598"/>
                    </a:lnTo>
                    <a:lnTo>
                      <a:pt x="1117" y="593"/>
                    </a:lnTo>
                    <a:lnTo>
                      <a:pt x="1115" y="593"/>
                    </a:lnTo>
                    <a:lnTo>
                      <a:pt x="1113" y="590"/>
                    </a:lnTo>
                    <a:lnTo>
                      <a:pt x="1113" y="585"/>
                    </a:lnTo>
                    <a:lnTo>
                      <a:pt x="1112" y="585"/>
                    </a:lnTo>
                    <a:lnTo>
                      <a:pt x="1108" y="586"/>
                    </a:lnTo>
                    <a:lnTo>
                      <a:pt x="1105" y="585"/>
                    </a:lnTo>
                    <a:lnTo>
                      <a:pt x="1102" y="585"/>
                    </a:lnTo>
                    <a:lnTo>
                      <a:pt x="1100" y="583"/>
                    </a:lnTo>
                    <a:lnTo>
                      <a:pt x="1100" y="578"/>
                    </a:lnTo>
                    <a:lnTo>
                      <a:pt x="1105" y="576"/>
                    </a:lnTo>
                    <a:lnTo>
                      <a:pt x="1105" y="570"/>
                    </a:lnTo>
                    <a:lnTo>
                      <a:pt x="1103" y="566"/>
                    </a:lnTo>
                    <a:lnTo>
                      <a:pt x="1105" y="565"/>
                    </a:lnTo>
                    <a:lnTo>
                      <a:pt x="1105" y="556"/>
                    </a:lnTo>
                    <a:lnTo>
                      <a:pt x="1102" y="553"/>
                    </a:lnTo>
                    <a:lnTo>
                      <a:pt x="1108" y="546"/>
                    </a:lnTo>
                    <a:lnTo>
                      <a:pt x="1113" y="545"/>
                    </a:lnTo>
                    <a:lnTo>
                      <a:pt x="1115" y="543"/>
                    </a:lnTo>
                    <a:lnTo>
                      <a:pt x="1117" y="541"/>
                    </a:lnTo>
                    <a:lnTo>
                      <a:pt x="1118" y="545"/>
                    </a:lnTo>
                    <a:lnTo>
                      <a:pt x="1127" y="541"/>
                    </a:lnTo>
                    <a:lnTo>
                      <a:pt x="1130" y="543"/>
                    </a:lnTo>
                    <a:lnTo>
                      <a:pt x="1132" y="546"/>
                    </a:lnTo>
                    <a:lnTo>
                      <a:pt x="1130" y="548"/>
                    </a:lnTo>
                    <a:lnTo>
                      <a:pt x="1128" y="548"/>
                    </a:lnTo>
                    <a:lnTo>
                      <a:pt x="1128" y="551"/>
                    </a:lnTo>
                    <a:lnTo>
                      <a:pt x="1132" y="551"/>
                    </a:lnTo>
                    <a:lnTo>
                      <a:pt x="1133" y="555"/>
                    </a:lnTo>
                    <a:lnTo>
                      <a:pt x="1132" y="558"/>
                    </a:lnTo>
                    <a:lnTo>
                      <a:pt x="1138" y="563"/>
                    </a:lnTo>
                    <a:lnTo>
                      <a:pt x="1138" y="568"/>
                    </a:lnTo>
                    <a:lnTo>
                      <a:pt x="1142" y="571"/>
                    </a:lnTo>
                    <a:lnTo>
                      <a:pt x="1147" y="571"/>
                    </a:lnTo>
                    <a:lnTo>
                      <a:pt x="1148" y="570"/>
                    </a:lnTo>
                    <a:lnTo>
                      <a:pt x="1147" y="566"/>
                    </a:lnTo>
                    <a:lnTo>
                      <a:pt x="1150" y="565"/>
                    </a:lnTo>
                    <a:lnTo>
                      <a:pt x="1153" y="560"/>
                    </a:lnTo>
                    <a:lnTo>
                      <a:pt x="1152" y="556"/>
                    </a:lnTo>
                    <a:lnTo>
                      <a:pt x="1155" y="555"/>
                    </a:lnTo>
                    <a:lnTo>
                      <a:pt x="1157" y="551"/>
                    </a:lnTo>
                    <a:lnTo>
                      <a:pt x="1155" y="548"/>
                    </a:lnTo>
                    <a:lnTo>
                      <a:pt x="1157" y="545"/>
                    </a:lnTo>
                    <a:lnTo>
                      <a:pt x="1160" y="545"/>
                    </a:lnTo>
                    <a:lnTo>
                      <a:pt x="1163" y="545"/>
                    </a:lnTo>
                    <a:lnTo>
                      <a:pt x="1165" y="550"/>
                    </a:lnTo>
                    <a:lnTo>
                      <a:pt x="1168" y="550"/>
                    </a:lnTo>
                    <a:lnTo>
                      <a:pt x="1168" y="548"/>
                    </a:lnTo>
                    <a:lnTo>
                      <a:pt x="1165" y="541"/>
                    </a:lnTo>
                    <a:lnTo>
                      <a:pt x="1163" y="538"/>
                    </a:lnTo>
                    <a:lnTo>
                      <a:pt x="1163" y="538"/>
                    </a:lnTo>
                    <a:lnTo>
                      <a:pt x="1160" y="541"/>
                    </a:lnTo>
                    <a:lnTo>
                      <a:pt x="1155" y="543"/>
                    </a:lnTo>
                    <a:lnTo>
                      <a:pt x="1150" y="537"/>
                    </a:lnTo>
                    <a:lnTo>
                      <a:pt x="1150" y="535"/>
                    </a:lnTo>
                    <a:lnTo>
                      <a:pt x="1147" y="530"/>
                    </a:lnTo>
                    <a:lnTo>
                      <a:pt x="1147" y="525"/>
                    </a:lnTo>
                    <a:lnTo>
                      <a:pt x="1150" y="522"/>
                    </a:lnTo>
                    <a:lnTo>
                      <a:pt x="1153" y="523"/>
                    </a:lnTo>
                    <a:lnTo>
                      <a:pt x="1155" y="520"/>
                    </a:lnTo>
                    <a:lnTo>
                      <a:pt x="1158" y="522"/>
                    </a:lnTo>
                    <a:lnTo>
                      <a:pt x="1160" y="525"/>
                    </a:lnTo>
                    <a:lnTo>
                      <a:pt x="1162" y="533"/>
                    </a:lnTo>
                    <a:lnTo>
                      <a:pt x="1163" y="533"/>
                    </a:lnTo>
                    <a:lnTo>
                      <a:pt x="1165" y="528"/>
                    </a:lnTo>
                    <a:lnTo>
                      <a:pt x="1167" y="527"/>
                    </a:lnTo>
                    <a:lnTo>
                      <a:pt x="1165" y="522"/>
                    </a:lnTo>
                    <a:lnTo>
                      <a:pt x="1162" y="520"/>
                    </a:lnTo>
                    <a:lnTo>
                      <a:pt x="1162" y="517"/>
                    </a:lnTo>
                    <a:lnTo>
                      <a:pt x="1160" y="512"/>
                    </a:lnTo>
                    <a:lnTo>
                      <a:pt x="1163" y="512"/>
                    </a:lnTo>
                    <a:lnTo>
                      <a:pt x="1165" y="507"/>
                    </a:lnTo>
                    <a:lnTo>
                      <a:pt x="1168" y="505"/>
                    </a:lnTo>
                    <a:lnTo>
                      <a:pt x="1172" y="507"/>
                    </a:lnTo>
                    <a:lnTo>
                      <a:pt x="1173" y="505"/>
                    </a:lnTo>
                    <a:lnTo>
                      <a:pt x="1177" y="510"/>
                    </a:lnTo>
                    <a:lnTo>
                      <a:pt x="1182" y="512"/>
                    </a:lnTo>
                    <a:lnTo>
                      <a:pt x="1185" y="508"/>
                    </a:lnTo>
                    <a:lnTo>
                      <a:pt x="1180" y="508"/>
                    </a:lnTo>
                    <a:lnTo>
                      <a:pt x="1178" y="505"/>
                    </a:lnTo>
                    <a:lnTo>
                      <a:pt x="1180" y="503"/>
                    </a:lnTo>
                    <a:lnTo>
                      <a:pt x="1183" y="502"/>
                    </a:lnTo>
                    <a:lnTo>
                      <a:pt x="1190" y="503"/>
                    </a:lnTo>
                    <a:lnTo>
                      <a:pt x="1191" y="505"/>
                    </a:lnTo>
                    <a:lnTo>
                      <a:pt x="1190" y="507"/>
                    </a:lnTo>
                    <a:lnTo>
                      <a:pt x="1190" y="510"/>
                    </a:lnTo>
                    <a:lnTo>
                      <a:pt x="1193" y="512"/>
                    </a:lnTo>
                    <a:lnTo>
                      <a:pt x="1196" y="515"/>
                    </a:lnTo>
                    <a:lnTo>
                      <a:pt x="1200" y="515"/>
                    </a:lnTo>
                    <a:lnTo>
                      <a:pt x="1205" y="517"/>
                    </a:lnTo>
                    <a:lnTo>
                      <a:pt x="1211" y="517"/>
                    </a:lnTo>
                    <a:lnTo>
                      <a:pt x="1213" y="515"/>
                    </a:lnTo>
                    <a:lnTo>
                      <a:pt x="1216" y="515"/>
                    </a:lnTo>
                    <a:lnTo>
                      <a:pt x="1228" y="515"/>
                    </a:lnTo>
                    <a:lnTo>
                      <a:pt x="1231" y="518"/>
                    </a:lnTo>
                    <a:lnTo>
                      <a:pt x="1235" y="518"/>
                    </a:lnTo>
                    <a:lnTo>
                      <a:pt x="1236" y="522"/>
                    </a:lnTo>
                    <a:lnTo>
                      <a:pt x="1235" y="523"/>
                    </a:lnTo>
                    <a:lnTo>
                      <a:pt x="1236" y="527"/>
                    </a:lnTo>
                    <a:lnTo>
                      <a:pt x="1235" y="530"/>
                    </a:lnTo>
                    <a:lnTo>
                      <a:pt x="1228" y="533"/>
                    </a:lnTo>
                    <a:lnTo>
                      <a:pt x="1225" y="532"/>
                    </a:lnTo>
                    <a:lnTo>
                      <a:pt x="1223" y="530"/>
                    </a:lnTo>
                    <a:lnTo>
                      <a:pt x="1221" y="532"/>
                    </a:lnTo>
                    <a:lnTo>
                      <a:pt x="1218" y="533"/>
                    </a:lnTo>
                    <a:lnTo>
                      <a:pt x="1220" y="535"/>
                    </a:lnTo>
                    <a:lnTo>
                      <a:pt x="1225" y="538"/>
                    </a:lnTo>
                    <a:lnTo>
                      <a:pt x="1223" y="541"/>
                    </a:lnTo>
                    <a:lnTo>
                      <a:pt x="1221" y="546"/>
                    </a:lnTo>
                    <a:lnTo>
                      <a:pt x="1220" y="548"/>
                    </a:lnTo>
                    <a:lnTo>
                      <a:pt x="1218" y="546"/>
                    </a:lnTo>
                    <a:lnTo>
                      <a:pt x="1215" y="546"/>
                    </a:lnTo>
                    <a:lnTo>
                      <a:pt x="1210" y="548"/>
                    </a:lnTo>
                    <a:lnTo>
                      <a:pt x="1206" y="550"/>
                    </a:lnTo>
                    <a:lnTo>
                      <a:pt x="1198" y="551"/>
                    </a:lnTo>
                    <a:lnTo>
                      <a:pt x="1193" y="556"/>
                    </a:lnTo>
                    <a:lnTo>
                      <a:pt x="1190" y="556"/>
                    </a:lnTo>
                    <a:lnTo>
                      <a:pt x="1187" y="561"/>
                    </a:lnTo>
                    <a:lnTo>
                      <a:pt x="1187" y="565"/>
                    </a:lnTo>
                    <a:lnTo>
                      <a:pt x="1190" y="563"/>
                    </a:lnTo>
                    <a:lnTo>
                      <a:pt x="1190" y="561"/>
                    </a:lnTo>
                    <a:lnTo>
                      <a:pt x="1198" y="560"/>
                    </a:lnTo>
                    <a:lnTo>
                      <a:pt x="1200" y="560"/>
                    </a:lnTo>
                    <a:lnTo>
                      <a:pt x="1208" y="563"/>
                    </a:lnTo>
                    <a:lnTo>
                      <a:pt x="1208" y="568"/>
                    </a:lnTo>
                    <a:lnTo>
                      <a:pt x="1206" y="570"/>
                    </a:lnTo>
                    <a:lnTo>
                      <a:pt x="1203" y="570"/>
                    </a:lnTo>
                    <a:lnTo>
                      <a:pt x="1206" y="571"/>
                    </a:lnTo>
                    <a:lnTo>
                      <a:pt x="1208" y="575"/>
                    </a:lnTo>
                    <a:lnTo>
                      <a:pt x="1208" y="578"/>
                    </a:lnTo>
                    <a:lnTo>
                      <a:pt x="1203" y="581"/>
                    </a:lnTo>
                    <a:lnTo>
                      <a:pt x="1203" y="585"/>
                    </a:lnTo>
                    <a:lnTo>
                      <a:pt x="1205" y="586"/>
                    </a:lnTo>
                    <a:lnTo>
                      <a:pt x="1208" y="583"/>
                    </a:lnTo>
                    <a:lnTo>
                      <a:pt x="1213" y="580"/>
                    </a:lnTo>
                    <a:lnTo>
                      <a:pt x="1215" y="578"/>
                    </a:lnTo>
                    <a:lnTo>
                      <a:pt x="1218" y="578"/>
                    </a:lnTo>
                    <a:lnTo>
                      <a:pt x="1215" y="581"/>
                    </a:lnTo>
                    <a:lnTo>
                      <a:pt x="1216" y="588"/>
                    </a:lnTo>
                    <a:lnTo>
                      <a:pt x="1213" y="595"/>
                    </a:lnTo>
                    <a:lnTo>
                      <a:pt x="1213" y="598"/>
                    </a:lnTo>
                    <a:lnTo>
                      <a:pt x="1205" y="603"/>
                    </a:lnTo>
                    <a:lnTo>
                      <a:pt x="1201" y="603"/>
                    </a:lnTo>
                    <a:lnTo>
                      <a:pt x="1200" y="605"/>
                    </a:lnTo>
                    <a:lnTo>
                      <a:pt x="1201" y="608"/>
                    </a:lnTo>
                    <a:lnTo>
                      <a:pt x="1200" y="613"/>
                    </a:lnTo>
                    <a:lnTo>
                      <a:pt x="1196" y="615"/>
                    </a:lnTo>
                    <a:lnTo>
                      <a:pt x="1195" y="611"/>
                    </a:lnTo>
                    <a:lnTo>
                      <a:pt x="1191" y="613"/>
                    </a:lnTo>
                    <a:lnTo>
                      <a:pt x="1191" y="615"/>
                    </a:lnTo>
                    <a:lnTo>
                      <a:pt x="1198" y="618"/>
                    </a:lnTo>
                    <a:lnTo>
                      <a:pt x="1196" y="621"/>
                    </a:lnTo>
                    <a:lnTo>
                      <a:pt x="1193" y="621"/>
                    </a:lnTo>
                    <a:lnTo>
                      <a:pt x="1195" y="625"/>
                    </a:lnTo>
                    <a:lnTo>
                      <a:pt x="1190" y="630"/>
                    </a:lnTo>
                    <a:lnTo>
                      <a:pt x="1188" y="628"/>
                    </a:lnTo>
                    <a:lnTo>
                      <a:pt x="1185" y="630"/>
                    </a:lnTo>
                    <a:lnTo>
                      <a:pt x="1180" y="630"/>
                    </a:lnTo>
                    <a:lnTo>
                      <a:pt x="1175" y="631"/>
                    </a:lnTo>
                    <a:lnTo>
                      <a:pt x="1175" y="635"/>
                    </a:lnTo>
                    <a:lnTo>
                      <a:pt x="1168" y="636"/>
                    </a:lnTo>
                    <a:lnTo>
                      <a:pt x="1162" y="633"/>
                    </a:lnTo>
                    <a:lnTo>
                      <a:pt x="1158" y="636"/>
                    </a:lnTo>
                    <a:lnTo>
                      <a:pt x="1155" y="635"/>
                    </a:lnTo>
                    <a:lnTo>
                      <a:pt x="1153" y="626"/>
                    </a:lnTo>
                    <a:lnTo>
                      <a:pt x="1157" y="621"/>
                    </a:lnTo>
                    <a:lnTo>
                      <a:pt x="1157" y="618"/>
                    </a:lnTo>
                    <a:lnTo>
                      <a:pt x="1148" y="625"/>
                    </a:lnTo>
                    <a:lnTo>
                      <a:pt x="1148" y="630"/>
                    </a:lnTo>
                    <a:lnTo>
                      <a:pt x="1152" y="636"/>
                    </a:lnTo>
                    <a:lnTo>
                      <a:pt x="1155" y="639"/>
                    </a:lnTo>
                    <a:lnTo>
                      <a:pt x="1153" y="643"/>
                    </a:lnTo>
                    <a:lnTo>
                      <a:pt x="1148" y="646"/>
                    </a:lnTo>
                    <a:lnTo>
                      <a:pt x="1145" y="651"/>
                    </a:lnTo>
                    <a:lnTo>
                      <a:pt x="1145" y="651"/>
                    </a:lnTo>
                    <a:lnTo>
                      <a:pt x="1138" y="653"/>
                    </a:lnTo>
                    <a:lnTo>
                      <a:pt x="1138" y="653"/>
                    </a:lnTo>
                    <a:close/>
                    <a:moveTo>
                      <a:pt x="1220" y="551"/>
                    </a:moveTo>
                    <a:lnTo>
                      <a:pt x="1220" y="553"/>
                    </a:lnTo>
                    <a:lnTo>
                      <a:pt x="1221" y="553"/>
                    </a:lnTo>
                    <a:lnTo>
                      <a:pt x="1223" y="551"/>
                    </a:lnTo>
                    <a:lnTo>
                      <a:pt x="1220" y="551"/>
                    </a:lnTo>
                    <a:lnTo>
                      <a:pt x="1220" y="551"/>
                    </a:lnTo>
                    <a:close/>
                    <a:moveTo>
                      <a:pt x="1216" y="568"/>
                    </a:moveTo>
                    <a:lnTo>
                      <a:pt x="1218" y="568"/>
                    </a:lnTo>
                    <a:lnTo>
                      <a:pt x="1223" y="563"/>
                    </a:lnTo>
                    <a:lnTo>
                      <a:pt x="1223" y="560"/>
                    </a:lnTo>
                    <a:lnTo>
                      <a:pt x="1221" y="558"/>
                    </a:lnTo>
                    <a:lnTo>
                      <a:pt x="1221" y="555"/>
                    </a:lnTo>
                    <a:lnTo>
                      <a:pt x="1218" y="556"/>
                    </a:lnTo>
                    <a:lnTo>
                      <a:pt x="1216" y="560"/>
                    </a:lnTo>
                    <a:lnTo>
                      <a:pt x="1213" y="561"/>
                    </a:lnTo>
                    <a:lnTo>
                      <a:pt x="1215" y="566"/>
                    </a:lnTo>
                    <a:lnTo>
                      <a:pt x="1216" y="568"/>
                    </a:lnTo>
                    <a:lnTo>
                      <a:pt x="1216" y="568"/>
                    </a:lnTo>
                    <a:close/>
                    <a:moveTo>
                      <a:pt x="1213" y="578"/>
                    </a:moveTo>
                    <a:lnTo>
                      <a:pt x="1216" y="576"/>
                    </a:lnTo>
                    <a:lnTo>
                      <a:pt x="1218" y="571"/>
                    </a:lnTo>
                    <a:lnTo>
                      <a:pt x="1215" y="571"/>
                    </a:lnTo>
                    <a:lnTo>
                      <a:pt x="1211" y="575"/>
                    </a:lnTo>
                    <a:lnTo>
                      <a:pt x="1211" y="576"/>
                    </a:lnTo>
                    <a:lnTo>
                      <a:pt x="1213" y="578"/>
                    </a:lnTo>
                    <a:lnTo>
                      <a:pt x="1213" y="578"/>
                    </a:lnTo>
                    <a:close/>
                    <a:moveTo>
                      <a:pt x="1029" y="485"/>
                    </a:moveTo>
                    <a:lnTo>
                      <a:pt x="1029" y="487"/>
                    </a:lnTo>
                    <a:lnTo>
                      <a:pt x="1030" y="488"/>
                    </a:lnTo>
                    <a:lnTo>
                      <a:pt x="1034" y="487"/>
                    </a:lnTo>
                    <a:lnTo>
                      <a:pt x="1037" y="488"/>
                    </a:lnTo>
                    <a:lnTo>
                      <a:pt x="1039" y="487"/>
                    </a:lnTo>
                    <a:lnTo>
                      <a:pt x="1037" y="485"/>
                    </a:lnTo>
                    <a:lnTo>
                      <a:pt x="1030" y="483"/>
                    </a:lnTo>
                    <a:lnTo>
                      <a:pt x="1029" y="485"/>
                    </a:lnTo>
                    <a:lnTo>
                      <a:pt x="1029" y="485"/>
                    </a:lnTo>
                    <a:close/>
                    <a:moveTo>
                      <a:pt x="1060" y="540"/>
                    </a:moveTo>
                    <a:lnTo>
                      <a:pt x="1057" y="535"/>
                    </a:lnTo>
                    <a:lnTo>
                      <a:pt x="1055" y="527"/>
                    </a:lnTo>
                    <a:lnTo>
                      <a:pt x="1054" y="522"/>
                    </a:lnTo>
                    <a:lnTo>
                      <a:pt x="1054" y="518"/>
                    </a:lnTo>
                    <a:lnTo>
                      <a:pt x="1054" y="517"/>
                    </a:lnTo>
                    <a:lnTo>
                      <a:pt x="1052" y="512"/>
                    </a:lnTo>
                    <a:lnTo>
                      <a:pt x="1052" y="505"/>
                    </a:lnTo>
                    <a:lnTo>
                      <a:pt x="1049" y="500"/>
                    </a:lnTo>
                    <a:lnTo>
                      <a:pt x="1044" y="497"/>
                    </a:lnTo>
                    <a:lnTo>
                      <a:pt x="1045" y="495"/>
                    </a:lnTo>
                    <a:lnTo>
                      <a:pt x="1052" y="490"/>
                    </a:lnTo>
                    <a:lnTo>
                      <a:pt x="1055" y="488"/>
                    </a:lnTo>
                    <a:lnTo>
                      <a:pt x="1060" y="485"/>
                    </a:lnTo>
                    <a:lnTo>
                      <a:pt x="1067" y="483"/>
                    </a:lnTo>
                    <a:lnTo>
                      <a:pt x="1070" y="487"/>
                    </a:lnTo>
                    <a:lnTo>
                      <a:pt x="1074" y="487"/>
                    </a:lnTo>
                    <a:lnTo>
                      <a:pt x="1079" y="490"/>
                    </a:lnTo>
                    <a:lnTo>
                      <a:pt x="1080" y="488"/>
                    </a:lnTo>
                    <a:lnTo>
                      <a:pt x="1085" y="490"/>
                    </a:lnTo>
                    <a:lnTo>
                      <a:pt x="1088" y="490"/>
                    </a:lnTo>
                    <a:lnTo>
                      <a:pt x="1092" y="490"/>
                    </a:lnTo>
                    <a:lnTo>
                      <a:pt x="1097" y="495"/>
                    </a:lnTo>
                    <a:lnTo>
                      <a:pt x="1095" y="498"/>
                    </a:lnTo>
                    <a:lnTo>
                      <a:pt x="1095" y="500"/>
                    </a:lnTo>
                    <a:lnTo>
                      <a:pt x="1097" y="505"/>
                    </a:lnTo>
                    <a:lnTo>
                      <a:pt x="1097" y="507"/>
                    </a:lnTo>
                    <a:lnTo>
                      <a:pt x="1095" y="508"/>
                    </a:lnTo>
                    <a:lnTo>
                      <a:pt x="1095" y="512"/>
                    </a:lnTo>
                    <a:lnTo>
                      <a:pt x="1090" y="517"/>
                    </a:lnTo>
                    <a:lnTo>
                      <a:pt x="1087" y="517"/>
                    </a:lnTo>
                    <a:lnTo>
                      <a:pt x="1080" y="523"/>
                    </a:lnTo>
                    <a:lnTo>
                      <a:pt x="1074" y="527"/>
                    </a:lnTo>
                    <a:lnTo>
                      <a:pt x="1069" y="533"/>
                    </a:lnTo>
                    <a:lnTo>
                      <a:pt x="1064" y="533"/>
                    </a:lnTo>
                    <a:lnTo>
                      <a:pt x="1062" y="535"/>
                    </a:lnTo>
                    <a:lnTo>
                      <a:pt x="1062" y="538"/>
                    </a:lnTo>
                    <a:lnTo>
                      <a:pt x="1060" y="540"/>
                    </a:lnTo>
                    <a:lnTo>
                      <a:pt x="1060" y="540"/>
                    </a:lnTo>
                    <a:close/>
                    <a:moveTo>
                      <a:pt x="1233" y="630"/>
                    </a:moveTo>
                    <a:lnTo>
                      <a:pt x="1226" y="623"/>
                    </a:lnTo>
                    <a:lnTo>
                      <a:pt x="1223" y="625"/>
                    </a:lnTo>
                    <a:lnTo>
                      <a:pt x="1215" y="623"/>
                    </a:lnTo>
                    <a:lnTo>
                      <a:pt x="1218" y="620"/>
                    </a:lnTo>
                    <a:lnTo>
                      <a:pt x="1221" y="618"/>
                    </a:lnTo>
                    <a:lnTo>
                      <a:pt x="1225" y="618"/>
                    </a:lnTo>
                    <a:lnTo>
                      <a:pt x="1226" y="616"/>
                    </a:lnTo>
                    <a:lnTo>
                      <a:pt x="1225" y="615"/>
                    </a:lnTo>
                    <a:lnTo>
                      <a:pt x="1221" y="615"/>
                    </a:lnTo>
                    <a:lnTo>
                      <a:pt x="1220" y="613"/>
                    </a:lnTo>
                    <a:lnTo>
                      <a:pt x="1226" y="606"/>
                    </a:lnTo>
                    <a:lnTo>
                      <a:pt x="1228" y="600"/>
                    </a:lnTo>
                    <a:lnTo>
                      <a:pt x="1228" y="595"/>
                    </a:lnTo>
                    <a:lnTo>
                      <a:pt x="1231" y="595"/>
                    </a:lnTo>
                    <a:lnTo>
                      <a:pt x="1231" y="591"/>
                    </a:lnTo>
                    <a:lnTo>
                      <a:pt x="1226" y="588"/>
                    </a:lnTo>
                    <a:lnTo>
                      <a:pt x="1230" y="586"/>
                    </a:lnTo>
                    <a:lnTo>
                      <a:pt x="1230" y="581"/>
                    </a:lnTo>
                    <a:lnTo>
                      <a:pt x="1233" y="571"/>
                    </a:lnTo>
                    <a:lnTo>
                      <a:pt x="1236" y="570"/>
                    </a:lnTo>
                    <a:lnTo>
                      <a:pt x="1236" y="566"/>
                    </a:lnTo>
                    <a:lnTo>
                      <a:pt x="1241" y="563"/>
                    </a:lnTo>
                    <a:lnTo>
                      <a:pt x="1243" y="558"/>
                    </a:lnTo>
                    <a:lnTo>
                      <a:pt x="1245" y="556"/>
                    </a:lnTo>
                    <a:lnTo>
                      <a:pt x="1246" y="551"/>
                    </a:lnTo>
                    <a:lnTo>
                      <a:pt x="1251" y="545"/>
                    </a:lnTo>
                    <a:lnTo>
                      <a:pt x="1253" y="540"/>
                    </a:lnTo>
                    <a:lnTo>
                      <a:pt x="1258" y="538"/>
                    </a:lnTo>
                    <a:lnTo>
                      <a:pt x="1258" y="535"/>
                    </a:lnTo>
                    <a:lnTo>
                      <a:pt x="1256" y="533"/>
                    </a:lnTo>
                    <a:lnTo>
                      <a:pt x="1260" y="528"/>
                    </a:lnTo>
                    <a:lnTo>
                      <a:pt x="1263" y="530"/>
                    </a:lnTo>
                    <a:lnTo>
                      <a:pt x="1266" y="535"/>
                    </a:lnTo>
                    <a:lnTo>
                      <a:pt x="1268" y="538"/>
                    </a:lnTo>
                    <a:lnTo>
                      <a:pt x="1273" y="540"/>
                    </a:lnTo>
                    <a:lnTo>
                      <a:pt x="1273" y="535"/>
                    </a:lnTo>
                    <a:lnTo>
                      <a:pt x="1268" y="530"/>
                    </a:lnTo>
                    <a:lnTo>
                      <a:pt x="1270" y="528"/>
                    </a:lnTo>
                    <a:lnTo>
                      <a:pt x="1273" y="528"/>
                    </a:lnTo>
                    <a:lnTo>
                      <a:pt x="1270" y="523"/>
                    </a:lnTo>
                    <a:lnTo>
                      <a:pt x="1273" y="518"/>
                    </a:lnTo>
                    <a:lnTo>
                      <a:pt x="1283" y="515"/>
                    </a:lnTo>
                    <a:lnTo>
                      <a:pt x="1291" y="515"/>
                    </a:lnTo>
                    <a:lnTo>
                      <a:pt x="1294" y="515"/>
                    </a:lnTo>
                    <a:lnTo>
                      <a:pt x="1298" y="515"/>
                    </a:lnTo>
                    <a:lnTo>
                      <a:pt x="1301" y="515"/>
                    </a:lnTo>
                    <a:lnTo>
                      <a:pt x="1303" y="518"/>
                    </a:lnTo>
                    <a:lnTo>
                      <a:pt x="1306" y="517"/>
                    </a:lnTo>
                    <a:lnTo>
                      <a:pt x="1313" y="517"/>
                    </a:lnTo>
                    <a:lnTo>
                      <a:pt x="1316" y="522"/>
                    </a:lnTo>
                    <a:lnTo>
                      <a:pt x="1319" y="522"/>
                    </a:lnTo>
                    <a:lnTo>
                      <a:pt x="1321" y="523"/>
                    </a:lnTo>
                    <a:lnTo>
                      <a:pt x="1323" y="523"/>
                    </a:lnTo>
                    <a:lnTo>
                      <a:pt x="1326" y="527"/>
                    </a:lnTo>
                    <a:lnTo>
                      <a:pt x="1326" y="532"/>
                    </a:lnTo>
                    <a:lnTo>
                      <a:pt x="1328" y="532"/>
                    </a:lnTo>
                    <a:lnTo>
                      <a:pt x="1331" y="532"/>
                    </a:lnTo>
                    <a:lnTo>
                      <a:pt x="1338" y="532"/>
                    </a:lnTo>
                    <a:lnTo>
                      <a:pt x="1348" y="533"/>
                    </a:lnTo>
                    <a:lnTo>
                      <a:pt x="1354" y="537"/>
                    </a:lnTo>
                    <a:lnTo>
                      <a:pt x="1354" y="540"/>
                    </a:lnTo>
                    <a:lnTo>
                      <a:pt x="1358" y="541"/>
                    </a:lnTo>
                    <a:lnTo>
                      <a:pt x="1359" y="545"/>
                    </a:lnTo>
                    <a:lnTo>
                      <a:pt x="1358" y="545"/>
                    </a:lnTo>
                    <a:lnTo>
                      <a:pt x="1356" y="545"/>
                    </a:lnTo>
                    <a:lnTo>
                      <a:pt x="1353" y="550"/>
                    </a:lnTo>
                    <a:lnTo>
                      <a:pt x="1346" y="555"/>
                    </a:lnTo>
                    <a:lnTo>
                      <a:pt x="1343" y="560"/>
                    </a:lnTo>
                    <a:lnTo>
                      <a:pt x="1338" y="561"/>
                    </a:lnTo>
                    <a:lnTo>
                      <a:pt x="1338" y="563"/>
                    </a:lnTo>
                    <a:lnTo>
                      <a:pt x="1328" y="570"/>
                    </a:lnTo>
                    <a:lnTo>
                      <a:pt x="1323" y="576"/>
                    </a:lnTo>
                    <a:lnTo>
                      <a:pt x="1318" y="576"/>
                    </a:lnTo>
                    <a:lnTo>
                      <a:pt x="1318" y="578"/>
                    </a:lnTo>
                    <a:lnTo>
                      <a:pt x="1319" y="580"/>
                    </a:lnTo>
                    <a:lnTo>
                      <a:pt x="1316" y="583"/>
                    </a:lnTo>
                    <a:lnTo>
                      <a:pt x="1309" y="588"/>
                    </a:lnTo>
                    <a:lnTo>
                      <a:pt x="1303" y="593"/>
                    </a:lnTo>
                    <a:lnTo>
                      <a:pt x="1294" y="598"/>
                    </a:lnTo>
                    <a:lnTo>
                      <a:pt x="1289" y="601"/>
                    </a:lnTo>
                    <a:lnTo>
                      <a:pt x="1286" y="600"/>
                    </a:lnTo>
                    <a:lnTo>
                      <a:pt x="1285" y="598"/>
                    </a:lnTo>
                    <a:lnTo>
                      <a:pt x="1281" y="598"/>
                    </a:lnTo>
                    <a:lnTo>
                      <a:pt x="1276" y="593"/>
                    </a:lnTo>
                    <a:lnTo>
                      <a:pt x="1275" y="590"/>
                    </a:lnTo>
                    <a:lnTo>
                      <a:pt x="1271" y="588"/>
                    </a:lnTo>
                    <a:lnTo>
                      <a:pt x="1268" y="590"/>
                    </a:lnTo>
                    <a:lnTo>
                      <a:pt x="1263" y="588"/>
                    </a:lnTo>
                    <a:lnTo>
                      <a:pt x="1260" y="588"/>
                    </a:lnTo>
                    <a:lnTo>
                      <a:pt x="1256" y="586"/>
                    </a:lnTo>
                    <a:lnTo>
                      <a:pt x="1253" y="586"/>
                    </a:lnTo>
                    <a:lnTo>
                      <a:pt x="1251" y="590"/>
                    </a:lnTo>
                    <a:lnTo>
                      <a:pt x="1253" y="591"/>
                    </a:lnTo>
                    <a:lnTo>
                      <a:pt x="1263" y="591"/>
                    </a:lnTo>
                    <a:lnTo>
                      <a:pt x="1261" y="595"/>
                    </a:lnTo>
                    <a:lnTo>
                      <a:pt x="1258" y="598"/>
                    </a:lnTo>
                    <a:lnTo>
                      <a:pt x="1260" y="601"/>
                    </a:lnTo>
                    <a:lnTo>
                      <a:pt x="1261" y="605"/>
                    </a:lnTo>
                    <a:lnTo>
                      <a:pt x="1258" y="610"/>
                    </a:lnTo>
                    <a:lnTo>
                      <a:pt x="1255" y="611"/>
                    </a:lnTo>
                    <a:lnTo>
                      <a:pt x="1253" y="615"/>
                    </a:lnTo>
                    <a:lnTo>
                      <a:pt x="1248" y="615"/>
                    </a:lnTo>
                    <a:lnTo>
                      <a:pt x="1245" y="616"/>
                    </a:lnTo>
                    <a:lnTo>
                      <a:pt x="1243" y="620"/>
                    </a:lnTo>
                    <a:lnTo>
                      <a:pt x="1238" y="623"/>
                    </a:lnTo>
                    <a:lnTo>
                      <a:pt x="1235" y="623"/>
                    </a:lnTo>
                    <a:lnTo>
                      <a:pt x="1235" y="628"/>
                    </a:lnTo>
                    <a:lnTo>
                      <a:pt x="1235" y="628"/>
                    </a:lnTo>
                    <a:lnTo>
                      <a:pt x="1233" y="630"/>
                    </a:lnTo>
                    <a:lnTo>
                      <a:pt x="1233" y="630"/>
                    </a:lnTo>
                    <a:close/>
                    <a:moveTo>
                      <a:pt x="1532" y="648"/>
                    </a:moveTo>
                    <a:lnTo>
                      <a:pt x="1525" y="644"/>
                    </a:lnTo>
                    <a:lnTo>
                      <a:pt x="1520" y="643"/>
                    </a:lnTo>
                    <a:lnTo>
                      <a:pt x="1519" y="638"/>
                    </a:lnTo>
                    <a:lnTo>
                      <a:pt x="1515" y="636"/>
                    </a:lnTo>
                    <a:lnTo>
                      <a:pt x="1514" y="633"/>
                    </a:lnTo>
                    <a:lnTo>
                      <a:pt x="1514" y="626"/>
                    </a:lnTo>
                    <a:lnTo>
                      <a:pt x="1519" y="625"/>
                    </a:lnTo>
                    <a:lnTo>
                      <a:pt x="1519" y="621"/>
                    </a:lnTo>
                    <a:lnTo>
                      <a:pt x="1522" y="618"/>
                    </a:lnTo>
                    <a:lnTo>
                      <a:pt x="1520" y="615"/>
                    </a:lnTo>
                    <a:lnTo>
                      <a:pt x="1517" y="613"/>
                    </a:lnTo>
                    <a:lnTo>
                      <a:pt x="1512" y="610"/>
                    </a:lnTo>
                    <a:lnTo>
                      <a:pt x="1517" y="601"/>
                    </a:lnTo>
                    <a:lnTo>
                      <a:pt x="1520" y="601"/>
                    </a:lnTo>
                    <a:lnTo>
                      <a:pt x="1520" y="600"/>
                    </a:lnTo>
                    <a:lnTo>
                      <a:pt x="1520" y="595"/>
                    </a:lnTo>
                    <a:lnTo>
                      <a:pt x="1524" y="591"/>
                    </a:lnTo>
                    <a:lnTo>
                      <a:pt x="1524" y="586"/>
                    </a:lnTo>
                    <a:lnTo>
                      <a:pt x="1529" y="585"/>
                    </a:lnTo>
                    <a:lnTo>
                      <a:pt x="1532" y="586"/>
                    </a:lnTo>
                    <a:lnTo>
                      <a:pt x="1534" y="591"/>
                    </a:lnTo>
                    <a:lnTo>
                      <a:pt x="1542" y="593"/>
                    </a:lnTo>
                    <a:lnTo>
                      <a:pt x="1545" y="596"/>
                    </a:lnTo>
                    <a:lnTo>
                      <a:pt x="1550" y="598"/>
                    </a:lnTo>
                    <a:lnTo>
                      <a:pt x="1554" y="596"/>
                    </a:lnTo>
                    <a:lnTo>
                      <a:pt x="1562" y="600"/>
                    </a:lnTo>
                    <a:lnTo>
                      <a:pt x="1569" y="600"/>
                    </a:lnTo>
                    <a:lnTo>
                      <a:pt x="1572" y="601"/>
                    </a:lnTo>
                    <a:lnTo>
                      <a:pt x="1574" y="605"/>
                    </a:lnTo>
                    <a:lnTo>
                      <a:pt x="1580" y="608"/>
                    </a:lnTo>
                    <a:lnTo>
                      <a:pt x="1582" y="613"/>
                    </a:lnTo>
                    <a:lnTo>
                      <a:pt x="1580" y="618"/>
                    </a:lnTo>
                    <a:lnTo>
                      <a:pt x="1580" y="621"/>
                    </a:lnTo>
                    <a:lnTo>
                      <a:pt x="1583" y="623"/>
                    </a:lnTo>
                    <a:lnTo>
                      <a:pt x="1583" y="626"/>
                    </a:lnTo>
                    <a:lnTo>
                      <a:pt x="1583" y="630"/>
                    </a:lnTo>
                    <a:lnTo>
                      <a:pt x="1583" y="631"/>
                    </a:lnTo>
                    <a:lnTo>
                      <a:pt x="1587" y="636"/>
                    </a:lnTo>
                    <a:lnTo>
                      <a:pt x="1585" y="639"/>
                    </a:lnTo>
                    <a:lnTo>
                      <a:pt x="1583" y="643"/>
                    </a:lnTo>
                    <a:lnTo>
                      <a:pt x="1588" y="644"/>
                    </a:lnTo>
                    <a:lnTo>
                      <a:pt x="1588" y="646"/>
                    </a:lnTo>
                    <a:lnTo>
                      <a:pt x="1587" y="649"/>
                    </a:lnTo>
                    <a:lnTo>
                      <a:pt x="1585" y="651"/>
                    </a:lnTo>
                    <a:lnTo>
                      <a:pt x="1575" y="649"/>
                    </a:lnTo>
                    <a:lnTo>
                      <a:pt x="1574" y="648"/>
                    </a:lnTo>
                    <a:lnTo>
                      <a:pt x="1565" y="646"/>
                    </a:lnTo>
                    <a:lnTo>
                      <a:pt x="1562" y="644"/>
                    </a:lnTo>
                    <a:lnTo>
                      <a:pt x="1557" y="643"/>
                    </a:lnTo>
                    <a:lnTo>
                      <a:pt x="1554" y="643"/>
                    </a:lnTo>
                    <a:lnTo>
                      <a:pt x="1550" y="641"/>
                    </a:lnTo>
                    <a:lnTo>
                      <a:pt x="1544" y="643"/>
                    </a:lnTo>
                    <a:lnTo>
                      <a:pt x="1539" y="643"/>
                    </a:lnTo>
                    <a:lnTo>
                      <a:pt x="1534" y="646"/>
                    </a:lnTo>
                    <a:lnTo>
                      <a:pt x="1532" y="648"/>
                    </a:lnTo>
                    <a:lnTo>
                      <a:pt x="1532" y="648"/>
                    </a:lnTo>
                    <a:close/>
                    <a:moveTo>
                      <a:pt x="1504" y="654"/>
                    </a:moveTo>
                    <a:lnTo>
                      <a:pt x="1504" y="649"/>
                    </a:lnTo>
                    <a:lnTo>
                      <a:pt x="1505" y="648"/>
                    </a:lnTo>
                    <a:lnTo>
                      <a:pt x="1507" y="649"/>
                    </a:lnTo>
                    <a:lnTo>
                      <a:pt x="1507" y="651"/>
                    </a:lnTo>
                    <a:lnTo>
                      <a:pt x="1504" y="654"/>
                    </a:lnTo>
                    <a:lnTo>
                      <a:pt x="1504" y="654"/>
                    </a:lnTo>
                    <a:close/>
                    <a:moveTo>
                      <a:pt x="1510" y="658"/>
                    </a:moveTo>
                    <a:lnTo>
                      <a:pt x="1509" y="654"/>
                    </a:lnTo>
                    <a:lnTo>
                      <a:pt x="1512" y="653"/>
                    </a:lnTo>
                    <a:lnTo>
                      <a:pt x="1514" y="654"/>
                    </a:lnTo>
                    <a:lnTo>
                      <a:pt x="1514" y="656"/>
                    </a:lnTo>
                    <a:lnTo>
                      <a:pt x="1510" y="658"/>
                    </a:lnTo>
                    <a:lnTo>
                      <a:pt x="1510" y="658"/>
                    </a:lnTo>
                    <a:close/>
                    <a:moveTo>
                      <a:pt x="1524" y="658"/>
                    </a:moveTo>
                    <a:lnTo>
                      <a:pt x="1520" y="658"/>
                    </a:lnTo>
                    <a:lnTo>
                      <a:pt x="1520" y="654"/>
                    </a:lnTo>
                    <a:lnTo>
                      <a:pt x="1522" y="654"/>
                    </a:lnTo>
                    <a:lnTo>
                      <a:pt x="1525" y="656"/>
                    </a:lnTo>
                    <a:lnTo>
                      <a:pt x="1524" y="658"/>
                    </a:lnTo>
                    <a:lnTo>
                      <a:pt x="1524" y="658"/>
                    </a:lnTo>
                    <a:close/>
                    <a:moveTo>
                      <a:pt x="1223" y="751"/>
                    </a:moveTo>
                    <a:lnTo>
                      <a:pt x="1221" y="749"/>
                    </a:lnTo>
                    <a:lnTo>
                      <a:pt x="1225" y="747"/>
                    </a:lnTo>
                    <a:lnTo>
                      <a:pt x="1226" y="747"/>
                    </a:lnTo>
                    <a:lnTo>
                      <a:pt x="1230" y="747"/>
                    </a:lnTo>
                    <a:lnTo>
                      <a:pt x="1228" y="749"/>
                    </a:lnTo>
                    <a:lnTo>
                      <a:pt x="1226" y="751"/>
                    </a:lnTo>
                    <a:lnTo>
                      <a:pt x="1223" y="751"/>
                    </a:lnTo>
                    <a:lnTo>
                      <a:pt x="1223" y="751"/>
                    </a:lnTo>
                    <a:close/>
                    <a:moveTo>
                      <a:pt x="1238" y="772"/>
                    </a:moveTo>
                    <a:lnTo>
                      <a:pt x="1238" y="777"/>
                    </a:lnTo>
                    <a:lnTo>
                      <a:pt x="1241" y="776"/>
                    </a:lnTo>
                    <a:lnTo>
                      <a:pt x="1241" y="776"/>
                    </a:lnTo>
                    <a:lnTo>
                      <a:pt x="1243" y="772"/>
                    </a:lnTo>
                    <a:lnTo>
                      <a:pt x="1240" y="771"/>
                    </a:lnTo>
                    <a:lnTo>
                      <a:pt x="1238" y="772"/>
                    </a:lnTo>
                    <a:lnTo>
                      <a:pt x="1238" y="772"/>
                    </a:lnTo>
                    <a:close/>
                    <a:moveTo>
                      <a:pt x="1233" y="772"/>
                    </a:moveTo>
                    <a:lnTo>
                      <a:pt x="1231" y="776"/>
                    </a:lnTo>
                    <a:lnTo>
                      <a:pt x="1235" y="777"/>
                    </a:lnTo>
                    <a:lnTo>
                      <a:pt x="1233" y="781"/>
                    </a:lnTo>
                    <a:lnTo>
                      <a:pt x="1235" y="781"/>
                    </a:lnTo>
                    <a:lnTo>
                      <a:pt x="1236" y="779"/>
                    </a:lnTo>
                    <a:lnTo>
                      <a:pt x="1236" y="774"/>
                    </a:lnTo>
                    <a:lnTo>
                      <a:pt x="1235" y="772"/>
                    </a:lnTo>
                    <a:lnTo>
                      <a:pt x="1233" y="772"/>
                    </a:lnTo>
                    <a:lnTo>
                      <a:pt x="1233" y="772"/>
                    </a:lnTo>
                    <a:close/>
                    <a:moveTo>
                      <a:pt x="1326" y="757"/>
                    </a:moveTo>
                    <a:lnTo>
                      <a:pt x="1324" y="756"/>
                    </a:lnTo>
                    <a:lnTo>
                      <a:pt x="1321" y="756"/>
                    </a:lnTo>
                    <a:lnTo>
                      <a:pt x="1319" y="754"/>
                    </a:lnTo>
                    <a:lnTo>
                      <a:pt x="1318" y="756"/>
                    </a:lnTo>
                    <a:lnTo>
                      <a:pt x="1314" y="754"/>
                    </a:lnTo>
                    <a:lnTo>
                      <a:pt x="1314" y="751"/>
                    </a:lnTo>
                    <a:lnTo>
                      <a:pt x="1313" y="749"/>
                    </a:lnTo>
                    <a:lnTo>
                      <a:pt x="1318" y="747"/>
                    </a:lnTo>
                    <a:lnTo>
                      <a:pt x="1318" y="747"/>
                    </a:lnTo>
                    <a:lnTo>
                      <a:pt x="1323" y="747"/>
                    </a:lnTo>
                    <a:lnTo>
                      <a:pt x="1324" y="751"/>
                    </a:lnTo>
                    <a:lnTo>
                      <a:pt x="1329" y="751"/>
                    </a:lnTo>
                    <a:lnTo>
                      <a:pt x="1331" y="754"/>
                    </a:lnTo>
                    <a:lnTo>
                      <a:pt x="1329" y="757"/>
                    </a:lnTo>
                    <a:lnTo>
                      <a:pt x="1329" y="757"/>
                    </a:lnTo>
                    <a:lnTo>
                      <a:pt x="1326" y="757"/>
                    </a:lnTo>
                    <a:lnTo>
                      <a:pt x="1326" y="757"/>
                    </a:lnTo>
                    <a:close/>
                    <a:moveTo>
                      <a:pt x="1379" y="777"/>
                    </a:moveTo>
                    <a:lnTo>
                      <a:pt x="1376" y="777"/>
                    </a:lnTo>
                    <a:lnTo>
                      <a:pt x="1374" y="772"/>
                    </a:lnTo>
                    <a:lnTo>
                      <a:pt x="1378" y="774"/>
                    </a:lnTo>
                    <a:lnTo>
                      <a:pt x="1379" y="774"/>
                    </a:lnTo>
                    <a:lnTo>
                      <a:pt x="1381" y="776"/>
                    </a:lnTo>
                    <a:lnTo>
                      <a:pt x="1379" y="777"/>
                    </a:lnTo>
                    <a:lnTo>
                      <a:pt x="1379" y="777"/>
                    </a:lnTo>
                    <a:close/>
                    <a:moveTo>
                      <a:pt x="1384" y="777"/>
                    </a:moveTo>
                    <a:lnTo>
                      <a:pt x="1389" y="779"/>
                    </a:lnTo>
                    <a:lnTo>
                      <a:pt x="1387" y="776"/>
                    </a:lnTo>
                    <a:lnTo>
                      <a:pt x="1384" y="777"/>
                    </a:lnTo>
                    <a:lnTo>
                      <a:pt x="1384" y="777"/>
                    </a:lnTo>
                    <a:close/>
                    <a:moveTo>
                      <a:pt x="1392" y="779"/>
                    </a:moveTo>
                    <a:lnTo>
                      <a:pt x="1396" y="781"/>
                    </a:lnTo>
                    <a:lnTo>
                      <a:pt x="1397" y="782"/>
                    </a:lnTo>
                    <a:lnTo>
                      <a:pt x="1401" y="781"/>
                    </a:lnTo>
                    <a:lnTo>
                      <a:pt x="1401" y="779"/>
                    </a:lnTo>
                    <a:lnTo>
                      <a:pt x="1396" y="777"/>
                    </a:lnTo>
                    <a:lnTo>
                      <a:pt x="1396" y="777"/>
                    </a:lnTo>
                    <a:lnTo>
                      <a:pt x="1392" y="777"/>
                    </a:lnTo>
                    <a:lnTo>
                      <a:pt x="1391" y="779"/>
                    </a:lnTo>
                    <a:lnTo>
                      <a:pt x="1392" y="779"/>
                    </a:lnTo>
                    <a:lnTo>
                      <a:pt x="1392" y="779"/>
                    </a:lnTo>
                    <a:close/>
                    <a:moveTo>
                      <a:pt x="1449" y="849"/>
                    </a:moveTo>
                    <a:lnTo>
                      <a:pt x="1449" y="845"/>
                    </a:lnTo>
                    <a:lnTo>
                      <a:pt x="1451" y="844"/>
                    </a:lnTo>
                    <a:lnTo>
                      <a:pt x="1449" y="840"/>
                    </a:lnTo>
                    <a:lnTo>
                      <a:pt x="1451" y="840"/>
                    </a:lnTo>
                    <a:lnTo>
                      <a:pt x="1454" y="842"/>
                    </a:lnTo>
                    <a:lnTo>
                      <a:pt x="1452" y="845"/>
                    </a:lnTo>
                    <a:lnTo>
                      <a:pt x="1452" y="847"/>
                    </a:lnTo>
                    <a:lnTo>
                      <a:pt x="1449" y="849"/>
                    </a:lnTo>
                    <a:lnTo>
                      <a:pt x="1449" y="849"/>
                    </a:lnTo>
                    <a:close/>
                    <a:moveTo>
                      <a:pt x="1444" y="862"/>
                    </a:moveTo>
                    <a:lnTo>
                      <a:pt x="1442" y="857"/>
                    </a:lnTo>
                    <a:lnTo>
                      <a:pt x="1444" y="854"/>
                    </a:lnTo>
                    <a:lnTo>
                      <a:pt x="1446" y="854"/>
                    </a:lnTo>
                    <a:lnTo>
                      <a:pt x="1449" y="854"/>
                    </a:lnTo>
                    <a:lnTo>
                      <a:pt x="1449" y="857"/>
                    </a:lnTo>
                    <a:lnTo>
                      <a:pt x="1446" y="857"/>
                    </a:lnTo>
                    <a:lnTo>
                      <a:pt x="1446" y="860"/>
                    </a:lnTo>
                    <a:lnTo>
                      <a:pt x="1444" y="862"/>
                    </a:lnTo>
                    <a:lnTo>
                      <a:pt x="1444" y="862"/>
                    </a:lnTo>
                    <a:close/>
                    <a:moveTo>
                      <a:pt x="1411" y="796"/>
                    </a:moveTo>
                    <a:lnTo>
                      <a:pt x="1409" y="794"/>
                    </a:lnTo>
                    <a:lnTo>
                      <a:pt x="1411" y="794"/>
                    </a:lnTo>
                    <a:lnTo>
                      <a:pt x="1411" y="796"/>
                    </a:lnTo>
                    <a:lnTo>
                      <a:pt x="1411" y="796"/>
                    </a:lnTo>
                    <a:close/>
                    <a:moveTo>
                      <a:pt x="1404" y="796"/>
                    </a:moveTo>
                    <a:lnTo>
                      <a:pt x="1401" y="792"/>
                    </a:lnTo>
                    <a:lnTo>
                      <a:pt x="1404" y="794"/>
                    </a:lnTo>
                    <a:lnTo>
                      <a:pt x="1404" y="796"/>
                    </a:lnTo>
                    <a:lnTo>
                      <a:pt x="1404" y="796"/>
                    </a:lnTo>
                    <a:lnTo>
                      <a:pt x="1404" y="796"/>
                    </a:lnTo>
                    <a:close/>
                    <a:moveTo>
                      <a:pt x="1406" y="799"/>
                    </a:moveTo>
                    <a:lnTo>
                      <a:pt x="1407" y="801"/>
                    </a:lnTo>
                    <a:lnTo>
                      <a:pt x="1409" y="801"/>
                    </a:lnTo>
                    <a:lnTo>
                      <a:pt x="1412" y="802"/>
                    </a:lnTo>
                    <a:lnTo>
                      <a:pt x="1412" y="799"/>
                    </a:lnTo>
                    <a:lnTo>
                      <a:pt x="1411" y="797"/>
                    </a:lnTo>
                    <a:lnTo>
                      <a:pt x="1406" y="797"/>
                    </a:lnTo>
                    <a:lnTo>
                      <a:pt x="1406" y="799"/>
                    </a:lnTo>
                    <a:lnTo>
                      <a:pt x="1406" y="799"/>
                    </a:lnTo>
                    <a:close/>
                    <a:moveTo>
                      <a:pt x="1436" y="787"/>
                    </a:moveTo>
                    <a:lnTo>
                      <a:pt x="1441" y="789"/>
                    </a:lnTo>
                    <a:lnTo>
                      <a:pt x="1441" y="791"/>
                    </a:lnTo>
                    <a:lnTo>
                      <a:pt x="1442" y="792"/>
                    </a:lnTo>
                    <a:lnTo>
                      <a:pt x="1441" y="794"/>
                    </a:lnTo>
                    <a:lnTo>
                      <a:pt x="1442" y="796"/>
                    </a:lnTo>
                    <a:lnTo>
                      <a:pt x="1446" y="796"/>
                    </a:lnTo>
                    <a:lnTo>
                      <a:pt x="1446" y="792"/>
                    </a:lnTo>
                    <a:lnTo>
                      <a:pt x="1449" y="792"/>
                    </a:lnTo>
                    <a:lnTo>
                      <a:pt x="1452" y="792"/>
                    </a:lnTo>
                    <a:lnTo>
                      <a:pt x="1454" y="792"/>
                    </a:lnTo>
                    <a:lnTo>
                      <a:pt x="1457" y="791"/>
                    </a:lnTo>
                    <a:lnTo>
                      <a:pt x="1454" y="787"/>
                    </a:lnTo>
                    <a:lnTo>
                      <a:pt x="1449" y="786"/>
                    </a:lnTo>
                    <a:lnTo>
                      <a:pt x="1446" y="784"/>
                    </a:lnTo>
                    <a:lnTo>
                      <a:pt x="1441" y="782"/>
                    </a:lnTo>
                    <a:lnTo>
                      <a:pt x="1441" y="786"/>
                    </a:lnTo>
                    <a:lnTo>
                      <a:pt x="1441" y="786"/>
                    </a:lnTo>
                    <a:lnTo>
                      <a:pt x="1436" y="787"/>
                    </a:lnTo>
                    <a:lnTo>
                      <a:pt x="1436" y="787"/>
                    </a:lnTo>
                    <a:close/>
                    <a:moveTo>
                      <a:pt x="1490" y="784"/>
                    </a:moveTo>
                    <a:lnTo>
                      <a:pt x="1492" y="781"/>
                    </a:lnTo>
                    <a:lnTo>
                      <a:pt x="1494" y="781"/>
                    </a:lnTo>
                    <a:lnTo>
                      <a:pt x="1492" y="784"/>
                    </a:lnTo>
                    <a:lnTo>
                      <a:pt x="1490" y="784"/>
                    </a:lnTo>
                    <a:lnTo>
                      <a:pt x="1490" y="784"/>
                    </a:lnTo>
                    <a:close/>
                    <a:moveTo>
                      <a:pt x="1472" y="804"/>
                    </a:moveTo>
                    <a:lnTo>
                      <a:pt x="1476" y="802"/>
                    </a:lnTo>
                    <a:lnTo>
                      <a:pt x="1477" y="797"/>
                    </a:lnTo>
                    <a:lnTo>
                      <a:pt x="1481" y="797"/>
                    </a:lnTo>
                    <a:lnTo>
                      <a:pt x="1482" y="796"/>
                    </a:lnTo>
                    <a:lnTo>
                      <a:pt x="1485" y="794"/>
                    </a:lnTo>
                    <a:lnTo>
                      <a:pt x="1487" y="797"/>
                    </a:lnTo>
                    <a:lnTo>
                      <a:pt x="1485" y="799"/>
                    </a:lnTo>
                    <a:lnTo>
                      <a:pt x="1482" y="801"/>
                    </a:lnTo>
                    <a:lnTo>
                      <a:pt x="1477" y="804"/>
                    </a:lnTo>
                    <a:lnTo>
                      <a:pt x="1474" y="804"/>
                    </a:lnTo>
                    <a:lnTo>
                      <a:pt x="1472" y="804"/>
                    </a:lnTo>
                    <a:lnTo>
                      <a:pt x="1472" y="804"/>
                    </a:lnTo>
                    <a:close/>
                    <a:moveTo>
                      <a:pt x="1454" y="831"/>
                    </a:moveTo>
                    <a:lnTo>
                      <a:pt x="1464" y="824"/>
                    </a:lnTo>
                    <a:lnTo>
                      <a:pt x="1466" y="821"/>
                    </a:lnTo>
                    <a:lnTo>
                      <a:pt x="1467" y="821"/>
                    </a:lnTo>
                    <a:lnTo>
                      <a:pt x="1472" y="817"/>
                    </a:lnTo>
                    <a:lnTo>
                      <a:pt x="1476" y="814"/>
                    </a:lnTo>
                    <a:lnTo>
                      <a:pt x="1476" y="811"/>
                    </a:lnTo>
                    <a:lnTo>
                      <a:pt x="1472" y="809"/>
                    </a:lnTo>
                    <a:lnTo>
                      <a:pt x="1469" y="811"/>
                    </a:lnTo>
                    <a:lnTo>
                      <a:pt x="1469" y="814"/>
                    </a:lnTo>
                    <a:lnTo>
                      <a:pt x="1466" y="814"/>
                    </a:lnTo>
                    <a:lnTo>
                      <a:pt x="1462" y="817"/>
                    </a:lnTo>
                    <a:lnTo>
                      <a:pt x="1459" y="819"/>
                    </a:lnTo>
                    <a:lnTo>
                      <a:pt x="1452" y="819"/>
                    </a:lnTo>
                    <a:lnTo>
                      <a:pt x="1449" y="821"/>
                    </a:lnTo>
                    <a:lnTo>
                      <a:pt x="1447" y="824"/>
                    </a:lnTo>
                    <a:lnTo>
                      <a:pt x="1444" y="827"/>
                    </a:lnTo>
                    <a:lnTo>
                      <a:pt x="1444" y="832"/>
                    </a:lnTo>
                    <a:lnTo>
                      <a:pt x="1446" y="831"/>
                    </a:lnTo>
                    <a:lnTo>
                      <a:pt x="1451" y="831"/>
                    </a:lnTo>
                    <a:lnTo>
                      <a:pt x="1454" y="831"/>
                    </a:lnTo>
                    <a:lnTo>
                      <a:pt x="1454" y="831"/>
                    </a:lnTo>
                    <a:close/>
                    <a:moveTo>
                      <a:pt x="1494" y="827"/>
                    </a:moveTo>
                    <a:lnTo>
                      <a:pt x="1492" y="821"/>
                    </a:lnTo>
                    <a:lnTo>
                      <a:pt x="1494" y="819"/>
                    </a:lnTo>
                    <a:lnTo>
                      <a:pt x="1495" y="814"/>
                    </a:lnTo>
                    <a:lnTo>
                      <a:pt x="1499" y="814"/>
                    </a:lnTo>
                    <a:lnTo>
                      <a:pt x="1504" y="816"/>
                    </a:lnTo>
                    <a:lnTo>
                      <a:pt x="1505" y="821"/>
                    </a:lnTo>
                    <a:lnTo>
                      <a:pt x="1502" y="824"/>
                    </a:lnTo>
                    <a:lnTo>
                      <a:pt x="1500" y="824"/>
                    </a:lnTo>
                    <a:lnTo>
                      <a:pt x="1497" y="827"/>
                    </a:lnTo>
                    <a:lnTo>
                      <a:pt x="1494" y="827"/>
                    </a:lnTo>
                    <a:lnTo>
                      <a:pt x="1494" y="827"/>
                    </a:lnTo>
                    <a:close/>
                    <a:moveTo>
                      <a:pt x="1525" y="862"/>
                    </a:moveTo>
                    <a:lnTo>
                      <a:pt x="1524" y="857"/>
                    </a:lnTo>
                    <a:lnTo>
                      <a:pt x="1525" y="850"/>
                    </a:lnTo>
                    <a:lnTo>
                      <a:pt x="1522" y="847"/>
                    </a:lnTo>
                    <a:lnTo>
                      <a:pt x="1520" y="847"/>
                    </a:lnTo>
                    <a:lnTo>
                      <a:pt x="1519" y="852"/>
                    </a:lnTo>
                    <a:lnTo>
                      <a:pt x="1517" y="855"/>
                    </a:lnTo>
                    <a:lnTo>
                      <a:pt x="1517" y="860"/>
                    </a:lnTo>
                    <a:lnTo>
                      <a:pt x="1519" y="862"/>
                    </a:lnTo>
                    <a:lnTo>
                      <a:pt x="1520" y="865"/>
                    </a:lnTo>
                    <a:lnTo>
                      <a:pt x="1522" y="864"/>
                    </a:lnTo>
                    <a:lnTo>
                      <a:pt x="1525" y="862"/>
                    </a:lnTo>
                    <a:lnTo>
                      <a:pt x="1525" y="862"/>
                    </a:lnTo>
                    <a:close/>
                    <a:moveTo>
                      <a:pt x="1529" y="859"/>
                    </a:moveTo>
                    <a:lnTo>
                      <a:pt x="1527" y="855"/>
                    </a:lnTo>
                    <a:lnTo>
                      <a:pt x="1529" y="850"/>
                    </a:lnTo>
                    <a:lnTo>
                      <a:pt x="1530" y="855"/>
                    </a:lnTo>
                    <a:lnTo>
                      <a:pt x="1532" y="857"/>
                    </a:lnTo>
                    <a:lnTo>
                      <a:pt x="1530" y="860"/>
                    </a:lnTo>
                    <a:lnTo>
                      <a:pt x="1529" y="859"/>
                    </a:lnTo>
                    <a:lnTo>
                      <a:pt x="1529" y="859"/>
                    </a:lnTo>
                    <a:close/>
                    <a:moveTo>
                      <a:pt x="1535" y="869"/>
                    </a:moveTo>
                    <a:lnTo>
                      <a:pt x="1534" y="865"/>
                    </a:lnTo>
                    <a:lnTo>
                      <a:pt x="1535" y="864"/>
                    </a:lnTo>
                    <a:lnTo>
                      <a:pt x="1537" y="864"/>
                    </a:lnTo>
                    <a:lnTo>
                      <a:pt x="1537" y="867"/>
                    </a:lnTo>
                    <a:lnTo>
                      <a:pt x="1535" y="869"/>
                    </a:lnTo>
                    <a:lnTo>
                      <a:pt x="1535" y="869"/>
                    </a:lnTo>
                    <a:close/>
                    <a:moveTo>
                      <a:pt x="1519" y="877"/>
                    </a:moveTo>
                    <a:lnTo>
                      <a:pt x="1519" y="879"/>
                    </a:lnTo>
                    <a:lnTo>
                      <a:pt x="1519" y="884"/>
                    </a:lnTo>
                    <a:lnTo>
                      <a:pt x="1520" y="889"/>
                    </a:lnTo>
                    <a:lnTo>
                      <a:pt x="1522" y="890"/>
                    </a:lnTo>
                    <a:lnTo>
                      <a:pt x="1525" y="889"/>
                    </a:lnTo>
                    <a:lnTo>
                      <a:pt x="1529" y="890"/>
                    </a:lnTo>
                    <a:lnTo>
                      <a:pt x="1532" y="890"/>
                    </a:lnTo>
                    <a:lnTo>
                      <a:pt x="1535" y="890"/>
                    </a:lnTo>
                    <a:lnTo>
                      <a:pt x="1540" y="892"/>
                    </a:lnTo>
                    <a:lnTo>
                      <a:pt x="1542" y="889"/>
                    </a:lnTo>
                    <a:lnTo>
                      <a:pt x="1540" y="885"/>
                    </a:lnTo>
                    <a:lnTo>
                      <a:pt x="1540" y="882"/>
                    </a:lnTo>
                    <a:lnTo>
                      <a:pt x="1535" y="882"/>
                    </a:lnTo>
                    <a:lnTo>
                      <a:pt x="1534" y="879"/>
                    </a:lnTo>
                    <a:lnTo>
                      <a:pt x="1530" y="877"/>
                    </a:lnTo>
                    <a:lnTo>
                      <a:pt x="1529" y="879"/>
                    </a:lnTo>
                    <a:lnTo>
                      <a:pt x="1529" y="877"/>
                    </a:lnTo>
                    <a:lnTo>
                      <a:pt x="1529" y="874"/>
                    </a:lnTo>
                    <a:lnTo>
                      <a:pt x="1527" y="875"/>
                    </a:lnTo>
                    <a:lnTo>
                      <a:pt x="1524" y="877"/>
                    </a:lnTo>
                    <a:lnTo>
                      <a:pt x="1522" y="877"/>
                    </a:lnTo>
                    <a:lnTo>
                      <a:pt x="1519" y="877"/>
                    </a:lnTo>
                    <a:lnTo>
                      <a:pt x="1519" y="877"/>
                    </a:lnTo>
                    <a:close/>
                    <a:moveTo>
                      <a:pt x="1392" y="1038"/>
                    </a:moveTo>
                    <a:lnTo>
                      <a:pt x="1397" y="1038"/>
                    </a:lnTo>
                    <a:lnTo>
                      <a:pt x="1399" y="1038"/>
                    </a:lnTo>
                    <a:lnTo>
                      <a:pt x="1397" y="1035"/>
                    </a:lnTo>
                    <a:lnTo>
                      <a:pt x="1394" y="1036"/>
                    </a:lnTo>
                    <a:lnTo>
                      <a:pt x="1392" y="1038"/>
                    </a:lnTo>
                    <a:lnTo>
                      <a:pt x="1392" y="1038"/>
                    </a:lnTo>
                    <a:close/>
                    <a:moveTo>
                      <a:pt x="1321" y="932"/>
                    </a:moveTo>
                    <a:lnTo>
                      <a:pt x="1324" y="933"/>
                    </a:lnTo>
                    <a:lnTo>
                      <a:pt x="1328" y="935"/>
                    </a:lnTo>
                    <a:lnTo>
                      <a:pt x="1328" y="933"/>
                    </a:lnTo>
                    <a:lnTo>
                      <a:pt x="1324" y="932"/>
                    </a:lnTo>
                    <a:lnTo>
                      <a:pt x="1323" y="930"/>
                    </a:lnTo>
                    <a:lnTo>
                      <a:pt x="1321" y="932"/>
                    </a:lnTo>
                    <a:lnTo>
                      <a:pt x="1321" y="932"/>
                    </a:lnTo>
                    <a:close/>
                    <a:moveTo>
                      <a:pt x="1306" y="957"/>
                    </a:moveTo>
                    <a:lnTo>
                      <a:pt x="1306" y="953"/>
                    </a:lnTo>
                    <a:lnTo>
                      <a:pt x="1303" y="950"/>
                    </a:lnTo>
                    <a:lnTo>
                      <a:pt x="1298" y="948"/>
                    </a:lnTo>
                    <a:lnTo>
                      <a:pt x="1299" y="945"/>
                    </a:lnTo>
                    <a:lnTo>
                      <a:pt x="1298" y="942"/>
                    </a:lnTo>
                    <a:lnTo>
                      <a:pt x="1294" y="940"/>
                    </a:lnTo>
                    <a:lnTo>
                      <a:pt x="1294" y="933"/>
                    </a:lnTo>
                    <a:lnTo>
                      <a:pt x="1296" y="932"/>
                    </a:lnTo>
                    <a:lnTo>
                      <a:pt x="1298" y="937"/>
                    </a:lnTo>
                    <a:lnTo>
                      <a:pt x="1303" y="938"/>
                    </a:lnTo>
                    <a:lnTo>
                      <a:pt x="1303" y="942"/>
                    </a:lnTo>
                    <a:lnTo>
                      <a:pt x="1306" y="943"/>
                    </a:lnTo>
                    <a:lnTo>
                      <a:pt x="1306" y="948"/>
                    </a:lnTo>
                    <a:lnTo>
                      <a:pt x="1311" y="952"/>
                    </a:lnTo>
                    <a:lnTo>
                      <a:pt x="1314" y="952"/>
                    </a:lnTo>
                    <a:lnTo>
                      <a:pt x="1313" y="957"/>
                    </a:lnTo>
                    <a:lnTo>
                      <a:pt x="1309" y="955"/>
                    </a:lnTo>
                    <a:lnTo>
                      <a:pt x="1306" y="957"/>
                    </a:lnTo>
                    <a:lnTo>
                      <a:pt x="1306" y="957"/>
                    </a:lnTo>
                    <a:close/>
                    <a:moveTo>
                      <a:pt x="1278" y="955"/>
                    </a:moveTo>
                    <a:lnTo>
                      <a:pt x="1278" y="950"/>
                    </a:lnTo>
                    <a:lnTo>
                      <a:pt x="1276" y="948"/>
                    </a:lnTo>
                    <a:lnTo>
                      <a:pt x="1278" y="945"/>
                    </a:lnTo>
                    <a:lnTo>
                      <a:pt x="1278" y="940"/>
                    </a:lnTo>
                    <a:lnTo>
                      <a:pt x="1280" y="935"/>
                    </a:lnTo>
                    <a:lnTo>
                      <a:pt x="1283" y="937"/>
                    </a:lnTo>
                    <a:lnTo>
                      <a:pt x="1283" y="940"/>
                    </a:lnTo>
                    <a:lnTo>
                      <a:pt x="1281" y="942"/>
                    </a:lnTo>
                    <a:lnTo>
                      <a:pt x="1281" y="943"/>
                    </a:lnTo>
                    <a:lnTo>
                      <a:pt x="1283" y="947"/>
                    </a:lnTo>
                    <a:lnTo>
                      <a:pt x="1280" y="953"/>
                    </a:lnTo>
                    <a:lnTo>
                      <a:pt x="1278" y="955"/>
                    </a:lnTo>
                    <a:lnTo>
                      <a:pt x="1278" y="955"/>
                    </a:lnTo>
                    <a:close/>
                    <a:moveTo>
                      <a:pt x="1275" y="850"/>
                    </a:moveTo>
                    <a:lnTo>
                      <a:pt x="1275" y="855"/>
                    </a:lnTo>
                    <a:lnTo>
                      <a:pt x="1276" y="855"/>
                    </a:lnTo>
                    <a:lnTo>
                      <a:pt x="1281" y="855"/>
                    </a:lnTo>
                    <a:lnTo>
                      <a:pt x="1285" y="854"/>
                    </a:lnTo>
                    <a:lnTo>
                      <a:pt x="1283" y="852"/>
                    </a:lnTo>
                    <a:lnTo>
                      <a:pt x="1280" y="850"/>
                    </a:lnTo>
                    <a:lnTo>
                      <a:pt x="1275" y="850"/>
                    </a:lnTo>
                    <a:lnTo>
                      <a:pt x="1275" y="850"/>
                    </a:lnTo>
                    <a:close/>
                    <a:moveTo>
                      <a:pt x="1276" y="849"/>
                    </a:moveTo>
                    <a:lnTo>
                      <a:pt x="1278" y="845"/>
                    </a:lnTo>
                    <a:lnTo>
                      <a:pt x="1278" y="840"/>
                    </a:lnTo>
                    <a:lnTo>
                      <a:pt x="1285" y="837"/>
                    </a:lnTo>
                    <a:lnTo>
                      <a:pt x="1288" y="834"/>
                    </a:lnTo>
                    <a:lnTo>
                      <a:pt x="1288" y="835"/>
                    </a:lnTo>
                    <a:lnTo>
                      <a:pt x="1288" y="840"/>
                    </a:lnTo>
                    <a:lnTo>
                      <a:pt x="1286" y="844"/>
                    </a:lnTo>
                    <a:lnTo>
                      <a:pt x="1286" y="849"/>
                    </a:lnTo>
                    <a:lnTo>
                      <a:pt x="1283" y="849"/>
                    </a:lnTo>
                    <a:lnTo>
                      <a:pt x="1276" y="849"/>
                    </a:lnTo>
                    <a:lnTo>
                      <a:pt x="1276" y="849"/>
                    </a:lnTo>
                    <a:close/>
                    <a:moveTo>
                      <a:pt x="1044" y="806"/>
                    </a:moveTo>
                    <a:lnTo>
                      <a:pt x="1047" y="804"/>
                    </a:lnTo>
                    <a:lnTo>
                      <a:pt x="1047" y="801"/>
                    </a:lnTo>
                    <a:lnTo>
                      <a:pt x="1042" y="801"/>
                    </a:lnTo>
                    <a:lnTo>
                      <a:pt x="1042" y="804"/>
                    </a:lnTo>
                    <a:lnTo>
                      <a:pt x="1044" y="806"/>
                    </a:lnTo>
                    <a:lnTo>
                      <a:pt x="1044" y="806"/>
                    </a:lnTo>
                    <a:close/>
                    <a:moveTo>
                      <a:pt x="846" y="756"/>
                    </a:moveTo>
                    <a:lnTo>
                      <a:pt x="848" y="754"/>
                    </a:lnTo>
                    <a:lnTo>
                      <a:pt x="851" y="754"/>
                    </a:lnTo>
                    <a:lnTo>
                      <a:pt x="848" y="756"/>
                    </a:lnTo>
                    <a:lnTo>
                      <a:pt x="848" y="756"/>
                    </a:lnTo>
                    <a:lnTo>
                      <a:pt x="846" y="756"/>
                    </a:lnTo>
                    <a:lnTo>
                      <a:pt x="846" y="756"/>
                    </a:lnTo>
                    <a:close/>
                    <a:moveTo>
                      <a:pt x="829" y="762"/>
                    </a:moveTo>
                    <a:lnTo>
                      <a:pt x="834" y="762"/>
                    </a:lnTo>
                    <a:lnTo>
                      <a:pt x="834" y="761"/>
                    </a:lnTo>
                    <a:lnTo>
                      <a:pt x="831" y="759"/>
                    </a:lnTo>
                    <a:lnTo>
                      <a:pt x="829" y="762"/>
                    </a:lnTo>
                    <a:lnTo>
                      <a:pt x="829" y="762"/>
                    </a:lnTo>
                    <a:close/>
                    <a:moveTo>
                      <a:pt x="836" y="777"/>
                    </a:moveTo>
                    <a:lnTo>
                      <a:pt x="836" y="776"/>
                    </a:lnTo>
                    <a:lnTo>
                      <a:pt x="838" y="774"/>
                    </a:lnTo>
                    <a:lnTo>
                      <a:pt x="838" y="777"/>
                    </a:lnTo>
                    <a:lnTo>
                      <a:pt x="836" y="777"/>
                    </a:lnTo>
                    <a:lnTo>
                      <a:pt x="836" y="777"/>
                    </a:lnTo>
                    <a:close/>
                    <a:moveTo>
                      <a:pt x="836" y="779"/>
                    </a:moveTo>
                    <a:lnTo>
                      <a:pt x="834" y="774"/>
                    </a:lnTo>
                    <a:lnTo>
                      <a:pt x="833" y="776"/>
                    </a:lnTo>
                    <a:lnTo>
                      <a:pt x="834" y="777"/>
                    </a:lnTo>
                    <a:lnTo>
                      <a:pt x="836" y="779"/>
                    </a:lnTo>
                    <a:lnTo>
                      <a:pt x="836" y="779"/>
                    </a:lnTo>
                    <a:close/>
                    <a:moveTo>
                      <a:pt x="844" y="789"/>
                    </a:moveTo>
                    <a:lnTo>
                      <a:pt x="846" y="796"/>
                    </a:lnTo>
                    <a:lnTo>
                      <a:pt x="848" y="796"/>
                    </a:lnTo>
                    <a:lnTo>
                      <a:pt x="851" y="792"/>
                    </a:lnTo>
                    <a:lnTo>
                      <a:pt x="851" y="791"/>
                    </a:lnTo>
                    <a:lnTo>
                      <a:pt x="853" y="787"/>
                    </a:lnTo>
                    <a:lnTo>
                      <a:pt x="849" y="787"/>
                    </a:lnTo>
                    <a:lnTo>
                      <a:pt x="848" y="791"/>
                    </a:lnTo>
                    <a:lnTo>
                      <a:pt x="846" y="789"/>
                    </a:lnTo>
                    <a:lnTo>
                      <a:pt x="844" y="789"/>
                    </a:lnTo>
                    <a:lnTo>
                      <a:pt x="844" y="789"/>
                    </a:lnTo>
                    <a:close/>
                    <a:moveTo>
                      <a:pt x="838" y="816"/>
                    </a:moveTo>
                    <a:lnTo>
                      <a:pt x="836" y="809"/>
                    </a:lnTo>
                    <a:lnTo>
                      <a:pt x="839" y="807"/>
                    </a:lnTo>
                    <a:lnTo>
                      <a:pt x="839" y="804"/>
                    </a:lnTo>
                    <a:lnTo>
                      <a:pt x="843" y="799"/>
                    </a:lnTo>
                    <a:lnTo>
                      <a:pt x="843" y="801"/>
                    </a:lnTo>
                    <a:lnTo>
                      <a:pt x="843" y="804"/>
                    </a:lnTo>
                    <a:lnTo>
                      <a:pt x="844" y="806"/>
                    </a:lnTo>
                    <a:lnTo>
                      <a:pt x="843" y="807"/>
                    </a:lnTo>
                    <a:lnTo>
                      <a:pt x="844" y="811"/>
                    </a:lnTo>
                    <a:lnTo>
                      <a:pt x="841" y="812"/>
                    </a:lnTo>
                    <a:lnTo>
                      <a:pt x="839" y="814"/>
                    </a:lnTo>
                    <a:lnTo>
                      <a:pt x="838" y="816"/>
                    </a:lnTo>
                    <a:lnTo>
                      <a:pt x="838" y="816"/>
                    </a:lnTo>
                    <a:close/>
                    <a:moveTo>
                      <a:pt x="1017" y="716"/>
                    </a:moveTo>
                    <a:lnTo>
                      <a:pt x="1017" y="714"/>
                    </a:lnTo>
                    <a:lnTo>
                      <a:pt x="1019" y="713"/>
                    </a:lnTo>
                    <a:lnTo>
                      <a:pt x="1020" y="714"/>
                    </a:lnTo>
                    <a:lnTo>
                      <a:pt x="1019" y="718"/>
                    </a:lnTo>
                    <a:lnTo>
                      <a:pt x="1017" y="716"/>
                    </a:lnTo>
                    <a:lnTo>
                      <a:pt x="1017" y="716"/>
                    </a:lnTo>
                    <a:close/>
                    <a:moveTo>
                      <a:pt x="1077" y="683"/>
                    </a:moveTo>
                    <a:lnTo>
                      <a:pt x="1077" y="678"/>
                    </a:lnTo>
                    <a:lnTo>
                      <a:pt x="1075" y="676"/>
                    </a:lnTo>
                    <a:lnTo>
                      <a:pt x="1077" y="671"/>
                    </a:lnTo>
                    <a:lnTo>
                      <a:pt x="1079" y="669"/>
                    </a:lnTo>
                    <a:lnTo>
                      <a:pt x="1080" y="671"/>
                    </a:lnTo>
                    <a:lnTo>
                      <a:pt x="1080" y="674"/>
                    </a:lnTo>
                    <a:lnTo>
                      <a:pt x="1082" y="676"/>
                    </a:lnTo>
                    <a:lnTo>
                      <a:pt x="1080" y="679"/>
                    </a:lnTo>
                    <a:lnTo>
                      <a:pt x="1080" y="683"/>
                    </a:lnTo>
                    <a:lnTo>
                      <a:pt x="1077" y="683"/>
                    </a:lnTo>
                    <a:lnTo>
                      <a:pt x="1077" y="683"/>
                    </a:lnTo>
                    <a:close/>
                    <a:moveTo>
                      <a:pt x="1010" y="749"/>
                    </a:moveTo>
                    <a:lnTo>
                      <a:pt x="1010" y="747"/>
                    </a:lnTo>
                    <a:lnTo>
                      <a:pt x="1010" y="744"/>
                    </a:lnTo>
                    <a:lnTo>
                      <a:pt x="1012" y="742"/>
                    </a:lnTo>
                    <a:lnTo>
                      <a:pt x="1012" y="741"/>
                    </a:lnTo>
                    <a:lnTo>
                      <a:pt x="1015" y="737"/>
                    </a:lnTo>
                    <a:lnTo>
                      <a:pt x="1015" y="734"/>
                    </a:lnTo>
                    <a:lnTo>
                      <a:pt x="1010" y="734"/>
                    </a:lnTo>
                    <a:lnTo>
                      <a:pt x="1010" y="731"/>
                    </a:lnTo>
                    <a:lnTo>
                      <a:pt x="1012" y="728"/>
                    </a:lnTo>
                    <a:lnTo>
                      <a:pt x="1015" y="728"/>
                    </a:lnTo>
                    <a:lnTo>
                      <a:pt x="1015" y="724"/>
                    </a:lnTo>
                    <a:lnTo>
                      <a:pt x="1010" y="721"/>
                    </a:lnTo>
                    <a:lnTo>
                      <a:pt x="1009" y="723"/>
                    </a:lnTo>
                    <a:lnTo>
                      <a:pt x="1007" y="724"/>
                    </a:lnTo>
                    <a:lnTo>
                      <a:pt x="1005" y="726"/>
                    </a:lnTo>
                    <a:lnTo>
                      <a:pt x="1004" y="724"/>
                    </a:lnTo>
                    <a:lnTo>
                      <a:pt x="997" y="724"/>
                    </a:lnTo>
                    <a:lnTo>
                      <a:pt x="992" y="729"/>
                    </a:lnTo>
                    <a:lnTo>
                      <a:pt x="987" y="733"/>
                    </a:lnTo>
                    <a:lnTo>
                      <a:pt x="987" y="731"/>
                    </a:lnTo>
                    <a:lnTo>
                      <a:pt x="992" y="728"/>
                    </a:lnTo>
                    <a:lnTo>
                      <a:pt x="995" y="724"/>
                    </a:lnTo>
                    <a:lnTo>
                      <a:pt x="995" y="719"/>
                    </a:lnTo>
                    <a:lnTo>
                      <a:pt x="992" y="723"/>
                    </a:lnTo>
                    <a:lnTo>
                      <a:pt x="990" y="721"/>
                    </a:lnTo>
                    <a:lnTo>
                      <a:pt x="990" y="718"/>
                    </a:lnTo>
                    <a:lnTo>
                      <a:pt x="994" y="716"/>
                    </a:lnTo>
                    <a:lnTo>
                      <a:pt x="992" y="711"/>
                    </a:lnTo>
                    <a:lnTo>
                      <a:pt x="994" y="708"/>
                    </a:lnTo>
                    <a:lnTo>
                      <a:pt x="997" y="708"/>
                    </a:lnTo>
                    <a:lnTo>
                      <a:pt x="997" y="709"/>
                    </a:lnTo>
                    <a:lnTo>
                      <a:pt x="999" y="716"/>
                    </a:lnTo>
                    <a:lnTo>
                      <a:pt x="1002" y="718"/>
                    </a:lnTo>
                    <a:lnTo>
                      <a:pt x="1004" y="718"/>
                    </a:lnTo>
                    <a:lnTo>
                      <a:pt x="1009" y="718"/>
                    </a:lnTo>
                    <a:lnTo>
                      <a:pt x="1012" y="713"/>
                    </a:lnTo>
                    <a:lnTo>
                      <a:pt x="1009" y="711"/>
                    </a:lnTo>
                    <a:lnTo>
                      <a:pt x="1009" y="709"/>
                    </a:lnTo>
                    <a:lnTo>
                      <a:pt x="1012" y="708"/>
                    </a:lnTo>
                    <a:lnTo>
                      <a:pt x="1014" y="709"/>
                    </a:lnTo>
                    <a:lnTo>
                      <a:pt x="1017" y="709"/>
                    </a:lnTo>
                    <a:lnTo>
                      <a:pt x="1020" y="706"/>
                    </a:lnTo>
                    <a:lnTo>
                      <a:pt x="1022" y="701"/>
                    </a:lnTo>
                    <a:lnTo>
                      <a:pt x="1022" y="706"/>
                    </a:lnTo>
                    <a:lnTo>
                      <a:pt x="1024" y="706"/>
                    </a:lnTo>
                    <a:lnTo>
                      <a:pt x="1029" y="703"/>
                    </a:lnTo>
                    <a:lnTo>
                      <a:pt x="1025" y="709"/>
                    </a:lnTo>
                    <a:lnTo>
                      <a:pt x="1025" y="714"/>
                    </a:lnTo>
                    <a:lnTo>
                      <a:pt x="1027" y="714"/>
                    </a:lnTo>
                    <a:lnTo>
                      <a:pt x="1029" y="714"/>
                    </a:lnTo>
                    <a:lnTo>
                      <a:pt x="1027" y="718"/>
                    </a:lnTo>
                    <a:lnTo>
                      <a:pt x="1030" y="718"/>
                    </a:lnTo>
                    <a:lnTo>
                      <a:pt x="1032" y="713"/>
                    </a:lnTo>
                    <a:lnTo>
                      <a:pt x="1035" y="713"/>
                    </a:lnTo>
                    <a:lnTo>
                      <a:pt x="1039" y="706"/>
                    </a:lnTo>
                    <a:lnTo>
                      <a:pt x="1042" y="704"/>
                    </a:lnTo>
                    <a:lnTo>
                      <a:pt x="1040" y="709"/>
                    </a:lnTo>
                    <a:lnTo>
                      <a:pt x="1037" y="713"/>
                    </a:lnTo>
                    <a:lnTo>
                      <a:pt x="1037" y="719"/>
                    </a:lnTo>
                    <a:lnTo>
                      <a:pt x="1040" y="719"/>
                    </a:lnTo>
                    <a:lnTo>
                      <a:pt x="1044" y="721"/>
                    </a:lnTo>
                    <a:lnTo>
                      <a:pt x="1045" y="719"/>
                    </a:lnTo>
                    <a:lnTo>
                      <a:pt x="1052" y="714"/>
                    </a:lnTo>
                    <a:lnTo>
                      <a:pt x="1054" y="708"/>
                    </a:lnTo>
                    <a:lnTo>
                      <a:pt x="1055" y="703"/>
                    </a:lnTo>
                    <a:lnTo>
                      <a:pt x="1054" y="699"/>
                    </a:lnTo>
                    <a:lnTo>
                      <a:pt x="1055" y="698"/>
                    </a:lnTo>
                    <a:lnTo>
                      <a:pt x="1055" y="694"/>
                    </a:lnTo>
                    <a:lnTo>
                      <a:pt x="1052" y="694"/>
                    </a:lnTo>
                    <a:lnTo>
                      <a:pt x="1050" y="694"/>
                    </a:lnTo>
                    <a:lnTo>
                      <a:pt x="1047" y="696"/>
                    </a:lnTo>
                    <a:lnTo>
                      <a:pt x="1047" y="691"/>
                    </a:lnTo>
                    <a:lnTo>
                      <a:pt x="1049" y="689"/>
                    </a:lnTo>
                    <a:lnTo>
                      <a:pt x="1047" y="688"/>
                    </a:lnTo>
                    <a:lnTo>
                      <a:pt x="1044" y="688"/>
                    </a:lnTo>
                    <a:lnTo>
                      <a:pt x="1042" y="686"/>
                    </a:lnTo>
                    <a:lnTo>
                      <a:pt x="1039" y="683"/>
                    </a:lnTo>
                    <a:lnTo>
                      <a:pt x="1039" y="679"/>
                    </a:lnTo>
                    <a:lnTo>
                      <a:pt x="1035" y="673"/>
                    </a:lnTo>
                    <a:lnTo>
                      <a:pt x="1034" y="668"/>
                    </a:lnTo>
                    <a:lnTo>
                      <a:pt x="1037" y="663"/>
                    </a:lnTo>
                    <a:lnTo>
                      <a:pt x="1034" y="656"/>
                    </a:lnTo>
                    <a:lnTo>
                      <a:pt x="1032" y="661"/>
                    </a:lnTo>
                    <a:lnTo>
                      <a:pt x="1032" y="666"/>
                    </a:lnTo>
                    <a:lnTo>
                      <a:pt x="1029" y="661"/>
                    </a:lnTo>
                    <a:lnTo>
                      <a:pt x="1024" y="659"/>
                    </a:lnTo>
                    <a:lnTo>
                      <a:pt x="1022" y="649"/>
                    </a:lnTo>
                    <a:lnTo>
                      <a:pt x="1019" y="648"/>
                    </a:lnTo>
                    <a:lnTo>
                      <a:pt x="1017" y="641"/>
                    </a:lnTo>
                    <a:lnTo>
                      <a:pt x="1014" y="638"/>
                    </a:lnTo>
                    <a:lnTo>
                      <a:pt x="1014" y="633"/>
                    </a:lnTo>
                    <a:lnTo>
                      <a:pt x="1012" y="630"/>
                    </a:lnTo>
                    <a:lnTo>
                      <a:pt x="1012" y="628"/>
                    </a:lnTo>
                    <a:lnTo>
                      <a:pt x="1017" y="626"/>
                    </a:lnTo>
                    <a:lnTo>
                      <a:pt x="1019" y="621"/>
                    </a:lnTo>
                    <a:lnTo>
                      <a:pt x="1022" y="621"/>
                    </a:lnTo>
                    <a:lnTo>
                      <a:pt x="1024" y="623"/>
                    </a:lnTo>
                    <a:lnTo>
                      <a:pt x="1025" y="621"/>
                    </a:lnTo>
                    <a:lnTo>
                      <a:pt x="1027" y="618"/>
                    </a:lnTo>
                    <a:lnTo>
                      <a:pt x="1030" y="610"/>
                    </a:lnTo>
                    <a:lnTo>
                      <a:pt x="1030" y="603"/>
                    </a:lnTo>
                    <a:lnTo>
                      <a:pt x="1032" y="601"/>
                    </a:lnTo>
                    <a:lnTo>
                      <a:pt x="1029" y="595"/>
                    </a:lnTo>
                    <a:lnTo>
                      <a:pt x="1030" y="590"/>
                    </a:lnTo>
                    <a:lnTo>
                      <a:pt x="1034" y="588"/>
                    </a:lnTo>
                    <a:lnTo>
                      <a:pt x="1034" y="581"/>
                    </a:lnTo>
                    <a:lnTo>
                      <a:pt x="1039" y="576"/>
                    </a:lnTo>
                    <a:lnTo>
                      <a:pt x="1039" y="573"/>
                    </a:lnTo>
                    <a:lnTo>
                      <a:pt x="1042" y="570"/>
                    </a:lnTo>
                    <a:lnTo>
                      <a:pt x="1042" y="561"/>
                    </a:lnTo>
                    <a:lnTo>
                      <a:pt x="1044" y="560"/>
                    </a:lnTo>
                    <a:lnTo>
                      <a:pt x="1044" y="556"/>
                    </a:lnTo>
                    <a:lnTo>
                      <a:pt x="1049" y="551"/>
                    </a:lnTo>
                    <a:lnTo>
                      <a:pt x="1049" y="546"/>
                    </a:lnTo>
                    <a:lnTo>
                      <a:pt x="1049" y="543"/>
                    </a:lnTo>
                    <a:lnTo>
                      <a:pt x="1052" y="541"/>
                    </a:lnTo>
                    <a:lnTo>
                      <a:pt x="1054" y="538"/>
                    </a:lnTo>
                    <a:lnTo>
                      <a:pt x="1050" y="533"/>
                    </a:lnTo>
                    <a:lnTo>
                      <a:pt x="1052" y="530"/>
                    </a:lnTo>
                    <a:lnTo>
                      <a:pt x="1052" y="527"/>
                    </a:lnTo>
                    <a:lnTo>
                      <a:pt x="1047" y="525"/>
                    </a:lnTo>
                    <a:lnTo>
                      <a:pt x="1045" y="518"/>
                    </a:lnTo>
                    <a:lnTo>
                      <a:pt x="1047" y="517"/>
                    </a:lnTo>
                    <a:lnTo>
                      <a:pt x="1044" y="510"/>
                    </a:lnTo>
                    <a:lnTo>
                      <a:pt x="1039" y="508"/>
                    </a:lnTo>
                    <a:lnTo>
                      <a:pt x="1037" y="507"/>
                    </a:lnTo>
                    <a:lnTo>
                      <a:pt x="1035" y="507"/>
                    </a:lnTo>
                    <a:lnTo>
                      <a:pt x="1034" y="513"/>
                    </a:lnTo>
                    <a:lnTo>
                      <a:pt x="1032" y="513"/>
                    </a:lnTo>
                    <a:lnTo>
                      <a:pt x="1027" y="505"/>
                    </a:lnTo>
                    <a:lnTo>
                      <a:pt x="1024" y="503"/>
                    </a:lnTo>
                    <a:lnTo>
                      <a:pt x="1020" y="500"/>
                    </a:lnTo>
                    <a:lnTo>
                      <a:pt x="1017" y="502"/>
                    </a:lnTo>
                    <a:lnTo>
                      <a:pt x="1019" y="508"/>
                    </a:lnTo>
                    <a:lnTo>
                      <a:pt x="1017" y="508"/>
                    </a:lnTo>
                    <a:lnTo>
                      <a:pt x="1014" y="508"/>
                    </a:lnTo>
                    <a:lnTo>
                      <a:pt x="1010" y="513"/>
                    </a:lnTo>
                    <a:lnTo>
                      <a:pt x="1010" y="515"/>
                    </a:lnTo>
                    <a:lnTo>
                      <a:pt x="1007" y="517"/>
                    </a:lnTo>
                    <a:lnTo>
                      <a:pt x="1004" y="528"/>
                    </a:lnTo>
                    <a:lnTo>
                      <a:pt x="1004" y="532"/>
                    </a:lnTo>
                    <a:lnTo>
                      <a:pt x="1000" y="537"/>
                    </a:lnTo>
                    <a:lnTo>
                      <a:pt x="1000" y="541"/>
                    </a:lnTo>
                    <a:lnTo>
                      <a:pt x="999" y="541"/>
                    </a:lnTo>
                    <a:lnTo>
                      <a:pt x="999" y="546"/>
                    </a:lnTo>
                    <a:lnTo>
                      <a:pt x="995" y="548"/>
                    </a:lnTo>
                    <a:lnTo>
                      <a:pt x="995" y="556"/>
                    </a:lnTo>
                    <a:lnTo>
                      <a:pt x="990" y="558"/>
                    </a:lnTo>
                    <a:lnTo>
                      <a:pt x="989" y="558"/>
                    </a:lnTo>
                    <a:lnTo>
                      <a:pt x="986" y="565"/>
                    </a:lnTo>
                    <a:lnTo>
                      <a:pt x="987" y="568"/>
                    </a:lnTo>
                    <a:lnTo>
                      <a:pt x="986" y="571"/>
                    </a:lnTo>
                    <a:lnTo>
                      <a:pt x="986" y="576"/>
                    </a:lnTo>
                    <a:lnTo>
                      <a:pt x="982" y="580"/>
                    </a:lnTo>
                    <a:lnTo>
                      <a:pt x="984" y="583"/>
                    </a:lnTo>
                    <a:lnTo>
                      <a:pt x="984" y="586"/>
                    </a:lnTo>
                    <a:lnTo>
                      <a:pt x="979" y="586"/>
                    </a:lnTo>
                    <a:lnTo>
                      <a:pt x="981" y="590"/>
                    </a:lnTo>
                    <a:lnTo>
                      <a:pt x="986" y="591"/>
                    </a:lnTo>
                    <a:lnTo>
                      <a:pt x="986" y="595"/>
                    </a:lnTo>
                    <a:lnTo>
                      <a:pt x="982" y="593"/>
                    </a:lnTo>
                    <a:lnTo>
                      <a:pt x="979" y="593"/>
                    </a:lnTo>
                    <a:lnTo>
                      <a:pt x="976" y="596"/>
                    </a:lnTo>
                    <a:lnTo>
                      <a:pt x="972" y="595"/>
                    </a:lnTo>
                    <a:lnTo>
                      <a:pt x="971" y="598"/>
                    </a:lnTo>
                    <a:lnTo>
                      <a:pt x="971" y="601"/>
                    </a:lnTo>
                    <a:lnTo>
                      <a:pt x="967" y="603"/>
                    </a:lnTo>
                    <a:lnTo>
                      <a:pt x="964" y="601"/>
                    </a:lnTo>
                    <a:lnTo>
                      <a:pt x="964" y="598"/>
                    </a:lnTo>
                    <a:lnTo>
                      <a:pt x="966" y="595"/>
                    </a:lnTo>
                    <a:lnTo>
                      <a:pt x="962" y="591"/>
                    </a:lnTo>
                    <a:lnTo>
                      <a:pt x="962" y="585"/>
                    </a:lnTo>
                    <a:lnTo>
                      <a:pt x="966" y="578"/>
                    </a:lnTo>
                    <a:lnTo>
                      <a:pt x="967" y="573"/>
                    </a:lnTo>
                    <a:lnTo>
                      <a:pt x="971" y="570"/>
                    </a:lnTo>
                    <a:lnTo>
                      <a:pt x="971" y="566"/>
                    </a:lnTo>
                    <a:lnTo>
                      <a:pt x="972" y="563"/>
                    </a:lnTo>
                    <a:lnTo>
                      <a:pt x="974" y="553"/>
                    </a:lnTo>
                    <a:lnTo>
                      <a:pt x="981" y="551"/>
                    </a:lnTo>
                    <a:lnTo>
                      <a:pt x="981" y="546"/>
                    </a:lnTo>
                    <a:lnTo>
                      <a:pt x="977" y="546"/>
                    </a:lnTo>
                    <a:lnTo>
                      <a:pt x="976" y="546"/>
                    </a:lnTo>
                    <a:lnTo>
                      <a:pt x="976" y="543"/>
                    </a:lnTo>
                    <a:lnTo>
                      <a:pt x="979" y="540"/>
                    </a:lnTo>
                    <a:lnTo>
                      <a:pt x="979" y="532"/>
                    </a:lnTo>
                    <a:lnTo>
                      <a:pt x="977" y="530"/>
                    </a:lnTo>
                    <a:lnTo>
                      <a:pt x="976" y="525"/>
                    </a:lnTo>
                    <a:lnTo>
                      <a:pt x="976" y="523"/>
                    </a:lnTo>
                    <a:lnTo>
                      <a:pt x="977" y="517"/>
                    </a:lnTo>
                    <a:lnTo>
                      <a:pt x="974" y="517"/>
                    </a:lnTo>
                    <a:lnTo>
                      <a:pt x="969" y="512"/>
                    </a:lnTo>
                    <a:lnTo>
                      <a:pt x="962" y="513"/>
                    </a:lnTo>
                    <a:lnTo>
                      <a:pt x="961" y="518"/>
                    </a:lnTo>
                    <a:lnTo>
                      <a:pt x="966" y="522"/>
                    </a:lnTo>
                    <a:lnTo>
                      <a:pt x="966" y="525"/>
                    </a:lnTo>
                    <a:lnTo>
                      <a:pt x="967" y="528"/>
                    </a:lnTo>
                    <a:lnTo>
                      <a:pt x="967" y="532"/>
                    </a:lnTo>
                    <a:lnTo>
                      <a:pt x="964" y="532"/>
                    </a:lnTo>
                    <a:lnTo>
                      <a:pt x="962" y="527"/>
                    </a:lnTo>
                    <a:lnTo>
                      <a:pt x="961" y="527"/>
                    </a:lnTo>
                    <a:lnTo>
                      <a:pt x="957" y="532"/>
                    </a:lnTo>
                    <a:lnTo>
                      <a:pt x="961" y="533"/>
                    </a:lnTo>
                    <a:lnTo>
                      <a:pt x="961" y="537"/>
                    </a:lnTo>
                    <a:lnTo>
                      <a:pt x="962" y="541"/>
                    </a:lnTo>
                    <a:lnTo>
                      <a:pt x="961" y="543"/>
                    </a:lnTo>
                    <a:lnTo>
                      <a:pt x="961" y="541"/>
                    </a:lnTo>
                    <a:lnTo>
                      <a:pt x="957" y="540"/>
                    </a:lnTo>
                    <a:lnTo>
                      <a:pt x="957" y="545"/>
                    </a:lnTo>
                    <a:lnTo>
                      <a:pt x="952" y="541"/>
                    </a:lnTo>
                    <a:lnTo>
                      <a:pt x="952" y="538"/>
                    </a:lnTo>
                    <a:lnTo>
                      <a:pt x="949" y="540"/>
                    </a:lnTo>
                    <a:lnTo>
                      <a:pt x="947" y="543"/>
                    </a:lnTo>
                    <a:lnTo>
                      <a:pt x="946" y="543"/>
                    </a:lnTo>
                    <a:lnTo>
                      <a:pt x="946" y="538"/>
                    </a:lnTo>
                    <a:lnTo>
                      <a:pt x="947" y="535"/>
                    </a:lnTo>
                    <a:lnTo>
                      <a:pt x="947" y="535"/>
                    </a:lnTo>
                    <a:lnTo>
                      <a:pt x="941" y="537"/>
                    </a:lnTo>
                    <a:lnTo>
                      <a:pt x="936" y="541"/>
                    </a:lnTo>
                    <a:lnTo>
                      <a:pt x="932" y="537"/>
                    </a:lnTo>
                    <a:lnTo>
                      <a:pt x="929" y="537"/>
                    </a:lnTo>
                    <a:lnTo>
                      <a:pt x="926" y="540"/>
                    </a:lnTo>
                    <a:lnTo>
                      <a:pt x="921" y="540"/>
                    </a:lnTo>
                    <a:lnTo>
                      <a:pt x="919" y="537"/>
                    </a:lnTo>
                    <a:lnTo>
                      <a:pt x="914" y="538"/>
                    </a:lnTo>
                    <a:lnTo>
                      <a:pt x="911" y="537"/>
                    </a:lnTo>
                    <a:lnTo>
                      <a:pt x="916" y="533"/>
                    </a:lnTo>
                    <a:lnTo>
                      <a:pt x="921" y="532"/>
                    </a:lnTo>
                    <a:lnTo>
                      <a:pt x="924" y="533"/>
                    </a:lnTo>
                    <a:lnTo>
                      <a:pt x="929" y="532"/>
                    </a:lnTo>
                    <a:lnTo>
                      <a:pt x="931" y="528"/>
                    </a:lnTo>
                    <a:lnTo>
                      <a:pt x="934" y="528"/>
                    </a:lnTo>
                    <a:lnTo>
                      <a:pt x="937" y="528"/>
                    </a:lnTo>
                    <a:lnTo>
                      <a:pt x="941" y="525"/>
                    </a:lnTo>
                    <a:lnTo>
                      <a:pt x="941" y="522"/>
                    </a:lnTo>
                    <a:lnTo>
                      <a:pt x="942" y="518"/>
                    </a:lnTo>
                    <a:lnTo>
                      <a:pt x="939" y="517"/>
                    </a:lnTo>
                    <a:lnTo>
                      <a:pt x="936" y="510"/>
                    </a:lnTo>
                    <a:lnTo>
                      <a:pt x="929" y="508"/>
                    </a:lnTo>
                    <a:lnTo>
                      <a:pt x="929" y="505"/>
                    </a:lnTo>
                    <a:lnTo>
                      <a:pt x="922" y="498"/>
                    </a:lnTo>
                    <a:lnTo>
                      <a:pt x="921" y="497"/>
                    </a:lnTo>
                    <a:lnTo>
                      <a:pt x="917" y="497"/>
                    </a:lnTo>
                    <a:lnTo>
                      <a:pt x="911" y="500"/>
                    </a:lnTo>
                    <a:lnTo>
                      <a:pt x="909" y="500"/>
                    </a:lnTo>
                    <a:lnTo>
                      <a:pt x="901" y="507"/>
                    </a:lnTo>
                    <a:lnTo>
                      <a:pt x="902" y="508"/>
                    </a:lnTo>
                    <a:lnTo>
                      <a:pt x="902" y="512"/>
                    </a:lnTo>
                    <a:lnTo>
                      <a:pt x="899" y="512"/>
                    </a:lnTo>
                    <a:lnTo>
                      <a:pt x="896" y="513"/>
                    </a:lnTo>
                    <a:lnTo>
                      <a:pt x="896" y="512"/>
                    </a:lnTo>
                    <a:lnTo>
                      <a:pt x="892" y="513"/>
                    </a:lnTo>
                    <a:lnTo>
                      <a:pt x="889" y="510"/>
                    </a:lnTo>
                    <a:lnTo>
                      <a:pt x="884" y="510"/>
                    </a:lnTo>
                    <a:lnTo>
                      <a:pt x="883" y="512"/>
                    </a:lnTo>
                    <a:lnTo>
                      <a:pt x="878" y="512"/>
                    </a:lnTo>
                    <a:lnTo>
                      <a:pt x="876" y="510"/>
                    </a:lnTo>
                    <a:lnTo>
                      <a:pt x="878" y="508"/>
                    </a:lnTo>
                    <a:lnTo>
                      <a:pt x="884" y="508"/>
                    </a:lnTo>
                    <a:lnTo>
                      <a:pt x="886" y="503"/>
                    </a:lnTo>
                    <a:lnTo>
                      <a:pt x="889" y="502"/>
                    </a:lnTo>
                    <a:lnTo>
                      <a:pt x="892" y="503"/>
                    </a:lnTo>
                    <a:lnTo>
                      <a:pt x="896" y="498"/>
                    </a:lnTo>
                    <a:lnTo>
                      <a:pt x="896" y="493"/>
                    </a:lnTo>
                    <a:lnTo>
                      <a:pt x="899" y="492"/>
                    </a:lnTo>
                    <a:lnTo>
                      <a:pt x="902" y="492"/>
                    </a:lnTo>
                    <a:lnTo>
                      <a:pt x="906" y="485"/>
                    </a:lnTo>
                    <a:lnTo>
                      <a:pt x="906" y="478"/>
                    </a:lnTo>
                    <a:lnTo>
                      <a:pt x="906" y="475"/>
                    </a:lnTo>
                    <a:lnTo>
                      <a:pt x="906" y="472"/>
                    </a:lnTo>
                    <a:lnTo>
                      <a:pt x="901" y="472"/>
                    </a:lnTo>
                    <a:lnTo>
                      <a:pt x="894" y="473"/>
                    </a:lnTo>
                    <a:lnTo>
                      <a:pt x="884" y="475"/>
                    </a:lnTo>
                    <a:lnTo>
                      <a:pt x="876" y="478"/>
                    </a:lnTo>
                    <a:lnTo>
                      <a:pt x="858" y="480"/>
                    </a:lnTo>
                    <a:lnTo>
                      <a:pt x="836" y="488"/>
                    </a:lnTo>
                    <a:lnTo>
                      <a:pt x="831" y="493"/>
                    </a:lnTo>
                    <a:lnTo>
                      <a:pt x="818" y="495"/>
                    </a:lnTo>
                    <a:lnTo>
                      <a:pt x="799" y="503"/>
                    </a:lnTo>
                    <a:lnTo>
                      <a:pt x="794" y="508"/>
                    </a:lnTo>
                    <a:lnTo>
                      <a:pt x="793" y="512"/>
                    </a:lnTo>
                    <a:lnTo>
                      <a:pt x="798" y="512"/>
                    </a:lnTo>
                    <a:lnTo>
                      <a:pt x="799" y="513"/>
                    </a:lnTo>
                    <a:lnTo>
                      <a:pt x="794" y="517"/>
                    </a:lnTo>
                    <a:lnTo>
                      <a:pt x="791" y="517"/>
                    </a:lnTo>
                    <a:lnTo>
                      <a:pt x="783" y="523"/>
                    </a:lnTo>
                    <a:lnTo>
                      <a:pt x="776" y="523"/>
                    </a:lnTo>
                    <a:lnTo>
                      <a:pt x="773" y="527"/>
                    </a:lnTo>
                    <a:lnTo>
                      <a:pt x="771" y="530"/>
                    </a:lnTo>
                    <a:lnTo>
                      <a:pt x="765" y="535"/>
                    </a:lnTo>
                    <a:lnTo>
                      <a:pt x="763" y="538"/>
                    </a:lnTo>
                    <a:lnTo>
                      <a:pt x="761" y="543"/>
                    </a:lnTo>
                    <a:lnTo>
                      <a:pt x="765" y="541"/>
                    </a:lnTo>
                    <a:lnTo>
                      <a:pt x="768" y="543"/>
                    </a:lnTo>
                    <a:lnTo>
                      <a:pt x="766" y="546"/>
                    </a:lnTo>
                    <a:lnTo>
                      <a:pt x="768" y="548"/>
                    </a:lnTo>
                    <a:lnTo>
                      <a:pt x="771" y="546"/>
                    </a:lnTo>
                    <a:lnTo>
                      <a:pt x="775" y="545"/>
                    </a:lnTo>
                    <a:lnTo>
                      <a:pt x="780" y="545"/>
                    </a:lnTo>
                    <a:lnTo>
                      <a:pt x="783" y="548"/>
                    </a:lnTo>
                    <a:lnTo>
                      <a:pt x="781" y="551"/>
                    </a:lnTo>
                    <a:lnTo>
                      <a:pt x="776" y="553"/>
                    </a:lnTo>
                    <a:lnTo>
                      <a:pt x="771" y="550"/>
                    </a:lnTo>
                    <a:lnTo>
                      <a:pt x="768" y="551"/>
                    </a:lnTo>
                    <a:lnTo>
                      <a:pt x="768" y="556"/>
                    </a:lnTo>
                    <a:lnTo>
                      <a:pt x="776" y="560"/>
                    </a:lnTo>
                    <a:lnTo>
                      <a:pt x="780" y="558"/>
                    </a:lnTo>
                    <a:lnTo>
                      <a:pt x="781" y="555"/>
                    </a:lnTo>
                    <a:lnTo>
                      <a:pt x="783" y="555"/>
                    </a:lnTo>
                    <a:lnTo>
                      <a:pt x="785" y="556"/>
                    </a:lnTo>
                    <a:lnTo>
                      <a:pt x="783" y="560"/>
                    </a:lnTo>
                    <a:lnTo>
                      <a:pt x="786" y="560"/>
                    </a:lnTo>
                    <a:lnTo>
                      <a:pt x="794" y="561"/>
                    </a:lnTo>
                    <a:lnTo>
                      <a:pt x="803" y="560"/>
                    </a:lnTo>
                    <a:lnTo>
                      <a:pt x="808" y="560"/>
                    </a:lnTo>
                    <a:lnTo>
                      <a:pt x="814" y="561"/>
                    </a:lnTo>
                    <a:lnTo>
                      <a:pt x="819" y="561"/>
                    </a:lnTo>
                    <a:lnTo>
                      <a:pt x="824" y="563"/>
                    </a:lnTo>
                    <a:lnTo>
                      <a:pt x="826" y="566"/>
                    </a:lnTo>
                    <a:lnTo>
                      <a:pt x="829" y="566"/>
                    </a:lnTo>
                    <a:lnTo>
                      <a:pt x="829" y="570"/>
                    </a:lnTo>
                    <a:lnTo>
                      <a:pt x="824" y="570"/>
                    </a:lnTo>
                    <a:lnTo>
                      <a:pt x="818" y="565"/>
                    </a:lnTo>
                    <a:lnTo>
                      <a:pt x="809" y="565"/>
                    </a:lnTo>
                    <a:lnTo>
                      <a:pt x="808" y="566"/>
                    </a:lnTo>
                    <a:lnTo>
                      <a:pt x="813" y="568"/>
                    </a:lnTo>
                    <a:lnTo>
                      <a:pt x="814" y="571"/>
                    </a:lnTo>
                    <a:lnTo>
                      <a:pt x="806" y="571"/>
                    </a:lnTo>
                    <a:lnTo>
                      <a:pt x="803" y="568"/>
                    </a:lnTo>
                    <a:lnTo>
                      <a:pt x="793" y="570"/>
                    </a:lnTo>
                    <a:lnTo>
                      <a:pt x="790" y="571"/>
                    </a:lnTo>
                    <a:lnTo>
                      <a:pt x="786" y="570"/>
                    </a:lnTo>
                    <a:lnTo>
                      <a:pt x="785" y="570"/>
                    </a:lnTo>
                    <a:lnTo>
                      <a:pt x="781" y="571"/>
                    </a:lnTo>
                    <a:lnTo>
                      <a:pt x="776" y="570"/>
                    </a:lnTo>
                    <a:lnTo>
                      <a:pt x="765" y="571"/>
                    </a:lnTo>
                    <a:lnTo>
                      <a:pt x="763" y="573"/>
                    </a:lnTo>
                    <a:lnTo>
                      <a:pt x="755" y="575"/>
                    </a:lnTo>
                    <a:lnTo>
                      <a:pt x="753" y="578"/>
                    </a:lnTo>
                    <a:lnTo>
                      <a:pt x="755" y="591"/>
                    </a:lnTo>
                    <a:lnTo>
                      <a:pt x="755" y="593"/>
                    </a:lnTo>
                    <a:lnTo>
                      <a:pt x="755" y="598"/>
                    </a:lnTo>
                    <a:lnTo>
                      <a:pt x="753" y="598"/>
                    </a:lnTo>
                    <a:lnTo>
                      <a:pt x="755" y="601"/>
                    </a:lnTo>
                    <a:lnTo>
                      <a:pt x="756" y="603"/>
                    </a:lnTo>
                    <a:lnTo>
                      <a:pt x="760" y="603"/>
                    </a:lnTo>
                    <a:lnTo>
                      <a:pt x="763" y="603"/>
                    </a:lnTo>
                    <a:lnTo>
                      <a:pt x="766" y="605"/>
                    </a:lnTo>
                    <a:lnTo>
                      <a:pt x="770" y="605"/>
                    </a:lnTo>
                    <a:lnTo>
                      <a:pt x="771" y="603"/>
                    </a:lnTo>
                    <a:lnTo>
                      <a:pt x="771" y="603"/>
                    </a:lnTo>
                    <a:lnTo>
                      <a:pt x="775" y="605"/>
                    </a:lnTo>
                    <a:lnTo>
                      <a:pt x="776" y="606"/>
                    </a:lnTo>
                    <a:lnTo>
                      <a:pt x="780" y="605"/>
                    </a:lnTo>
                    <a:lnTo>
                      <a:pt x="783" y="608"/>
                    </a:lnTo>
                    <a:lnTo>
                      <a:pt x="783" y="610"/>
                    </a:lnTo>
                    <a:lnTo>
                      <a:pt x="786" y="611"/>
                    </a:lnTo>
                    <a:lnTo>
                      <a:pt x="790" y="610"/>
                    </a:lnTo>
                    <a:lnTo>
                      <a:pt x="793" y="610"/>
                    </a:lnTo>
                    <a:lnTo>
                      <a:pt x="794" y="611"/>
                    </a:lnTo>
                    <a:lnTo>
                      <a:pt x="799" y="611"/>
                    </a:lnTo>
                    <a:lnTo>
                      <a:pt x="803" y="611"/>
                    </a:lnTo>
                    <a:lnTo>
                      <a:pt x="808" y="613"/>
                    </a:lnTo>
                    <a:lnTo>
                      <a:pt x="811" y="611"/>
                    </a:lnTo>
                    <a:lnTo>
                      <a:pt x="814" y="611"/>
                    </a:lnTo>
                    <a:lnTo>
                      <a:pt x="819" y="613"/>
                    </a:lnTo>
                    <a:lnTo>
                      <a:pt x="824" y="611"/>
                    </a:lnTo>
                    <a:lnTo>
                      <a:pt x="828" y="613"/>
                    </a:lnTo>
                    <a:lnTo>
                      <a:pt x="829" y="616"/>
                    </a:lnTo>
                    <a:lnTo>
                      <a:pt x="833" y="615"/>
                    </a:lnTo>
                    <a:lnTo>
                      <a:pt x="834" y="618"/>
                    </a:lnTo>
                    <a:lnTo>
                      <a:pt x="838" y="621"/>
                    </a:lnTo>
                    <a:lnTo>
                      <a:pt x="838" y="623"/>
                    </a:lnTo>
                    <a:lnTo>
                      <a:pt x="839" y="625"/>
                    </a:lnTo>
                    <a:lnTo>
                      <a:pt x="844" y="625"/>
                    </a:lnTo>
                    <a:lnTo>
                      <a:pt x="848" y="626"/>
                    </a:lnTo>
                    <a:lnTo>
                      <a:pt x="848" y="628"/>
                    </a:lnTo>
                    <a:lnTo>
                      <a:pt x="851" y="630"/>
                    </a:lnTo>
                    <a:lnTo>
                      <a:pt x="853" y="633"/>
                    </a:lnTo>
                    <a:lnTo>
                      <a:pt x="853" y="635"/>
                    </a:lnTo>
                    <a:lnTo>
                      <a:pt x="853" y="636"/>
                    </a:lnTo>
                    <a:lnTo>
                      <a:pt x="856" y="641"/>
                    </a:lnTo>
                    <a:lnTo>
                      <a:pt x="863" y="644"/>
                    </a:lnTo>
                    <a:lnTo>
                      <a:pt x="863" y="646"/>
                    </a:lnTo>
                    <a:lnTo>
                      <a:pt x="861" y="648"/>
                    </a:lnTo>
                    <a:lnTo>
                      <a:pt x="863" y="651"/>
                    </a:lnTo>
                    <a:lnTo>
                      <a:pt x="861" y="649"/>
                    </a:lnTo>
                    <a:lnTo>
                      <a:pt x="853" y="648"/>
                    </a:lnTo>
                    <a:lnTo>
                      <a:pt x="844" y="646"/>
                    </a:lnTo>
                    <a:lnTo>
                      <a:pt x="841" y="646"/>
                    </a:lnTo>
                    <a:lnTo>
                      <a:pt x="838" y="646"/>
                    </a:lnTo>
                    <a:lnTo>
                      <a:pt x="836" y="646"/>
                    </a:lnTo>
                    <a:lnTo>
                      <a:pt x="833" y="646"/>
                    </a:lnTo>
                    <a:lnTo>
                      <a:pt x="829" y="643"/>
                    </a:lnTo>
                    <a:lnTo>
                      <a:pt x="826" y="643"/>
                    </a:lnTo>
                    <a:lnTo>
                      <a:pt x="824" y="639"/>
                    </a:lnTo>
                    <a:lnTo>
                      <a:pt x="823" y="638"/>
                    </a:lnTo>
                    <a:lnTo>
                      <a:pt x="816" y="639"/>
                    </a:lnTo>
                    <a:lnTo>
                      <a:pt x="814" y="638"/>
                    </a:lnTo>
                    <a:lnTo>
                      <a:pt x="811" y="636"/>
                    </a:lnTo>
                    <a:lnTo>
                      <a:pt x="806" y="635"/>
                    </a:lnTo>
                    <a:lnTo>
                      <a:pt x="806" y="631"/>
                    </a:lnTo>
                    <a:lnTo>
                      <a:pt x="804" y="631"/>
                    </a:lnTo>
                    <a:lnTo>
                      <a:pt x="801" y="631"/>
                    </a:lnTo>
                    <a:lnTo>
                      <a:pt x="796" y="631"/>
                    </a:lnTo>
                    <a:lnTo>
                      <a:pt x="794" y="630"/>
                    </a:lnTo>
                    <a:lnTo>
                      <a:pt x="783" y="630"/>
                    </a:lnTo>
                    <a:lnTo>
                      <a:pt x="776" y="630"/>
                    </a:lnTo>
                    <a:lnTo>
                      <a:pt x="771" y="628"/>
                    </a:lnTo>
                    <a:lnTo>
                      <a:pt x="753" y="628"/>
                    </a:lnTo>
                    <a:lnTo>
                      <a:pt x="750" y="630"/>
                    </a:lnTo>
                    <a:lnTo>
                      <a:pt x="745" y="631"/>
                    </a:lnTo>
                    <a:lnTo>
                      <a:pt x="741" y="635"/>
                    </a:lnTo>
                    <a:lnTo>
                      <a:pt x="741" y="641"/>
                    </a:lnTo>
                    <a:lnTo>
                      <a:pt x="736" y="646"/>
                    </a:lnTo>
                    <a:lnTo>
                      <a:pt x="738" y="653"/>
                    </a:lnTo>
                    <a:lnTo>
                      <a:pt x="736" y="656"/>
                    </a:lnTo>
                    <a:lnTo>
                      <a:pt x="738" y="658"/>
                    </a:lnTo>
                    <a:lnTo>
                      <a:pt x="741" y="659"/>
                    </a:lnTo>
                    <a:lnTo>
                      <a:pt x="740" y="661"/>
                    </a:lnTo>
                    <a:lnTo>
                      <a:pt x="738" y="663"/>
                    </a:lnTo>
                    <a:lnTo>
                      <a:pt x="741" y="671"/>
                    </a:lnTo>
                    <a:lnTo>
                      <a:pt x="745" y="674"/>
                    </a:lnTo>
                    <a:lnTo>
                      <a:pt x="746" y="676"/>
                    </a:lnTo>
                    <a:lnTo>
                      <a:pt x="753" y="681"/>
                    </a:lnTo>
                    <a:lnTo>
                      <a:pt x="756" y="683"/>
                    </a:lnTo>
                    <a:lnTo>
                      <a:pt x="760" y="681"/>
                    </a:lnTo>
                    <a:lnTo>
                      <a:pt x="761" y="684"/>
                    </a:lnTo>
                    <a:lnTo>
                      <a:pt x="765" y="684"/>
                    </a:lnTo>
                    <a:lnTo>
                      <a:pt x="770" y="683"/>
                    </a:lnTo>
                    <a:lnTo>
                      <a:pt x="773" y="683"/>
                    </a:lnTo>
                    <a:lnTo>
                      <a:pt x="776" y="686"/>
                    </a:lnTo>
                    <a:lnTo>
                      <a:pt x="781" y="686"/>
                    </a:lnTo>
                    <a:lnTo>
                      <a:pt x="785" y="691"/>
                    </a:lnTo>
                    <a:lnTo>
                      <a:pt x="788" y="691"/>
                    </a:lnTo>
                    <a:lnTo>
                      <a:pt x="790" y="694"/>
                    </a:lnTo>
                    <a:lnTo>
                      <a:pt x="783" y="696"/>
                    </a:lnTo>
                    <a:lnTo>
                      <a:pt x="785" y="698"/>
                    </a:lnTo>
                    <a:lnTo>
                      <a:pt x="781" y="701"/>
                    </a:lnTo>
                    <a:lnTo>
                      <a:pt x="783" y="703"/>
                    </a:lnTo>
                    <a:lnTo>
                      <a:pt x="780" y="706"/>
                    </a:lnTo>
                    <a:lnTo>
                      <a:pt x="775" y="708"/>
                    </a:lnTo>
                    <a:lnTo>
                      <a:pt x="775" y="711"/>
                    </a:lnTo>
                    <a:lnTo>
                      <a:pt x="773" y="713"/>
                    </a:lnTo>
                    <a:lnTo>
                      <a:pt x="776" y="716"/>
                    </a:lnTo>
                    <a:lnTo>
                      <a:pt x="776" y="721"/>
                    </a:lnTo>
                    <a:lnTo>
                      <a:pt x="780" y="726"/>
                    </a:lnTo>
                    <a:lnTo>
                      <a:pt x="778" y="728"/>
                    </a:lnTo>
                    <a:lnTo>
                      <a:pt x="773" y="729"/>
                    </a:lnTo>
                    <a:lnTo>
                      <a:pt x="775" y="731"/>
                    </a:lnTo>
                    <a:lnTo>
                      <a:pt x="783" y="733"/>
                    </a:lnTo>
                    <a:lnTo>
                      <a:pt x="786" y="733"/>
                    </a:lnTo>
                    <a:lnTo>
                      <a:pt x="788" y="733"/>
                    </a:lnTo>
                    <a:lnTo>
                      <a:pt x="790" y="734"/>
                    </a:lnTo>
                    <a:lnTo>
                      <a:pt x="791" y="731"/>
                    </a:lnTo>
                    <a:lnTo>
                      <a:pt x="794" y="731"/>
                    </a:lnTo>
                    <a:lnTo>
                      <a:pt x="796" y="733"/>
                    </a:lnTo>
                    <a:lnTo>
                      <a:pt x="803" y="733"/>
                    </a:lnTo>
                    <a:lnTo>
                      <a:pt x="809" y="736"/>
                    </a:lnTo>
                    <a:lnTo>
                      <a:pt x="813" y="733"/>
                    </a:lnTo>
                    <a:lnTo>
                      <a:pt x="819" y="733"/>
                    </a:lnTo>
                    <a:lnTo>
                      <a:pt x="821" y="734"/>
                    </a:lnTo>
                    <a:lnTo>
                      <a:pt x="821" y="734"/>
                    </a:lnTo>
                    <a:lnTo>
                      <a:pt x="823" y="734"/>
                    </a:lnTo>
                    <a:lnTo>
                      <a:pt x="826" y="733"/>
                    </a:lnTo>
                    <a:lnTo>
                      <a:pt x="829" y="734"/>
                    </a:lnTo>
                    <a:lnTo>
                      <a:pt x="829" y="736"/>
                    </a:lnTo>
                    <a:lnTo>
                      <a:pt x="833" y="736"/>
                    </a:lnTo>
                    <a:lnTo>
                      <a:pt x="834" y="734"/>
                    </a:lnTo>
                    <a:lnTo>
                      <a:pt x="836" y="736"/>
                    </a:lnTo>
                    <a:lnTo>
                      <a:pt x="838" y="739"/>
                    </a:lnTo>
                    <a:lnTo>
                      <a:pt x="839" y="739"/>
                    </a:lnTo>
                    <a:lnTo>
                      <a:pt x="841" y="737"/>
                    </a:lnTo>
                    <a:lnTo>
                      <a:pt x="848" y="737"/>
                    </a:lnTo>
                    <a:lnTo>
                      <a:pt x="851" y="734"/>
                    </a:lnTo>
                    <a:lnTo>
                      <a:pt x="854" y="733"/>
                    </a:lnTo>
                    <a:lnTo>
                      <a:pt x="858" y="733"/>
                    </a:lnTo>
                    <a:lnTo>
                      <a:pt x="863" y="729"/>
                    </a:lnTo>
                    <a:lnTo>
                      <a:pt x="869" y="726"/>
                    </a:lnTo>
                    <a:lnTo>
                      <a:pt x="873" y="726"/>
                    </a:lnTo>
                    <a:lnTo>
                      <a:pt x="874" y="724"/>
                    </a:lnTo>
                    <a:lnTo>
                      <a:pt x="878" y="724"/>
                    </a:lnTo>
                    <a:lnTo>
                      <a:pt x="883" y="724"/>
                    </a:lnTo>
                    <a:lnTo>
                      <a:pt x="886" y="724"/>
                    </a:lnTo>
                    <a:lnTo>
                      <a:pt x="888" y="726"/>
                    </a:lnTo>
                    <a:lnTo>
                      <a:pt x="897" y="726"/>
                    </a:lnTo>
                    <a:lnTo>
                      <a:pt x="907" y="719"/>
                    </a:lnTo>
                    <a:lnTo>
                      <a:pt x="909" y="718"/>
                    </a:lnTo>
                    <a:lnTo>
                      <a:pt x="911" y="718"/>
                    </a:lnTo>
                    <a:lnTo>
                      <a:pt x="912" y="718"/>
                    </a:lnTo>
                    <a:lnTo>
                      <a:pt x="914" y="716"/>
                    </a:lnTo>
                    <a:lnTo>
                      <a:pt x="917" y="714"/>
                    </a:lnTo>
                    <a:lnTo>
                      <a:pt x="917" y="711"/>
                    </a:lnTo>
                    <a:lnTo>
                      <a:pt x="919" y="709"/>
                    </a:lnTo>
                    <a:lnTo>
                      <a:pt x="921" y="711"/>
                    </a:lnTo>
                    <a:lnTo>
                      <a:pt x="922" y="709"/>
                    </a:lnTo>
                    <a:lnTo>
                      <a:pt x="924" y="708"/>
                    </a:lnTo>
                    <a:lnTo>
                      <a:pt x="924" y="706"/>
                    </a:lnTo>
                    <a:lnTo>
                      <a:pt x="926" y="706"/>
                    </a:lnTo>
                    <a:lnTo>
                      <a:pt x="929" y="706"/>
                    </a:lnTo>
                    <a:lnTo>
                      <a:pt x="931" y="708"/>
                    </a:lnTo>
                    <a:lnTo>
                      <a:pt x="931" y="711"/>
                    </a:lnTo>
                    <a:lnTo>
                      <a:pt x="932" y="713"/>
                    </a:lnTo>
                    <a:lnTo>
                      <a:pt x="929" y="714"/>
                    </a:lnTo>
                    <a:lnTo>
                      <a:pt x="929" y="718"/>
                    </a:lnTo>
                    <a:lnTo>
                      <a:pt x="926" y="721"/>
                    </a:lnTo>
                    <a:lnTo>
                      <a:pt x="924" y="721"/>
                    </a:lnTo>
                    <a:lnTo>
                      <a:pt x="924" y="723"/>
                    </a:lnTo>
                    <a:lnTo>
                      <a:pt x="927" y="724"/>
                    </a:lnTo>
                    <a:lnTo>
                      <a:pt x="931" y="726"/>
                    </a:lnTo>
                    <a:lnTo>
                      <a:pt x="932" y="726"/>
                    </a:lnTo>
                    <a:lnTo>
                      <a:pt x="936" y="724"/>
                    </a:lnTo>
                    <a:lnTo>
                      <a:pt x="939" y="726"/>
                    </a:lnTo>
                    <a:lnTo>
                      <a:pt x="941" y="731"/>
                    </a:lnTo>
                    <a:lnTo>
                      <a:pt x="942" y="733"/>
                    </a:lnTo>
                    <a:lnTo>
                      <a:pt x="944" y="731"/>
                    </a:lnTo>
                    <a:lnTo>
                      <a:pt x="944" y="729"/>
                    </a:lnTo>
                    <a:lnTo>
                      <a:pt x="947" y="731"/>
                    </a:lnTo>
                    <a:lnTo>
                      <a:pt x="947" y="733"/>
                    </a:lnTo>
                    <a:lnTo>
                      <a:pt x="944" y="736"/>
                    </a:lnTo>
                    <a:lnTo>
                      <a:pt x="941" y="736"/>
                    </a:lnTo>
                    <a:lnTo>
                      <a:pt x="939" y="739"/>
                    </a:lnTo>
                    <a:lnTo>
                      <a:pt x="939" y="741"/>
                    </a:lnTo>
                    <a:lnTo>
                      <a:pt x="942" y="741"/>
                    </a:lnTo>
                    <a:lnTo>
                      <a:pt x="944" y="741"/>
                    </a:lnTo>
                    <a:lnTo>
                      <a:pt x="949" y="744"/>
                    </a:lnTo>
                    <a:lnTo>
                      <a:pt x="951" y="744"/>
                    </a:lnTo>
                    <a:lnTo>
                      <a:pt x="956" y="739"/>
                    </a:lnTo>
                    <a:lnTo>
                      <a:pt x="956" y="739"/>
                    </a:lnTo>
                    <a:lnTo>
                      <a:pt x="956" y="742"/>
                    </a:lnTo>
                    <a:lnTo>
                      <a:pt x="959" y="747"/>
                    </a:lnTo>
                    <a:lnTo>
                      <a:pt x="962" y="747"/>
                    </a:lnTo>
                    <a:lnTo>
                      <a:pt x="964" y="746"/>
                    </a:lnTo>
                    <a:lnTo>
                      <a:pt x="967" y="747"/>
                    </a:lnTo>
                    <a:lnTo>
                      <a:pt x="971" y="749"/>
                    </a:lnTo>
                    <a:lnTo>
                      <a:pt x="974" y="749"/>
                    </a:lnTo>
                    <a:lnTo>
                      <a:pt x="976" y="752"/>
                    </a:lnTo>
                    <a:lnTo>
                      <a:pt x="977" y="752"/>
                    </a:lnTo>
                    <a:lnTo>
                      <a:pt x="977" y="749"/>
                    </a:lnTo>
                    <a:lnTo>
                      <a:pt x="979" y="749"/>
                    </a:lnTo>
                    <a:lnTo>
                      <a:pt x="982" y="747"/>
                    </a:lnTo>
                    <a:lnTo>
                      <a:pt x="984" y="749"/>
                    </a:lnTo>
                    <a:lnTo>
                      <a:pt x="984" y="752"/>
                    </a:lnTo>
                    <a:lnTo>
                      <a:pt x="986" y="752"/>
                    </a:lnTo>
                    <a:lnTo>
                      <a:pt x="989" y="752"/>
                    </a:lnTo>
                    <a:lnTo>
                      <a:pt x="992" y="749"/>
                    </a:lnTo>
                    <a:lnTo>
                      <a:pt x="994" y="749"/>
                    </a:lnTo>
                    <a:lnTo>
                      <a:pt x="995" y="752"/>
                    </a:lnTo>
                    <a:lnTo>
                      <a:pt x="997" y="752"/>
                    </a:lnTo>
                    <a:lnTo>
                      <a:pt x="999" y="751"/>
                    </a:lnTo>
                    <a:lnTo>
                      <a:pt x="999" y="749"/>
                    </a:lnTo>
                    <a:lnTo>
                      <a:pt x="1002" y="747"/>
                    </a:lnTo>
                    <a:lnTo>
                      <a:pt x="1005" y="747"/>
                    </a:lnTo>
                    <a:lnTo>
                      <a:pt x="1007" y="749"/>
                    </a:lnTo>
                    <a:lnTo>
                      <a:pt x="1009" y="749"/>
                    </a:lnTo>
                    <a:lnTo>
                      <a:pt x="1010" y="749"/>
                    </a:lnTo>
                    <a:lnTo>
                      <a:pt x="1010" y="749"/>
                    </a:lnTo>
                    <a:close/>
                    <a:moveTo>
                      <a:pt x="1462" y="904"/>
                    </a:moveTo>
                    <a:lnTo>
                      <a:pt x="1464" y="899"/>
                    </a:lnTo>
                    <a:lnTo>
                      <a:pt x="1462" y="897"/>
                    </a:lnTo>
                    <a:lnTo>
                      <a:pt x="1464" y="892"/>
                    </a:lnTo>
                    <a:lnTo>
                      <a:pt x="1464" y="887"/>
                    </a:lnTo>
                    <a:lnTo>
                      <a:pt x="1471" y="882"/>
                    </a:lnTo>
                    <a:lnTo>
                      <a:pt x="1472" y="877"/>
                    </a:lnTo>
                    <a:lnTo>
                      <a:pt x="1476" y="874"/>
                    </a:lnTo>
                    <a:lnTo>
                      <a:pt x="1484" y="865"/>
                    </a:lnTo>
                    <a:lnTo>
                      <a:pt x="1487" y="862"/>
                    </a:lnTo>
                    <a:lnTo>
                      <a:pt x="1490" y="862"/>
                    </a:lnTo>
                    <a:lnTo>
                      <a:pt x="1492" y="860"/>
                    </a:lnTo>
                    <a:lnTo>
                      <a:pt x="1495" y="862"/>
                    </a:lnTo>
                    <a:lnTo>
                      <a:pt x="1499" y="859"/>
                    </a:lnTo>
                    <a:lnTo>
                      <a:pt x="1504" y="860"/>
                    </a:lnTo>
                    <a:lnTo>
                      <a:pt x="1507" y="864"/>
                    </a:lnTo>
                    <a:lnTo>
                      <a:pt x="1509" y="864"/>
                    </a:lnTo>
                    <a:lnTo>
                      <a:pt x="1512" y="867"/>
                    </a:lnTo>
                    <a:lnTo>
                      <a:pt x="1514" y="872"/>
                    </a:lnTo>
                    <a:lnTo>
                      <a:pt x="1514" y="875"/>
                    </a:lnTo>
                    <a:lnTo>
                      <a:pt x="1510" y="877"/>
                    </a:lnTo>
                    <a:lnTo>
                      <a:pt x="1509" y="882"/>
                    </a:lnTo>
                    <a:lnTo>
                      <a:pt x="1507" y="887"/>
                    </a:lnTo>
                    <a:lnTo>
                      <a:pt x="1502" y="895"/>
                    </a:lnTo>
                    <a:lnTo>
                      <a:pt x="1499" y="899"/>
                    </a:lnTo>
                    <a:lnTo>
                      <a:pt x="1495" y="900"/>
                    </a:lnTo>
                    <a:lnTo>
                      <a:pt x="1489" y="902"/>
                    </a:lnTo>
                    <a:lnTo>
                      <a:pt x="1489" y="904"/>
                    </a:lnTo>
                    <a:lnTo>
                      <a:pt x="1485" y="904"/>
                    </a:lnTo>
                    <a:lnTo>
                      <a:pt x="1479" y="907"/>
                    </a:lnTo>
                    <a:lnTo>
                      <a:pt x="1477" y="905"/>
                    </a:lnTo>
                    <a:lnTo>
                      <a:pt x="1471" y="905"/>
                    </a:lnTo>
                    <a:lnTo>
                      <a:pt x="1466" y="905"/>
                    </a:lnTo>
                    <a:lnTo>
                      <a:pt x="1464" y="905"/>
                    </a:lnTo>
                    <a:lnTo>
                      <a:pt x="1462" y="904"/>
                    </a:lnTo>
                    <a:lnTo>
                      <a:pt x="1462" y="904"/>
                    </a:lnTo>
                    <a:close/>
                    <a:moveTo>
                      <a:pt x="1034" y="736"/>
                    </a:moveTo>
                    <a:lnTo>
                      <a:pt x="1032" y="733"/>
                    </a:lnTo>
                    <a:lnTo>
                      <a:pt x="1034" y="731"/>
                    </a:lnTo>
                    <a:lnTo>
                      <a:pt x="1037" y="729"/>
                    </a:lnTo>
                    <a:lnTo>
                      <a:pt x="1034" y="726"/>
                    </a:lnTo>
                    <a:lnTo>
                      <a:pt x="1035" y="724"/>
                    </a:lnTo>
                    <a:lnTo>
                      <a:pt x="1037" y="724"/>
                    </a:lnTo>
                    <a:lnTo>
                      <a:pt x="1037" y="726"/>
                    </a:lnTo>
                    <a:lnTo>
                      <a:pt x="1040" y="729"/>
                    </a:lnTo>
                    <a:lnTo>
                      <a:pt x="1040" y="731"/>
                    </a:lnTo>
                    <a:lnTo>
                      <a:pt x="1039" y="734"/>
                    </a:lnTo>
                    <a:lnTo>
                      <a:pt x="1037" y="733"/>
                    </a:lnTo>
                    <a:lnTo>
                      <a:pt x="1035" y="736"/>
                    </a:lnTo>
                    <a:lnTo>
                      <a:pt x="1034" y="736"/>
                    </a:lnTo>
                    <a:lnTo>
                      <a:pt x="1034" y="736"/>
                    </a:lnTo>
                    <a:close/>
                    <a:moveTo>
                      <a:pt x="992" y="769"/>
                    </a:moveTo>
                    <a:lnTo>
                      <a:pt x="995" y="767"/>
                    </a:lnTo>
                    <a:lnTo>
                      <a:pt x="997" y="764"/>
                    </a:lnTo>
                    <a:lnTo>
                      <a:pt x="997" y="762"/>
                    </a:lnTo>
                    <a:lnTo>
                      <a:pt x="997" y="759"/>
                    </a:lnTo>
                    <a:lnTo>
                      <a:pt x="995" y="759"/>
                    </a:lnTo>
                    <a:lnTo>
                      <a:pt x="992" y="761"/>
                    </a:lnTo>
                    <a:lnTo>
                      <a:pt x="992" y="762"/>
                    </a:lnTo>
                    <a:lnTo>
                      <a:pt x="987" y="762"/>
                    </a:lnTo>
                    <a:lnTo>
                      <a:pt x="986" y="764"/>
                    </a:lnTo>
                    <a:lnTo>
                      <a:pt x="989" y="767"/>
                    </a:lnTo>
                    <a:lnTo>
                      <a:pt x="992" y="769"/>
                    </a:lnTo>
                    <a:lnTo>
                      <a:pt x="992" y="769"/>
                    </a:lnTo>
                    <a:close/>
                    <a:moveTo>
                      <a:pt x="1040" y="761"/>
                    </a:moveTo>
                    <a:lnTo>
                      <a:pt x="1035" y="764"/>
                    </a:lnTo>
                    <a:lnTo>
                      <a:pt x="1035" y="766"/>
                    </a:lnTo>
                    <a:lnTo>
                      <a:pt x="1034" y="769"/>
                    </a:lnTo>
                    <a:lnTo>
                      <a:pt x="1030" y="764"/>
                    </a:lnTo>
                    <a:lnTo>
                      <a:pt x="1030" y="762"/>
                    </a:lnTo>
                    <a:lnTo>
                      <a:pt x="1035" y="756"/>
                    </a:lnTo>
                    <a:lnTo>
                      <a:pt x="1034" y="752"/>
                    </a:lnTo>
                    <a:lnTo>
                      <a:pt x="1037" y="751"/>
                    </a:lnTo>
                    <a:lnTo>
                      <a:pt x="1040" y="751"/>
                    </a:lnTo>
                    <a:lnTo>
                      <a:pt x="1040" y="754"/>
                    </a:lnTo>
                    <a:lnTo>
                      <a:pt x="1044" y="757"/>
                    </a:lnTo>
                    <a:lnTo>
                      <a:pt x="1040" y="761"/>
                    </a:lnTo>
                    <a:lnTo>
                      <a:pt x="1040" y="761"/>
                    </a:lnTo>
                    <a:close/>
                    <a:moveTo>
                      <a:pt x="1045" y="756"/>
                    </a:moveTo>
                    <a:lnTo>
                      <a:pt x="1045" y="752"/>
                    </a:lnTo>
                    <a:lnTo>
                      <a:pt x="1044" y="751"/>
                    </a:lnTo>
                    <a:lnTo>
                      <a:pt x="1047" y="746"/>
                    </a:lnTo>
                    <a:lnTo>
                      <a:pt x="1049" y="746"/>
                    </a:lnTo>
                    <a:lnTo>
                      <a:pt x="1052" y="749"/>
                    </a:lnTo>
                    <a:lnTo>
                      <a:pt x="1049" y="752"/>
                    </a:lnTo>
                    <a:lnTo>
                      <a:pt x="1049" y="756"/>
                    </a:lnTo>
                    <a:lnTo>
                      <a:pt x="1049" y="756"/>
                    </a:lnTo>
                    <a:lnTo>
                      <a:pt x="1045" y="756"/>
                    </a:lnTo>
                    <a:lnTo>
                      <a:pt x="1045" y="756"/>
                    </a:lnTo>
                    <a:close/>
                    <a:moveTo>
                      <a:pt x="1135" y="757"/>
                    </a:moveTo>
                    <a:lnTo>
                      <a:pt x="1138" y="751"/>
                    </a:lnTo>
                    <a:lnTo>
                      <a:pt x="1143" y="746"/>
                    </a:lnTo>
                    <a:lnTo>
                      <a:pt x="1148" y="747"/>
                    </a:lnTo>
                    <a:lnTo>
                      <a:pt x="1148" y="751"/>
                    </a:lnTo>
                    <a:lnTo>
                      <a:pt x="1143" y="759"/>
                    </a:lnTo>
                    <a:lnTo>
                      <a:pt x="1140" y="759"/>
                    </a:lnTo>
                    <a:lnTo>
                      <a:pt x="1142" y="756"/>
                    </a:lnTo>
                    <a:lnTo>
                      <a:pt x="1142" y="752"/>
                    </a:lnTo>
                    <a:lnTo>
                      <a:pt x="1140" y="754"/>
                    </a:lnTo>
                    <a:lnTo>
                      <a:pt x="1138" y="757"/>
                    </a:lnTo>
                    <a:lnTo>
                      <a:pt x="1138" y="757"/>
                    </a:lnTo>
                    <a:lnTo>
                      <a:pt x="1135" y="757"/>
                    </a:lnTo>
                    <a:lnTo>
                      <a:pt x="1135" y="757"/>
                    </a:lnTo>
                    <a:close/>
                    <a:moveTo>
                      <a:pt x="1132" y="752"/>
                    </a:moveTo>
                    <a:lnTo>
                      <a:pt x="1133" y="752"/>
                    </a:lnTo>
                    <a:lnTo>
                      <a:pt x="1137" y="747"/>
                    </a:lnTo>
                    <a:lnTo>
                      <a:pt x="1133" y="742"/>
                    </a:lnTo>
                    <a:lnTo>
                      <a:pt x="1132" y="746"/>
                    </a:lnTo>
                    <a:lnTo>
                      <a:pt x="1132" y="752"/>
                    </a:lnTo>
                    <a:lnTo>
                      <a:pt x="1132" y="752"/>
                    </a:lnTo>
                    <a:close/>
                    <a:moveTo>
                      <a:pt x="1128" y="789"/>
                    </a:moveTo>
                    <a:lnTo>
                      <a:pt x="1130" y="787"/>
                    </a:lnTo>
                    <a:lnTo>
                      <a:pt x="1137" y="784"/>
                    </a:lnTo>
                    <a:lnTo>
                      <a:pt x="1138" y="781"/>
                    </a:lnTo>
                    <a:lnTo>
                      <a:pt x="1132" y="782"/>
                    </a:lnTo>
                    <a:lnTo>
                      <a:pt x="1130" y="779"/>
                    </a:lnTo>
                    <a:lnTo>
                      <a:pt x="1135" y="769"/>
                    </a:lnTo>
                    <a:lnTo>
                      <a:pt x="1137" y="766"/>
                    </a:lnTo>
                    <a:lnTo>
                      <a:pt x="1130" y="767"/>
                    </a:lnTo>
                    <a:lnTo>
                      <a:pt x="1127" y="774"/>
                    </a:lnTo>
                    <a:lnTo>
                      <a:pt x="1127" y="771"/>
                    </a:lnTo>
                    <a:lnTo>
                      <a:pt x="1130" y="761"/>
                    </a:lnTo>
                    <a:lnTo>
                      <a:pt x="1128" y="746"/>
                    </a:lnTo>
                    <a:lnTo>
                      <a:pt x="1122" y="741"/>
                    </a:lnTo>
                    <a:lnTo>
                      <a:pt x="1122" y="737"/>
                    </a:lnTo>
                    <a:lnTo>
                      <a:pt x="1117" y="737"/>
                    </a:lnTo>
                    <a:lnTo>
                      <a:pt x="1113" y="741"/>
                    </a:lnTo>
                    <a:lnTo>
                      <a:pt x="1113" y="736"/>
                    </a:lnTo>
                    <a:lnTo>
                      <a:pt x="1117" y="734"/>
                    </a:lnTo>
                    <a:lnTo>
                      <a:pt x="1115" y="729"/>
                    </a:lnTo>
                    <a:lnTo>
                      <a:pt x="1115" y="726"/>
                    </a:lnTo>
                    <a:lnTo>
                      <a:pt x="1115" y="721"/>
                    </a:lnTo>
                    <a:lnTo>
                      <a:pt x="1108" y="723"/>
                    </a:lnTo>
                    <a:lnTo>
                      <a:pt x="1102" y="728"/>
                    </a:lnTo>
                    <a:lnTo>
                      <a:pt x="1098" y="736"/>
                    </a:lnTo>
                    <a:lnTo>
                      <a:pt x="1100" y="742"/>
                    </a:lnTo>
                    <a:lnTo>
                      <a:pt x="1097" y="741"/>
                    </a:lnTo>
                    <a:lnTo>
                      <a:pt x="1095" y="736"/>
                    </a:lnTo>
                    <a:lnTo>
                      <a:pt x="1093" y="736"/>
                    </a:lnTo>
                    <a:lnTo>
                      <a:pt x="1092" y="741"/>
                    </a:lnTo>
                    <a:lnTo>
                      <a:pt x="1088" y="741"/>
                    </a:lnTo>
                    <a:lnTo>
                      <a:pt x="1092" y="744"/>
                    </a:lnTo>
                    <a:lnTo>
                      <a:pt x="1088" y="747"/>
                    </a:lnTo>
                    <a:lnTo>
                      <a:pt x="1085" y="747"/>
                    </a:lnTo>
                    <a:lnTo>
                      <a:pt x="1082" y="752"/>
                    </a:lnTo>
                    <a:lnTo>
                      <a:pt x="1074" y="751"/>
                    </a:lnTo>
                    <a:lnTo>
                      <a:pt x="1070" y="752"/>
                    </a:lnTo>
                    <a:lnTo>
                      <a:pt x="1067" y="752"/>
                    </a:lnTo>
                    <a:lnTo>
                      <a:pt x="1057" y="757"/>
                    </a:lnTo>
                    <a:lnTo>
                      <a:pt x="1059" y="762"/>
                    </a:lnTo>
                    <a:lnTo>
                      <a:pt x="1062" y="767"/>
                    </a:lnTo>
                    <a:lnTo>
                      <a:pt x="1067" y="766"/>
                    </a:lnTo>
                    <a:lnTo>
                      <a:pt x="1065" y="764"/>
                    </a:lnTo>
                    <a:lnTo>
                      <a:pt x="1067" y="761"/>
                    </a:lnTo>
                    <a:lnTo>
                      <a:pt x="1072" y="764"/>
                    </a:lnTo>
                    <a:lnTo>
                      <a:pt x="1070" y="769"/>
                    </a:lnTo>
                    <a:lnTo>
                      <a:pt x="1075" y="774"/>
                    </a:lnTo>
                    <a:lnTo>
                      <a:pt x="1079" y="769"/>
                    </a:lnTo>
                    <a:lnTo>
                      <a:pt x="1080" y="772"/>
                    </a:lnTo>
                    <a:lnTo>
                      <a:pt x="1079" y="776"/>
                    </a:lnTo>
                    <a:lnTo>
                      <a:pt x="1084" y="781"/>
                    </a:lnTo>
                    <a:lnTo>
                      <a:pt x="1088" y="782"/>
                    </a:lnTo>
                    <a:lnTo>
                      <a:pt x="1090" y="789"/>
                    </a:lnTo>
                    <a:lnTo>
                      <a:pt x="1093" y="792"/>
                    </a:lnTo>
                    <a:lnTo>
                      <a:pt x="1098" y="787"/>
                    </a:lnTo>
                    <a:lnTo>
                      <a:pt x="1098" y="791"/>
                    </a:lnTo>
                    <a:lnTo>
                      <a:pt x="1105" y="796"/>
                    </a:lnTo>
                    <a:lnTo>
                      <a:pt x="1108" y="796"/>
                    </a:lnTo>
                    <a:lnTo>
                      <a:pt x="1112" y="796"/>
                    </a:lnTo>
                    <a:lnTo>
                      <a:pt x="1117" y="791"/>
                    </a:lnTo>
                    <a:lnTo>
                      <a:pt x="1120" y="791"/>
                    </a:lnTo>
                    <a:lnTo>
                      <a:pt x="1127" y="786"/>
                    </a:lnTo>
                    <a:lnTo>
                      <a:pt x="1128" y="789"/>
                    </a:lnTo>
                    <a:lnTo>
                      <a:pt x="1128" y="789"/>
                    </a:lnTo>
                    <a:close/>
                    <a:moveTo>
                      <a:pt x="1623" y="759"/>
                    </a:moveTo>
                    <a:lnTo>
                      <a:pt x="1623" y="756"/>
                    </a:lnTo>
                    <a:lnTo>
                      <a:pt x="1622" y="754"/>
                    </a:lnTo>
                    <a:lnTo>
                      <a:pt x="1623" y="751"/>
                    </a:lnTo>
                    <a:lnTo>
                      <a:pt x="1628" y="747"/>
                    </a:lnTo>
                    <a:lnTo>
                      <a:pt x="1632" y="749"/>
                    </a:lnTo>
                    <a:lnTo>
                      <a:pt x="1633" y="752"/>
                    </a:lnTo>
                    <a:lnTo>
                      <a:pt x="1637" y="752"/>
                    </a:lnTo>
                    <a:lnTo>
                      <a:pt x="1638" y="754"/>
                    </a:lnTo>
                    <a:lnTo>
                      <a:pt x="1635" y="757"/>
                    </a:lnTo>
                    <a:lnTo>
                      <a:pt x="1632" y="757"/>
                    </a:lnTo>
                    <a:lnTo>
                      <a:pt x="1630" y="757"/>
                    </a:lnTo>
                    <a:lnTo>
                      <a:pt x="1627" y="757"/>
                    </a:lnTo>
                    <a:lnTo>
                      <a:pt x="1625" y="761"/>
                    </a:lnTo>
                    <a:lnTo>
                      <a:pt x="1625" y="761"/>
                    </a:lnTo>
                    <a:lnTo>
                      <a:pt x="1623" y="759"/>
                    </a:lnTo>
                    <a:lnTo>
                      <a:pt x="1623" y="759"/>
                    </a:lnTo>
                    <a:close/>
                    <a:moveTo>
                      <a:pt x="1613" y="1143"/>
                    </a:moveTo>
                    <a:lnTo>
                      <a:pt x="1608" y="1143"/>
                    </a:lnTo>
                    <a:lnTo>
                      <a:pt x="1603" y="1141"/>
                    </a:lnTo>
                    <a:lnTo>
                      <a:pt x="1597" y="1138"/>
                    </a:lnTo>
                    <a:lnTo>
                      <a:pt x="1593" y="1136"/>
                    </a:lnTo>
                    <a:lnTo>
                      <a:pt x="1590" y="1136"/>
                    </a:lnTo>
                    <a:lnTo>
                      <a:pt x="1583" y="1131"/>
                    </a:lnTo>
                    <a:lnTo>
                      <a:pt x="1582" y="1128"/>
                    </a:lnTo>
                    <a:lnTo>
                      <a:pt x="1579" y="1126"/>
                    </a:lnTo>
                    <a:lnTo>
                      <a:pt x="1575" y="1126"/>
                    </a:lnTo>
                    <a:lnTo>
                      <a:pt x="1574" y="1126"/>
                    </a:lnTo>
                    <a:lnTo>
                      <a:pt x="1572" y="1126"/>
                    </a:lnTo>
                    <a:lnTo>
                      <a:pt x="1564" y="1125"/>
                    </a:lnTo>
                    <a:lnTo>
                      <a:pt x="1564" y="1121"/>
                    </a:lnTo>
                    <a:lnTo>
                      <a:pt x="1560" y="1120"/>
                    </a:lnTo>
                    <a:lnTo>
                      <a:pt x="1557" y="1120"/>
                    </a:lnTo>
                    <a:lnTo>
                      <a:pt x="1552" y="1115"/>
                    </a:lnTo>
                    <a:lnTo>
                      <a:pt x="1552" y="1111"/>
                    </a:lnTo>
                    <a:lnTo>
                      <a:pt x="1550" y="1111"/>
                    </a:lnTo>
                    <a:lnTo>
                      <a:pt x="1547" y="1110"/>
                    </a:lnTo>
                    <a:lnTo>
                      <a:pt x="1545" y="1106"/>
                    </a:lnTo>
                    <a:lnTo>
                      <a:pt x="1547" y="1105"/>
                    </a:lnTo>
                    <a:lnTo>
                      <a:pt x="1550" y="1103"/>
                    </a:lnTo>
                    <a:lnTo>
                      <a:pt x="1545" y="1101"/>
                    </a:lnTo>
                    <a:lnTo>
                      <a:pt x="1544" y="1103"/>
                    </a:lnTo>
                    <a:lnTo>
                      <a:pt x="1542" y="1105"/>
                    </a:lnTo>
                    <a:lnTo>
                      <a:pt x="1540" y="1103"/>
                    </a:lnTo>
                    <a:lnTo>
                      <a:pt x="1540" y="1101"/>
                    </a:lnTo>
                    <a:lnTo>
                      <a:pt x="1535" y="1101"/>
                    </a:lnTo>
                    <a:lnTo>
                      <a:pt x="1529" y="1096"/>
                    </a:lnTo>
                    <a:lnTo>
                      <a:pt x="1525" y="1096"/>
                    </a:lnTo>
                    <a:lnTo>
                      <a:pt x="1524" y="1095"/>
                    </a:lnTo>
                    <a:lnTo>
                      <a:pt x="1519" y="1091"/>
                    </a:lnTo>
                    <a:lnTo>
                      <a:pt x="1519" y="1088"/>
                    </a:lnTo>
                    <a:lnTo>
                      <a:pt x="1515" y="1088"/>
                    </a:lnTo>
                    <a:lnTo>
                      <a:pt x="1514" y="1085"/>
                    </a:lnTo>
                    <a:lnTo>
                      <a:pt x="1510" y="1081"/>
                    </a:lnTo>
                    <a:lnTo>
                      <a:pt x="1510" y="1076"/>
                    </a:lnTo>
                    <a:lnTo>
                      <a:pt x="1505" y="1075"/>
                    </a:lnTo>
                    <a:lnTo>
                      <a:pt x="1507" y="1073"/>
                    </a:lnTo>
                    <a:lnTo>
                      <a:pt x="1514" y="1073"/>
                    </a:lnTo>
                    <a:lnTo>
                      <a:pt x="1522" y="1068"/>
                    </a:lnTo>
                    <a:lnTo>
                      <a:pt x="1524" y="1065"/>
                    </a:lnTo>
                    <a:lnTo>
                      <a:pt x="1517" y="1066"/>
                    </a:lnTo>
                    <a:lnTo>
                      <a:pt x="1514" y="1061"/>
                    </a:lnTo>
                    <a:lnTo>
                      <a:pt x="1512" y="1056"/>
                    </a:lnTo>
                    <a:lnTo>
                      <a:pt x="1514" y="1055"/>
                    </a:lnTo>
                    <a:lnTo>
                      <a:pt x="1510" y="1056"/>
                    </a:lnTo>
                    <a:lnTo>
                      <a:pt x="1509" y="1060"/>
                    </a:lnTo>
                    <a:lnTo>
                      <a:pt x="1507" y="1063"/>
                    </a:lnTo>
                    <a:lnTo>
                      <a:pt x="1504" y="1060"/>
                    </a:lnTo>
                    <a:lnTo>
                      <a:pt x="1507" y="1056"/>
                    </a:lnTo>
                    <a:lnTo>
                      <a:pt x="1507" y="1050"/>
                    </a:lnTo>
                    <a:lnTo>
                      <a:pt x="1504" y="1055"/>
                    </a:lnTo>
                    <a:lnTo>
                      <a:pt x="1502" y="1053"/>
                    </a:lnTo>
                    <a:lnTo>
                      <a:pt x="1502" y="1048"/>
                    </a:lnTo>
                    <a:lnTo>
                      <a:pt x="1499" y="1048"/>
                    </a:lnTo>
                    <a:lnTo>
                      <a:pt x="1497" y="1045"/>
                    </a:lnTo>
                    <a:lnTo>
                      <a:pt x="1497" y="1041"/>
                    </a:lnTo>
                    <a:lnTo>
                      <a:pt x="1495" y="1035"/>
                    </a:lnTo>
                    <a:lnTo>
                      <a:pt x="1492" y="1033"/>
                    </a:lnTo>
                    <a:lnTo>
                      <a:pt x="1492" y="1030"/>
                    </a:lnTo>
                    <a:lnTo>
                      <a:pt x="1497" y="1025"/>
                    </a:lnTo>
                    <a:lnTo>
                      <a:pt x="1495" y="1023"/>
                    </a:lnTo>
                    <a:lnTo>
                      <a:pt x="1487" y="1030"/>
                    </a:lnTo>
                    <a:lnTo>
                      <a:pt x="1487" y="1033"/>
                    </a:lnTo>
                    <a:lnTo>
                      <a:pt x="1485" y="1030"/>
                    </a:lnTo>
                    <a:lnTo>
                      <a:pt x="1489" y="1025"/>
                    </a:lnTo>
                    <a:lnTo>
                      <a:pt x="1485" y="1025"/>
                    </a:lnTo>
                    <a:lnTo>
                      <a:pt x="1482" y="1025"/>
                    </a:lnTo>
                    <a:lnTo>
                      <a:pt x="1482" y="1025"/>
                    </a:lnTo>
                    <a:lnTo>
                      <a:pt x="1479" y="1031"/>
                    </a:lnTo>
                    <a:lnTo>
                      <a:pt x="1476" y="1033"/>
                    </a:lnTo>
                    <a:lnTo>
                      <a:pt x="1474" y="1030"/>
                    </a:lnTo>
                    <a:lnTo>
                      <a:pt x="1477" y="1027"/>
                    </a:lnTo>
                    <a:lnTo>
                      <a:pt x="1477" y="1022"/>
                    </a:lnTo>
                    <a:lnTo>
                      <a:pt x="1479" y="1018"/>
                    </a:lnTo>
                    <a:lnTo>
                      <a:pt x="1474" y="1020"/>
                    </a:lnTo>
                    <a:lnTo>
                      <a:pt x="1471" y="1023"/>
                    </a:lnTo>
                    <a:lnTo>
                      <a:pt x="1469" y="1023"/>
                    </a:lnTo>
                    <a:lnTo>
                      <a:pt x="1466" y="1027"/>
                    </a:lnTo>
                    <a:lnTo>
                      <a:pt x="1464" y="1030"/>
                    </a:lnTo>
                    <a:lnTo>
                      <a:pt x="1459" y="1028"/>
                    </a:lnTo>
                    <a:lnTo>
                      <a:pt x="1456" y="1025"/>
                    </a:lnTo>
                    <a:lnTo>
                      <a:pt x="1452" y="1025"/>
                    </a:lnTo>
                    <a:lnTo>
                      <a:pt x="1447" y="1018"/>
                    </a:lnTo>
                    <a:lnTo>
                      <a:pt x="1446" y="1018"/>
                    </a:lnTo>
                    <a:lnTo>
                      <a:pt x="1444" y="1022"/>
                    </a:lnTo>
                    <a:lnTo>
                      <a:pt x="1444" y="1025"/>
                    </a:lnTo>
                    <a:lnTo>
                      <a:pt x="1441" y="1028"/>
                    </a:lnTo>
                    <a:lnTo>
                      <a:pt x="1437" y="1027"/>
                    </a:lnTo>
                    <a:lnTo>
                      <a:pt x="1434" y="1027"/>
                    </a:lnTo>
                    <a:lnTo>
                      <a:pt x="1429" y="1028"/>
                    </a:lnTo>
                    <a:lnTo>
                      <a:pt x="1427" y="1030"/>
                    </a:lnTo>
                    <a:lnTo>
                      <a:pt x="1422" y="1030"/>
                    </a:lnTo>
                    <a:lnTo>
                      <a:pt x="1421" y="1031"/>
                    </a:lnTo>
                    <a:lnTo>
                      <a:pt x="1417" y="1030"/>
                    </a:lnTo>
                    <a:lnTo>
                      <a:pt x="1409" y="1030"/>
                    </a:lnTo>
                    <a:lnTo>
                      <a:pt x="1411" y="1027"/>
                    </a:lnTo>
                    <a:lnTo>
                      <a:pt x="1406" y="1022"/>
                    </a:lnTo>
                    <a:lnTo>
                      <a:pt x="1402" y="1023"/>
                    </a:lnTo>
                    <a:lnTo>
                      <a:pt x="1399" y="1020"/>
                    </a:lnTo>
                    <a:lnTo>
                      <a:pt x="1396" y="1012"/>
                    </a:lnTo>
                    <a:lnTo>
                      <a:pt x="1397" y="1007"/>
                    </a:lnTo>
                    <a:lnTo>
                      <a:pt x="1401" y="1005"/>
                    </a:lnTo>
                    <a:lnTo>
                      <a:pt x="1401" y="1000"/>
                    </a:lnTo>
                    <a:lnTo>
                      <a:pt x="1404" y="997"/>
                    </a:lnTo>
                    <a:lnTo>
                      <a:pt x="1411" y="997"/>
                    </a:lnTo>
                    <a:lnTo>
                      <a:pt x="1412" y="993"/>
                    </a:lnTo>
                    <a:lnTo>
                      <a:pt x="1417" y="993"/>
                    </a:lnTo>
                    <a:lnTo>
                      <a:pt x="1419" y="993"/>
                    </a:lnTo>
                    <a:lnTo>
                      <a:pt x="1421" y="990"/>
                    </a:lnTo>
                    <a:lnTo>
                      <a:pt x="1417" y="987"/>
                    </a:lnTo>
                    <a:lnTo>
                      <a:pt x="1417" y="983"/>
                    </a:lnTo>
                    <a:lnTo>
                      <a:pt x="1419" y="983"/>
                    </a:lnTo>
                    <a:lnTo>
                      <a:pt x="1422" y="983"/>
                    </a:lnTo>
                    <a:lnTo>
                      <a:pt x="1422" y="982"/>
                    </a:lnTo>
                    <a:lnTo>
                      <a:pt x="1422" y="980"/>
                    </a:lnTo>
                    <a:lnTo>
                      <a:pt x="1424" y="978"/>
                    </a:lnTo>
                    <a:lnTo>
                      <a:pt x="1429" y="985"/>
                    </a:lnTo>
                    <a:lnTo>
                      <a:pt x="1434" y="985"/>
                    </a:lnTo>
                    <a:lnTo>
                      <a:pt x="1439" y="988"/>
                    </a:lnTo>
                    <a:lnTo>
                      <a:pt x="1442" y="992"/>
                    </a:lnTo>
                    <a:lnTo>
                      <a:pt x="1444" y="993"/>
                    </a:lnTo>
                    <a:lnTo>
                      <a:pt x="1451" y="995"/>
                    </a:lnTo>
                    <a:lnTo>
                      <a:pt x="1452" y="992"/>
                    </a:lnTo>
                    <a:lnTo>
                      <a:pt x="1457" y="993"/>
                    </a:lnTo>
                    <a:lnTo>
                      <a:pt x="1459" y="995"/>
                    </a:lnTo>
                    <a:lnTo>
                      <a:pt x="1462" y="995"/>
                    </a:lnTo>
                    <a:lnTo>
                      <a:pt x="1467" y="997"/>
                    </a:lnTo>
                    <a:lnTo>
                      <a:pt x="1471" y="993"/>
                    </a:lnTo>
                    <a:lnTo>
                      <a:pt x="1472" y="988"/>
                    </a:lnTo>
                    <a:lnTo>
                      <a:pt x="1479" y="988"/>
                    </a:lnTo>
                    <a:lnTo>
                      <a:pt x="1479" y="990"/>
                    </a:lnTo>
                    <a:lnTo>
                      <a:pt x="1477" y="992"/>
                    </a:lnTo>
                    <a:lnTo>
                      <a:pt x="1481" y="993"/>
                    </a:lnTo>
                    <a:lnTo>
                      <a:pt x="1485" y="990"/>
                    </a:lnTo>
                    <a:lnTo>
                      <a:pt x="1487" y="987"/>
                    </a:lnTo>
                    <a:lnTo>
                      <a:pt x="1492" y="983"/>
                    </a:lnTo>
                    <a:lnTo>
                      <a:pt x="1494" y="987"/>
                    </a:lnTo>
                    <a:lnTo>
                      <a:pt x="1494" y="992"/>
                    </a:lnTo>
                    <a:lnTo>
                      <a:pt x="1495" y="997"/>
                    </a:lnTo>
                    <a:lnTo>
                      <a:pt x="1495" y="992"/>
                    </a:lnTo>
                    <a:lnTo>
                      <a:pt x="1499" y="990"/>
                    </a:lnTo>
                    <a:lnTo>
                      <a:pt x="1500" y="992"/>
                    </a:lnTo>
                    <a:lnTo>
                      <a:pt x="1504" y="988"/>
                    </a:lnTo>
                    <a:lnTo>
                      <a:pt x="1502" y="978"/>
                    </a:lnTo>
                    <a:lnTo>
                      <a:pt x="1497" y="973"/>
                    </a:lnTo>
                    <a:lnTo>
                      <a:pt x="1497" y="968"/>
                    </a:lnTo>
                    <a:lnTo>
                      <a:pt x="1494" y="965"/>
                    </a:lnTo>
                    <a:lnTo>
                      <a:pt x="1495" y="960"/>
                    </a:lnTo>
                    <a:lnTo>
                      <a:pt x="1497" y="958"/>
                    </a:lnTo>
                    <a:lnTo>
                      <a:pt x="1500" y="958"/>
                    </a:lnTo>
                    <a:lnTo>
                      <a:pt x="1507" y="953"/>
                    </a:lnTo>
                    <a:lnTo>
                      <a:pt x="1515" y="948"/>
                    </a:lnTo>
                    <a:lnTo>
                      <a:pt x="1519" y="947"/>
                    </a:lnTo>
                    <a:lnTo>
                      <a:pt x="1525" y="940"/>
                    </a:lnTo>
                    <a:lnTo>
                      <a:pt x="1527" y="940"/>
                    </a:lnTo>
                    <a:lnTo>
                      <a:pt x="1530" y="943"/>
                    </a:lnTo>
                    <a:lnTo>
                      <a:pt x="1534" y="942"/>
                    </a:lnTo>
                    <a:lnTo>
                      <a:pt x="1535" y="942"/>
                    </a:lnTo>
                    <a:lnTo>
                      <a:pt x="1530" y="938"/>
                    </a:lnTo>
                    <a:lnTo>
                      <a:pt x="1529" y="935"/>
                    </a:lnTo>
                    <a:lnTo>
                      <a:pt x="1539" y="929"/>
                    </a:lnTo>
                    <a:lnTo>
                      <a:pt x="1539" y="925"/>
                    </a:lnTo>
                    <a:lnTo>
                      <a:pt x="1542" y="924"/>
                    </a:lnTo>
                    <a:lnTo>
                      <a:pt x="1549" y="925"/>
                    </a:lnTo>
                    <a:lnTo>
                      <a:pt x="1555" y="924"/>
                    </a:lnTo>
                    <a:lnTo>
                      <a:pt x="1557" y="920"/>
                    </a:lnTo>
                    <a:lnTo>
                      <a:pt x="1554" y="917"/>
                    </a:lnTo>
                    <a:lnTo>
                      <a:pt x="1557" y="914"/>
                    </a:lnTo>
                    <a:lnTo>
                      <a:pt x="1557" y="905"/>
                    </a:lnTo>
                    <a:lnTo>
                      <a:pt x="1559" y="904"/>
                    </a:lnTo>
                    <a:lnTo>
                      <a:pt x="1557" y="904"/>
                    </a:lnTo>
                    <a:lnTo>
                      <a:pt x="1557" y="899"/>
                    </a:lnTo>
                    <a:lnTo>
                      <a:pt x="1560" y="895"/>
                    </a:lnTo>
                    <a:lnTo>
                      <a:pt x="1560" y="892"/>
                    </a:lnTo>
                    <a:lnTo>
                      <a:pt x="1557" y="890"/>
                    </a:lnTo>
                    <a:lnTo>
                      <a:pt x="1557" y="889"/>
                    </a:lnTo>
                    <a:lnTo>
                      <a:pt x="1559" y="882"/>
                    </a:lnTo>
                    <a:lnTo>
                      <a:pt x="1562" y="882"/>
                    </a:lnTo>
                    <a:lnTo>
                      <a:pt x="1562" y="879"/>
                    </a:lnTo>
                    <a:lnTo>
                      <a:pt x="1565" y="875"/>
                    </a:lnTo>
                    <a:lnTo>
                      <a:pt x="1564" y="872"/>
                    </a:lnTo>
                    <a:lnTo>
                      <a:pt x="1562" y="874"/>
                    </a:lnTo>
                    <a:lnTo>
                      <a:pt x="1559" y="875"/>
                    </a:lnTo>
                    <a:lnTo>
                      <a:pt x="1559" y="879"/>
                    </a:lnTo>
                    <a:lnTo>
                      <a:pt x="1557" y="879"/>
                    </a:lnTo>
                    <a:lnTo>
                      <a:pt x="1557" y="875"/>
                    </a:lnTo>
                    <a:lnTo>
                      <a:pt x="1557" y="872"/>
                    </a:lnTo>
                    <a:lnTo>
                      <a:pt x="1555" y="872"/>
                    </a:lnTo>
                    <a:lnTo>
                      <a:pt x="1545" y="870"/>
                    </a:lnTo>
                    <a:lnTo>
                      <a:pt x="1542" y="869"/>
                    </a:lnTo>
                    <a:lnTo>
                      <a:pt x="1544" y="865"/>
                    </a:lnTo>
                    <a:lnTo>
                      <a:pt x="1550" y="864"/>
                    </a:lnTo>
                    <a:lnTo>
                      <a:pt x="1550" y="862"/>
                    </a:lnTo>
                    <a:lnTo>
                      <a:pt x="1545" y="860"/>
                    </a:lnTo>
                    <a:lnTo>
                      <a:pt x="1549" y="855"/>
                    </a:lnTo>
                    <a:lnTo>
                      <a:pt x="1549" y="854"/>
                    </a:lnTo>
                    <a:lnTo>
                      <a:pt x="1544" y="849"/>
                    </a:lnTo>
                    <a:lnTo>
                      <a:pt x="1542" y="850"/>
                    </a:lnTo>
                    <a:lnTo>
                      <a:pt x="1540" y="852"/>
                    </a:lnTo>
                    <a:lnTo>
                      <a:pt x="1542" y="855"/>
                    </a:lnTo>
                    <a:lnTo>
                      <a:pt x="1542" y="859"/>
                    </a:lnTo>
                    <a:lnTo>
                      <a:pt x="1535" y="859"/>
                    </a:lnTo>
                    <a:lnTo>
                      <a:pt x="1534" y="855"/>
                    </a:lnTo>
                    <a:lnTo>
                      <a:pt x="1532" y="855"/>
                    </a:lnTo>
                    <a:lnTo>
                      <a:pt x="1530" y="849"/>
                    </a:lnTo>
                    <a:lnTo>
                      <a:pt x="1535" y="845"/>
                    </a:lnTo>
                    <a:lnTo>
                      <a:pt x="1534" y="844"/>
                    </a:lnTo>
                    <a:lnTo>
                      <a:pt x="1527" y="844"/>
                    </a:lnTo>
                    <a:lnTo>
                      <a:pt x="1527" y="842"/>
                    </a:lnTo>
                    <a:lnTo>
                      <a:pt x="1534" y="840"/>
                    </a:lnTo>
                    <a:lnTo>
                      <a:pt x="1534" y="839"/>
                    </a:lnTo>
                    <a:lnTo>
                      <a:pt x="1530" y="839"/>
                    </a:lnTo>
                    <a:lnTo>
                      <a:pt x="1534" y="837"/>
                    </a:lnTo>
                    <a:lnTo>
                      <a:pt x="1535" y="835"/>
                    </a:lnTo>
                    <a:lnTo>
                      <a:pt x="1537" y="834"/>
                    </a:lnTo>
                    <a:lnTo>
                      <a:pt x="1534" y="832"/>
                    </a:lnTo>
                    <a:lnTo>
                      <a:pt x="1530" y="834"/>
                    </a:lnTo>
                    <a:lnTo>
                      <a:pt x="1527" y="839"/>
                    </a:lnTo>
                    <a:lnTo>
                      <a:pt x="1524" y="840"/>
                    </a:lnTo>
                    <a:lnTo>
                      <a:pt x="1522" y="839"/>
                    </a:lnTo>
                    <a:lnTo>
                      <a:pt x="1522" y="834"/>
                    </a:lnTo>
                    <a:lnTo>
                      <a:pt x="1519" y="835"/>
                    </a:lnTo>
                    <a:lnTo>
                      <a:pt x="1517" y="840"/>
                    </a:lnTo>
                    <a:lnTo>
                      <a:pt x="1514" y="840"/>
                    </a:lnTo>
                    <a:lnTo>
                      <a:pt x="1510" y="842"/>
                    </a:lnTo>
                    <a:lnTo>
                      <a:pt x="1505" y="842"/>
                    </a:lnTo>
                    <a:lnTo>
                      <a:pt x="1502" y="842"/>
                    </a:lnTo>
                    <a:lnTo>
                      <a:pt x="1502" y="844"/>
                    </a:lnTo>
                    <a:lnTo>
                      <a:pt x="1499" y="844"/>
                    </a:lnTo>
                    <a:lnTo>
                      <a:pt x="1499" y="842"/>
                    </a:lnTo>
                    <a:lnTo>
                      <a:pt x="1502" y="839"/>
                    </a:lnTo>
                    <a:lnTo>
                      <a:pt x="1500" y="837"/>
                    </a:lnTo>
                    <a:lnTo>
                      <a:pt x="1499" y="835"/>
                    </a:lnTo>
                    <a:lnTo>
                      <a:pt x="1502" y="832"/>
                    </a:lnTo>
                    <a:lnTo>
                      <a:pt x="1504" y="831"/>
                    </a:lnTo>
                    <a:lnTo>
                      <a:pt x="1507" y="832"/>
                    </a:lnTo>
                    <a:lnTo>
                      <a:pt x="1510" y="834"/>
                    </a:lnTo>
                    <a:lnTo>
                      <a:pt x="1512" y="832"/>
                    </a:lnTo>
                    <a:lnTo>
                      <a:pt x="1515" y="832"/>
                    </a:lnTo>
                    <a:lnTo>
                      <a:pt x="1519" y="829"/>
                    </a:lnTo>
                    <a:lnTo>
                      <a:pt x="1520" y="826"/>
                    </a:lnTo>
                    <a:lnTo>
                      <a:pt x="1519" y="822"/>
                    </a:lnTo>
                    <a:lnTo>
                      <a:pt x="1517" y="821"/>
                    </a:lnTo>
                    <a:lnTo>
                      <a:pt x="1512" y="819"/>
                    </a:lnTo>
                    <a:lnTo>
                      <a:pt x="1510" y="816"/>
                    </a:lnTo>
                    <a:lnTo>
                      <a:pt x="1509" y="812"/>
                    </a:lnTo>
                    <a:lnTo>
                      <a:pt x="1509" y="811"/>
                    </a:lnTo>
                    <a:lnTo>
                      <a:pt x="1509" y="807"/>
                    </a:lnTo>
                    <a:lnTo>
                      <a:pt x="1504" y="807"/>
                    </a:lnTo>
                    <a:lnTo>
                      <a:pt x="1502" y="807"/>
                    </a:lnTo>
                    <a:lnTo>
                      <a:pt x="1500" y="806"/>
                    </a:lnTo>
                    <a:lnTo>
                      <a:pt x="1499" y="802"/>
                    </a:lnTo>
                    <a:lnTo>
                      <a:pt x="1502" y="801"/>
                    </a:lnTo>
                    <a:lnTo>
                      <a:pt x="1504" y="802"/>
                    </a:lnTo>
                    <a:lnTo>
                      <a:pt x="1507" y="802"/>
                    </a:lnTo>
                    <a:lnTo>
                      <a:pt x="1507" y="799"/>
                    </a:lnTo>
                    <a:lnTo>
                      <a:pt x="1512" y="797"/>
                    </a:lnTo>
                    <a:lnTo>
                      <a:pt x="1505" y="797"/>
                    </a:lnTo>
                    <a:lnTo>
                      <a:pt x="1502" y="794"/>
                    </a:lnTo>
                    <a:lnTo>
                      <a:pt x="1500" y="794"/>
                    </a:lnTo>
                    <a:lnTo>
                      <a:pt x="1499" y="792"/>
                    </a:lnTo>
                    <a:lnTo>
                      <a:pt x="1495" y="792"/>
                    </a:lnTo>
                    <a:lnTo>
                      <a:pt x="1494" y="796"/>
                    </a:lnTo>
                    <a:lnTo>
                      <a:pt x="1492" y="796"/>
                    </a:lnTo>
                    <a:lnTo>
                      <a:pt x="1492" y="794"/>
                    </a:lnTo>
                    <a:lnTo>
                      <a:pt x="1495" y="786"/>
                    </a:lnTo>
                    <a:lnTo>
                      <a:pt x="1499" y="781"/>
                    </a:lnTo>
                    <a:lnTo>
                      <a:pt x="1500" y="779"/>
                    </a:lnTo>
                    <a:lnTo>
                      <a:pt x="1502" y="772"/>
                    </a:lnTo>
                    <a:lnTo>
                      <a:pt x="1502" y="769"/>
                    </a:lnTo>
                    <a:lnTo>
                      <a:pt x="1504" y="767"/>
                    </a:lnTo>
                    <a:lnTo>
                      <a:pt x="1502" y="764"/>
                    </a:lnTo>
                    <a:lnTo>
                      <a:pt x="1499" y="766"/>
                    </a:lnTo>
                    <a:lnTo>
                      <a:pt x="1495" y="764"/>
                    </a:lnTo>
                    <a:lnTo>
                      <a:pt x="1494" y="766"/>
                    </a:lnTo>
                    <a:lnTo>
                      <a:pt x="1494" y="767"/>
                    </a:lnTo>
                    <a:lnTo>
                      <a:pt x="1490" y="767"/>
                    </a:lnTo>
                    <a:lnTo>
                      <a:pt x="1485" y="762"/>
                    </a:lnTo>
                    <a:lnTo>
                      <a:pt x="1484" y="759"/>
                    </a:lnTo>
                    <a:lnTo>
                      <a:pt x="1482" y="756"/>
                    </a:lnTo>
                    <a:lnTo>
                      <a:pt x="1481" y="756"/>
                    </a:lnTo>
                    <a:lnTo>
                      <a:pt x="1481" y="751"/>
                    </a:lnTo>
                    <a:lnTo>
                      <a:pt x="1485" y="749"/>
                    </a:lnTo>
                    <a:lnTo>
                      <a:pt x="1487" y="746"/>
                    </a:lnTo>
                    <a:lnTo>
                      <a:pt x="1485" y="744"/>
                    </a:lnTo>
                    <a:lnTo>
                      <a:pt x="1484" y="739"/>
                    </a:lnTo>
                    <a:lnTo>
                      <a:pt x="1482" y="741"/>
                    </a:lnTo>
                    <a:lnTo>
                      <a:pt x="1479" y="742"/>
                    </a:lnTo>
                    <a:lnTo>
                      <a:pt x="1479" y="749"/>
                    </a:lnTo>
                    <a:lnTo>
                      <a:pt x="1477" y="752"/>
                    </a:lnTo>
                    <a:lnTo>
                      <a:pt x="1476" y="749"/>
                    </a:lnTo>
                    <a:lnTo>
                      <a:pt x="1472" y="747"/>
                    </a:lnTo>
                    <a:lnTo>
                      <a:pt x="1472" y="747"/>
                    </a:lnTo>
                    <a:lnTo>
                      <a:pt x="1472" y="751"/>
                    </a:lnTo>
                    <a:lnTo>
                      <a:pt x="1469" y="751"/>
                    </a:lnTo>
                    <a:lnTo>
                      <a:pt x="1469" y="756"/>
                    </a:lnTo>
                    <a:lnTo>
                      <a:pt x="1472" y="761"/>
                    </a:lnTo>
                    <a:lnTo>
                      <a:pt x="1476" y="761"/>
                    </a:lnTo>
                    <a:lnTo>
                      <a:pt x="1479" y="767"/>
                    </a:lnTo>
                    <a:lnTo>
                      <a:pt x="1481" y="771"/>
                    </a:lnTo>
                    <a:lnTo>
                      <a:pt x="1479" y="774"/>
                    </a:lnTo>
                    <a:lnTo>
                      <a:pt x="1479" y="777"/>
                    </a:lnTo>
                    <a:lnTo>
                      <a:pt x="1476" y="782"/>
                    </a:lnTo>
                    <a:lnTo>
                      <a:pt x="1472" y="784"/>
                    </a:lnTo>
                    <a:lnTo>
                      <a:pt x="1462" y="784"/>
                    </a:lnTo>
                    <a:lnTo>
                      <a:pt x="1461" y="784"/>
                    </a:lnTo>
                    <a:lnTo>
                      <a:pt x="1457" y="784"/>
                    </a:lnTo>
                    <a:lnTo>
                      <a:pt x="1452" y="781"/>
                    </a:lnTo>
                    <a:lnTo>
                      <a:pt x="1452" y="779"/>
                    </a:lnTo>
                    <a:lnTo>
                      <a:pt x="1452" y="776"/>
                    </a:lnTo>
                    <a:lnTo>
                      <a:pt x="1446" y="776"/>
                    </a:lnTo>
                    <a:lnTo>
                      <a:pt x="1437" y="772"/>
                    </a:lnTo>
                    <a:lnTo>
                      <a:pt x="1431" y="771"/>
                    </a:lnTo>
                    <a:lnTo>
                      <a:pt x="1434" y="779"/>
                    </a:lnTo>
                    <a:lnTo>
                      <a:pt x="1436" y="784"/>
                    </a:lnTo>
                    <a:lnTo>
                      <a:pt x="1436" y="784"/>
                    </a:lnTo>
                    <a:lnTo>
                      <a:pt x="1431" y="784"/>
                    </a:lnTo>
                    <a:lnTo>
                      <a:pt x="1429" y="781"/>
                    </a:lnTo>
                    <a:lnTo>
                      <a:pt x="1426" y="776"/>
                    </a:lnTo>
                    <a:lnTo>
                      <a:pt x="1424" y="776"/>
                    </a:lnTo>
                    <a:lnTo>
                      <a:pt x="1422" y="772"/>
                    </a:lnTo>
                    <a:lnTo>
                      <a:pt x="1417" y="769"/>
                    </a:lnTo>
                    <a:lnTo>
                      <a:pt x="1414" y="764"/>
                    </a:lnTo>
                    <a:lnTo>
                      <a:pt x="1414" y="762"/>
                    </a:lnTo>
                    <a:lnTo>
                      <a:pt x="1411" y="762"/>
                    </a:lnTo>
                    <a:lnTo>
                      <a:pt x="1406" y="757"/>
                    </a:lnTo>
                    <a:lnTo>
                      <a:pt x="1402" y="756"/>
                    </a:lnTo>
                    <a:lnTo>
                      <a:pt x="1402" y="754"/>
                    </a:lnTo>
                    <a:lnTo>
                      <a:pt x="1397" y="752"/>
                    </a:lnTo>
                    <a:lnTo>
                      <a:pt x="1399" y="756"/>
                    </a:lnTo>
                    <a:lnTo>
                      <a:pt x="1407" y="762"/>
                    </a:lnTo>
                    <a:lnTo>
                      <a:pt x="1411" y="766"/>
                    </a:lnTo>
                    <a:lnTo>
                      <a:pt x="1414" y="769"/>
                    </a:lnTo>
                    <a:lnTo>
                      <a:pt x="1417" y="771"/>
                    </a:lnTo>
                    <a:lnTo>
                      <a:pt x="1419" y="774"/>
                    </a:lnTo>
                    <a:lnTo>
                      <a:pt x="1416" y="777"/>
                    </a:lnTo>
                    <a:lnTo>
                      <a:pt x="1414" y="776"/>
                    </a:lnTo>
                    <a:lnTo>
                      <a:pt x="1412" y="779"/>
                    </a:lnTo>
                    <a:lnTo>
                      <a:pt x="1406" y="774"/>
                    </a:lnTo>
                    <a:lnTo>
                      <a:pt x="1402" y="776"/>
                    </a:lnTo>
                    <a:lnTo>
                      <a:pt x="1401" y="772"/>
                    </a:lnTo>
                    <a:lnTo>
                      <a:pt x="1396" y="771"/>
                    </a:lnTo>
                    <a:lnTo>
                      <a:pt x="1394" y="766"/>
                    </a:lnTo>
                    <a:lnTo>
                      <a:pt x="1386" y="767"/>
                    </a:lnTo>
                    <a:lnTo>
                      <a:pt x="1383" y="769"/>
                    </a:lnTo>
                    <a:lnTo>
                      <a:pt x="1379" y="767"/>
                    </a:lnTo>
                    <a:lnTo>
                      <a:pt x="1374" y="766"/>
                    </a:lnTo>
                    <a:lnTo>
                      <a:pt x="1369" y="766"/>
                    </a:lnTo>
                    <a:lnTo>
                      <a:pt x="1366" y="762"/>
                    </a:lnTo>
                    <a:lnTo>
                      <a:pt x="1361" y="759"/>
                    </a:lnTo>
                    <a:lnTo>
                      <a:pt x="1361" y="757"/>
                    </a:lnTo>
                    <a:lnTo>
                      <a:pt x="1368" y="751"/>
                    </a:lnTo>
                    <a:lnTo>
                      <a:pt x="1371" y="751"/>
                    </a:lnTo>
                    <a:lnTo>
                      <a:pt x="1371" y="749"/>
                    </a:lnTo>
                    <a:lnTo>
                      <a:pt x="1368" y="749"/>
                    </a:lnTo>
                    <a:lnTo>
                      <a:pt x="1363" y="752"/>
                    </a:lnTo>
                    <a:lnTo>
                      <a:pt x="1359" y="756"/>
                    </a:lnTo>
                    <a:lnTo>
                      <a:pt x="1358" y="757"/>
                    </a:lnTo>
                    <a:lnTo>
                      <a:pt x="1353" y="754"/>
                    </a:lnTo>
                    <a:lnTo>
                      <a:pt x="1349" y="752"/>
                    </a:lnTo>
                    <a:lnTo>
                      <a:pt x="1348" y="754"/>
                    </a:lnTo>
                    <a:lnTo>
                      <a:pt x="1351" y="756"/>
                    </a:lnTo>
                    <a:lnTo>
                      <a:pt x="1349" y="757"/>
                    </a:lnTo>
                    <a:lnTo>
                      <a:pt x="1343" y="757"/>
                    </a:lnTo>
                    <a:lnTo>
                      <a:pt x="1336" y="752"/>
                    </a:lnTo>
                    <a:lnTo>
                      <a:pt x="1336" y="747"/>
                    </a:lnTo>
                    <a:lnTo>
                      <a:pt x="1331" y="744"/>
                    </a:lnTo>
                    <a:lnTo>
                      <a:pt x="1333" y="741"/>
                    </a:lnTo>
                    <a:lnTo>
                      <a:pt x="1341" y="737"/>
                    </a:lnTo>
                    <a:lnTo>
                      <a:pt x="1343" y="734"/>
                    </a:lnTo>
                    <a:lnTo>
                      <a:pt x="1341" y="734"/>
                    </a:lnTo>
                    <a:lnTo>
                      <a:pt x="1338" y="736"/>
                    </a:lnTo>
                    <a:lnTo>
                      <a:pt x="1331" y="736"/>
                    </a:lnTo>
                    <a:lnTo>
                      <a:pt x="1329" y="741"/>
                    </a:lnTo>
                    <a:lnTo>
                      <a:pt x="1326" y="741"/>
                    </a:lnTo>
                    <a:lnTo>
                      <a:pt x="1326" y="739"/>
                    </a:lnTo>
                    <a:lnTo>
                      <a:pt x="1326" y="734"/>
                    </a:lnTo>
                    <a:lnTo>
                      <a:pt x="1324" y="734"/>
                    </a:lnTo>
                    <a:lnTo>
                      <a:pt x="1323" y="734"/>
                    </a:lnTo>
                    <a:lnTo>
                      <a:pt x="1321" y="737"/>
                    </a:lnTo>
                    <a:lnTo>
                      <a:pt x="1323" y="739"/>
                    </a:lnTo>
                    <a:lnTo>
                      <a:pt x="1321" y="741"/>
                    </a:lnTo>
                    <a:lnTo>
                      <a:pt x="1318" y="741"/>
                    </a:lnTo>
                    <a:lnTo>
                      <a:pt x="1314" y="737"/>
                    </a:lnTo>
                    <a:lnTo>
                      <a:pt x="1311" y="736"/>
                    </a:lnTo>
                    <a:lnTo>
                      <a:pt x="1308" y="737"/>
                    </a:lnTo>
                    <a:lnTo>
                      <a:pt x="1308" y="741"/>
                    </a:lnTo>
                    <a:lnTo>
                      <a:pt x="1304" y="741"/>
                    </a:lnTo>
                    <a:lnTo>
                      <a:pt x="1301" y="737"/>
                    </a:lnTo>
                    <a:lnTo>
                      <a:pt x="1299" y="733"/>
                    </a:lnTo>
                    <a:lnTo>
                      <a:pt x="1301" y="734"/>
                    </a:lnTo>
                    <a:lnTo>
                      <a:pt x="1304" y="736"/>
                    </a:lnTo>
                    <a:lnTo>
                      <a:pt x="1304" y="734"/>
                    </a:lnTo>
                    <a:lnTo>
                      <a:pt x="1299" y="729"/>
                    </a:lnTo>
                    <a:lnTo>
                      <a:pt x="1294" y="726"/>
                    </a:lnTo>
                    <a:lnTo>
                      <a:pt x="1293" y="723"/>
                    </a:lnTo>
                    <a:lnTo>
                      <a:pt x="1294" y="718"/>
                    </a:lnTo>
                    <a:lnTo>
                      <a:pt x="1293" y="713"/>
                    </a:lnTo>
                    <a:lnTo>
                      <a:pt x="1291" y="706"/>
                    </a:lnTo>
                    <a:lnTo>
                      <a:pt x="1293" y="703"/>
                    </a:lnTo>
                    <a:lnTo>
                      <a:pt x="1296" y="703"/>
                    </a:lnTo>
                    <a:lnTo>
                      <a:pt x="1296" y="701"/>
                    </a:lnTo>
                    <a:lnTo>
                      <a:pt x="1293" y="696"/>
                    </a:lnTo>
                    <a:lnTo>
                      <a:pt x="1294" y="694"/>
                    </a:lnTo>
                    <a:lnTo>
                      <a:pt x="1299" y="694"/>
                    </a:lnTo>
                    <a:lnTo>
                      <a:pt x="1301" y="698"/>
                    </a:lnTo>
                    <a:lnTo>
                      <a:pt x="1308" y="698"/>
                    </a:lnTo>
                    <a:lnTo>
                      <a:pt x="1313" y="701"/>
                    </a:lnTo>
                    <a:lnTo>
                      <a:pt x="1314" y="704"/>
                    </a:lnTo>
                    <a:lnTo>
                      <a:pt x="1323" y="708"/>
                    </a:lnTo>
                    <a:lnTo>
                      <a:pt x="1331" y="708"/>
                    </a:lnTo>
                    <a:lnTo>
                      <a:pt x="1333" y="706"/>
                    </a:lnTo>
                    <a:lnTo>
                      <a:pt x="1339" y="706"/>
                    </a:lnTo>
                    <a:lnTo>
                      <a:pt x="1336" y="704"/>
                    </a:lnTo>
                    <a:lnTo>
                      <a:pt x="1336" y="701"/>
                    </a:lnTo>
                    <a:lnTo>
                      <a:pt x="1329" y="698"/>
                    </a:lnTo>
                    <a:lnTo>
                      <a:pt x="1329" y="693"/>
                    </a:lnTo>
                    <a:lnTo>
                      <a:pt x="1323" y="693"/>
                    </a:lnTo>
                    <a:lnTo>
                      <a:pt x="1318" y="689"/>
                    </a:lnTo>
                    <a:lnTo>
                      <a:pt x="1313" y="689"/>
                    </a:lnTo>
                    <a:lnTo>
                      <a:pt x="1308" y="686"/>
                    </a:lnTo>
                    <a:lnTo>
                      <a:pt x="1303" y="686"/>
                    </a:lnTo>
                    <a:lnTo>
                      <a:pt x="1294" y="681"/>
                    </a:lnTo>
                    <a:lnTo>
                      <a:pt x="1293" y="678"/>
                    </a:lnTo>
                    <a:lnTo>
                      <a:pt x="1294" y="671"/>
                    </a:lnTo>
                    <a:lnTo>
                      <a:pt x="1298" y="668"/>
                    </a:lnTo>
                    <a:lnTo>
                      <a:pt x="1298" y="664"/>
                    </a:lnTo>
                    <a:lnTo>
                      <a:pt x="1299" y="659"/>
                    </a:lnTo>
                    <a:lnTo>
                      <a:pt x="1303" y="659"/>
                    </a:lnTo>
                    <a:lnTo>
                      <a:pt x="1306" y="656"/>
                    </a:lnTo>
                    <a:lnTo>
                      <a:pt x="1306" y="648"/>
                    </a:lnTo>
                    <a:lnTo>
                      <a:pt x="1308" y="644"/>
                    </a:lnTo>
                    <a:lnTo>
                      <a:pt x="1311" y="644"/>
                    </a:lnTo>
                    <a:lnTo>
                      <a:pt x="1311" y="639"/>
                    </a:lnTo>
                    <a:lnTo>
                      <a:pt x="1318" y="636"/>
                    </a:lnTo>
                    <a:lnTo>
                      <a:pt x="1323" y="636"/>
                    </a:lnTo>
                    <a:lnTo>
                      <a:pt x="1323" y="633"/>
                    </a:lnTo>
                    <a:lnTo>
                      <a:pt x="1321" y="635"/>
                    </a:lnTo>
                    <a:lnTo>
                      <a:pt x="1319" y="635"/>
                    </a:lnTo>
                    <a:lnTo>
                      <a:pt x="1319" y="631"/>
                    </a:lnTo>
                    <a:lnTo>
                      <a:pt x="1324" y="625"/>
                    </a:lnTo>
                    <a:lnTo>
                      <a:pt x="1328" y="618"/>
                    </a:lnTo>
                    <a:lnTo>
                      <a:pt x="1329" y="616"/>
                    </a:lnTo>
                    <a:lnTo>
                      <a:pt x="1333" y="613"/>
                    </a:lnTo>
                    <a:lnTo>
                      <a:pt x="1336" y="613"/>
                    </a:lnTo>
                    <a:lnTo>
                      <a:pt x="1338" y="613"/>
                    </a:lnTo>
                    <a:lnTo>
                      <a:pt x="1339" y="606"/>
                    </a:lnTo>
                    <a:lnTo>
                      <a:pt x="1343" y="606"/>
                    </a:lnTo>
                    <a:lnTo>
                      <a:pt x="1344" y="610"/>
                    </a:lnTo>
                    <a:lnTo>
                      <a:pt x="1346" y="606"/>
                    </a:lnTo>
                    <a:lnTo>
                      <a:pt x="1344" y="603"/>
                    </a:lnTo>
                    <a:lnTo>
                      <a:pt x="1351" y="596"/>
                    </a:lnTo>
                    <a:lnTo>
                      <a:pt x="1354" y="596"/>
                    </a:lnTo>
                    <a:lnTo>
                      <a:pt x="1354" y="591"/>
                    </a:lnTo>
                    <a:lnTo>
                      <a:pt x="1358" y="586"/>
                    </a:lnTo>
                    <a:lnTo>
                      <a:pt x="1363" y="586"/>
                    </a:lnTo>
                    <a:lnTo>
                      <a:pt x="1366" y="583"/>
                    </a:lnTo>
                    <a:lnTo>
                      <a:pt x="1369" y="583"/>
                    </a:lnTo>
                    <a:lnTo>
                      <a:pt x="1373" y="585"/>
                    </a:lnTo>
                    <a:lnTo>
                      <a:pt x="1371" y="581"/>
                    </a:lnTo>
                    <a:lnTo>
                      <a:pt x="1373" y="576"/>
                    </a:lnTo>
                    <a:lnTo>
                      <a:pt x="1381" y="573"/>
                    </a:lnTo>
                    <a:lnTo>
                      <a:pt x="1389" y="566"/>
                    </a:lnTo>
                    <a:lnTo>
                      <a:pt x="1402" y="563"/>
                    </a:lnTo>
                    <a:lnTo>
                      <a:pt x="1411" y="561"/>
                    </a:lnTo>
                    <a:lnTo>
                      <a:pt x="1414" y="561"/>
                    </a:lnTo>
                    <a:lnTo>
                      <a:pt x="1421" y="561"/>
                    </a:lnTo>
                    <a:lnTo>
                      <a:pt x="1424" y="561"/>
                    </a:lnTo>
                    <a:lnTo>
                      <a:pt x="1427" y="561"/>
                    </a:lnTo>
                    <a:lnTo>
                      <a:pt x="1434" y="561"/>
                    </a:lnTo>
                    <a:lnTo>
                      <a:pt x="1439" y="565"/>
                    </a:lnTo>
                    <a:lnTo>
                      <a:pt x="1451" y="570"/>
                    </a:lnTo>
                    <a:lnTo>
                      <a:pt x="1451" y="573"/>
                    </a:lnTo>
                    <a:lnTo>
                      <a:pt x="1449" y="576"/>
                    </a:lnTo>
                    <a:lnTo>
                      <a:pt x="1444" y="578"/>
                    </a:lnTo>
                    <a:lnTo>
                      <a:pt x="1436" y="581"/>
                    </a:lnTo>
                    <a:lnTo>
                      <a:pt x="1431" y="581"/>
                    </a:lnTo>
                    <a:lnTo>
                      <a:pt x="1429" y="585"/>
                    </a:lnTo>
                    <a:lnTo>
                      <a:pt x="1424" y="588"/>
                    </a:lnTo>
                    <a:lnTo>
                      <a:pt x="1419" y="590"/>
                    </a:lnTo>
                    <a:lnTo>
                      <a:pt x="1411" y="598"/>
                    </a:lnTo>
                    <a:lnTo>
                      <a:pt x="1402" y="608"/>
                    </a:lnTo>
                    <a:lnTo>
                      <a:pt x="1394" y="611"/>
                    </a:lnTo>
                    <a:lnTo>
                      <a:pt x="1392" y="613"/>
                    </a:lnTo>
                    <a:lnTo>
                      <a:pt x="1387" y="621"/>
                    </a:lnTo>
                    <a:lnTo>
                      <a:pt x="1386" y="626"/>
                    </a:lnTo>
                    <a:lnTo>
                      <a:pt x="1389" y="631"/>
                    </a:lnTo>
                    <a:lnTo>
                      <a:pt x="1391" y="633"/>
                    </a:lnTo>
                    <a:lnTo>
                      <a:pt x="1391" y="638"/>
                    </a:lnTo>
                    <a:lnTo>
                      <a:pt x="1387" y="639"/>
                    </a:lnTo>
                    <a:lnTo>
                      <a:pt x="1384" y="643"/>
                    </a:lnTo>
                    <a:lnTo>
                      <a:pt x="1379" y="648"/>
                    </a:lnTo>
                    <a:lnTo>
                      <a:pt x="1379" y="653"/>
                    </a:lnTo>
                    <a:lnTo>
                      <a:pt x="1376" y="658"/>
                    </a:lnTo>
                    <a:lnTo>
                      <a:pt x="1374" y="659"/>
                    </a:lnTo>
                    <a:lnTo>
                      <a:pt x="1373" y="663"/>
                    </a:lnTo>
                    <a:lnTo>
                      <a:pt x="1376" y="666"/>
                    </a:lnTo>
                    <a:lnTo>
                      <a:pt x="1376" y="673"/>
                    </a:lnTo>
                    <a:lnTo>
                      <a:pt x="1378" y="676"/>
                    </a:lnTo>
                    <a:lnTo>
                      <a:pt x="1378" y="681"/>
                    </a:lnTo>
                    <a:lnTo>
                      <a:pt x="1383" y="686"/>
                    </a:lnTo>
                    <a:lnTo>
                      <a:pt x="1383" y="689"/>
                    </a:lnTo>
                    <a:lnTo>
                      <a:pt x="1387" y="691"/>
                    </a:lnTo>
                    <a:lnTo>
                      <a:pt x="1387" y="696"/>
                    </a:lnTo>
                    <a:lnTo>
                      <a:pt x="1386" y="699"/>
                    </a:lnTo>
                    <a:lnTo>
                      <a:pt x="1384" y="696"/>
                    </a:lnTo>
                    <a:lnTo>
                      <a:pt x="1383" y="696"/>
                    </a:lnTo>
                    <a:lnTo>
                      <a:pt x="1381" y="698"/>
                    </a:lnTo>
                    <a:lnTo>
                      <a:pt x="1379" y="698"/>
                    </a:lnTo>
                    <a:lnTo>
                      <a:pt x="1376" y="699"/>
                    </a:lnTo>
                    <a:lnTo>
                      <a:pt x="1373" y="699"/>
                    </a:lnTo>
                    <a:lnTo>
                      <a:pt x="1374" y="701"/>
                    </a:lnTo>
                    <a:lnTo>
                      <a:pt x="1378" y="704"/>
                    </a:lnTo>
                    <a:lnTo>
                      <a:pt x="1381" y="704"/>
                    </a:lnTo>
                    <a:lnTo>
                      <a:pt x="1383" y="703"/>
                    </a:lnTo>
                    <a:lnTo>
                      <a:pt x="1384" y="704"/>
                    </a:lnTo>
                    <a:lnTo>
                      <a:pt x="1381" y="708"/>
                    </a:lnTo>
                    <a:lnTo>
                      <a:pt x="1378" y="714"/>
                    </a:lnTo>
                    <a:lnTo>
                      <a:pt x="1378" y="718"/>
                    </a:lnTo>
                    <a:lnTo>
                      <a:pt x="1378" y="721"/>
                    </a:lnTo>
                    <a:lnTo>
                      <a:pt x="1383" y="716"/>
                    </a:lnTo>
                    <a:lnTo>
                      <a:pt x="1383" y="713"/>
                    </a:lnTo>
                    <a:lnTo>
                      <a:pt x="1387" y="704"/>
                    </a:lnTo>
                    <a:lnTo>
                      <a:pt x="1391" y="703"/>
                    </a:lnTo>
                    <a:lnTo>
                      <a:pt x="1391" y="694"/>
                    </a:lnTo>
                    <a:lnTo>
                      <a:pt x="1394" y="691"/>
                    </a:lnTo>
                    <a:lnTo>
                      <a:pt x="1397" y="689"/>
                    </a:lnTo>
                    <a:lnTo>
                      <a:pt x="1397" y="684"/>
                    </a:lnTo>
                    <a:lnTo>
                      <a:pt x="1396" y="683"/>
                    </a:lnTo>
                    <a:lnTo>
                      <a:pt x="1397" y="679"/>
                    </a:lnTo>
                    <a:lnTo>
                      <a:pt x="1394" y="678"/>
                    </a:lnTo>
                    <a:lnTo>
                      <a:pt x="1391" y="678"/>
                    </a:lnTo>
                    <a:lnTo>
                      <a:pt x="1391" y="671"/>
                    </a:lnTo>
                    <a:lnTo>
                      <a:pt x="1391" y="671"/>
                    </a:lnTo>
                    <a:lnTo>
                      <a:pt x="1389" y="664"/>
                    </a:lnTo>
                    <a:lnTo>
                      <a:pt x="1387" y="661"/>
                    </a:lnTo>
                    <a:lnTo>
                      <a:pt x="1386" y="656"/>
                    </a:lnTo>
                    <a:lnTo>
                      <a:pt x="1389" y="654"/>
                    </a:lnTo>
                    <a:lnTo>
                      <a:pt x="1391" y="658"/>
                    </a:lnTo>
                    <a:lnTo>
                      <a:pt x="1392" y="656"/>
                    </a:lnTo>
                    <a:lnTo>
                      <a:pt x="1397" y="654"/>
                    </a:lnTo>
                    <a:lnTo>
                      <a:pt x="1401" y="653"/>
                    </a:lnTo>
                    <a:lnTo>
                      <a:pt x="1399" y="649"/>
                    </a:lnTo>
                    <a:lnTo>
                      <a:pt x="1401" y="646"/>
                    </a:lnTo>
                    <a:lnTo>
                      <a:pt x="1406" y="646"/>
                    </a:lnTo>
                    <a:lnTo>
                      <a:pt x="1407" y="653"/>
                    </a:lnTo>
                    <a:lnTo>
                      <a:pt x="1407" y="654"/>
                    </a:lnTo>
                    <a:lnTo>
                      <a:pt x="1409" y="656"/>
                    </a:lnTo>
                    <a:lnTo>
                      <a:pt x="1412" y="653"/>
                    </a:lnTo>
                    <a:lnTo>
                      <a:pt x="1412" y="649"/>
                    </a:lnTo>
                    <a:lnTo>
                      <a:pt x="1416" y="646"/>
                    </a:lnTo>
                    <a:lnTo>
                      <a:pt x="1419" y="646"/>
                    </a:lnTo>
                    <a:lnTo>
                      <a:pt x="1417" y="643"/>
                    </a:lnTo>
                    <a:lnTo>
                      <a:pt x="1421" y="641"/>
                    </a:lnTo>
                    <a:lnTo>
                      <a:pt x="1424" y="641"/>
                    </a:lnTo>
                    <a:lnTo>
                      <a:pt x="1422" y="638"/>
                    </a:lnTo>
                    <a:lnTo>
                      <a:pt x="1419" y="638"/>
                    </a:lnTo>
                    <a:lnTo>
                      <a:pt x="1412" y="643"/>
                    </a:lnTo>
                    <a:lnTo>
                      <a:pt x="1409" y="643"/>
                    </a:lnTo>
                    <a:lnTo>
                      <a:pt x="1407" y="638"/>
                    </a:lnTo>
                    <a:lnTo>
                      <a:pt x="1404" y="636"/>
                    </a:lnTo>
                    <a:lnTo>
                      <a:pt x="1404" y="633"/>
                    </a:lnTo>
                    <a:lnTo>
                      <a:pt x="1409" y="631"/>
                    </a:lnTo>
                    <a:lnTo>
                      <a:pt x="1407" y="628"/>
                    </a:lnTo>
                    <a:lnTo>
                      <a:pt x="1409" y="623"/>
                    </a:lnTo>
                    <a:lnTo>
                      <a:pt x="1412" y="616"/>
                    </a:lnTo>
                    <a:lnTo>
                      <a:pt x="1412" y="613"/>
                    </a:lnTo>
                    <a:lnTo>
                      <a:pt x="1416" y="610"/>
                    </a:lnTo>
                    <a:lnTo>
                      <a:pt x="1422" y="610"/>
                    </a:lnTo>
                    <a:lnTo>
                      <a:pt x="1426" y="615"/>
                    </a:lnTo>
                    <a:lnTo>
                      <a:pt x="1427" y="616"/>
                    </a:lnTo>
                    <a:lnTo>
                      <a:pt x="1432" y="620"/>
                    </a:lnTo>
                    <a:lnTo>
                      <a:pt x="1436" y="625"/>
                    </a:lnTo>
                    <a:lnTo>
                      <a:pt x="1441" y="625"/>
                    </a:lnTo>
                    <a:lnTo>
                      <a:pt x="1437" y="621"/>
                    </a:lnTo>
                    <a:lnTo>
                      <a:pt x="1436" y="618"/>
                    </a:lnTo>
                    <a:lnTo>
                      <a:pt x="1429" y="615"/>
                    </a:lnTo>
                    <a:lnTo>
                      <a:pt x="1427" y="610"/>
                    </a:lnTo>
                    <a:lnTo>
                      <a:pt x="1427" y="608"/>
                    </a:lnTo>
                    <a:lnTo>
                      <a:pt x="1422" y="608"/>
                    </a:lnTo>
                    <a:lnTo>
                      <a:pt x="1419" y="606"/>
                    </a:lnTo>
                    <a:lnTo>
                      <a:pt x="1421" y="605"/>
                    </a:lnTo>
                    <a:lnTo>
                      <a:pt x="1429" y="605"/>
                    </a:lnTo>
                    <a:lnTo>
                      <a:pt x="1431" y="603"/>
                    </a:lnTo>
                    <a:lnTo>
                      <a:pt x="1432" y="603"/>
                    </a:lnTo>
                    <a:lnTo>
                      <a:pt x="1441" y="610"/>
                    </a:lnTo>
                    <a:lnTo>
                      <a:pt x="1447" y="613"/>
                    </a:lnTo>
                    <a:lnTo>
                      <a:pt x="1449" y="613"/>
                    </a:lnTo>
                    <a:lnTo>
                      <a:pt x="1444" y="610"/>
                    </a:lnTo>
                    <a:lnTo>
                      <a:pt x="1439" y="603"/>
                    </a:lnTo>
                    <a:lnTo>
                      <a:pt x="1434" y="600"/>
                    </a:lnTo>
                    <a:lnTo>
                      <a:pt x="1434" y="598"/>
                    </a:lnTo>
                    <a:lnTo>
                      <a:pt x="1436" y="593"/>
                    </a:lnTo>
                    <a:lnTo>
                      <a:pt x="1442" y="591"/>
                    </a:lnTo>
                    <a:lnTo>
                      <a:pt x="1444" y="593"/>
                    </a:lnTo>
                    <a:lnTo>
                      <a:pt x="1444" y="596"/>
                    </a:lnTo>
                    <a:lnTo>
                      <a:pt x="1444" y="600"/>
                    </a:lnTo>
                    <a:lnTo>
                      <a:pt x="1447" y="598"/>
                    </a:lnTo>
                    <a:lnTo>
                      <a:pt x="1446" y="595"/>
                    </a:lnTo>
                    <a:lnTo>
                      <a:pt x="1449" y="591"/>
                    </a:lnTo>
                    <a:lnTo>
                      <a:pt x="1454" y="591"/>
                    </a:lnTo>
                    <a:lnTo>
                      <a:pt x="1457" y="596"/>
                    </a:lnTo>
                    <a:lnTo>
                      <a:pt x="1459" y="598"/>
                    </a:lnTo>
                    <a:lnTo>
                      <a:pt x="1461" y="603"/>
                    </a:lnTo>
                    <a:lnTo>
                      <a:pt x="1464" y="601"/>
                    </a:lnTo>
                    <a:lnTo>
                      <a:pt x="1464" y="598"/>
                    </a:lnTo>
                    <a:lnTo>
                      <a:pt x="1459" y="593"/>
                    </a:lnTo>
                    <a:lnTo>
                      <a:pt x="1461" y="590"/>
                    </a:lnTo>
                    <a:lnTo>
                      <a:pt x="1472" y="588"/>
                    </a:lnTo>
                    <a:lnTo>
                      <a:pt x="1479" y="585"/>
                    </a:lnTo>
                    <a:lnTo>
                      <a:pt x="1485" y="585"/>
                    </a:lnTo>
                    <a:lnTo>
                      <a:pt x="1490" y="581"/>
                    </a:lnTo>
                    <a:lnTo>
                      <a:pt x="1497" y="583"/>
                    </a:lnTo>
                    <a:lnTo>
                      <a:pt x="1505" y="583"/>
                    </a:lnTo>
                    <a:lnTo>
                      <a:pt x="1512" y="585"/>
                    </a:lnTo>
                    <a:lnTo>
                      <a:pt x="1514" y="588"/>
                    </a:lnTo>
                    <a:lnTo>
                      <a:pt x="1512" y="590"/>
                    </a:lnTo>
                    <a:lnTo>
                      <a:pt x="1510" y="600"/>
                    </a:lnTo>
                    <a:lnTo>
                      <a:pt x="1510" y="601"/>
                    </a:lnTo>
                    <a:lnTo>
                      <a:pt x="1507" y="605"/>
                    </a:lnTo>
                    <a:lnTo>
                      <a:pt x="1504" y="610"/>
                    </a:lnTo>
                    <a:lnTo>
                      <a:pt x="1504" y="613"/>
                    </a:lnTo>
                    <a:lnTo>
                      <a:pt x="1509" y="615"/>
                    </a:lnTo>
                    <a:lnTo>
                      <a:pt x="1510" y="618"/>
                    </a:lnTo>
                    <a:lnTo>
                      <a:pt x="1510" y="620"/>
                    </a:lnTo>
                    <a:lnTo>
                      <a:pt x="1504" y="626"/>
                    </a:lnTo>
                    <a:lnTo>
                      <a:pt x="1502" y="630"/>
                    </a:lnTo>
                    <a:lnTo>
                      <a:pt x="1502" y="635"/>
                    </a:lnTo>
                    <a:lnTo>
                      <a:pt x="1505" y="636"/>
                    </a:lnTo>
                    <a:lnTo>
                      <a:pt x="1505" y="639"/>
                    </a:lnTo>
                    <a:lnTo>
                      <a:pt x="1502" y="643"/>
                    </a:lnTo>
                    <a:lnTo>
                      <a:pt x="1499" y="644"/>
                    </a:lnTo>
                    <a:lnTo>
                      <a:pt x="1495" y="648"/>
                    </a:lnTo>
                    <a:lnTo>
                      <a:pt x="1490" y="648"/>
                    </a:lnTo>
                    <a:lnTo>
                      <a:pt x="1487" y="651"/>
                    </a:lnTo>
                    <a:lnTo>
                      <a:pt x="1484" y="654"/>
                    </a:lnTo>
                    <a:lnTo>
                      <a:pt x="1482" y="658"/>
                    </a:lnTo>
                    <a:lnTo>
                      <a:pt x="1485" y="658"/>
                    </a:lnTo>
                    <a:lnTo>
                      <a:pt x="1490" y="653"/>
                    </a:lnTo>
                    <a:lnTo>
                      <a:pt x="1495" y="649"/>
                    </a:lnTo>
                    <a:lnTo>
                      <a:pt x="1499" y="649"/>
                    </a:lnTo>
                    <a:lnTo>
                      <a:pt x="1500" y="649"/>
                    </a:lnTo>
                    <a:lnTo>
                      <a:pt x="1497" y="653"/>
                    </a:lnTo>
                    <a:lnTo>
                      <a:pt x="1495" y="656"/>
                    </a:lnTo>
                    <a:lnTo>
                      <a:pt x="1489" y="661"/>
                    </a:lnTo>
                    <a:lnTo>
                      <a:pt x="1485" y="663"/>
                    </a:lnTo>
                    <a:lnTo>
                      <a:pt x="1484" y="664"/>
                    </a:lnTo>
                    <a:lnTo>
                      <a:pt x="1485" y="666"/>
                    </a:lnTo>
                    <a:lnTo>
                      <a:pt x="1484" y="669"/>
                    </a:lnTo>
                    <a:lnTo>
                      <a:pt x="1482" y="668"/>
                    </a:lnTo>
                    <a:lnTo>
                      <a:pt x="1479" y="668"/>
                    </a:lnTo>
                    <a:lnTo>
                      <a:pt x="1479" y="671"/>
                    </a:lnTo>
                    <a:lnTo>
                      <a:pt x="1481" y="671"/>
                    </a:lnTo>
                    <a:lnTo>
                      <a:pt x="1482" y="673"/>
                    </a:lnTo>
                    <a:lnTo>
                      <a:pt x="1482" y="676"/>
                    </a:lnTo>
                    <a:lnTo>
                      <a:pt x="1479" y="678"/>
                    </a:lnTo>
                    <a:lnTo>
                      <a:pt x="1482" y="678"/>
                    </a:lnTo>
                    <a:lnTo>
                      <a:pt x="1484" y="676"/>
                    </a:lnTo>
                    <a:lnTo>
                      <a:pt x="1489" y="674"/>
                    </a:lnTo>
                    <a:lnTo>
                      <a:pt x="1490" y="671"/>
                    </a:lnTo>
                    <a:lnTo>
                      <a:pt x="1490" y="668"/>
                    </a:lnTo>
                    <a:lnTo>
                      <a:pt x="1495" y="666"/>
                    </a:lnTo>
                    <a:lnTo>
                      <a:pt x="1497" y="663"/>
                    </a:lnTo>
                    <a:lnTo>
                      <a:pt x="1499" y="664"/>
                    </a:lnTo>
                    <a:lnTo>
                      <a:pt x="1499" y="669"/>
                    </a:lnTo>
                    <a:lnTo>
                      <a:pt x="1502" y="671"/>
                    </a:lnTo>
                    <a:lnTo>
                      <a:pt x="1502" y="666"/>
                    </a:lnTo>
                    <a:lnTo>
                      <a:pt x="1500" y="661"/>
                    </a:lnTo>
                    <a:lnTo>
                      <a:pt x="1500" y="658"/>
                    </a:lnTo>
                    <a:lnTo>
                      <a:pt x="1504" y="656"/>
                    </a:lnTo>
                    <a:lnTo>
                      <a:pt x="1507" y="658"/>
                    </a:lnTo>
                    <a:lnTo>
                      <a:pt x="1507" y="663"/>
                    </a:lnTo>
                    <a:lnTo>
                      <a:pt x="1509" y="664"/>
                    </a:lnTo>
                    <a:lnTo>
                      <a:pt x="1510" y="663"/>
                    </a:lnTo>
                    <a:lnTo>
                      <a:pt x="1517" y="658"/>
                    </a:lnTo>
                    <a:lnTo>
                      <a:pt x="1517" y="663"/>
                    </a:lnTo>
                    <a:lnTo>
                      <a:pt x="1520" y="664"/>
                    </a:lnTo>
                    <a:lnTo>
                      <a:pt x="1519" y="669"/>
                    </a:lnTo>
                    <a:lnTo>
                      <a:pt x="1514" y="676"/>
                    </a:lnTo>
                    <a:lnTo>
                      <a:pt x="1509" y="679"/>
                    </a:lnTo>
                    <a:lnTo>
                      <a:pt x="1507" y="683"/>
                    </a:lnTo>
                    <a:lnTo>
                      <a:pt x="1510" y="683"/>
                    </a:lnTo>
                    <a:lnTo>
                      <a:pt x="1515" y="686"/>
                    </a:lnTo>
                    <a:lnTo>
                      <a:pt x="1519" y="683"/>
                    </a:lnTo>
                    <a:lnTo>
                      <a:pt x="1515" y="681"/>
                    </a:lnTo>
                    <a:lnTo>
                      <a:pt x="1517" y="676"/>
                    </a:lnTo>
                    <a:lnTo>
                      <a:pt x="1522" y="673"/>
                    </a:lnTo>
                    <a:lnTo>
                      <a:pt x="1525" y="678"/>
                    </a:lnTo>
                    <a:lnTo>
                      <a:pt x="1525" y="681"/>
                    </a:lnTo>
                    <a:lnTo>
                      <a:pt x="1527" y="679"/>
                    </a:lnTo>
                    <a:lnTo>
                      <a:pt x="1525" y="673"/>
                    </a:lnTo>
                    <a:lnTo>
                      <a:pt x="1524" y="669"/>
                    </a:lnTo>
                    <a:lnTo>
                      <a:pt x="1524" y="661"/>
                    </a:lnTo>
                    <a:lnTo>
                      <a:pt x="1525" y="661"/>
                    </a:lnTo>
                    <a:lnTo>
                      <a:pt x="1530" y="663"/>
                    </a:lnTo>
                    <a:lnTo>
                      <a:pt x="1529" y="666"/>
                    </a:lnTo>
                    <a:lnTo>
                      <a:pt x="1527" y="669"/>
                    </a:lnTo>
                    <a:lnTo>
                      <a:pt x="1530" y="669"/>
                    </a:lnTo>
                    <a:lnTo>
                      <a:pt x="1534" y="668"/>
                    </a:lnTo>
                    <a:lnTo>
                      <a:pt x="1542" y="674"/>
                    </a:lnTo>
                    <a:lnTo>
                      <a:pt x="1542" y="678"/>
                    </a:lnTo>
                    <a:lnTo>
                      <a:pt x="1547" y="678"/>
                    </a:lnTo>
                    <a:lnTo>
                      <a:pt x="1550" y="679"/>
                    </a:lnTo>
                    <a:lnTo>
                      <a:pt x="1554" y="679"/>
                    </a:lnTo>
                    <a:lnTo>
                      <a:pt x="1550" y="674"/>
                    </a:lnTo>
                    <a:lnTo>
                      <a:pt x="1547" y="674"/>
                    </a:lnTo>
                    <a:lnTo>
                      <a:pt x="1545" y="673"/>
                    </a:lnTo>
                    <a:lnTo>
                      <a:pt x="1537" y="666"/>
                    </a:lnTo>
                    <a:lnTo>
                      <a:pt x="1534" y="664"/>
                    </a:lnTo>
                    <a:lnTo>
                      <a:pt x="1532" y="663"/>
                    </a:lnTo>
                    <a:lnTo>
                      <a:pt x="1537" y="656"/>
                    </a:lnTo>
                    <a:lnTo>
                      <a:pt x="1542" y="656"/>
                    </a:lnTo>
                    <a:lnTo>
                      <a:pt x="1547" y="653"/>
                    </a:lnTo>
                    <a:lnTo>
                      <a:pt x="1554" y="651"/>
                    </a:lnTo>
                    <a:lnTo>
                      <a:pt x="1560" y="651"/>
                    </a:lnTo>
                    <a:lnTo>
                      <a:pt x="1562" y="653"/>
                    </a:lnTo>
                    <a:lnTo>
                      <a:pt x="1565" y="653"/>
                    </a:lnTo>
                    <a:lnTo>
                      <a:pt x="1572" y="656"/>
                    </a:lnTo>
                    <a:lnTo>
                      <a:pt x="1572" y="659"/>
                    </a:lnTo>
                    <a:lnTo>
                      <a:pt x="1575" y="661"/>
                    </a:lnTo>
                    <a:lnTo>
                      <a:pt x="1579" y="663"/>
                    </a:lnTo>
                    <a:lnTo>
                      <a:pt x="1579" y="666"/>
                    </a:lnTo>
                    <a:lnTo>
                      <a:pt x="1582" y="666"/>
                    </a:lnTo>
                    <a:lnTo>
                      <a:pt x="1582" y="664"/>
                    </a:lnTo>
                    <a:lnTo>
                      <a:pt x="1587" y="664"/>
                    </a:lnTo>
                    <a:lnTo>
                      <a:pt x="1588" y="668"/>
                    </a:lnTo>
                    <a:lnTo>
                      <a:pt x="1593" y="671"/>
                    </a:lnTo>
                    <a:lnTo>
                      <a:pt x="1593" y="673"/>
                    </a:lnTo>
                    <a:lnTo>
                      <a:pt x="1593" y="676"/>
                    </a:lnTo>
                    <a:lnTo>
                      <a:pt x="1593" y="679"/>
                    </a:lnTo>
                    <a:lnTo>
                      <a:pt x="1595" y="681"/>
                    </a:lnTo>
                    <a:lnTo>
                      <a:pt x="1590" y="686"/>
                    </a:lnTo>
                    <a:lnTo>
                      <a:pt x="1587" y="686"/>
                    </a:lnTo>
                    <a:lnTo>
                      <a:pt x="1582" y="684"/>
                    </a:lnTo>
                    <a:lnTo>
                      <a:pt x="1575" y="686"/>
                    </a:lnTo>
                    <a:lnTo>
                      <a:pt x="1569" y="693"/>
                    </a:lnTo>
                    <a:lnTo>
                      <a:pt x="1577" y="688"/>
                    </a:lnTo>
                    <a:lnTo>
                      <a:pt x="1583" y="688"/>
                    </a:lnTo>
                    <a:lnTo>
                      <a:pt x="1585" y="689"/>
                    </a:lnTo>
                    <a:lnTo>
                      <a:pt x="1582" y="693"/>
                    </a:lnTo>
                    <a:lnTo>
                      <a:pt x="1577" y="694"/>
                    </a:lnTo>
                    <a:lnTo>
                      <a:pt x="1572" y="703"/>
                    </a:lnTo>
                    <a:lnTo>
                      <a:pt x="1569" y="704"/>
                    </a:lnTo>
                    <a:lnTo>
                      <a:pt x="1565" y="706"/>
                    </a:lnTo>
                    <a:lnTo>
                      <a:pt x="1565" y="709"/>
                    </a:lnTo>
                    <a:lnTo>
                      <a:pt x="1567" y="709"/>
                    </a:lnTo>
                    <a:lnTo>
                      <a:pt x="1575" y="701"/>
                    </a:lnTo>
                    <a:lnTo>
                      <a:pt x="1580" y="696"/>
                    </a:lnTo>
                    <a:lnTo>
                      <a:pt x="1585" y="693"/>
                    </a:lnTo>
                    <a:lnTo>
                      <a:pt x="1590" y="689"/>
                    </a:lnTo>
                    <a:lnTo>
                      <a:pt x="1595" y="691"/>
                    </a:lnTo>
                    <a:lnTo>
                      <a:pt x="1598" y="693"/>
                    </a:lnTo>
                    <a:lnTo>
                      <a:pt x="1602" y="693"/>
                    </a:lnTo>
                    <a:lnTo>
                      <a:pt x="1602" y="696"/>
                    </a:lnTo>
                    <a:lnTo>
                      <a:pt x="1600" y="699"/>
                    </a:lnTo>
                    <a:lnTo>
                      <a:pt x="1600" y="703"/>
                    </a:lnTo>
                    <a:lnTo>
                      <a:pt x="1595" y="704"/>
                    </a:lnTo>
                    <a:lnTo>
                      <a:pt x="1592" y="709"/>
                    </a:lnTo>
                    <a:lnTo>
                      <a:pt x="1587" y="709"/>
                    </a:lnTo>
                    <a:lnTo>
                      <a:pt x="1585" y="708"/>
                    </a:lnTo>
                    <a:lnTo>
                      <a:pt x="1580" y="708"/>
                    </a:lnTo>
                    <a:lnTo>
                      <a:pt x="1579" y="709"/>
                    </a:lnTo>
                    <a:lnTo>
                      <a:pt x="1583" y="709"/>
                    </a:lnTo>
                    <a:lnTo>
                      <a:pt x="1583" y="713"/>
                    </a:lnTo>
                    <a:lnTo>
                      <a:pt x="1575" y="716"/>
                    </a:lnTo>
                    <a:lnTo>
                      <a:pt x="1579" y="718"/>
                    </a:lnTo>
                    <a:lnTo>
                      <a:pt x="1582" y="714"/>
                    </a:lnTo>
                    <a:lnTo>
                      <a:pt x="1587" y="713"/>
                    </a:lnTo>
                    <a:lnTo>
                      <a:pt x="1590" y="713"/>
                    </a:lnTo>
                    <a:lnTo>
                      <a:pt x="1590" y="714"/>
                    </a:lnTo>
                    <a:lnTo>
                      <a:pt x="1588" y="716"/>
                    </a:lnTo>
                    <a:lnTo>
                      <a:pt x="1583" y="718"/>
                    </a:lnTo>
                    <a:lnTo>
                      <a:pt x="1579" y="721"/>
                    </a:lnTo>
                    <a:lnTo>
                      <a:pt x="1582" y="719"/>
                    </a:lnTo>
                    <a:lnTo>
                      <a:pt x="1583" y="721"/>
                    </a:lnTo>
                    <a:lnTo>
                      <a:pt x="1580" y="724"/>
                    </a:lnTo>
                    <a:lnTo>
                      <a:pt x="1575" y="729"/>
                    </a:lnTo>
                    <a:lnTo>
                      <a:pt x="1572" y="731"/>
                    </a:lnTo>
                    <a:lnTo>
                      <a:pt x="1575" y="733"/>
                    </a:lnTo>
                    <a:lnTo>
                      <a:pt x="1582" y="729"/>
                    </a:lnTo>
                    <a:lnTo>
                      <a:pt x="1585" y="721"/>
                    </a:lnTo>
                    <a:lnTo>
                      <a:pt x="1588" y="718"/>
                    </a:lnTo>
                    <a:lnTo>
                      <a:pt x="1595" y="713"/>
                    </a:lnTo>
                    <a:lnTo>
                      <a:pt x="1597" y="714"/>
                    </a:lnTo>
                    <a:lnTo>
                      <a:pt x="1597" y="718"/>
                    </a:lnTo>
                    <a:lnTo>
                      <a:pt x="1600" y="716"/>
                    </a:lnTo>
                    <a:lnTo>
                      <a:pt x="1602" y="713"/>
                    </a:lnTo>
                    <a:lnTo>
                      <a:pt x="1607" y="709"/>
                    </a:lnTo>
                    <a:lnTo>
                      <a:pt x="1610" y="709"/>
                    </a:lnTo>
                    <a:lnTo>
                      <a:pt x="1610" y="713"/>
                    </a:lnTo>
                    <a:lnTo>
                      <a:pt x="1603" y="718"/>
                    </a:lnTo>
                    <a:lnTo>
                      <a:pt x="1595" y="723"/>
                    </a:lnTo>
                    <a:lnTo>
                      <a:pt x="1592" y="723"/>
                    </a:lnTo>
                    <a:lnTo>
                      <a:pt x="1592" y="726"/>
                    </a:lnTo>
                    <a:lnTo>
                      <a:pt x="1593" y="726"/>
                    </a:lnTo>
                    <a:lnTo>
                      <a:pt x="1590" y="731"/>
                    </a:lnTo>
                    <a:lnTo>
                      <a:pt x="1590" y="734"/>
                    </a:lnTo>
                    <a:lnTo>
                      <a:pt x="1592" y="734"/>
                    </a:lnTo>
                    <a:lnTo>
                      <a:pt x="1593" y="731"/>
                    </a:lnTo>
                    <a:lnTo>
                      <a:pt x="1595" y="728"/>
                    </a:lnTo>
                    <a:lnTo>
                      <a:pt x="1602" y="723"/>
                    </a:lnTo>
                    <a:lnTo>
                      <a:pt x="1607" y="719"/>
                    </a:lnTo>
                    <a:lnTo>
                      <a:pt x="1607" y="723"/>
                    </a:lnTo>
                    <a:lnTo>
                      <a:pt x="1607" y="724"/>
                    </a:lnTo>
                    <a:lnTo>
                      <a:pt x="1605" y="728"/>
                    </a:lnTo>
                    <a:lnTo>
                      <a:pt x="1598" y="733"/>
                    </a:lnTo>
                    <a:lnTo>
                      <a:pt x="1598" y="736"/>
                    </a:lnTo>
                    <a:lnTo>
                      <a:pt x="1595" y="741"/>
                    </a:lnTo>
                    <a:lnTo>
                      <a:pt x="1592" y="742"/>
                    </a:lnTo>
                    <a:lnTo>
                      <a:pt x="1592" y="744"/>
                    </a:lnTo>
                    <a:lnTo>
                      <a:pt x="1597" y="742"/>
                    </a:lnTo>
                    <a:lnTo>
                      <a:pt x="1598" y="739"/>
                    </a:lnTo>
                    <a:lnTo>
                      <a:pt x="1605" y="733"/>
                    </a:lnTo>
                    <a:lnTo>
                      <a:pt x="1608" y="731"/>
                    </a:lnTo>
                    <a:lnTo>
                      <a:pt x="1610" y="734"/>
                    </a:lnTo>
                    <a:lnTo>
                      <a:pt x="1612" y="734"/>
                    </a:lnTo>
                    <a:lnTo>
                      <a:pt x="1612" y="737"/>
                    </a:lnTo>
                    <a:lnTo>
                      <a:pt x="1608" y="737"/>
                    </a:lnTo>
                    <a:lnTo>
                      <a:pt x="1603" y="744"/>
                    </a:lnTo>
                    <a:lnTo>
                      <a:pt x="1602" y="749"/>
                    </a:lnTo>
                    <a:lnTo>
                      <a:pt x="1605" y="749"/>
                    </a:lnTo>
                    <a:lnTo>
                      <a:pt x="1607" y="747"/>
                    </a:lnTo>
                    <a:lnTo>
                      <a:pt x="1607" y="744"/>
                    </a:lnTo>
                    <a:lnTo>
                      <a:pt x="1610" y="739"/>
                    </a:lnTo>
                    <a:lnTo>
                      <a:pt x="1615" y="737"/>
                    </a:lnTo>
                    <a:lnTo>
                      <a:pt x="1615" y="733"/>
                    </a:lnTo>
                    <a:lnTo>
                      <a:pt x="1617" y="729"/>
                    </a:lnTo>
                    <a:lnTo>
                      <a:pt x="1620" y="728"/>
                    </a:lnTo>
                    <a:lnTo>
                      <a:pt x="1622" y="724"/>
                    </a:lnTo>
                    <a:lnTo>
                      <a:pt x="1623" y="723"/>
                    </a:lnTo>
                    <a:lnTo>
                      <a:pt x="1625" y="721"/>
                    </a:lnTo>
                    <a:lnTo>
                      <a:pt x="1627" y="719"/>
                    </a:lnTo>
                    <a:lnTo>
                      <a:pt x="1627" y="716"/>
                    </a:lnTo>
                    <a:lnTo>
                      <a:pt x="1630" y="714"/>
                    </a:lnTo>
                    <a:lnTo>
                      <a:pt x="1633" y="721"/>
                    </a:lnTo>
                    <a:lnTo>
                      <a:pt x="1637" y="723"/>
                    </a:lnTo>
                    <a:lnTo>
                      <a:pt x="1640" y="728"/>
                    </a:lnTo>
                    <a:lnTo>
                      <a:pt x="1642" y="731"/>
                    </a:lnTo>
                    <a:lnTo>
                      <a:pt x="1642" y="736"/>
                    </a:lnTo>
                    <a:lnTo>
                      <a:pt x="1647" y="739"/>
                    </a:lnTo>
                    <a:lnTo>
                      <a:pt x="1647" y="742"/>
                    </a:lnTo>
                    <a:lnTo>
                      <a:pt x="1643" y="744"/>
                    </a:lnTo>
                    <a:lnTo>
                      <a:pt x="1640" y="749"/>
                    </a:lnTo>
                    <a:lnTo>
                      <a:pt x="1637" y="749"/>
                    </a:lnTo>
                    <a:lnTo>
                      <a:pt x="1633" y="747"/>
                    </a:lnTo>
                    <a:lnTo>
                      <a:pt x="1630" y="744"/>
                    </a:lnTo>
                    <a:lnTo>
                      <a:pt x="1627" y="744"/>
                    </a:lnTo>
                    <a:lnTo>
                      <a:pt x="1625" y="746"/>
                    </a:lnTo>
                    <a:lnTo>
                      <a:pt x="1622" y="747"/>
                    </a:lnTo>
                    <a:lnTo>
                      <a:pt x="1620" y="751"/>
                    </a:lnTo>
                    <a:lnTo>
                      <a:pt x="1617" y="752"/>
                    </a:lnTo>
                    <a:lnTo>
                      <a:pt x="1613" y="752"/>
                    </a:lnTo>
                    <a:lnTo>
                      <a:pt x="1612" y="756"/>
                    </a:lnTo>
                    <a:lnTo>
                      <a:pt x="1617" y="756"/>
                    </a:lnTo>
                    <a:lnTo>
                      <a:pt x="1618" y="756"/>
                    </a:lnTo>
                    <a:lnTo>
                      <a:pt x="1620" y="757"/>
                    </a:lnTo>
                    <a:lnTo>
                      <a:pt x="1617" y="761"/>
                    </a:lnTo>
                    <a:lnTo>
                      <a:pt x="1612" y="762"/>
                    </a:lnTo>
                    <a:lnTo>
                      <a:pt x="1608" y="764"/>
                    </a:lnTo>
                    <a:lnTo>
                      <a:pt x="1613" y="766"/>
                    </a:lnTo>
                    <a:lnTo>
                      <a:pt x="1618" y="762"/>
                    </a:lnTo>
                    <a:lnTo>
                      <a:pt x="1623" y="762"/>
                    </a:lnTo>
                    <a:lnTo>
                      <a:pt x="1627" y="762"/>
                    </a:lnTo>
                    <a:lnTo>
                      <a:pt x="1632" y="759"/>
                    </a:lnTo>
                    <a:lnTo>
                      <a:pt x="1635" y="759"/>
                    </a:lnTo>
                    <a:lnTo>
                      <a:pt x="1638" y="762"/>
                    </a:lnTo>
                    <a:lnTo>
                      <a:pt x="1638" y="764"/>
                    </a:lnTo>
                    <a:lnTo>
                      <a:pt x="1638" y="766"/>
                    </a:lnTo>
                    <a:lnTo>
                      <a:pt x="1640" y="764"/>
                    </a:lnTo>
                    <a:lnTo>
                      <a:pt x="1642" y="759"/>
                    </a:lnTo>
                    <a:lnTo>
                      <a:pt x="1640" y="756"/>
                    </a:lnTo>
                    <a:lnTo>
                      <a:pt x="1643" y="752"/>
                    </a:lnTo>
                    <a:lnTo>
                      <a:pt x="1650" y="749"/>
                    </a:lnTo>
                    <a:lnTo>
                      <a:pt x="1652" y="751"/>
                    </a:lnTo>
                    <a:lnTo>
                      <a:pt x="1650" y="754"/>
                    </a:lnTo>
                    <a:lnTo>
                      <a:pt x="1652" y="757"/>
                    </a:lnTo>
                    <a:lnTo>
                      <a:pt x="1650" y="761"/>
                    </a:lnTo>
                    <a:lnTo>
                      <a:pt x="1645" y="766"/>
                    </a:lnTo>
                    <a:lnTo>
                      <a:pt x="1640" y="767"/>
                    </a:lnTo>
                    <a:lnTo>
                      <a:pt x="1637" y="771"/>
                    </a:lnTo>
                    <a:lnTo>
                      <a:pt x="1637" y="772"/>
                    </a:lnTo>
                    <a:lnTo>
                      <a:pt x="1632" y="772"/>
                    </a:lnTo>
                    <a:lnTo>
                      <a:pt x="1630" y="771"/>
                    </a:lnTo>
                    <a:lnTo>
                      <a:pt x="1627" y="771"/>
                    </a:lnTo>
                    <a:lnTo>
                      <a:pt x="1623" y="774"/>
                    </a:lnTo>
                    <a:lnTo>
                      <a:pt x="1623" y="777"/>
                    </a:lnTo>
                    <a:lnTo>
                      <a:pt x="1618" y="781"/>
                    </a:lnTo>
                    <a:lnTo>
                      <a:pt x="1618" y="784"/>
                    </a:lnTo>
                    <a:lnTo>
                      <a:pt x="1617" y="786"/>
                    </a:lnTo>
                    <a:lnTo>
                      <a:pt x="1620" y="786"/>
                    </a:lnTo>
                    <a:lnTo>
                      <a:pt x="1625" y="781"/>
                    </a:lnTo>
                    <a:lnTo>
                      <a:pt x="1628" y="774"/>
                    </a:lnTo>
                    <a:lnTo>
                      <a:pt x="1632" y="774"/>
                    </a:lnTo>
                    <a:lnTo>
                      <a:pt x="1632" y="774"/>
                    </a:lnTo>
                    <a:lnTo>
                      <a:pt x="1635" y="776"/>
                    </a:lnTo>
                    <a:lnTo>
                      <a:pt x="1635" y="777"/>
                    </a:lnTo>
                    <a:lnTo>
                      <a:pt x="1633" y="779"/>
                    </a:lnTo>
                    <a:lnTo>
                      <a:pt x="1630" y="784"/>
                    </a:lnTo>
                    <a:lnTo>
                      <a:pt x="1623" y="789"/>
                    </a:lnTo>
                    <a:lnTo>
                      <a:pt x="1620" y="792"/>
                    </a:lnTo>
                    <a:lnTo>
                      <a:pt x="1620" y="794"/>
                    </a:lnTo>
                    <a:lnTo>
                      <a:pt x="1628" y="789"/>
                    </a:lnTo>
                    <a:lnTo>
                      <a:pt x="1637" y="782"/>
                    </a:lnTo>
                    <a:lnTo>
                      <a:pt x="1638" y="774"/>
                    </a:lnTo>
                    <a:lnTo>
                      <a:pt x="1640" y="772"/>
                    </a:lnTo>
                    <a:lnTo>
                      <a:pt x="1642" y="769"/>
                    </a:lnTo>
                    <a:lnTo>
                      <a:pt x="1645" y="769"/>
                    </a:lnTo>
                    <a:lnTo>
                      <a:pt x="1652" y="766"/>
                    </a:lnTo>
                    <a:lnTo>
                      <a:pt x="1658" y="762"/>
                    </a:lnTo>
                    <a:lnTo>
                      <a:pt x="1662" y="762"/>
                    </a:lnTo>
                    <a:lnTo>
                      <a:pt x="1662" y="764"/>
                    </a:lnTo>
                    <a:lnTo>
                      <a:pt x="1660" y="766"/>
                    </a:lnTo>
                    <a:lnTo>
                      <a:pt x="1655" y="771"/>
                    </a:lnTo>
                    <a:lnTo>
                      <a:pt x="1650" y="771"/>
                    </a:lnTo>
                    <a:lnTo>
                      <a:pt x="1647" y="772"/>
                    </a:lnTo>
                    <a:lnTo>
                      <a:pt x="1647" y="777"/>
                    </a:lnTo>
                    <a:lnTo>
                      <a:pt x="1647" y="777"/>
                    </a:lnTo>
                    <a:lnTo>
                      <a:pt x="1650" y="774"/>
                    </a:lnTo>
                    <a:lnTo>
                      <a:pt x="1655" y="774"/>
                    </a:lnTo>
                    <a:lnTo>
                      <a:pt x="1660" y="771"/>
                    </a:lnTo>
                    <a:lnTo>
                      <a:pt x="1663" y="769"/>
                    </a:lnTo>
                    <a:lnTo>
                      <a:pt x="1665" y="767"/>
                    </a:lnTo>
                    <a:lnTo>
                      <a:pt x="1668" y="766"/>
                    </a:lnTo>
                    <a:lnTo>
                      <a:pt x="1672" y="766"/>
                    </a:lnTo>
                    <a:lnTo>
                      <a:pt x="1675" y="771"/>
                    </a:lnTo>
                    <a:lnTo>
                      <a:pt x="1680" y="776"/>
                    </a:lnTo>
                    <a:lnTo>
                      <a:pt x="1682" y="779"/>
                    </a:lnTo>
                    <a:lnTo>
                      <a:pt x="1686" y="781"/>
                    </a:lnTo>
                    <a:lnTo>
                      <a:pt x="1686" y="784"/>
                    </a:lnTo>
                    <a:lnTo>
                      <a:pt x="1686" y="787"/>
                    </a:lnTo>
                    <a:lnTo>
                      <a:pt x="1682" y="791"/>
                    </a:lnTo>
                    <a:lnTo>
                      <a:pt x="1680" y="791"/>
                    </a:lnTo>
                    <a:lnTo>
                      <a:pt x="1680" y="786"/>
                    </a:lnTo>
                    <a:lnTo>
                      <a:pt x="1677" y="786"/>
                    </a:lnTo>
                    <a:lnTo>
                      <a:pt x="1677" y="789"/>
                    </a:lnTo>
                    <a:lnTo>
                      <a:pt x="1673" y="791"/>
                    </a:lnTo>
                    <a:lnTo>
                      <a:pt x="1672" y="794"/>
                    </a:lnTo>
                    <a:lnTo>
                      <a:pt x="1663" y="794"/>
                    </a:lnTo>
                    <a:lnTo>
                      <a:pt x="1660" y="796"/>
                    </a:lnTo>
                    <a:lnTo>
                      <a:pt x="1655" y="796"/>
                    </a:lnTo>
                    <a:lnTo>
                      <a:pt x="1648" y="799"/>
                    </a:lnTo>
                    <a:lnTo>
                      <a:pt x="1645" y="799"/>
                    </a:lnTo>
                    <a:lnTo>
                      <a:pt x="1638" y="802"/>
                    </a:lnTo>
                    <a:lnTo>
                      <a:pt x="1642" y="802"/>
                    </a:lnTo>
                    <a:lnTo>
                      <a:pt x="1645" y="804"/>
                    </a:lnTo>
                    <a:lnTo>
                      <a:pt x="1643" y="806"/>
                    </a:lnTo>
                    <a:lnTo>
                      <a:pt x="1637" y="807"/>
                    </a:lnTo>
                    <a:lnTo>
                      <a:pt x="1635" y="809"/>
                    </a:lnTo>
                    <a:lnTo>
                      <a:pt x="1643" y="809"/>
                    </a:lnTo>
                    <a:lnTo>
                      <a:pt x="1648" y="804"/>
                    </a:lnTo>
                    <a:lnTo>
                      <a:pt x="1655" y="799"/>
                    </a:lnTo>
                    <a:lnTo>
                      <a:pt x="1660" y="797"/>
                    </a:lnTo>
                    <a:lnTo>
                      <a:pt x="1663" y="799"/>
                    </a:lnTo>
                    <a:lnTo>
                      <a:pt x="1667" y="797"/>
                    </a:lnTo>
                    <a:lnTo>
                      <a:pt x="1670" y="797"/>
                    </a:lnTo>
                    <a:lnTo>
                      <a:pt x="1670" y="799"/>
                    </a:lnTo>
                    <a:lnTo>
                      <a:pt x="1670" y="804"/>
                    </a:lnTo>
                    <a:lnTo>
                      <a:pt x="1667" y="806"/>
                    </a:lnTo>
                    <a:lnTo>
                      <a:pt x="1663" y="809"/>
                    </a:lnTo>
                    <a:lnTo>
                      <a:pt x="1660" y="807"/>
                    </a:lnTo>
                    <a:lnTo>
                      <a:pt x="1657" y="809"/>
                    </a:lnTo>
                    <a:lnTo>
                      <a:pt x="1653" y="814"/>
                    </a:lnTo>
                    <a:lnTo>
                      <a:pt x="1650" y="816"/>
                    </a:lnTo>
                    <a:lnTo>
                      <a:pt x="1647" y="814"/>
                    </a:lnTo>
                    <a:lnTo>
                      <a:pt x="1643" y="814"/>
                    </a:lnTo>
                    <a:lnTo>
                      <a:pt x="1640" y="817"/>
                    </a:lnTo>
                    <a:lnTo>
                      <a:pt x="1642" y="817"/>
                    </a:lnTo>
                    <a:lnTo>
                      <a:pt x="1647" y="816"/>
                    </a:lnTo>
                    <a:lnTo>
                      <a:pt x="1650" y="817"/>
                    </a:lnTo>
                    <a:lnTo>
                      <a:pt x="1652" y="817"/>
                    </a:lnTo>
                    <a:lnTo>
                      <a:pt x="1657" y="814"/>
                    </a:lnTo>
                    <a:lnTo>
                      <a:pt x="1660" y="811"/>
                    </a:lnTo>
                    <a:lnTo>
                      <a:pt x="1663" y="809"/>
                    </a:lnTo>
                    <a:lnTo>
                      <a:pt x="1667" y="811"/>
                    </a:lnTo>
                    <a:lnTo>
                      <a:pt x="1672" y="811"/>
                    </a:lnTo>
                    <a:lnTo>
                      <a:pt x="1673" y="807"/>
                    </a:lnTo>
                    <a:lnTo>
                      <a:pt x="1678" y="806"/>
                    </a:lnTo>
                    <a:lnTo>
                      <a:pt x="1680" y="804"/>
                    </a:lnTo>
                    <a:lnTo>
                      <a:pt x="1680" y="802"/>
                    </a:lnTo>
                    <a:lnTo>
                      <a:pt x="1678" y="801"/>
                    </a:lnTo>
                    <a:lnTo>
                      <a:pt x="1682" y="797"/>
                    </a:lnTo>
                    <a:lnTo>
                      <a:pt x="1682" y="794"/>
                    </a:lnTo>
                    <a:lnTo>
                      <a:pt x="1685" y="794"/>
                    </a:lnTo>
                    <a:lnTo>
                      <a:pt x="1686" y="796"/>
                    </a:lnTo>
                    <a:lnTo>
                      <a:pt x="1688" y="794"/>
                    </a:lnTo>
                    <a:lnTo>
                      <a:pt x="1690" y="799"/>
                    </a:lnTo>
                    <a:lnTo>
                      <a:pt x="1693" y="807"/>
                    </a:lnTo>
                    <a:lnTo>
                      <a:pt x="1695" y="812"/>
                    </a:lnTo>
                    <a:lnTo>
                      <a:pt x="1696" y="816"/>
                    </a:lnTo>
                    <a:lnTo>
                      <a:pt x="1696" y="819"/>
                    </a:lnTo>
                    <a:lnTo>
                      <a:pt x="1695" y="822"/>
                    </a:lnTo>
                    <a:lnTo>
                      <a:pt x="1690" y="822"/>
                    </a:lnTo>
                    <a:lnTo>
                      <a:pt x="1686" y="821"/>
                    </a:lnTo>
                    <a:lnTo>
                      <a:pt x="1680" y="819"/>
                    </a:lnTo>
                    <a:lnTo>
                      <a:pt x="1677" y="821"/>
                    </a:lnTo>
                    <a:lnTo>
                      <a:pt x="1672" y="824"/>
                    </a:lnTo>
                    <a:lnTo>
                      <a:pt x="1670" y="824"/>
                    </a:lnTo>
                    <a:lnTo>
                      <a:pt x="1668" y="822"/>
                    </a:lnTo>
                    <a:lnTo>
                      <a:pt x="1663" y="822"/>
                    </a:lnTo>
                    <a:lnTo>
                      <a:pt x="1662" y="826"/>
                    </a:lnTo>
                    <a:lnTo>
                      <a:pt x="1653" y="826"/>
                    </a:lnTo>
                    <a:lnTo>
                      <a:pt x="1657" y="827"/>
                    </a:lnTo>
                    <a:lnTo>
                      <a:pt x="1665" y="826"/>
                    </a:lnTo>
                    <a:lnTo>
                      <a:pt x="1670" y="827"/>
                    </a:lnTo>
                    <a:lnTo>
                      <a:pt x="1677" y="832"/>
                    </a:lnTo>
                    <a:lnTo>
                      <a:pt x="1680" y="834"/>
                    </a:lnTo>
                    <a:lnTo>
                      <a:pt x="1682" y="834"/>
                    </a:lnTo>
                    <a:lnTo>
                      <a:pt x="1685" y="832"/>
                    </a:lnTo>
                    <a:lnTo>
                      <a:pt x="1686" y="834"/>
                    </a:lnTo>
                    <a:lnTo>
                      <a:pt x="1691" y="837"/>
                    </a:lnTo>
                    <a:lnTo>
                      <a:pt x="1695" y="839"/>
                    </a:lnTo>
                    <a:lnTo>
                      <a:pt x="1696" y="840"/>
                    </a:lnTo>
                    <a:lnTo>
                      <a:pt x="1698" y="845"/>
                    </a:lnTo>
                    <a:lnTo>
                      <a:pt x="1698" y="849"/>
                    </a:lnTo>
                    <a:lnTo>
                      <a:pt x="1696" y="850"/>
                    </a:lnTo>
                    <a:lnTo>
                      <a:pt x="1693" y="850"/>
                    </a:lnTo>
                    <a:lnTo>
                      <a:pt x="1691" y="847"/>
                    </a:lnTo>
                    <a:lnTo>
                      <a:pt x="1690" y="847"/>
                    </a:lnTo>
                    <a:lnTo>
                      <a:pt x="1688" y="850"/>
                    </a:lnTo>
                    <a:lnTo>
                      <a:pt x="1685" y="849"/>
                    </a:lnTo>
                    <a:lnTo>
                      <a:pt x="1683" y="847"/>
                    </a:lnTo>
                    <a:lnTo>
                      <a:pt x="1682" y="847"/>
                    </a:lnTo>
                    <a:lnTo>
                      <a:pt x="1678" y="847"/>
                    </a:lnTo>
                    <a:lnTo>
                      <a:pt x="1673" y="842"/>
                    </a:lnTo>
                    <a:lnTo>
                      <a:pt x="1670" y="840"/>
                    </a:lnTo>
                    <a:lnTo>
                      <a:pt x="1667" y="840"/>
                    </a:lnTo>
                    <a:lnTo>
                      <a:pt x="1663" y="842"/>
                    </a:lnTo>
                    <a:lnTo>
                      <a:pt x="1660" y="840"/>
                    </a:lnTo>
                    <a:lnTo>
                      <a:pt x="1662" y="842"/>
                    </a:lnTo>
                    <a:lnTo>
                      <a:pt x="1665" y="844"/>
                    </a:lnTo>
                    <a:lnTo>
                      <a:pt x="1670" y="844"/>
                    </a:lnTo>
                    <a:lnTo>
                      <a:pt x="1668" y="845"/>
                    </a:lnTo>
                    <a:lnTo>
                      <a:pt x="1662" y="845"/>
                    </a:lnTo>
                    <a:lnTo>
                      <a:pt x="1660" y="847"/>
                    </a:lnTo>
                    <a:lnTo>
                      <a:pt x="1655" y="847"/>
                    </a:lnTo>
                    <a:lnTo>
                      <a:pt x="1650" y="849"/>
                    </a:lnTo>
                    <a:lnTo>
                      <a:pt x="1652" y="852"/>
                    </a:lnTo>
                    <a:lnTo>
                      <a:pt x="1653" y="852"/>
                    </a:lnTo>
                    <a:lnTo>
                      <a:pt x="1655" y="850"/>
                    </a:lnTo>
                    <a:lnTo>
                      <a:pt x="1662" y="850"/>
                    </a:lnTo>
                    <a:lnTo>
                      <a:pt x="1665" y="849"/>
                    </a:lnTo>
                    <a:lnTo>
                      <a:pt x="1668" y="847"/>
                    </a:lnTo>
                    <a:lnTo>
                      <a:pt x="1670" y="850"/>
                    </a:lnTo>
                    <a:lnTo>
                      <a:pt x="1670" y="852"/>
                    </a:lnTo>
                    <a:lnTo>
                      <a:pt x="1673" y="854"/>
                    </a:lnTo>
                    <a:lnTo>
                      <a:pt x="1673" y="855"/>
                    </a:lnTo>
                    <a:lnTo>
                      <a:pt x="1673" y="855"/>
                    </a:lnTo>
                    <a:lnTo>
                      <a:pt x="1668" y="855"/>
                    </a:lnTo>
                    <a:lnTo>
                      <a:pt x="1667" y="857"/>
                    </a:lnTo>
                    <a:lnTo>
                      <a:pt x="1665" y="855"/>
                    </a:lnTo>
                    <a:lnTo>
                      <a:pt x="1663" y="854"/>
                    </a:lnTo>
                    <a:lnTo>
                      <a:pt x="1660" y="854"/>
                    </a:lnTo>
                    <a:lnTo>
                      <a:pt x="1660" y="855"/>
                    </a:lnTo>
                    <a:lnTo>
                      <a:pt x="1663" y="857"/>
                    </a:lnTo>
                    <a:lnTo>
                      <a:pt x="1667" y="859"/>
                    </a:lnTo>
                    <a:lnTo>
                      <a:pt x="1668" y="860"/>
                    </a:lnTo>
                    <a:lnTo>
                      <a:pt x="1668" y="864"/>
                    </a:lnTo>
                    <a:lnTo>
                      <a:pt x="1670" y="865"/>
                    </a:lnTo>
                    <a:lnTo>
                      <a:pt x="1667" y="865"/>
                    </a:lnTo>
                    <a:lnTo>
                      <a:pt x="1658" y="864"/>
                    </a:lnTo>
                    <a:lnTo>
                      <a:pt x="1652" y="864"/>
                    </a:lnTo>
                    <a:lnTo>
                      <a:pt x="1643" y="860"/>
                    </a:lnTo>
                    <a:lnTo>
                      <a:pt x="1640" y="860"/>
                    </a:lnTo>
                    <a:lnTo>
                      <a:pt x="1640" y="862"/>
                    </a:lnTo>
                    <a:lnTo>
                      <a:pt x="1645" y="864"/>
                    </a:lnTo>
                    <a:lnTo>
                      <a:pt x="1658" y="869"/>
                    </a:lnTo>
                    <a:lnTo>
                      <a:pt x="1658" y="870"/>
                    </a:lnTo>
                    <a:lnTo>
                      <a:pt x="1657" y="872"/>
                    </a:lnTo>
                    <a:lnTo>
                      <a:pt x="1650" y="867"/>
                    </a:lnTo>
                    <a:lnTo>
                      <a:pt x="1648" y="869"/>
                    </a:lnTo>
                    <a:lnTo>
                      <a:pt x="1645" y="872"/>
                    </a:lnTo>
                    <a:lnTo>
                      <a:pt x="1648" y="870"/>
                    </a:lnTo>
                    <a:lnTo>
                      <a:pt x="1650" y="872"/>
                    </a:lnTo>
                    <a:lnTo>
                      <a:pt x="1652" y="874"/>
                    </a:lnTo>
                    <a:lnTo>
                      <a:pt x="1653" y="874"/>
                    </a:lnTo>
                    <a:lnTo>
                      <a:pt x="1657" y="875"/>
                    </a:lnTo>
                    <a:lnTo>
                      <a:pt x="1657" y="877"/>
                    </a:lnTo>
                    <a:lnTo>
                      <a:pt x="1658" y="880"/>
                    </a:lnTo>
                    <a:lnTo>
                      <a:pt x="1660" y="879"/>
                    </a:lnTo>
                    <a:lnTo>
                      <a:pt x="1660" y="877"/>
                    </a:lnTo>
                    <a:lnTo>
                      <a:pt x="1665" y="877"/>
                    </a:lnTo>
                    <a:lnTo>
                      <a:pt x="1663" y="879"/>
                    </a:lnTo>
                    <a:lnTo>
                      <a:pt x="1662" y="880"/>
                    </a:lnTo>
                    <a:lnTo>
                      <a:pt x="1662" y="882"/>
                    </a:lnTo>
                    <a:lnTo>
                      <a:pt x="1665" y="882"/>
                    </a:lnTo>
                    <a:lnTo>
                      <a:pt x="1665" y="879"/>
                    </a:lnTo>
                    <a:lnTo>
                      <a:pt x="1668" y="879"/>
                    </a:lnTo>
                    <a:lnTo>
                      <a:pt x="1673" y="880"/>
                    </a:lnTo>
                    <a:lnTo>
                      <a:pt x="1678" y="882"/>
                    </a:lnTo>
                    <a:lnTo>
                      <a:pt x="1682" y="882"/>
                    </a:lnTo>
                    <a:lnTo>
                      <a:pt x="1680" y="885"/>
                    </a:lnTo>
                    <a:lnTo>
                      <a:pt x="1678" y="887"/>
                    </a:lnTo>
                    <a:lnTo>
                      <a:pt x="1675" y="885"/>
                    </a:lnTo>
                    <a:lnTo>
                      <a:pt x="1672" y="884"/>
                    </a:lnTo>
                    <a:lnTo>
                      <a:pt x="1667" y="885"/>
                    </a:lnTo>
                    <a:lnTo>
                      <a:pt x="1660" y="887"/>
                    </a:lnTo>
                    <a:lnTo>
                      <a:pt x="1660" y="890"/>
                    </a:lnTo>
                    <a:lnTo>
                      <a:pt x="1662" y="889"/>
                    </a:lnTo>
                    <a:lnTo>
                      <a:pt x="1668" y="889"/>
                    </a:lnTo>
                    <a:lnTo>
                      <a:pt x="1672" y="889"/>
                    </a:lnTo>
                    <a:lnTo>
                      <a:pt x="1668" y="890"/>
                    </a:lnTo>
                    <a:lnTo>
                      <a:pt x="1667" y="892"/>
                    </a:lnTo>
                    <a:lnTo>
                      <a:pt x="1670" y="890"/>
                    </a:lnTo>
                    <a:lnTo>
                      <a:pt x="1677" y="892"/>
                    </a:lnTo>
                    <a:lnTo>
                      <a:pt x="1678" y="894"/>
                    </a:lnTo>
                    <a:lnTo>
                      <a:pt x="1677" y="894"/>
                    </a:lnTo>
                    <a:lnTo>
                      <a:pt x="1682" y="895"/>
                    </a:lnTo>
                    <a:lnTo>
                      <a:pt x="1683" y="899"/>
                    </a:lnTo>
                    <a:lnTo>
                      <a:pt x="1682" y="900"/>
                    </a:lnTo>
                    <a:lnTo>
                      <a:pt x="1678" y="905"/>
                    </a:lnTo>
                    <a:lnTo>
                      <a:pt x="1680" y="909"/>
                    </a:lnTo>
                    <a:lnTo>
                      <a:pt x="1682" y="907"/>
                    </a:lnTo>
                    <a:lnTo>
                      <a:pt x="1682" y="904"/>
                    </a:lnTo>
                    <a:lnTo>
                      <a:pt x="1685" y="900"/>
                    </a:lnTo>
                    <a:lnTo>
                      <a:pt x="1688" y="900"/>
                    </a:lnTo>
                    <a:lnTo>
                      <a:pt x="1688" y="904"/>
                    </a:lnTo>
                    <a:lnTo>
                      <a:pt x="1686" y="907"/>
                    </a:lnTo>
                    <a:lnTo>
                      <a:pt x="1683" y="914"/>
                    </a:lnTo>
                    <a:lnTo>
                      <a:pt x="1680" y="917"/>
                    </a:lnTo>
                    <a:lnTo>
                      <a:pt x="1680" y="920"/>
                    </a:lnTo>
                    <a:lnTo>
                      <a:pt x="1683" y="919"/>
                    </a:lnTo>
                    <a:lnTo>
                      <a:pt x="1686" y="914"/>
                    </a:lnTo>
                    <a:lnTo>
                      <a:pt x="1686" y="912"/>
                    </a:lnTo>
                    <a:lnTo>
                      <a:pt x="1688" y="909"/>
                    </a:lnTo>
                    <a:lnTo>
                      <a:pt x="1693" y="907"/>
                    </a:lnTo>
                    <a:lnTo>
                      <a:pt x="1693" y="905"/>
                    </a:lnTo>
                    <a:lnTo>
                      <a:pt x="1695" y="902"/>
                    </a:lnTo>
                    <a:lnTo>
                      <a:pt x="1698" y="900"/>
                    </a:lnTo>
                    <a:lnTo>
                      <a:pt x="1698" y="902"/>
                    </a:lnTo>
                    <a:lnTo>
                      <a:pt x="1698" y="905"/>
                    </a:lnTo>
                    <a:lnTo>
                      <a:pt x="1693" y="910"/>
                    </a:lnTo>
                    <a:lnTo>
                      <a:pt x="1691" y="914"/>
                    </a:lnTo>
                    <a:lnTo>
                      <a:pt x="1691" y="917"/>
                    </a:lnTo>
                    <a:lnTo>
                      <a:pt x="1691" y="920"/>
                    </a:lnTo>
                    <a:lnTo>
                      <a:pt x="1693" y="920"/>
                    </a:lnTo>
                    <a:lnTo>
                      <a:pt x="1693" y="917"/>
                    </a:lnTo>
                    <a:lnTo>
                      <a:pt x="1693" y="914"/>
                    </a:lnTo>
                    <a:lnTo>
                      <a:pt x="1696" y="910"/>
                    </a:lnTo>
                    <a:lnTo>
                      <a:pt x="1700" y="907"/>
                    </a:lnTo>
                    <a:lnTo>
                      <a:pt x="1705" y="904"/>
                    </a:lnTo>
                    <a:lnTo>
                      <a:pt x="1708" y="900"/>
                    </a:lnTo>
                    <a:lnTo>
                      <a:pt x="1710" y="902"/>
                    </a:lnTo>
                    <a:lnTo>
                      <a:pt x="1710" y="907"/>
                    </a:lnTo>
                    <a:lnTo>
                      <a:pt x="1706" y="909"/>
                    </a:lnTo>
                    <a:lnTo>
                      <a:pt x="1701" y="910"/>
                    </a:lnTo>
                    <a:lnTo>
                      <a:pt x="1701" y="914"/>
                    </a:lnTo>
                    <a:lnTo>
                      <a:pt x="1700" y="917"/>
                    </a:lnTo>
                    <a:lnTo>
                      <a:pt x="1701" y="919"/>
                    </a:lnTo>
                    <a:lnTo>
                      <a:pt x="1701" y="917"/>
                    </a:lnTo>
                    <a:lnTo>
                      <a:pt x="1705" y="919"/>
                    </a:lnTo>
                    <a:lnTo>
                      <a:pt x="1706" y="917"/>
                    </a:lnTo>
                    <a:lnTo>
                      <a:pt x="1713" y="915"/>
                    </a:lnTo>
                    <a:lnTo>
                      <a:pt x="1715" y="917"/>
                    </a:lnTo>
                    <a:lnTo>
                      <a:pt x="1715" y="922"/>
                    </a:lnTo>
                    <a:lnTo>
                      <a:pt x="1715" y="925"/>
                    </a:lnTo>
                    <a:lnTo>
                      <a:pt x="1711" y="927"/>
                    </a:lnTo>
                    <a:lnTo>
                      <a:pt x="1711" y="927"/>
                    </a:lnTo>
                    <a:lnTo>
                      <a:pt x="1715" y="929"/>
                    </a:lnTo>
                    <a:lnTo>
                      <a:pt x="1716" y="932"/>
                    </a:lnTo>
                    <a:lnTo>
                      <a:pt x="1713" y="932"/>
                    </a:lnTo>
                    <a:lnTo>
                      <a:pt x="1710" y="932"/>
                    </a:lnTo>
                    <a:lnTo>
                      <a:pt x="1713" y="933"/>
                    </a:lnTo>
                    <a:lnTo>
                      <a:pt x="1716" y="935"/>
                    </a:lnTo>
                    <a:lnTo>
                      <a:pt x="1708" y="937"/>
                    </a:lnTo>
                    <a:lnTo>
                      <a:pt x="1703" y="937"/>
                    </a:lnTo>
                    <a:lnTo>
                      <a:pt x="1705" y="938"/>
                    </a:lnTo>
                    <a:lnTo>
                      <a:pt x="1710" y="938"/>
                    </a:lnTo>
                    <a:lnTo>
                      <a:pt x="1716" y="940"/>
                    </a:lnTo>
                    <a:lnTo>
                      <a:pt x="1718" y="938"/>
                    </a:lnTo>
                    <a:lnTo>
                      <a:pt x="1723" y="937"/>
                    </a:lnTo>
                    <a:lnTo>
                      <a:pt x="1723" y="937"/>
                    </a:lnTo>
                    <a:lnTo>
                      <a:pt x="1720" y="942"/>
                    </a:lnTo>
                    <a:lnTo>
                      <a:pt x="1718" y="947"/>
                    </a:lnTo>
                    <a:lnTo>
                      <a:pt x="1723" y="942"/>
                    </a:lnTo>
                    <a:lnTo>
                      <a:pt x="1726" y="942"/>
                    </a:lnTo>
                    <a:lnTo>
                      <a:pt x="1728" y="938"/>
                    </a:lnTo>
                    <a:lnTo>
                      <a:pt x="1733" y="935"/>
                    </a:lnTo>
                    <a:lnTo>
                      <a:pt x="1736" y="937"/>
                    </a:lnTo>
                    <a:lnTo>
                      <a:pt x="1736" y="938"/>
                    </a:lnTo>
                    <a:lnTo>
                      <a:pt x="1733" y="942"/>
                    </a:lnTo>
                    <a:lnTo>
                      <a:pt x="1731" y="942"/>
                    </a:lnTo>
                    <a:lnTo>
                      <a:pt x="1730" y="945"/>
                    </a:lnTo>
                    <a:lnTo>
                      <a:pt x="1726" y="948"/>
                    </a:lnTo>
                    <a:lnTo>
                      <a:pt x="1721" y="950"/>
                    </a:lnTo>
                    <a:lnTo>
                      <a:pt x="1720" y="955"/>
                    </a:lnTo>
                    <a:lnTo>
                      <a:pt x="1720" y="957"/>
                    </a:lnTo>
                    <a:lnTo>
                      <a:pt x="1723" y="958"/>
                    </a:lnTo>
                    <a:lnTo>
                      <a:pt x="1726" y="955"/>
                    </a:lnTo>
                    <a:lnTo>
                      <a:pt x="1726" y="953"/>
                    </a:lnTo>
                    <a:lnTo>
                      <a:pt x="1731" y="947"/>
                    </a:lnTo>
                    <a:lnTo>
                      <a:pt x="1735" y="947"/>
                    </a:lnTo>
                    <a:lnTo>
                      <a:pt x="1735" y="948"/>
                    </a:lnTo>
                    <a:lnTo>
                      <a:pt x="1731" y="953"/>
                    </a:lnTo>
                    <a:lnTo>
                      <a:pt x="1731" y="958"/>
                    </a:lnTo>
                    <a:lnTo>
                      <a:pt x="1730" y="962"/>
                    </a:lnTo>
                    <a:lnTo>
                      <a:pt x="1731" y="960"/>
                    </a:lnTo>
                    <a:lnTo>
                      <a:pt x="1735" y="953"/>
                    </a:lnTo>
                    <a:lnTo>
                      <a:pt x="1735" y="952"/>
                    </a:lnTo>
                    <a:lnTo>
                      <a:pt x="1738" y="950"/>
                    </a:lnTo>
                    <a:lnTo>
                      <a:pt x="1738" y="952"/>
                    </a:lnTo>
                    <a:lnTo>
                      <a:pt x="1740" y="957"/>
                    </a:lnTo>
                    <a:lnTo>
                      <a:pt x="1741" y="960"/>
                    </a:lnTo>
                    <a:lnTo>
                      <a:pt x="1743" y="960"/>
                    </a:lnTo>
                    <a:lnTo>
                      <a:pt x="1743" y="955"/>
                    </a:lnTo>
                    <a:lnTo>
                      <a:pt x="1745" y="952"/>
                    </a:lnTo>
                    <a:lnTo>
                      <a:pt x="1750" y="948"/>
                    </a:lnTo>
                    <a:lnTo>
                      <a:pt x="1751" y="950"/>
                    </a:lnTo>
                    <a:lnTo>
                      <a:pt x="1750" y="953"/>
                    </a:lnTo>
                    <a:lnTo>
                      <a:pt x="1751" y="953"/>
                    </a:lnTo>
                    <a:lnTo>
                      <a:pt x="1755" y="953"/>
                    </a:lnTo>
                    <a:lnTo>
                      <a:pt x="1756" y="957"/>
                    </a:lnTo>
                    <a:lnTo>
                      <a:pt x="1755" y="960"/>
                    </a:lnTo>
                    <a:lnTo>
                      <a:pt x="1760" y="960"/>
                    </a:lnTo>
                    <a:lnTo>
                      <a:pt x="1761" y="962"/>
                    </a:lnTo>
                    <a:lnTo>
                      <a:pt x="1761" y="965"/>
                    </a:lnTo>
                    <a:lnTo>
                      <a:pt x="1765" y="967"/>
                    </a:lnTo>
                    <a:lnTo>
                      <a:pt x="1765" y="970"/>
                    </a:lnTo>
                    <a:lnTo>
                      <a:pt x="1763" y="972"/>
                    </a:lnTo>
                    <a:lnTo>
                      <a:pt x="1761" y="972"/>
                    </a:lnTo>
                    <a:lnTo>
                      <a:pt x="1756" y="972"/>
                    </a:lnTo>
                    <a:lnTo>
                      <a:pt x="1756" y="970"/>
                    </a:lnTo>
                    <a:lnTo>
                      <a:pt x="1755" y="967"/>
                    </a:lnTo>
                    <a:lnTo>
                      <a:pt x="1751" y="965"/>
                    </a:lnTo>
                    <a:lnTo>
                      <a:pt x="1750" y="965"/>
                    </a:lnTo>
                    <a:lnTo>
                      <a:pt x="1748" y="967"/>
                    </a:lnTo>
                    <a:lnTo>
                      <a:pt x="1746" y="970"/>
                    </a:lnTo>
                    <a:lnTo>
                      <a:pt x="1750" y="968"/>
                    </a:lnTo>
                    <a:lnTo>
                      <a:pt x="1751" y="968"/>
                    </a:lnTo>
                    <a:lnTo>
                      <a:pt x="1753" y="970"/>
                    </a:lnTo>
                    <a:lnTo>
                      <a:pt x="1751" y="972"/>
                    </a:lnTo>
                    <a:lnTo>
                      <a:pt x="1753" y="972"/>
                    </a:lnTo>
                    <a:lnTo>
                      <a:pt x="1755" y="975"/>
                    </a:lnTo>
                    <a:lnTo>
                      <a:pt x="1753" y="975"/>
                    </a:lnTo>
                    <a:lnTo>
                      <a:pt x="1750" y="975"/>
                    </a:lnTo>
                    <a:lnTo>
                      <a:pt x="1746" y="977"/>
                    </a:lnTo>
                    <a:lnTo>
                      <a:pt x="1748" y="977"/>
                    </a:lnTo>
                    <a:lnTo>
                      <a:pt x="1753" y="977"/>
                    </a:lnTo>
                    <a:lnTo>
                      <a:pt x="1756" y="977"/>
                    </a:lnTo>
                    <a:lnTo>
                      <a:pt x="1756" y="978"/>
                    </a:lnTo>
                    <a:lnTo>
                      <a:pt x="1755" y="982"/>
                    </a:lnTo>
                    <a:lnTo>
                      <a:pt x="1750" y="982"/>
                    </a:lnTo>
                    <a:lnTo>
                      <a:pt x="1746" y="982"/>
                    </a:lnTo>
                    <a:lnTo>
                      <a:pt x="1743" y="982"/>
                    </a:lnTo>
                    <a:lnTo>
                      <a:pt x="1738" y="982"/>
                    </a:lnTo>
                    <a:lnTo>
                      <a:pt x="1740" y="978"/>
                    </a:lnTo>
                    <a:lnTo>
                      <a:pt x="1740" y="977"/>
                    </a:lnTo>
                    <a:lnTo>
                      <a:pt x="1736" y="975"/>
                    </a:lnTo>
                    <a:lnTo>
                      <a:pt x="1735" y="973"/>
                    </a:lnTo>
                    <a:lnTo>
                      <a:pt x="1733" y="973"/>
                    </a:lnTo>
                    <a:lnTo>
                      <a:pt x="1733" y="975"/>
                    </a:lnTo>
                    <a:lnTo>
                      <a:pt x="1735" y="977"/>
                    </a:lnTo>
                    <a:lnTo>
                      <a:pt x="1736" y="980"/>
                    </a:lnTo>
                    <a:lnTo>
                      <a:pt x="1736" y="982"/>
                    </a:lnTo>
                    <a:lnTo>
                      <a:pt x="1733" y="983"/>
                    </a:lnTo>
                    <a:lnTo>
                      <a:pt x="1730" y="980"/>
                    </a:lnTo>
                    <a:lnTo>
                      <a:pt x="1728" y="978"/>
                    </a:lnTo>
                    <a:lnTo>
                      <a:pt x="1728" y="982"/>
                    </a:lnTo>
                    <a:lnTo>
                      <a:pt x="1730" y="985"/>
                    </a:lnTo>
                    <a:lnTo>
                      <a:pt x="1735" y="985"/>
                    </a:lnTo>
                    <a:lnTo>
                      <a:pt x="1738" y="987"/>
                    </a:lnTo>
                    <a:lnTo>
                      <a:pt x="1740" y="987"/>
                    </a:lnTo>
                    <a:lnTo>
                      <a:pt x="1741" y="990"/>
                    </a:lnTo>
                    <a:lnTo>
                      <a:pt x="1740" y="993"/>
                    </a:lnTo>
                    <a:lnTo>
                      <a:pt x="1733" y="993"/>
                    </a:lnTo>
                    <a:lnTo>
                      <a:pt x="1731" y="990"/>
                    </a:lnTo>
                    <a:lnTo>
                      <a:pt x="1726" y="987"/>
                    </a:lnTo>
                    <a:lnTo>
                      <a:pt x="1725" y="985"/>
                    </a:lnTo>
                    <a:lnTo>
                      <a:pt x="1723" y="985"/>
                    </a:lnTo>
                    <a:lnTo>
                      <a:pt x="1725" y="987"/>
                    </a:lnTo>
                    <a:lnTo>
                      <a:pt x="1730" y="990"/>
                    </a:lnTo>
                    <a:lnTo>
                      <a:pt x="1731" y="993"/>
                    </a:lnTo>
                    <a:lnTo>
                      <a:pt x="1731" y="998"/>
                    </a:lnTo>
                    <a:lnTo>
                      <a:pt x="1730" y="1002"/>
                    </a:lnTo>
                    <a:lnTo>
                      <a:pt x="1726" y="1000"/>
                    </a:lnTo>
                    <a:lnTo>
                      <a:pt x="1726" y="998"/>
                    </a:lnTo>
                    <a:lnTo>
                      <a:pt x="1723" y="995"/>
                    </a:lnTo>
                    <a:lnTo>
                      <a:pt x="1720" y="995"/>
                    </a:lnTo>
                    <a:lnTo>
                      <a:pt x="1720" y="997"/>
                    </a:lnTo>
                    <a:lnTo>
                      <a:pt x="1721" y="997"/>
                    </a:lnTo>
                    <a:lnTo>
                      <a:pt x="1721" y="1002"/>
                    </a:lnTo>
                    <a:lnTo>
                      <a:pt x="1721" y="1007"/>
                    </a:lnTo>
                    <a:lnTo>
                      <a:pt x="1720" y="1007"/>
                    </a:lnTo>
                    <a:lnTo>
                      <a:pt x="1718" y="1007"/>
                    </a:lnTo>
                    <a:lnTo>
                      <a:pt x="1716" y="1005"/>
                    </a:lnTo>
                    <a:lnTo>
                      <a:pt x="1716" y="1002"/>
                    </a:lnTo>
                    <a:lnTo>
                      <a:pt x="1715" y="1002"/>
                    </a:lnTo>
                    <a:lnTo>
                      <a:pt x="1715" y="1005"/>
                    </a:lnTo>
                    <a:lnTo>
                      <a:pt x="1711" y="1005"/>
                    </a:lnTo>
                    <a:lnTo>
                      <a:pt x="1710" y="1005"/>
                    </a:lnTo>
                    <a:lnTo>
                      <a:pt x="1710" y="1002"/>
                    </a:lnTo>
                    <a:lnTo>
                      <a:pt x="1708" y="998"/>
                    </a:lnTo>
                    <a:lnTo>
                      <a:pt x="1708" y="995"/>
                    </a:lnTo>
                    <a:lnTo>
                      <a:pt x="1706" y="993"/>
                    </a:lnTo>
                    <a:lnTo>
                      <a:pt x="1706" y="997"/>
                    </a:lnTo>
                    <a:lnTo>
                      <a:pt x="1706" y="1002"/>
                    </a:lnTo>
                    <a:lnTo>
                      <a:pt x="1705" y="1003"/>
                    </a:lnTo>
                    <a:lnTo>
                      <a:pt x="1701" y="1003"/>
                    </a:lnTo>
                    <a:lnTo>
                      <a:pt x="1701" y="1005"/>
                    </a:lnTo>
                    <a:lnTo>
                      <a:pt x="1705" y="1005"/>
                    </a:lnTo>
                    <a:lnTo>
                      <a:pt x="1705" y="1007"/>
                    </a:lnTo>
                    <a:lnTo>
                      <a:pt x="1703" y="1010"/>
                    </a:lnTo>
                    <a:lnTo>
                      <a:pt x="1700" y="1008"/>
                    </a:lnTo>
                    <a:lnTo>
                      <a:pt x="1700" y="1008"/>
                    </a:lnTo>
                    <a:lnTo>
                      <a:pt x="1698" y="1010"/>
                    </a:lnTo>
                    <a:lnTo>
                      <a:pt x="1701" y="1012"/>
                    </a:lnTo>
                    <a:lnTo>
                      <a:pt x="1703" y="1012"/>
                    </a:lnTo>
                    <a:lnTo>
                      <a:pt x="1705" y="1013"/>
                    </a:lnTo>
                    <a:lnTo>
                      <a:pt x="1703" y="1015"/>
                    </a:lnTo>
                    <a:lnTo>
                      <a:pt x="1701" y="1017"/>
                    </a:lnTo>
                    <a:lnTo>
                      <a:pt x="1701" y="1018"/>
                    </a:lnTo>
                    <a:lnTo>
                      <a:pt x="1703" y="1022"/>
                    </a:lnTo>
                    <a:lnTo>
                      <a:pt x="1703" y="1023"/>
                    </a:lnTo>
                    <a:lnTo>
                      <a:pt x="1701" y="1023"/>
                    </a:lnTo>
                    <a:lnTo>
                      <a:pt x="1700" y="1022"/>
                    </a:lnTo>
                    <a:lnTo>
                      <a:pt x="1698" y="1023"/>
                    </a:lnTo>
                    <a:lnTo>
                      <a:pt x="1701" y="1025"/>
                    </a:lnTo>
                    <a:lnTo>
                      <a:pt x="1701" y="1028"/>
                    </a:lnTo>
                    <a:lnTo>
                      <a:pt x="1701" y="1031"/>
                    </a:lnTo>
                    <a:lnTo>
                      <a:pt x="1696" y="1033"/>
                    </a:lnTo>
                    <a:lnTo>
                      <a:pt x="1695" y="1035"/>
                    </a:lnTo>
                    <a:lnTo>
                      <a:pt x="1693" y="1033"/>
                    </a:lnTo>
                    <a:lnTo>
                      <a:pt x="1693" y="1031"/>
                    </a:lnTo>
                    <a:lnTo>
                      <a:pt x="1691" y="1031"/>
                    </a:lnTo>
                    <a:lnTo>
                      <a:pt x="1691" y="1030"/>
                    </a:lnTo>
                    <a:lnTo>
                      <a:pt x="1690" y="1028"/>
                    </a:lnTo>
                    <a:lnTo>
                      <a:pt x="1690" y="1027"/>
                    </a:lnTo>
                    <a:lnTo>
                      <a:pt x="1691" y="1025"/>
                    </a:lnTo>
                    <a:lnTo>
                      <a:pt x="1691" y="1023"/>
                    </a:lnTo>
                    <a:lnTo>
                      <a:pt x="1690" y="1023"/>
                    </a:lnTo>
                    <a:lnTo>
                      <a:pt x="1686" y="1025"/>
                    </a:lnTo>
                    <a:lnTo>
                      <a:pt x="1685" y="1027"/>
                    </a:lnTo>
                    <a:lnTo>
                      <a:pt x="1683" y="1027"/>
                    </a:lnTo>
                    <a:lnTo>
                      <a:pt x="1682" y="1025"/>
                    </a:lnTo>
                    <a:lnTo>
                      <a:pt x="1683" y="1022"/>
                    </a:lnTo>
                    <a:lnTo>
                      <a:pt x="1682" y="1020"/>
                    </a:lnTo>
                    <a:lnTo>
                      <a:pt x="1682" y="1018"/>
                    </a:lnTo>
                    <a:lnTo>
                      <a:pt x="1683" y="1017"/>
                    </a:lnTo>
                    <a:lnTo>
                      <a:pt x="1683" y="1015"/>
                    </a:lnTo>
                    <a:lnTo>
                      <a:pt x="1683" y="1013"/>
                    </a:lnTo>
                    <a:lnTo>
                      <a:pt x="1683" y="1013"/>
                    </a:lnTo>
                    <a:lnTo>
                      <a:pt x="1680" y="1015"/>
                    </a:lnTo>
                    <a:lnTo>
                      <a:pt x="1678" y="1020"/>
                    </a:lnTo>
                    <a:lnTo>
                      <a:pt x="1677" y="1023"/>
                    </a:lnTo>
                    <a:lnTo>
                      <a:pt x="1675" y="1022"/>
                    </a:lnTo>
                    <a:lnTo>
                      <a:pt x="1675" y="1018"/>
                    </a:lnTo>
                    <a:lnTo>
                      <a:pt x="1673" y="1017"/>
                    </a:lnTo>
                    <a:lnTo>
                      <a:pt x="1672" y="1013"/>
                    </a:lnTo>
                    <a:lnTo>
                      <a:pt x="1673" y="1012"/>
                    </a:lnTo>
                    <a:lnTo>
                      <a:pt x="1678" y="1010"/>
                    </a:lnTo>
                    <a:lnTo>
                      <a:pt x="1678" y="1010"/>
                    </a:lnTo>
                    <a:lnTo>
                      <a:pt x="1680" y="1008"/>
                    </a:lnTo>
                    <a:lnTo>
                      <a:pt x="1680" y="1008"/>
                    </a:lnTo>
                    <a:lnTo>
                      <a:pt x="1677" y="1007"/>
                    </a:lnTo>
                    <a:lnTo>
                      <a:pt x="1673" y="1008"/>
                    </a:lnTo>
                    <a:lnTo>
                      <a:pt x="1670" y="1007"/>
                    </a:lnTo>
                    <a:lnTo>
                      <a:pt x="1670" y="1007"/>
                    </a:lnTo>
                    <a:lnTo>
                      <a:pt x="1670" y="1003"/>
                    </a:lnTo>
                    <a:lnTo>
                      <a:pt x="1673" y="1003"/>
                    </a:lnTo>
                    <a:lnTo>
                      <a:pt x="1677" y="1000"/>
                    </a:lnTo>
                    <a:lnTo>
                      <a:pt x="1675" y="1000"/>
                    </a:lnTo>
                    <a:lnTo>
                      <a:pt x="1672" y="1002"/>
                    </a:lnTo>
                    <a:lnTo>
                      <a:pt x="1670" y="1000"/>
                    </a:lnTo>
                    <a:lnTo>
                      <a:pt x="1670" y="998"/>
                    </a:lnTo>
                    <a:lnTo>
                      <a:pt x="1672" y="997"/>
                    </a:lnTo>
                    <a:lnTo>
                      <a:pt x="1675" y="997"/>
                    </a:lnTo>
                    <a:lnTo>
                      <a:pt x="1678" y="995"/>
                    </a:lnTo>
                    <a:lnTo>
                      <a:pt x="1677" y="993"/>
                    </a:lnTo>
                    <a:lnTo>
                      <a:pt x="1672" y="995"/>
                    </a:lnTo>
                    <a:lnTo>
                      <a:pt x="1670" y="995"/>
                    </a:lnTo>
                    <a:lnTo>
                      <a:pt x="1668" y="995"/>
                    </a:lnTo>
                    <a:lnTo>
                      <a:pt x="1668" y="993"/>
                    </a:lnTo>
                    <a:lnTo>
                      <a:pt x="1672" y="988"/>
                    </a:lnTo>
                    <a:lnTo>
                      <a:pt x="1675" y="987"/>
                    </a:lnTo>
                    <a:lnTo>
                      <a:pt x="1680" y="987"/>
                    </a:lnTo>
                    <a:lnTo>
                      <a:pt x="1683" y="983"/>
                    </a:lnTo>
                    <a:lnTo>
                      <a:pt x="1686" y="982"/>
                    </a:lnTo>
                    <a:lnTo>
                      <a:pt x="1688" y="978"/>
                    </a:lnTo>
                    <a:lnTo>
                      <a:pt x="1691" y="975"/>
                    </a:lnTo>
                    <a:lnTo>
                      <a:pt x="1693" y="973"/>
                    </a:lnTo>
                    <a:lnTo>
                      <a:pt x="1693" y="972"/>
                    </a:lnTo>
                    <a:lnTo>
                      <a:pt x="1691" y="973"/>
                    </a:lnTo>
                    <a:lnTo>
                      <a:pt x="1686" y="975"/>
                    </a:lnTo>
                    <a:lnTo>
                      <a:pt x="1685" y="977"/>
                    </a:lnTo>
                    <a:lnTo>
                      <a:pt x="1683" y="980"/>
                    </a:lnTo>
                    <a:lnTo>
                      <a:pt x="1677" y="983"/>
                    </a:lnTo>
                    <a:lnTo>
                      <a:pt x="1673" y="982"/>
                    </a:lnTo>
                    <a:lnTo>
                      <a:pt x="1668" y="987"/>
                    </a:lnTo>
                    <a:lnTo>
                      <a:pt x="1663" y="987"/>
                    </a:lnTo>
                    <a:lnTo>
                      <a:pt x="1660" y="987"/>
                    </a:lnTo>
                    <a:lnTo>
                      <a:pt x="1660" y="985"/>
                    </a:lnTo>
                    <a:lnTo>
                      <a:pt x="1667" y="978"/>
                    </a:lnTo>
                    <a:lnTo>
                      <a:pt x="1672" y="975"/>
                    </a:lnTo>
                    <a:lnTo>
                      <a:pt x="1673" y="973"/>
                    </a:lnTo>
                    <a:lnTo>
                      <a:pt x="1675" y="972"/>
                    </a:lnTo>
                    <a:lnTo>
                      <a:pt x="1675" y="968"/>
                    </a:lnTo>
                    <a:lnTo>
                      <a:pt x="1672" y="973"/>
                    </a:lnTo>
                    <a:lnTo>
                      <a:pt x="1662" y="978"/>
                    </a:lnTo>
                    <a:lnTo>
                      <a:pt x="1658" y="980"/>
                    </a:lnTo>
                    <a:lnTo>
                      <a:pt x="1657" y="980"/>
                    </a:lnTo>
                    <a:lnTo>
                      <a:pt x="1655" y="978"/>
                    </a:lnTo>
                    <a:lnTo>
                      <a:pt x="1657" y="975"/>
                    </a:lnTo>
                    <a:lnTo>
                      <a:pt x="1655" y="973"/>
                    </a:lnTo>
                    <a:lnTo>
                      <a:pt x="1652" y="973"/>
                    </a:lnTo>
                    <a:lnTo>
                      <a:pt x="1650" y="973"/>
                    </a:lnTo>
                    <a:lnTo>
                      <a:pt x="1652" y="972"/>
                    </a:lnTo>
                    <a:lnTo>
                      <a:pt x="1653" y="970"/>
                    </a:lnTo>
                    <a:lnTo>
                      <a:pt x="1653" y="968"/>
                    </a:lnTo>
                    <a:lnTo>
                      <a:pt x="1652" y="967"/>
                    </a:lnTo>
                    <a:lnTo>
                      <a:pt x="1650" y="967"/>
                    </a:lnTo>
                    <a:lnTo>
                      <a:pt x="1648" y="967"/>
                    </a:lnTo>
                    <a:lnTo>
                      <a:pt x="1650" y="962"/>
                    </a:lnTo>
                    <a:lnTo>
                      <a:pt x="1652" y="962"/>
                    </a:lnTo>
                    <a:lnTo>
                      <a:pt x="1652" y="958"/>
                    </a:lnTo>
                    <a:lnTo>
                      <a:pt x="1648" y="957"/>
                    </a:lnTo>
                    <a:lnTo>
                      <a:pt x="1647" y="955"/>
                    </a:lnTo>
                    <a:lnTo>
                      <a:pt x="1647" y="955"/>
                    </a:lnTo>
                    <a:lnTo>
                      <a:pt x="1645" y="958"/>
                    </a:lnTo>
                    <a:lnTo>
                      <a:pt x="1647" y="960"/>
                    </a:lnTo>
                    <a:lnTo>
                      <a:pt x="1643" y="962"/>
                    </a:lnTo>
                    <a:lnTo>
                      <a:pt x="1640" y="960"/>
                    </a:lnTo>
                    <a:lnTo>
                      <a:pt x="1638" y="958"/>
                    </a:lnTo>
                    <a:lnTo>
                      <a:pt x="1633" y="958"/>
                    </a:lnTo>
                    <a:lnTo>
                      <a:pt x="1638" y="960"/>
                    </a:lnTo>
                    <a:lnTo>
                      <a:pt x="1642" y="965"/>
                    </a:lnTo>
                    <a:lnTo>
                      <a:pt x="1642" y="968"/>
                    </a:lnTo>
                    <a:lnTo>
                      <a:pt x="1638" y="967"/>
                    </a:lnTo>
                    <a:lnTo>
                      <a:pt x="1638" y="968"/>
                    </a:lnTo>
                    <a:lnTo>
                      <a:pt x="1638" y="970"/>
                    </a:lnTo>
                    <a:lnTo>
                      <a:pt x="1635" y="970"/>
                    </a:lnTo>
                    <a:lnTo>
                      <a:pt x="1633" y="968"/>
                    </a:lnTo>
                    <a:lnTo>
                      <a:pt x="1632" y="963"/>
                    </a:lnTo>
                    <a:lnTo>
                      <a:pt x="1630" y="962"/>
                    </a:lnTo>
                    <a:lnTo>
                      <a:pt x="1628" y="963"/>
                    </a:lnTo>
                    <a:lnTo>
                      <a:pt x="1632" y="965"/>
                    </a:lnTo>
                    <a:lnTo>
                      <a:pt x="1632" y="968"/>
                    </a:lnTo>
                    <a:lnTo>
                      <a:pt x="1630" y="972"/>
                    </a:lnTo>
                    <a:lnTo>
                      <a:pt x="1633" y="972"/>
                    </a:lnTo>
                    <a:lnTo>
                      <a:pt x="1637" y="975"/>
                    </a:lnTo>
                    <a:lnTo>
                      <a:pt x="1638" y="980"/>
                    </a:lnTo>
                    <a:lnTo>
                      <a:pt x="1637" y="982"/>
                    </a:lnTo>
                    <a:lnTo>
                      <a:pt x="1638" y="983"/>
                    </a:lnTo>
                    <a:lnTo>
                      <a:pt x="1638" y="985"/>
                    </a:lnTo>
                    <a:lnTo>
                      <a:pt x="1637" y="985"/>
                    </a:lnTo>
                    <a:lnTo>
                      <a:pt x="1632" y="985"/>
                    </a:lnTo>
                    <a:lnTo>
                      <a:pt x="1628" y="982"/>
                    </a:lnTo>
                    <a:lnTo>
                      <a:pt x="1628" y="987"/>
                    </a:lnTo>
                    <a:lnTo>
                      <a:pt x="1627" y="987"/>
                    </a:lnTo>
                    <a:lnTo>
                      <a:pt x="1622" y="982"/>
                    </a:lnTo>
                    <a:lnTo>
                      <a:pt x="1622" y="978"/>
                    </a:lnTo>
                    <a:lnTo>
                      <a:pt x="1622" y="977"/>
                    </a:lnTo>
                    <a:lnTo>
                      <a:pt x="1622" y="973"/>
                    </a:lnTo>
                    <a:lnTo>
                      <a:pt x="1618" y="972"/>
                    </a:lnTo>
                    <a:lnTo>
                      <a:pt x="1613" y="972"/>
                    </a:lnTo>
                    <a:lnTo>
                      <a:pt x="1613" y="970"/>
                    </a:lnTo>
                    <a:lnTo>
                      <a:pt x="1612" y="967"/>
                    </a:lnTo>
                    <a:lnTo>
                      <a:pt x="1608" y="968"/>
                    </a:lnTo>
                    <a:lnTo>
                      <a:pt x="1605" y="968"/>
                    </a:lnTo>
                    <a:lnTo>
                      <a:pt x="1600" y="968"/>
                    </a:lnTo>
                    <a:lnTo>
                      <a:pt x="1602" y="970"/>
                    </a:lnTo>
                    <a:lnTo>
                      <a:pt x="1607" y="972"/>
                    </a:lnTo>
                    <a:lnTo>
                      <a:pt x="1612" y="973"/>
                    </a:lnTo>
                    <a:lnTo>
                      <a:pt x="1617" y="973"/>
                    </a:lnTo>
                    <a:lnTo>
                      <a:pt x="1617" y="978"/>
                    </a:lnTo>
                    <a:lnTo>
                      <a:pt x="1613" y="982"/>
                    </a:lnTo>
                    <a:lnTo>
                      <a:pt x="1613" y="983"/>
                    </a:lnTo>
                    <a:lnTo>
                      <a:pt x="1617" y="983"/>
                    </a:lnTo>
                    <a:lnTo>
                      <a:pt x="1618" y="985"/>
                    </a:lnTo>
                    <a:lnTo>
                      <a:pt x="1617" y="988"/>
                    </a:lnTo>
                    <a:lnTo>
                      <a:pt x="1618" y="988"/>
                    </a:lnTo>
                    <a:lnTo>
                      <a:pt x="1622" y="988"/>
                    </a:lnTo>
                    <a:lnTo>
                      <a:pt x="1622" y="990"/>
                    </a:lnTo>
                    <a:lnTo>
                      <a:pt x="1620" y="993"/>
                    </a:lnTo>
                    <a:lnTo>
                      <a:pt x="1613" y="998"/>
                    </a:lnTo>
                    <a:lnTo>
                      <a:pt x="1610" y="1002"/>
                    </a:lnTo>
                    <a:lnTo>
                      <a:pt x="1618" y="1000"/>
                    </a:lnTo>
                    <a:lnTo>
                      <a:pt x="1620" y="997"/>
                    </a:lnTo>
                    <a:lnTo>
                      <a:pt x="1622" y="995"/>
                    </a:lnTo>
                    <a:lnTo>
                      <a:pt x="1628" y="995"/>
                    </a:lnTo>
                    <a:lnTo>
                      <a:pt x="1630" y="998"/>
                    </a:lnTo>
                    <a:lnTo>
                      <a:pt x="1630" y="998"/>
                    </a:lnTo>
                    <a:lnTo>
                      <a:pt x="1627" y="1002"/>
                    </a:lnTo>
                    <a:lnTo>
                      <a:pt x="1623" y="1003"/>
                    </a:lnTo>
                    <a:lnTo>
                      <a:pt x="1625" y="1005"/>
                    </a:lnTo>
                    <a:lnTo>
                      <a:pt x="1630" y="1005"/>
                    </a:lnTo>
                    <a:lnTo>
                      <a:pt x="1632" y="1008"/>
                    </a:lnTo>
                    <a:lnTo>
                      <a:pt x="1630" y="1008"/>
                    </a:lnTo>
                    <a:lnTo>
                      <a:pt x="1625" y="1010"/>
                    </a:lnTo>
                    <a:lnTo>
                      <a:pt x="1625" y="1012"/>
                    </a:lnTo>
                    <a:lnTo>
                      <a:pt x="1627" y="1012"/>
                    </a:lnTo>
                    <a:lnTo>
                      <a:pt x="1627" y="1015"/>
                    </a:lnTo>
                    <a:lnTo>
                      <a:pt x="1627" y="1015"/>
                    </a:lnTo>
                    <a:lnTo>
                      <a:pt x="1627" y="1017"/>
                    </a:lnTo>
                    <a:lnTo>
                      <a:pt x="1628" y="1017"/>
                    </a:lnTo>
                    <a:lnTo>
                      <a:pt x="1628" y="1020"/>
                    </a:lnTo>
                    <a:lnTo>
                      <a:pt x="1630" y="1020"/>
                    </a:lnTo>
                    <a:lnTo>
                      <a:pt x="1632" y="1023"/>
                    </a:lnTo>
                    <a:lnTo>
                      <a:pt x="1632" y="1028"/>
                    </a:lnTo>
                    <a:lnTo>
                      <a:pt x="1633" y="1030"/>
                    </a:lnTo>
                    <a:lnTo>
                      <a:pt x="1633" y="1027"/>
                    </a:lnTo>
                    <a:lnTo>
                      <a:pt x="1635" y="1023"/>
                    </a:lnTo>
                    <a:lnTo>
                      <a:pt x="1637" y="1022"/>
                    </a:lnTo>
                    <a:lnTo>
                      <a:pt x="1640" y="1023"/>
                    </a:lnTo>
                    <a:lnTo>
                      <a:pt x="1640" y="1028"/>
                    </a:lnTo>
                    <a:lnTo>
                      <a:pt x="1642" y="1030"/>
                    </a:lnTo>
                    <a:lnTo>
                      <a:pt x="1642" y="1031"/>
                    </a:lnTo>
                    <a:lnTo>
                      <a:pt x="1637" y="1033"/>
                    </a:lnTo>
                    <a:lnTo>
                      <a:pt x="1638" y="1035"/>
                    </a:lnTo>
                    <a:lnTo>
                      <a:pt x="1643" y="1035"/>
                    </a:lnTo>
                    <a:lnTo>
                      <a:pt x="1645" y="1033"/>
                    </a:lnTo>
                    <a:lnTo>
                      <a:pt x="1645" y="1036"/>
                    </a:lnTo>
                    <a:lnTo>
                      <a:pt x="1648" y="1033"/>
                    </a:lnTo>
                    <a:lnTo>
                      <a:pt x="1648" y="1031"/>
                    </a:lnTo>
                    <a:lnTo>
                      <a:pt x="1650" y="1031"/>
                    </a:lnTo>
                    <a:lnTo>
                      <a:pt x="1653" y="1035"/>
                    </a:lnTo>
                    <a:lnTo>
                      <a:pt x="1652" y="1038"/>
                    </a:lnTo>
                    <a:lnTo>
                      <a:pt x="1648" y="1041"/>
                    </a:lnTo>
                    <a:lnTo>
                      <a:pt x="1648" y="1043"/>
                    </a:lnTo>
                    <a:lnTo>
                      <a:pt x="1647" y="1045"/>
                    </a:lnTo>
                    <a:lnTo>
                      <a:pt x="1650" y="1046"/>
                    </a:lnTo>
                    <a:lnTo>
                      <a:pt x="1655" y="1046"/>
                    </a:lnTo>
                    <a:lnTo>
                      <a:pt x="1658" y="1045"/>
                    </a:lnTo>
                    <a:lnTo>
                      <a:pt x="1660" y="1046"/>
                    </a:lnTo>
                    <a:lnTo>
                      <a:pt x="1657" y="1050"/>
                    </a:lnTo>
                    <a:lnTo>
                      <a:pt x="1655" y="1051"/>
                    </a:lnTo>
                    <a:lnTo>
                      <a:pt x="1650" y="1051"/>
                    </a:lnTo>
                    <a:lnTo>
                      <a:pt x="1653" y="1055"/>
                    </a:lnTo>
                    <a:lnTo>
                      <a:pt x="1655" y="1060"/>
                    </a:lnTo>
                    <a:lnTo>
                      <a:pt x="1655" y="1063"/>
                    </a:lnTo>
                    <a:lnTo>
                      <a:pt x="1657" y="1063"/>
                    </a:lnTo>
                    <a:lnTo>
                      <a:pt x="1658" y="1068"/>
                    </a:lnTo>
                    <a:lnTo>
                      <a:pt x="1663" y="1076"/>
                    </a:lnTo>
                    <a:lnTo>
                      <a:pt x="1665" y="1076"/>
                    </a:lnTo>
                    <a:lnTo>
                      <a:pt x="1662" y="1078"/>
                    </a:lnTo>
                    <a:lnTo>
                      <a:pt x="1662" y="1085"/>
                    </a:lnTo>
                    <a:lnTo>
                      <a:pt x="1658" y="1090"/>
                    </a:lnTo>
                    <a:lnTo>
                      <a:pt x="1660" y="1093"/>
                    </a:lnTo>
                    <a:lnTo>
                      <a:pt x="1658" y="1095"/>
                    </a:lnTo>
                    <a:lnTo>
                      <a:pt x="1652" y="1088"/>
                    </a:lnTo>
                    <a:lnTo>
                      <a:pt x="1650" y="1083"/>
                    </a:lnTo>
                    <a:lnTo>
                      <a:pt x="1652" y="1080"/>
                    </a:lnTo>
                    <a:lnTo>
                      <a:pt x="1650" y="1073"/>
                    </a:lnTo>
                    <a:lnTo>
                      <a:pt x="1650" y="1078"/>
                    </a:lnTo>
                    <a:lnTo>
                      <a:pt x="1648" y="1085"/>
                    </a:lnTo>
                    <a:lnTo>
                      <a:pt x="1652" y="1093"/>
                    </a:lnTo>
                    <a:lnTo>
                      <a:pt x="1652" y="1100"/>
                    </a:lnTo>
                    <a:lnTo>
                      <a:pt x="1650" y="1103"/>
                    </a:lnTo>
                    <a:lnTo>
                      <a:pt x="1652" y="1106"/>
                    </a:lnTo>
                    <a:lnTo>
                      <a:pt x="1650" y="1108"/>
                    </a:lnTo>
                    <a:lnTo>
                      <a:pt x="1647" y="1108"/>
                    </a:lnTo>
                    <a:lnTo>
                      <a:pt x="1645" y="1105"/>
                    </a:lnTo>
                    <a:lnTo>
                      <a:pt x="1640" y="1105"/>
                    </a:lnTo>
                    <a:lnTo>
                      <a:pt x="1643" y="1111"/>
                    </a:lnTo>
                    <a:lnTo>
                      <a:pt x="1643" y="1118"/>
                    </a:lnTo>
                    <a:lnTo>
                      <a:pt x="1643" y="1118"/>
                    </a:lnTo>
                    <a:lnTo>
                      <a:pt x="1643" y="1121"/>
                    </a:lnTo>
                    <a:lnTo>
                      <a:pt x="1640" y="1121"/>
                    </a:lnTo>
                    <a:lnTo>
                      <a:pt x="1637" y="1118"/>
                    </a:lnTo>
                    <a:lnTo>
                      <a:pt x="1635" y="1111"/>
                    </a:lnTo>
                    <a:lnTo>
                      <a:pt x="1637" y="1110"/>
                    </a:lnTo>
                    <a:lnTo>
                      <a:pt x="1637" y="1105"/>
                    </a:lnTo>
                    <a:lnTo>
                      <a:pt x="1635" y="1108"/>
                    </a:lnTo>
                    <a:lnTo>
                      <a:pt x="1632" y="1108"/>
                    </a:lnTo>
                    <a:lnTo>
                      <a:pt x="1630" y="1105"/>
                    </a:lnTo>
                    <a:lnTo>
                      <a:pt x="1630" y="1100"/>
                    </a:lnTo>
                    <a:lnTo>
                      <a:pt x="1627" y="1101"/>
                    </a:lnTo>
                    <a:lnTo>
                      <a:pt x="1627" y="1103"/>
                    </a:lnTo>
                    <a:lnTo>
                      <a:pt x="1625" y="1103"/>
                    </a:lnTo>
                    <a:lnTo>
                      <a:pt x="1625" y="1100"/>
                    </a:lnTo>
                    <a:lnTo>
                      <a:pt x="1623" y="1096"/>
                    </a:lnTo>
                    <a:lnTo>
                      <a:pt x="1622" y="1095"/>
                    </a:lnTo>
                    <a:lnTo>
                      <a:pt x="1622" y="1096"/>
                    </a:lnTo>
                    <a:lnTo>
                      <a:pt x="1623" y="1098"/>
                    </a:lnTo>
                    <a:lnTo>
                      <a:pt x="1622" y="1101"/>
                    </a:lnTo>
                    <a:lnTo>
                      <a:pt x="1618" y="1100"/>
                    </a:lnTo>
                    <a:lnTo>
                      <a:pt x="1617" y="1098"/>
                    </a:lnTo>
                    <a:lnTo>
                      <a:pt x="1615" y="1095"/>
                    </a:lnTo>
                    <a:lnTo>
                      <a:pt x="1617" y="1091"/>
                    </a:lnTo>
                    <a:lnTo>
                      <a:pt x="1613" y="1085"/>
                    </a:lnTo>
                    <a:lnTo>
                      <a:pt x="1613" y="1083"/>
                    </a:lnTo>
                    <a:lnTo>
                      <a:pt x="1612" y="1086"/>
                    </a:lnTo>
                    <a:lnTo>
                      <a:pt x="1613" y="1093"/>
                    </a:lnTo>
                    <a:lnTo>
                      <a:pt x="1613" y="1096"/>
                    </a:lnTo>
                    <a:lnTo>
                      <a:pt x="1612" y="1100"/>
                    </a:lnTo>
                    <a:lnTo>
                      <a:pt x="1608" y="1091"/>
                    </a:lnTo>
                    <a:lnTo>
                      <a:pt x="1605" y="1090"/>
                    </a:lnTo>
                    <a:lnTo>
                      <a:pt x="1605" y="1086"/>
                    </a:lnTo>
                    <a:lnTo>
                      <a:pt x="1602" y="1086"/>
                    </a:lnTo>
                    <a:lnTo>
                      <a:pt x="1598" y="1080"/>
                    </a:lnTo>
                    <a:lnTo>
                      <a:pt x="1597" y="1078"/>
                    </a:lnTo>
                    <a:lnTo>
                      <a:pt x="1597" y="1076"/>
                    </a:lnTo>
                    <a:lnTo>
                      <a:pt x="1595" y="1073"/>
                    </a:lnTo>
                    <a:lnTo>
                      <a:pt x="1592" y="1073"/>
                    </a:lnTo>
                    <a:lnTo>
                      <a:pt x="1592" y="1076"/>
                    </a:lnTo>
                    <a:lnTo>
                      <a:pt x="1595" y="1081"/>
                    </a:lnTo>
                    <a:lnTo>
                      <a:pt x="1595" y="1085"/>
                    </a:lnTo>
                    <a:lnTo>
                      <a:pt x="1593" y="1083"/>
                    </a:lnTo>
                    <a:lnTo>
                      <a:pt x="1592" y="1080"/>
                    </a:lnTo>
                    <a:lnTo>
                      <a:pt x="1590" y="1078"/>
                    </a:lnTo>
                    <a:lnTo>
                      <a:pt x="1585" y="1075"/>
                    </a:lnTo>
                    <a:lnTo>
                      <a:pt x="1582" y="1070"/>
                    </a:lnTo>
                    <a:lnTo>
                      <a:pt x="1582" y="1065"/>
                    </a:lnTo>
                    <a:lnTo>
                      <a:pt x="1577" y="1065"/>
                    </a:lnTo>
                    <a:lnTo>
                      <a:pt x="1575" y="1068"/>
                    </a:lnTo>
                    <a:lnTo>
                      <a:pt x="1572" y="1066"/>
                    </a:lnTo>
                    <a:lnTo>
                      <a:pt x="1570" y="1070"/>
                    </a:lnTo>
                    <a:lnTo>
                      <a:pt x="1572" y="1075"/>
                    </a:lnTo>
                    <a:lnTo>
                      <a:pt x="1579" y="1080"/>
                    </a:lnTo>
                    <a:lnTo>
                      <a:pt x="1579" y="1081"/>
                    </a:lnTo>
                    <a:lnTo>
                      <a:pt x="1579" y="1085"/>
                    </a:lnTo>
                    <a:lnTo>
                      <a:pt x="1580" y="1090"/>
                    </a:lnTo>
                    <a:lnTo>
                      <a:pt x="1582" y="1090"/>
                    </a:lnTo>
                    <a:lnTo>
                      <a:pt x="1587" y="1091"/>
                    </a:lnTo>
                    <a:lnTo>
                      <a:pt x="1590" y="1095"/>
                    </a:lnTo>
                    <a:lnTo>
                      <a:pt x="1588" y="1096"/>
                    </a:lnTo>
                    <a:lnTo>
                      <a:pt x="1592" y="1096"/>
                    </a:lnTo>
                    <a:lnTo>
                      <a:pt x="1593" y="1096"/>
                    </a:lnTo>
                    <a:lnTo>
                      <a:pt x="1592" y="1100"/>
                    </a:lnTo>
                    <a:lnTo>
                      <a:pt x="1597" y="1100"/>
                    </a:lnTo>
                    <a:lnTo>
                      <a:pt x="1597" y="1103"/>
                    </a:lnTo>
                    <a:lnTo>
                      <a:pt x="1600" y="1108"/>
                    </a:lnTo>
                    <a:lnTo>
                      <a:pt x="1598" y="1111"/>
                    </a:lnTo>
                    <a:lnTo>
                      <a:pt x="1603" y="1111"/>
                    </a:lnTo>
                    <a:lnTo>
                      <a:pt x="1605" y="1111"/>
                    </a:lnTo>
                    <a:lnTo>
                      <a:pt x="1607" y="1116"/>
                    </a:lnTo>
                    <a:lnTo>
                      <a:pt x="1603" y="1120"/>
                    </a:lnTo>
                    <a:lnTo>
                      <a:pt x="1605" y="1120"/>
                    </a:lnTo>
                    <a:lnTo>
                      <a:pt x="1607" y="1123"/>
                    </a:lnTo>
                    <a:lnTo>
                      <a:pt x="1607" y="1125"/>
                    </a:lnTo>
                    <a:lnTo>
                      <a:pt x="1610" y="1121"/>
                    </a:lnTo>
                    <a:lnTo>
                      <a:pt x="1612" y="1123"/>
                    </a:lnTo>
                    <a:lnTo>
                      <a:pt x="1612" y="1128"/>
                    </a:lnTo>
                    <a:lnTo>
                      <a:pt x="1613" y="1130"/>
                    </a:lnTo>
                    <a:lnTo>
                      <a:pt x="1615" y="1128"/>
                    </a:lnTo>
                    <a:lnTo>
                      <a:pt x="1617" y="1130"/>
                    </a:lnTo>
                    <a:lnTo>
                      <a:pt x="1615" y="1133"/>
                    </a:lnTo>
                    <a:lnTo>
                      <a:pt x="1612" y="1131"/>
                    </a:lnTo>
                    <a:lnTo>
                      <a:pt x="1610" y="1134"/>
                    </a:lnTo>
                    <a:lnTo>
                      <a:pt x="1612" y="1136"/>
                    </a:lnTo>
                    <a:lnTo>
                      <a:pt x="1613" y="1139"/>
                    </a:lnTo>
                    <a:lnTo>
                      <a:pt x="1613" y="1143"/>
                    </a:lnTo>
                    <a:lnTo>
                      <a:pt x="1613" y="1143"/>
                    </a:lnTo>
                    <a:lnTo>
                      <a:pt x="1613" y="1143"/>
                    </a:lnTo>
                    <a:close/>
                    <a:moveTo>
                      <a:pt x="1208" y="1035"/>
                    </a:moveTo>
                    <a:lnTo>
                      <a:pt x="1208" y="1035"/>
                    </a:lnTo>
                    <a:lnTo>
                      <a:pt x="1210" y="1035"/>
                    </a:lnTo>
                    <a:lnTo>
                      <a:pt x="1211" y="1031"/>
                    </a:lnTo>
                    <a:lnTo>
                      <a:pt x="1213" y="1030"/>
                    </a:lnTo>
                    <a:lnTo>
                      <a:pt x="1215" y="1031"/>
                    </a:lnTo>
                    <a:lnTo>
                      <a:pt x="1218" y="1033"/>
                    </a:lnTo>
                    <a:lnTo>
                      <a:pt x="1221" y="1033"/>
                    </a:lnTo>
                    <a:lnTo>
                      <a:pt x="1223" y="1031"/>
                    </a:lnTo>
                    <a:lnTo>
                      <a:pt x="1226" y="1031"/>
                    </a:lnTo>
                    <a:lnTo>
                      <a:pt x="1228" y="1033"/>
                    </a:lnTo>
                    <a:lnTo>
                      <a:pt x="1230" y="1036"/>
                    </a:lnTo>
                    <a:lnTo>
                      <a:pt x="1226" y="1041"/>
                    </a:lnTo>
                    <a:lnTo>
                      <a:pt x="1226" y="1045"/>
                    </a:lnTo>
                    <a:lnTo>
                      <a:pt x="1223" y="1048"/>
                    </a:lnTo>
                    <a:lnTo>
                      <a:pt x="1223" y="1053"/>
                    </a:lnTo>
                    <a:lnTo>
                      <a:pt x="1225" y="1055"/>
                    </a:lnTo>
                    <a:lnTo>
                      <a:pt x="1228" y="1055"/>
                    </a:lnTo>
                    <a:lnTo>
                      <a:pt x="1230" y="1055"/>
                    </a:lnTo>
                    <a:lnTo>
                      <a:pt x="1233" y="1055"/>
                    </a:lnTo>
                    <a:lnTo>
                      <a:pt x="1235" y="1053"/>
                    </a:lnTo>
                    <a:lnTo>
                      <a:pt x="1240" y="1053"/>
                    </a:lnTo>
                    <a:lnTo>
                      <a:pt x="1241" y="1051"/>
                    </a:lnTo>
                    <a:lnTo>
                      <a:pt x="1245" y="1050"/>
                    </a:lnTo>
                    <a:lnTo>
                      <a:pt x="1248" y="1050"/>
                    </a:lnTo>
                    <a:lnTo>
                      <a:pt x="1251" y="1046"/>
                    </a:lnTo>
                    <a:lnTo>
                      <a:pt x="1253" y="1043"/>
                    </a:lnTo>
                    <a:lnTo>
                      <a:pt x="1256" y="1040"/>
                    </a:lnTo>
                    <a:lnTo>
                      <a:pt x="1258" y="1036"/>
                    </a:lnTo>
                    <a:lnTo>
                      <a:pt x="1260" y="1036"/>
                    </a:lnTo>
                    <a:lnTo>
                      <a:pt x="1263" y="1038"/>
                    </a:lnTo>
                    <a:lnTo>
                      <a:pt x="1266" y="1036"/>
                    </a:lnTo>
                    <a:lnTo>
                      <a:pt x="1268" y="1035"/>
                    </a:lnTo>
                    <a:lnTo>
                      <a:pt x="1271" y="1035"/>
                    </a:lnTo>
                    <a:lnTo>
                      <a:pt x="1273" y="1030"/>
                    </a:lnTo>
                    <a:lnTo>
                      <a:pt x="1273" y="1025"/>
                    </a:lnTo>
                    <a:lnTo>
                      <a:pt x="1276" y="1022"/>
                    </a:lnTo>
                    <a:lnTo>
                      <a:pt x="1278" y="1018"/>
                    </a:lnTo>
                    <a:lnTo>
                      <a:pt x="1281" y="1018"/>
                    </a:lnTo>
                    <a:lnTo>
                      <a:pt x="1283" y="1020"/>
                    </a:lnTo>
                    <a:lnTo>
                      <a:pt x="1286" y="1018"/>
                    </a:lnTo>
                    <a:lnTo>
                      <a:pt x="1288" y="1017"/>
                    </a:lnTo>
                    <a:lnTo>
                      <a:pt x="1291" y="1018"/>
                    </a:lnTo>
                    <a:lnTo>
                      <a:pt x="1291" y="1022"/>
                    </a:lnTo>
                    <a:lnTo>
                      <a:pt x="1288" y="1025"/>
                    </a:lnTo>
                    <a:lnTo>
                      <a:pt x="1286" y="1027"/>
                    </a:lnTo>
                    <a:lnTo>
                      <a:pt x="1289" y="1028"/>
                    </a:lnTo>
                    <a:lnTo>
                      <a:pt x="1296" y="1028"/>
                    </a:lnTo>
                    <a:lnTo>
                      <a:pt x="1299" y="1030"/>
                    </a:lnTo>
                    <a:lnTo>
                      <a:pt x="1301" y="1033"/>
                    </a:lnTo>
                    <a:lnTo>
                      <a:pt x="1298" y="1036"/>
                    </a:lnTo>
                    <a:lnTo>
                      <a:pt x="1294" y="1038"/>
                    </a:lnTo>
                    <a:lnTo>
                      <a:pt x="1294" y="1043"/>
                    </a:lnTo>
                    <a:lnTo>
                      <a:pt x="1298" y="1045"/>
                    </a:lnTo>
                    <a:lnTo>
                      <a:pt x="1299" y="1043"/>
                    </a:lnTo>
                    <a:lnTo>
                      <a:pt x="1303" y="1043"/>
                    </a:lnTo>
                    <a:lnTo>
                      <a:pt x="1304" y="1045"/>
                    </a:lnTo>
                    <a:lnTo>
                      <a:pt x="1308" y="1043"/>
                    </a:lnTo>
                    <a:lnTo>
                      <a:pt x="1309" y="1046"/>
                    </a:lnTo>
                    <a:lnTo>
                      <a:pt x="1313" y="1046"/>
                    </a:lnTo>
                    <a:lnTo>
                      <a:pt x="1316" y="1050"/>
                    </a:lnTo>
                    <a:lnTo>
                      <a:pt x="1318" y="1050"/>
                    </a:lnTo>
                    <a:lnTo>
                      <a:pt x="1324" y="1051"/>
                    </a:lnTo>
                    <a:lnTo>
                      <a:pt x="1326" y="1051"/>
                    </a:lnTo>
                    <a:lnTo>
                      <a:pt x="1329" y="1046"/>
                    </a:lnTo>
                    <a:lnTo>
                      <a:pt x="1331" y="1045"/>
                    </a:lnTo>
                    <a:lnTo>
                      <a:pt x="1336" y="1041"/>
                    </a:lnTo>
                    <a:lnTo>
                      <a:pt x="1339" y="1041"/>
                    </a:lnTo>
                    <a:lnTo>
                      <a:pt x="1341" y="1040"/>
                    </a:lnTo>
                    <a:lnTo>
                      <a:pt x="1338" y="1038"/>
                    </a:lnTo>
                    <a:lnTo>
                      <a:pt x="1334" y="1035"/>
                    </a:lnTo>
                    <a:lnTo>
                      <a:pt x="1338" y="1035"/>
                    </a:lnTo>
                    <a:lnTo>
                      <a:pt x="1339" y="1031"/>
                    </a:lnTo>
                    <a:lnTo>
                      <a:pt x="1336" y="1031"/>
                    </a:lnTo>
                    <a:lnTo>
                      <a:pt x="1334" y="1028"/>
                    </a:lnTo>
                    <a:lnTo>
                      <a:pt x="1333" y="1028"/>
                    </a:lnTo>
                    <a:lnTo>
                      <a:pt x="1333" y="1031"/>
                    </a:lnTo>
                    <a:lnTo>
                      <a:pt x="1331" y="1031"/>
                    </a:lnTo>
                    <a:lnTo>
                      <a:pt x="1329" y="1031"/>
                    </a:lnTo>
                    <a:lnTo>
                      <a:pt x="1326" y="1030"/>
                    </a:lnTo>
                    <a:lnTo>
                      <a:pt x="1324" y="1027"/>
                    </a:lnTo>
                    <a:lnTo>
                      <a:pt x="1323" y="1027"/>
                    </a:lnTo>
                    <a:lnTo>
                      <a:pt x="1319" y="1030"/>
                    </a:lnTo>
                    <a:lnTo>
                      <a:pt x="1313" y="1030"/>
                    </a:lnTo>
                    <a:lnTo>
                      <a:pt x="1309" y="1028"/>
                    </a:lnTo>
                    <a:lnTo>
                      <a:pt x="1314" y="1025"/>
                    </a:lnTo>
                    <a:lnTo>
                      <a:pt x="1318" y="1025"/>
                    </a:lnTo>
                    <a:lnTo>
                      <a:pt x="1321" y="1023"/>
                    </a:lnTo>
                    <a:lnTo>
                      <a:pt x="1321" y="1020"/>
                    </a:lnTo>
                    <a:lnTo>
                      <a:pt x="1319" y="1018"/>
                    </a:lnTo>
                    <a:lnTo>
                      <a:pt x="1319" y="1015"/>
                    </a:lnTo>
                    <a:lnTo>
                      <a:pt x="1319" y="1012"/>
                    </a:lnTo>
                    <a:lnTo>
                      <a:pt x="1319" y="1010"/>
                    </a:lnTo>
                    <a:lnTo>
                      <a:pt x="1318" y="1007"/>
                    </a:lnTo>
                    <a:lnTo>
                      <a:pt x="1318" y="1005"/>
                    </a:lnTo>
                    <a:lnTo>
                      <a:pt x="1311" y="998"/>
                    </a:lnTo>
                    <a:lnTo>
                      <a:pt x="1306" y="995"/>
                    </a:lnTo>
                    <a:lnTo>
                      <a:pt x="1304" y="993"/>
                    </a:lnTo>
                    <a:lnTo>
                      <a:pt x="1303" y="988"/>
                    </a:lnTo>
                    <a:lnTo>
                      <a:pt x="1299" y="988"/>
                    </a:lnTo>
                    <a:lnTo>
                      <a:pt x="1299" y="987"/>
                    </a:lnTo>
                    <a:lnTo>
                      <a:pt x="1299" y="982"/>
                    </a:lnTo>
                    <a:lnTo>
                      <a:pt x="1298" y="978"/>
                    </a:lnTo>
                    <a:lnTo>
                      <a:pt x="1293" y="978"/>
                    </a:lnTo>
                    <a:lnTo>
                      <a:pt x="1285" y="975"/>
                    </a:lnTo>
                    <a:lnTo>
                      <a:pt x="1281" y="970"/>
                    </a:lnTo>
                    <a:lnTo>
                      <a:pt x="1285" y="968"/>
                    </a:lnTo>
                    <a:lnTo>
                      <a:pt x="1285" y="967"/>
                    </a:lnTo>
                    <a:lnTo>
                      <a:pt x="1280" y="963"/>
                    </a:lnTo>
                    <a:lnTo>
                      <a:pt x="1280" y="960"/>
                    </a:lnTo>
                    <a:lnTo>
                      <a:pt x="1278" y="960"/>
                    </a:lnTo>
                    <a:lnTo>
                      <a:pt x="1273" y="965"/>
                    </a:lnTo>
                    <a:lnTo>
                      <a:pt x="1273" y="968"/>
                    </a:lnTo>
                    <a:lnTo>
                      <a:pt x="1270" y="972"/>
                    </a:lnTo>
                    <a:lnTo>
                      <a:pt x="1268" y="970"/>
                    </a:lnTo>
                    <a:lnTo>
                      <a:pt x="1268" y="963"/>
                    </a:lnTo>
                    <a:lnTo>
                      <a:pt x="1266" y="960"/>
                    </a:lnTo>
                    <a:lnTo>
                      <a:pt x="1266" y="957"/>
                    </a:lnTo>
                    <a:lnTo>
                      <a:pt x="1270" y="958"/>
                    </a:lnTo>
                    <a:lnTo>
                      <a:pt x="1273" y="958"/>
                    </a:lnTo>
                    <a:lnTo>
                      <a:pt x="1271" y="955"/>
                    </a:lnTo>
                    <a:lnTo>
                      <a:pt x="1273" y="952"/>
                    </a:lnTo>
                    <a:lnTo>
                      <a:pt x="1271" y="947"/>
                    </a:lnTo>
                    <a:lnTo>
                      <a:pt x="1266" y="948"/>
                    </a:lnTo>
                    <a:lnTo>
                      <a:pt x="1266" y="945"/>
                    </a:lnTo>
                    <a:lnTo>
                      <a:pt x="1271" y="942"/>
                    </a:lnTo>
                    <a:lnTo>
                      <a:pt x="1268" y="940"/>
                    </a:lnTo>
                    <a:lnTo>
                      <a:pt x="1260" y="943"/>
                    </a:lnTo>
                    <a:lnTo>
                      <a:pt x="1255" y="948"/>
                    </a:lnTo>
                    <a:lnTo>
                      <a:pt x="1251" y="957"/>
                    </a:lnTo>
                    <a:lnTo>
                      <a:pt x="1246" y="962"/>
                    </a:lnTo>
                    <a:lnTo>
                      <a:pt x="1246" y="965"/>
                    </a:lnTo>
                    <a:lnTo>
                      <a:pt x="1243" y="968"/>
                    </a:lnTo>
                    <a:lnTo>
                      <a:pt x="1243" y="972"/>
                    </a:lnTo>
                    <a:lnTo>
                      <a:pt x="1238" y="978"/>
                    </a:lnTo>
                    <a:lnTo>
                      <a:pt x="1240" y="982"/>
                    </a:lnTo>
                    <a:lnTo>
                      <a:pt x="1236" y="982"/>
                    </a:lnTo>
                    <a:lnTo>
                      <a:pt x="1236" y="987"/>
                    </a:lnTo>
                    <a:lnTo>
                      <a:pt x="1236" y="990"/>
                    </a:lnTo>
                    <a:lnTo>
                      <a:pt x="1230" y="995"/>
                    </a:lnTo>
                    <a:lnTo>
                      <a:pt x="1228" y="998"/>
                    </a:lnTo>
                    <a:lnTo>
                      <a:pt x="1228" y="1005"/>
                    </a:lnTo>
                    <a:lnTo>
                      <a:pt x="1226" y="1007"/>
                    </a:lnTo>
                    <a:lnTo>
                      <a:pt x="1226" y="1013"/>
                    </a:lnTo>
                    <a:lnTo>
                      <a:pt x="1223" y="1017"/>
                    </a:lnTo>
                    <a:lnTo>
                      <a:pt x="1218" y="1017"/>
                    </a:lnTo>
                    <a:lnTo>
                      <a:pt x="1210" y="1020"/>
                    </a:lnTo>
                    <a:lnTo>
                      <a:pt x="1210" y="1023"/>
                    </a:lnTo>
                    <a:lnTo>
                      <a:pt x="1206" y="1030"/>
                    </a:lnTo>
                    <a:lnTo>
                      <a:pt x="1208" y="1035"/>
                    </a:lnTo>
                    <a:lnTo>
                      <a:pt x="1208" y="1035"/>
                    </a:lnTo>
                    <a:close/>
                    <a:moveTo>
                      <a:pt x="1248" y="1098"/>
                    </a:moveTo>
                    <a:lnTo>
                      <a:pt x="1248" y="1098"/>
                    </a:lnTo>
                    <a:lnTo>
                      <a:pt x="1248" y="1100"/>
                    </a:lnTo>
                    <a:lnTo>
                      <a:pt x="1250" y="1100"/>
                    </a:lnTo>
                    <a:lnTo>
                      <a:pt x="1255" y="1095"/>
                    </a:lnTo>
                    <a:lnTo>
                      <a:pt x="1258" y="1095"/>
                    </a:lnTo>
                    <a:lnTo>
                      <a:pt x="1260" y="1095"/>
                    </a:lnTo>
                    <a:lnTo>
                      <a:pt x="1261" y="1096"/>
                    </a:lnTo>
                    <a:lnTo>
                      <a:pt x="1265" y="1098"/>
                    </a:lnTo>
                    <a:lnTo>
                      <a:pt x="1271" y="1093"/>
                    </a:lnTo>
                    <a:lnTo>
                      <a:pt x="1275" y="1091"/>
                    </a:lnTo>
                    <a:lnTo>
                      <a:pt x="1278" y="1088"/>
                    </a:lnTo>
                    <a:lnTo>
                      <a:pt x="1283" y="1083"/>
                    </a:lnTo>
                    <a:lnTo>
                      <a:pt x="1286" y="1083"/>
                    </a:lnTo>
                    <a:lnTo>
                      <a:pt x="1291" y="1080"/>
                    </a:lnTo>
                    <a:lnTo>
                      <a:pt x="1293" y="1076"/>
                    </a:lnTo>
                    <a:lnTo>
                      <a:pt x="1296" y="1073"/>
                    </a:lnTo>
                    <a:lnTo>
                      <a:pt x="1294" y="1071"/>
                    </a:lnTo>
                    <a:lnTo>
                      <a:pt x="1289" y="1071"/>
                    </a:lnTo>
                    <a:lnTo>
                      <a:pt x="1288" y="1070"/>
                    </a:lnTo>
                    <a:lnTo>
                      <a:pt x="1285" y="1070"/>
                    </a:lnTo>
                    <a:lnTo>
                      <a:pt x="1281" y="1071"/>
                    </a:lnTo>
                    <a:lnTo>
                      <a:pt x="1280" y="1071"/>
                    </a:lnTo>
                    <a:lnTo>
                      <a:pt x="1276" y="1071"/>
                    </a:lnTo>
                    <a:lnTo>
                      <a:pt x="1273" y="1075"/>
                    </a:lnTo>
                    <a:lnTo>
                      <a:pt x="1270" y="1073"/>
                    </a:lnTo>
                    <a:lnTo>
                      <a:pt x="1268" y="1070"/>
                    </a:lnTo>
                    <a:lnTo>
                      <a:pt x="1266" y="1070"/>
                    </a:lnTo>
                    <a:lnTo>
                      <a:pt x="1261" y="1071"/>
                    </a:lnTo>
                    <a:lnTo>
                      <a:pt x="1256" y="1076"/>
                    </a:lnTo>
                    <a:lnTo>
                      <a:pt x="1256" y="1078"/>
                    </a:lnTo>
                    <a:lnTo>
                      <a:pt x="1255" y="1081"/>
                    </a:lnTo>
                    <a:lnTo>
                      <a:pt x="1246" y="1083"/>
                    </a:lnTo>
                    <a:lnTo>
                      <a:pt x="1245" y="1086"/>
                    </a:lnTo>
                    <a:lnTo>
                      <a:pt x="1248" y="1088"/>
                    </a:lnTo>
                    <a:lnTo>
                      <a:pt x="1248" y="1091"/>
                    </a:lnTo>
                    <a:lnTo>
                      <a:pt x="1248" y="1095"/>
                    </a:lnTo>
                    <a:lnTo>
                      <a:pt x="1248" y="1098"/>
                    </a:lnTo>
                    <a:lnTo>
                      <a:pt x="1248" y="1098"/>
                    </a:lnTo>
                    <a:close/>
                    <a:moveTo>
                      <a:pt x="1638" y="1128"/>
                    </a:moveTo>
                    <a:lnTo>
                      <a:pt x="1638" y="1128"/>
                    </a:lnTo>
                    <a:lnTo>
                      <a:pt x="1643" y="1128"/>
                    </a:lnTo>
                    <a:lnTo>
                      <a:pt x="1647" y="1131"/>
                    </a:lnTo>
                    <a:lnTo>
                      <a:pt x="1650" y="1131"/>
                    </a:lnTo>
                    <a:lnTo>
                      <a:pt x="1650" y="1128"/>
                    </a:lnTo>
                    <a:lnTo>
                      <a:pt x="1652" y="1126"/>
                    </a:lnTo>
                    <a:lnTo>
                      <a:pt x="1652" y="1125"/>
                    </a:lnTo>
                    <a:lnTo>
                      <a:pt x="1648" y="1123"/>
                    </a:lnTo>
                    <a:lnTo>
                      <a:pt x="1645" y="1125"/>
                    </a:lnTo>
                    <a:lnTo>
                      <a:pt x="1642" y="1125"/>
                    </a:lnTo>
                    <a:lnTo>
                      <a:pt x="1638" y="1128"/>
                    </a:lnTo>
                    <a:lnTo>
                      <a:pt x="1638" y="1128"/>
                    </a:lnTo>
                    <a:close/>
                    <a:moveTo>
                      <a:pt x="1515" y="1098"/>
                    </a:moveTo>
                    <a:lnTo>
                      <a:pt x="1517" y="1100"/>
                    </a:lnTo>
                    <a:lnTo>
                      <a:pt x="1522" y="1101"/>
                    </a:lnTo>
                    <a:lnTo>
                      <a:pt x="1522" y="1103"/>
                    </a:lnTo>
                    <a:lnTo>
                      <a:pt x="1522" y="1105"/>
                    </a:lnTo>
                    <a:lnTo>
                      <a:pt x="1524" y="1106"/>
                    </a:lnTo>
                    <a:lnTo>
                      <a:pt x="1525" y="1108"/>
                    </a:lnTo>
                    <a:lnTo>
                      <a:pt x="1527" y="1110"/>
                    </a:lnTo>
                    <a:lnTo>
                      <a:pt x="1530" y="1110"/>
                    </a:lnTo>
                    <a:lnTo>
                      <a:pt x="1532" y="1108"/>
                    </a:lnTo>
                    <a:lnTo>
                      <a:pt x="1532" y="1108"/>
                    </a:lnTo>
                    <a:lnTo>
                      <a:pt x="1532" y="1105"/>
                    </a:lnTo>
                    <a:lnTo>
                      <a:pt x="1529" y="1103"/>
                    </a:lnTo>
                    <a:lnTo>
                      <a:pt x="1525" y="1101"/>
                    </a:lnTo>
                    <a:lnTo>
                      <a:pt x="1525" y="1100"/>
                    </a:lnTo>
                    <a:lnTo>
                      <a:pt x="1520" y="1098"/>
                    </a:lnTo>
                    <a:lnTo>
                      <a:pt x="1517" y="1098"/>
                    </a:lnTo>
                    <a:lnTo>
                      <a:pt x="1515" y="1098"/>
                    </a:lnTo>
                    <a:lnTo>
                      <a:pt x="1515" y="1098"/>
                    </a:lnTo>
                    <a:close/>
                    <a:moveTo>
                      <a:pt x="1633" y="1156"/>
                    </a:moveTo>
                    <a:lnTo>
                      <a:pt x="1628" y="1153"/>
                    </a:lnTo>
                    <a:lnTo>
                      <a:pt x="1628" y="1149"/>
                    </a:lnTo>
                    <a:lnTo>
                      <a:pt x="1627" y="1148"/>
                    </a:lnTo>
                    <a:lnTo>
                      <a:pt x="1627" y="1146"/>
                    </a:lnTo>
                    <a:lnTo>
                      <a:pt x="1628" y="1144"/>
                    </a:lnTo>
                    <a:lnTo>
                      <a:pt x="1632" y="1148"/>
                    </a:lnTo>
                    <a:lnTo>
                      <a:pt x="1632" y="1149"/>
                    </a:lnTo>
                    <a:lnTo>
                      <a:pt x="1633" y="1151"/>
                    </a:lnTo>
                    <a:lnTo>
                      <a:pt x="1635" y="1154"/>
                    </a:lnTo>
                    <a:lnTo>
                      <a:pt x="1633" y="1156"/>
                    </a:lnTo>
                    <a:lnTo>
                      <a:pt x="1633" y="1156"/>
                    </a:lnTo>
                    <a:close/>
                    <a:moveTo>
                      <a:pt x="1628" y="1169"/>
                    </a:moveTo>
                    <a:lnTo>
                      <a:pt x="1627" y="1168"/>
                    </a:lnTo>
                    <a:lnTo>
                      <a:pt x="1627" y="1164"/>
                    </a:lnTo>
                    <a:lnTo>
                      <a:pt x="1625" y="1163"/>
                    </a:lnTo>
                    <a:lnTo>
                      <a:pt x="1622" y="1163"/>
                    </a:lnTo>
                    <a:lnTo>
                      <a:pt x="1618" y="1159"/>
                    </a:lnTo>
                    <a:lnTo>
                      <a:pt x="1618" y="1158"/>
                    </a:lnTo>
                    <a:lnTo>
                      <a:pt x="1622" y="1156"/>
                    </a:lnTo>
                    <a:lnTo>
                      <a:pt x="1623" y="1156"/>
                    </a:lnTo>
                    <a:lnTo>
                      <a:pt x="1630" y="1156"/>
                    </a:lnTo>
                    <a:lnTo>
                      <a:pt x="1635" y="1159"/>
                    </a:lnTo>
                    <a:lnTo>
                      <a:pt x="1635" y="1161"/>
                    </a:lnTo>
                    <a:lnTo>
                      <a:pt x="1633" y="1163"/>
                    </a:lnTo>
                    <a:lnTo>
                      <a:pt x="1633" y="1164"/>
                    </a:lnTo>
                    <a:lnTo>
                      <a:pt x="1632" y="1166"/>
                    </a:lnTo>
                    <a:lnTo>
                      <a:pt x="1630" y="1168"/>
                    </a:lnTo>
                    <a:lnTo>
                      <a:pt x="1628" y="1169"/>
                    </a:lnTo>
                    <a:lnTo>
                      <a:pt x="1628" y="1169"/>
                    </a:lnTo>
                    <a:close/>
                    <a:moveTo>
                      <a:pt x="1509" y="1234"/>
                    </a:moveTo>
                    <a:lnTo>
                      <a:pt x="1507" y="1237"/>
                    </a:lnTo>
                    <a:lnTo>
                      <a:pt x="1509" y="1236"/>
                    </a:lnTo>
                    <a:lnTo>
                      <a:pt x="1509" y="1234"/>
                    </a:lnTo>
                    <a:lnTo>
                      <a:pt x="1509" y="1234"/>
                    </a:lnTo>
                    <a:close/>
                    <a:moveTo>
                      <a:pt x="1510" y="1236"/>
                    </a:moveTo>
                    <a:lnTo>
                      <a:pt x="1510" y="1237"/>
                    </a:lnTo>
                    <a:lnTo>
                      <a:pt x="1510" y="1237"/>
                    </a:lnTo>
                    <a:lnTo>
                      <a:pt x="1510" y="1236"/>
                    </a:lnTo>
                    <a:lnTo>
                      <a:pt x="1510" y="1236"/>
                    </a:lnTo>
                    <a:close/>
                    <a:moveTo>
                      <a:pt x="1514" y="1234"/>
                    </a:moveTo>
                    <a:lnTo>
                      <a:pt x="1512" y="1237"/>
                    </a:lnTo>
                    <a:lnTo>
                      <a:pt x="1514" y="1241"/>
                    </a:lnTo>
                    <a:lnTo>
                      <a:pt x="1514" y="1242"/>
                    </a:lnTo>
                    <a:lnTo>
                      <a:pt x="1514" y="1242"/>
                    </a:lnTo>
                    <a:lnTo>
                      <a:pt x="1515" y="1237"/>
                    </a:lnTo>
                    <a:lnTo>
                      <a:pt x="1514" y="1234"/>
                    </a:lnTo>
                    <a:lnTo>
                      <a:pt x="1514" y="1234"/>
                    </a:lnTo>
                    <a:close/>
                    <a:moveTo>
                      <a:pt x="1545" y="1203"/>
                    </a:moveTo>
                    <a:lnTo>
                      <a:pt x="1545" y="1199"/>
                    </a:lnTo>
                    <a:lnTo>
                      <a:pt x="1547" y="1196"/>
                    </a:lnTo>
                    <a:lnTo>
                      <a:pt x="1549" y="1194"/>
                    </a:lnTo>
                    <a:lnTo>
                      <a:pt x="1549" y="1191"/>
                    </a:lnTo>
                    <a:lnTo>
                      <a:pt x="1554" y="1188"/>
                    </a:lnTo>
                    <a:lnTo>
                      <a:pt x="1559" y="1188"/>
                    </a:lnTo>
                    <a:lnTo>
                      <a:pt x="1560" y="1189"/>
                    </a:lnTo>
                    <a:lnTo>
                      <a:pt x="1559" y="1191"/>
                    </a:lnTo>
                    <a:lnTo>
                      <a:pt x="1560" y="1193"/>
                    </a:lnTo>
                    <a:lnTo>
                      <a:pt x="1560" y="1194"/>
                    </a:lnTo>
                    <a:lnTo>
                      <a:pt x="1557" y="1196"/>
                    </a:lnTo>
                    <a:lnTo>
                      <a:pt x="1555" y="1199"/>
                    </a:lnTo>
                    <a:lnTo>
                      <a:pt x="1552" y="1199"/>
                    </a:lnTo>
                    <a:lnTo>
                      <a:pt x="1547" y="1203"/>
                    </a:lnTo>
                    <a:lnTo>
                      <a:pt x="1545" y="1203"/>
                    </a:lnTo>
                    <a:lnTo>
                      <a:pt x="1545" y="1203"/>
                    </a:lnTo>
                    <a:close/>
                    <a:moveTo>
                      <a:pt x="1441" y="1093"/>
                    </a:moveTo>
                    <a:lnTo>
                      <a:pt x="1444" y="1096"/>
                    </a:lnTo>
                    <a:lnTo>
                      <a:pt x="1447" y="1100"/>
                    </a:lnTo>
                    <a:lnTo>
                      <a:pt x="1451" y="1100"/>
                    </a:lnTo>
                    <a:lnTo>
                      <a:pt x="1456" y="1101"/>
                    </a:lnTo>
                    <a:lnTo>
                      <a:pt x="1454" y="1100"/>
                    </a:lnTo>
                    <a:lnTo>
                      <a:pt x="1451" y="1098"/>
                    </a:lnTo>
                    <a:lnTo>
                      <a:pt x="1444" y="1095"/>
                    </a:lnTo>
                    <a:lnTo>
                      <a:pt x="1442" y="1093"/>
                    </a:lnTo>
                    <a:lnTo>
                      <a:pt x="1441" y="1093"/>
                    </a:lnTo>
                    <a:lnTo>
                      <a:pt x="1441" y="1093"/>
                    </a:lnTo>
                    <a:close/>
                    <a:moveTo>
                      <a:pt x="1404" y="1065"/>
                    </a:moveTo>
                    <a:lnTo>
                      <a:pt x="1404" y="1065"/>
                    </a:lnTo>
                    <a:lnTo>
                      <a:pt x="1407" y="1065"/>
                    </a:lnTo>
                    <a:lnTo>
                      <a:pt x="1409" y="1066"/>
                    </a:lnTo>
                    <a:lnTo>
                      <a:pt x="1411" y="1066"/>
                    </a:lnTo>
                    <a:lnTo>
                      <a:pt x="1412" y="1065"/>
                    </a:lnTo>
                    <a:lnTo>
                      <a:pt x="1414" y="1063"/>
                    </a:lnTo>
                    <a:lnTo>
                      <a:pt x="1414" y="1061"/>
                    </a:lnTo>
                    <a:lnTo>
                      <a:pt x="1411" y="1060"/>
                    </a:lnTo>
                    <a:lnTo>
                      <a:pt x="1414" y="1058"/>
                    </a:lnTo>
                    <a:lnTo>
                      <a:pt x="1414" y="1058"/>
                    </a:lnTo>
                    <a:lnTo>
                      <a:pt x="1409" y="1055"/>
                    </a:lnTo>
                    <a:lnTo>
                      <a:pt x="1406" y="1055"/>
                    </a:lnTo>
                    <a:lnTo>
                      <a:pt x="1406" y="1053"/>
                    </a:lnTo>
                    <a:lnTo>
                      <a:pt x="1404" y="1051"/>
                    </a:lnTo>
                    <a:lnTo>
                      <a:pt x="1402" y="1051"/>
                    </a:lnTo>
                    <a:lnTo>
                      <a:pt x="1399" y="1051"/>
                    </a:lnTo>
                    <a:lnTo>
                      <a:pt x="1396" y="1051"/>
                    </a:lnTo>
                    <a:lnTo>
                      <a:pt x="1396" y="1053"/>
                    </a:lnTo>
                    <a:lnTo>
                      <a:pt x="1396" y="1055"/>
                    </a:lnTo>
                    <a:lnTo>
                      <a:pt x="1397" y="1055"/>
                    </a:lnTo>
                    <a:lnTo>
                      <a:pt x="1399" y="1056"/>
                    </a:lnTo>
                    <a:lnTo>
                      <a:pt x="1401" y="1058"/>
                    </a:lnTo>
                    <a:lnTo>
                      <a:pt x="1404" y="1061"/>
                    </a:lnTo>
                    <a:lnTo>
                      <a:pt x="1404" y="1065"/>
                    </a:lnTo>
                    <a:lnTo>
                      <a:pt x="1404" y="1065"/>
                    </a:lnTo>
                    <a:close/>
                    <a:moveTo>
                      <a:pt x="1379" y="1075"/>
                    </a:moveTo>
                    <a:lnTo>
                      <a:pt x="1383" y="1075"/>
                    </a:lnTo>
                    <a:lnTo>
                      <a:pt x="1384" y="1073"/>
                    </a:lnTo>
                    <a:lnTo>
                      <a:pt x="1387" y="1073"/>
                    </a:lnTo>
                    <a:lnTo>
                      <a:pt x="1389" y="1071"/>
                    </a:lnTo>
                    <a:lnTo>
                      <a:pt x="1389" y="1070"/>
                    </a:lnTo>
                    <a:lnTo>
                      <a:pt x="1389" y="1068"/>
                    </a:lnTo>
                    <a:lnTo>
                      <a:pt x="1389" y="1061"/>
                    </a:lnTo>
                    <a:lnTo>
                      <a:pt x="1387" y="1061"/>
                    </a:lnTo>
                    <a:lnTo>
                      <a:pt x="1383" y="1060"/>
                    </a:lnTo>
                    <a:lnTo>
                      <a:pt x="1379" y="1058"/>
                    </a:lnTo>
                    <a:lnTo>
                      <a:pt x="1378" y="1055"/>
                    </a:lnTo>
                    <a:lnTo>
                      <a:pt x="1376" y="1056"/>
                    </a:lnTo>
                    <a:lnTo>
                      <a:pt x="1371" y="1056"/>
                    </a:lnTo>
                    <a:lnTo>
                      <a:pt x="1369" y="1056"/>
                    </a:lnTo>
                    <a:lnTo>
                      <a:pt x="1368" y="1058"/>
                    </a:lnTo>
                    <a:lnTo>
                      <a:pt x="1369" y="1061"/>
                    </a:lnTo>
                    <a:lnTo>
                      <a:pt x="1373" y="1065"/>
                    </a:lnTo>
                    <a:lnTo>
                      <a:pt x="1374" y="1068"/>
                    </a:lnTo>
                    <a:lnTo>
                      <a:pt x="1376" y="1070"/>
                    </a:lnTo>
                    <a:lnTo>
                      <a:pt x="1376" y="1073"/>
                    </a:lnTo>
                    <a:lnTo>
                      <a:pt x="1379" y="1075"/>
                    </a:lnTo>
                    <a:lnTo>
                      <a:pt x="1379" y="1075"/>
                    </a:lnTo>
                    <a:close/>
                    <a:moveTo>
                      <a:pt x="1374" y="1093"/>
                    </a:moveTo>
                    <a:lnTo>
                      <a:pt x="1374" y="1093"/>
                    </a:lnTo>
                    <a:lnTo>
                      <a:pt x="1376" y="1093"/>
                    </a:lnTo>
                    <a:lnTo>
                      <a:pt x="1371" y="1091"/>
                    </a:lnTo>
                    <a:lnTo>
                      <a:pt x="1369" y="1091"/>
                    </a:lnTo>
                    <a:lnTo>
                      <a:pt x="1371" y="1093"/>
                    </a:lnTo>
                    <a:lnTo>
                      <a:pt x="1374" y="1093"/>
                    </a:lnTo>
                    <a:lnTo>
                      <a:pt x="1374" y="1093"/>
                    </a:lnTo>
                    <a:close/>
                    <a:moveTo>
                      <a:pt x="1321" y="1128"/>
                    </a:moveTo>
                    <a:lnTo>
                      <a:pt x="1323" y="1128"/>
                    </a:lnTo>
                    <a:lnTo>
                      <a:pt x="1323" y="1126"/>
                    </a:lnTo>
                    <a:lnTo>
                      <a:pt x="1324" y="1125"/>
                    </a:lnTo>
                    <a:lnTo>
                      <a:pt x="1326" y="1123"/>
                    </a:lnTo>
                    <a:lnTo>
                      <a:pt x="1326" y="1120"/>
                    </a:lnTo>
                    <a:lnTo>
                      <a:pt x="1324" y="1120"/>
                    </a:lnTo>
                    <a:lnTo>
                      <a:pt x="1326" y="1118"/>
                    </a:lnTo>
                    <a:lnTo>
                      <a:pt x="1329" y="1115"/>
                    </a:lnTo>
                    <a:lnTo>
                      <a:pt x="1333" y="1111"/>
                    </a:lnTo>
                    <a:lnTo>
                      <a:pt x="1336" y="1110"/>
                    </a:lnTo>
                    <a:lnTo>
                      <a:pt x="1336" y="1110"/>
                    </a:lnTo>
                    <a:lnTo>
                      <a:pt x="1336" y="1108"/>
                    </a:lnTo>
                    <a:lnTo>
                      <a:pt x="1336" y="1105"/>
                    </a:lnTo>
                    <a:lnTo>
                      <a:pt x="1338" y="1103"/>
                    </a:lnTo>
                    <a:lnTo>
                      <a:pt x="1339" y="1100"/>
                    </a:lnTo>
                    <a:lnTo>
                      <a:pt x="1339" y="1098"/>
                    </a:lnTo>
                    <a:lnTo>
                      <a:pt x="1339" y="1095"/>
                    </a:lnTo>
                    <a:lnTo>
                      <a:pt x="1338" y="1093"/>
                    </a:lnTo>
                    <a:lnTo>
                      <a:pt x="1334" y="1095"/>
                    </a:lnTo>
                    <a:lnTo>
                      <a:pt x="1333" y="1095"/>
                    </a:lnTo>
                    <a:lnTo>
                      <a:pt x="1331" y="1093"/>
                    </a:lnTo>
                    <a:lnTo>
                      <a:pt x="1329" y="1091"/>
                    </a:lnTo>
                    <a:lnTo>
                      <a:pt x="1326" y="1095"/>
                    </a:lnTo>
                    <a:lnTo>
                      <a:pt x="1323" y="1098"/>
                    </a:lnTo>
                    <a:lnTo>
                      <a:pt x="1321" y="1098"/>
                    </a:lnTo>
                    <a:lnTo>
                      <a:pt x="1318" y="1101"/>
                    </a:lnTo>
                    <a:lnTo>
                      <a:pt x="1316" y="1105"/>
                    </a:lnTo>
                    <a:lnTo>
                      <a:pt x="1318" y="1108"/>
                    </a:lnTo>
                    <a:lnTo>
                      <a:pt x="1314" y="1110"/>
                    </a:lnTo>
                    <a:lnTo>
                      <a:pt x="1314" y="1113"/>
                    </a:lnTo>
                    <a:lnTo>
                      <a:pt x="1314" y="1116"/>
                    </a:lnTo>
                    <a:lnTo>
                      <a:pt x="1313" y="1118"/>
                    </a:lnTo>
                    <a:lnTo>
                      <a:pt x="1313" y="1120"/>
                    </a:lnTo>
                    <a:lnTo>
                      <a:pt x="1318" y="1121"/>
                    </a:lnTo>
                    <a:lnTo>
                      <a:pt x="1318" y="1123"/>
                    </a:lnTo>
                    <a:lnTo>
                      <a:pt x="1319" y="1125"/>
                    </a:lnTo>
                    <a:lnTo>
                      <a:pt x="1321" y="1128"/>
                    </a:lnTo>
                    <a:lnTo>
                      <a:pt x="1321" y="1128"/>
                    </a:lnTo>
                    <a:close/>
                    <a:moveTo>
                      <a:pt x="1273" y="1311"/>
                    </a:moveTo>
                    <a:lnTo>
                      <a:pt x="1273" y="1312"/>
                    </a:lnTo>
                    <a:lnTo>
                      <a:pt x="1275" y="1312"/>
                    </a:lnTo>
                    <a:lnTo>
                      <a:pt x="1275" y="1311"/>
                    </a:lnTo>
                    <a:lnTo>
                      <a:pt x="1273" y="1311"/>
                    </a:lnTo>
                    <a:lnTo>
                      <a:pt x="1273" y="1311"/>
                    </a:lnTo>
                    <a:close/>
                    <a:moveTo>
                      <a:pt x="1275" y="1329"/>
                    </a:moveTo>
                    <a:lnTo>
                      <a:pt x="1278" y="1326"/>
                    </a:lnTo>
                    <a:lnTo>
                      <a:pt x="1280" y="1322"/>
                    </a:lnTo>
                    <a:lnTo>
                      <a:pt x="1281" y="1322"/>
                    </a:lnTo>
                    <a:lnTo>
                      <a:pt x="1281" y="1327"/>
                    </a:lnTo>
                    <a:lnTo>
                      <a:pt x="1278" y="1329"/>
                    </a:lnTo>
                    <a:lnTo>
                      <a:pt x="1278" y="1329"/>
                    </a:lnTo>
                    <a:lnTo>
                      <a:pt x="1275" y="1329"/>
                    </a:lnTo>
                    <a:lnTo>
                      <a:pt x="1275" y="1329"/>
                    </a:lnTo>
                    <a:close/>
                    <a:moveTo>
                      <a:pt x="1246" y="1324"/>
                    </a:moveTo>
                    <a:lnTo>
                      <a:pt x="1250" y="1319"/>
                    </a:lnTo>
                    <a:lnTo>
                      <a:pt x="1253" y="1319"/>
                    </a:lnTo>
                    <a:lnTo>
                      <a:pt x="1253" y="1317"/>
                    </a:lnTo>
                    <a:lnTo>
                      <a:pt x="1255" y="1317"/>
                    </a:lnTo>
                    <a:lnTo>
                      <a:pt x="1260" y="1316"/>
                    </a:lnTo>
                    <a:lnTo>
                      <a:pt x="1261" y="1314"/>
                    </a:lnTo>
                    <a:lnTo>
                      <a:pt x="1258" y="1319"/>
                    </a:lnTo>
                    <a:lnTo>
                      <a:pt x="1251" y="1324"/>
                    </a:lnTo>
                    <a:lnTo>
                      <a:pt x="1248" y="1324"/>
                    </a:lnTo>
                    <a:lnTo>
                      <a:pt x="1246" y="1324"/>
                    </a:lnTo>
                    <a:lnTo>
                      <a:pt x="1246" y="1324"/>
                    </a:lnTo>
                    <a:close/>
                    <a:moveTo>
                      <a:pt x="1266" y="1332"/>
                    </a:moveTo>
                    <a:lnTo>
                      <a:pt x="1271" y="1324"/>
                    </a:lnTo>
                    <a:lnTo>
                      <a:pt x="1273" y="1322"/>
                    </a:lnTo>
                    <a:lnTo>
                      <a:pt x="1275" y="1322"/>
                    </a:lnTo>
                    <a:lnTo>
                      <a:pt x="1275" y="1324"/>
                    </a:lnTo>
                    <a:lnTo>
                      <a:pt x="1268" y="1330"/>
                    </a:lnTo>
                    <a:lnTo>
                      <a:pt x="1266" y="1334"/>
                    </a:lnTo>
                    <a:lnTo>
                      <a:pt x="1270" y="1332"/>
                    </a:lnTo>
                    <a:lnTo>
                      <a:pt x="1275" y="1326"/>
                    </a:lnTo>
                    <a:lnTo>
                      <a:pt x="1276" y="1324"/>
                    </a:lnTo>
                    <a:lnTo>
                      <a:pt x="1278" y="1321"/>
                    </a:lnTo>
                    <a:lnTo>
                      <a:pt x="1276" y="1317"/>
                    </a:lnTo>
                    <a:lnTo>
                      <a:pt x="1275" y="1317"/>
                    </a:lnTo>
                    <a:lnTo>
                      <a:pt x="1275" y="1316"/>
                    </a:lnTo>
                    <a:lnTo>
                      <a:pt x="1271" y="1314"/>
                    </a:lnTo>
                    <a:lnTo>
                      <a:pt x="1270" y="1316"/>
                    </a:lnTo>
                    <a:lnTo>
                      <a:pt x="1266" y="1322"/>
                    </a:lnTo>
                    <a:lnTo>
                      <a:pt x="1263" y="1324"/>
                    </a:lnTo>
                    <a:lnTo>
                      <a:pt x="1260" y="1327"/>
                    </a:lnTo>
                    <a:lnTo>
                      <a:pt x="1261" y="1324"/>
                    </a:lnTo>
                    <a:lnTo>
                      <a:pt x="1265" y="1321"/>
                    </a:lnTo>
                    <a:lnTo>
                      <a:pt x="1266" y="1317"/>
                    </a:lnTo>
                    <a:lnTo>
                      <a:pt x="1265" y="1316"/>
                    </a:lnTo>
                    <a:lnTo>
                      <a:pt x="1261" y="1317"/>
                    </a:lnTo>
                    <a:lnTo>
                      <a:pt x="1260" y="1322"/>
                    </a:lnTo>
                    <a:lnTo>
                      <a:pt x="1255" y="1327"/>
                    </a:lnTo>
                    <a:lnTo>
                      <a:pt x="1253" y="1330"/>
                    </a:lnTo>
                    <a:lnTo>
                      <a:pt x="1250" y="1334"/>
                    </a:lnTo>
                    <a:lnTo>
                      <a:pt x="1251" y="1337"/>
                    </a:lnTo>
                    <a:lnTo>
                      <a:pt x="1253" y="1335"/>
                    </a:lnTo>
                    <a:lnTo>
                      <a:pt x="1258" y="1330"/>
                    </a:lnTo>
                    <a:lnTo>
                      <a:pt x="1260" y="1330"/>
                    </a:lnTo>
                    <a:lnTo>
                      <a:pt x="1258" y="1332"/>
                    </a:lnTo>
                    <a:lnTo>
                      <a:pt x="1255" y="1337"/>
                    </a:lnTo>
                    <a:lnTo>
                      <a:pt x="1256" y="1337"/>
                    </a:lnTo>
                    <a:lnTo>
                      <a:pt x="1260" y="1335"/>
                    </a:lnTo>
                    <a:lnTo>
                      <a:pt x="1263" y="1335"/>
                    </a:lnTo>
                    <a:lnTo>
                      <a:pt x="1263" y="1335"/>
                    </a:lnTo>
                    <a:lnTo>
                      <a:pt x="1266" y="1332"/>
                    </a:lnTo>
                    <a:lnTo>
                      <a:pt x="1266" y="1332"/>
                    </a:lnTo>
                    <a:close/>
                    <a:moveTo>
                      <a:pt x="1261" y="1332"/>
                    </a:moveTo>
                    <a:lnTo>
                      <a:pt x="1263" y="1329"/>
                    </a:lnTo>
                    <a:lnTo>
                      <a:pt x="1270" y="1322"/>
                    </a:lnTo>
                    <a:lnTo>
                      <a:pt x="1266" y="1327"/>
                    </a:lnTo>
                    <a:lnTo>
                      <a:pt x="1263" y="1332"/>
                    </a:lnTo>
                    <a:lnTo>
                      <a:pt x="1261" y="1332"/>
                    </a:lnTo>
                    <a:lnTo>
                      <a:pt x="1261" y="1332"/>
                    </a:lnTo>
                    <a:close/>
                    <a:moveTo>
                      <a:pt x="1588" y="1631"/>
                    </a:moveTo>
                    <a:lnTo>
                      <a:pt x="1587" y="1631"/>
                    </a:lnTo>
                    <a:lnTo>
                      <a:pt x="1585" y="1629"/>
                    </a:lnTo>
                    <a:lnTo>
                      <a:pt x="1587" y="1629"/>
                    </a:lnTo>
                    <a:lnTo>
                      <a:pt x="1588" y="1626"/>
                    </a:lnTo>
                    <a:lnTo>
                      <a:pt x="1592" y="1624"/>
                    </a:lnTo>
                    <a:lnTo>
                      <a:pt x="1592" y="1624"/>
                    </a:lnTo>
                    <a:lnTo>
                      <a:pt x="1592" y="1623"/>
                    </a:lnTo>
                    <a:lnTo>
                      <a:pt x="1592" y="1623"/>
                    </a:lnTo>
                    <a:lnTo>
                      <a:pt x="1587" y="1626"/>
                    </a:lnTo>
                    <a:lnTo>
                      <a:pt x="1585" y="1629"/>
                    </a:lnTo>
                    <a:lnTo>
                      <a:pt x="1585" y="1633"/>
                    </a:lnTo>
                    <a:lnTo>
                      <a:pt x="1587" y="1633"/>
                    </a:lnTo>
                    <a:lnTo>
                      <a:pt x="1588" y="1631"/>
                    </a:lnTo>
                    <a:lnTo>
                      <a:pt x="1588" y="1631"/>
                    </a:lnTo>
                    <a:close/>
                    <a:moveTo>
                      <a:pt x="1708" y="1651"/>
                    </a:moveTo>
                    <a:lnTo>
                      <a:pt x="1706" y="1649"/>
                    </a:lnTo>
                    <a:lnTo>
                      <a:pt x="1708" y="1646"/>
                    </a:lnTo>
                    <a:lnTo>
                      <a:pt x="1706" y="1643"/>
                    </a:lnTo>
                    <a:lnTo>
                      <a:pt x="1705" y="1639"/>
                    </a:lnTo>
                    <a:lnTo>
                      <a:pt x="1706" y="1638"/>
                    </a:lnTo>
                    <a:lnTo>
                      <a:pt x="1708" y="1636"/>
                    </a:lnTo>
                    <a:lnTo>
                      <a:pt x="1708" y="1638"/>
                    </a:lnTo>
                    <a:lnTo>
                      <a:pt x="1710" y="1639"/>
                    </a:lnTo>
                    <a:lnTo>
                      <a:pt x="1710" y="1643"/>
                    </a:lnTo>
                    <a:lnTo>
                      <a:pt x="1708" y="1643"/>
                    </a:lnTo>
                    <a:lnTo>
                      <a:pt x="1708" y="1646"/>
                    </a:lnTo>
                    <a:lnTo>
                      <a:pt x="1710" y="1646"/>
                    </a:lnTo>
                    <a:lnTo>
                      <a:pt x="1710" y="1648"/>
                    </a:lnTo>
                    <a:lnTo>
                      <a:pt x="1710" y="1651"/>
                    </a:lnTo>
                    <a:lnTo>
                      <a:pt x="1708" y="1651"/>
                    </a:lnTo>
                    <a:lnTo>
                      <a:pt x="1708" y="1651"/>
                    </a:lnTo>
                    <a:close/>
                    <a:moveTo>
                      <a:pt x="1711" y="1653"/>
                    </a:moveTo>
                    <a:lnTo>
                      <a:pt x="1713" y="1651"/>
                    </a:lnTo>
                    <a:lnTo>
                      <a:pt x="1715" y="1651"/>
                    </a:lnTo>
                    <a:lnTo>
                      <a:pt x="1715" y="1653"/>
                    </a:lnTo>
                    <a:lnTo>
                      <a:pt x="1713" y="1654"/>
                    </a:lnTo>
                    <a:lnTo>
                      <a:pt x="1711" y="1653"/>
                    </a:lnTo>
                    <a:lnTo>
                      <a:pt x="1711" y="1653"/>
                    </a:lnTo>
                    <a:close/>
                    <a:moveTo>
                      <a:pt x="1760" y="1500"/>
                    </a:moveTo>
                    <a:lnTo>
                      <a:pt x="1761" y="1495"/>
                    </a:lnTo>
                    <a:lnTo>
                      <a:pt x="1765" y="1493"/>
                    </a:lnTo>
                    <a:lnTo>
                      <a:pt x="1765" y="1497"/>
                    </a:lnTo>
                    <a:lnTo>
                      <a:pt x="1763" y="1498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lnTo>
                      <a:pt x="1760" y="1500"/>
                    </a:lnTo>
                    <a:close/>
                    <a:moveTo>
                      <a:pt x="1745" y="1531"/>
                    </a:moveTo>
                    <a:lnTo>
                      <a:pt x="1745" y="1533"/>
                    </a:lnTo>
                    <a:lnTo>
                      <a:pt x="1746" y="1535"/>
                    </a:lnTo>
                    <a:lnTo>
                      <a:pt x="1746" y="1533"/>
                    </a:lnTo>
                    <a:lnTo>
                      <a:pt x="1748" y="1533"/>
                    </a:lnTo>
                    <a:lnTo>
                      <a:pt x="1748" y="1531"/>
                    </a:lnTo>
                    <a:lnTo>
                      <a:pt x="1746" y="1531"/>
                    </a:lnTo>
                    <a:lnTo>
                      <a:pt x="1745" y="1531"/>
                    </a:lnTo>
                    <a:lnTo>
                      <a:pt x="1745" y="1531"/>
                    </a:lnTo>
                    <a:close/>
                    <a:moveTo>
                      <a:pt x="1770" y="1568"/>
                    </a:moveTo>
                    <a:lnTo>
                      <a:pt x="1768" y="1563"/>
                    </a:lnTo>
                    <a:lnTo>
                      <a:pt x="1768" y="1563"/>
                    </a:lnTo>
                    <a:lnTo>
                      <a:pt x="1770" y="1563"/>
                    </a:lnTo>
                    <a:lnTo>
                      <a:pt x="1771" y="1565"/>
                    </a:lnTo>
                    <a:lnTo>
                      <a:pt x="1773" y="1563"/>
                    </a:lnTo>
                    <a:lnTo>
                      <a:pt x="1775" y="1565"/>
                    </a:lnTo>
                    <a:lnTo>
                      <a:pt x="1775" y="1566"/>
                    </a:lnTo>
                    <a:lnTo>
                      <a:pt x="1773" y="1568"/>
                    </a:lnTo>
                    <a:lnTo>
                      <a:pt x="1773" y="1568"/>
                    </a:lnTo>
                    <a:lnTo>
                      <a:pt x="1770" y="1568"/>
                    </a:lnTo>
                    <a:lnTo>
                      <a:pt x="1770" y="1568"/>
                    </a:lnTo>
                    <a:close/>
                    <a:moveTo>
                      <a:pt x="1758" y="1568"/>
                    </a:moveTo>
                    <a:lnTo>
                      <a:pt x="1761" y="1568"/>
                    </a:lnTo>
                    <a:lnTo>
                      <a:pt x="1763" y="1568"/>
                    </a:lnTo>
                    <a:lnTo>
                      <a:pt x="1763" y="1565"/>
                    </a:lnTo>
                    <a:lnTo>
                      <a:pt x="1763" y="1565"/>
                    </a:lnTo>
                    <a:lnTo>
                      <a:pt x="1765" y="1565"/>
                    </a:lnTo>
                    <a:lnTo>
                      <a:pt x="1765" y="1566"/>
                    </a:lnTo>
                    <a:lnTo>
                      <a:pt x="1763" y="1570"/>
                    </a:lnTo>
                    <a:lnTo>
                      <a:pt x="1760" y="1571"/>
                    </a:lnTo>
                    <a:lnTo>
                      <a:pt x="1756" y="1570"/>
                    </a:lnTo>
                    <a:lnTo>
                      <a:pt x="1758" y="1568"/>
                    </a:lnTo>
                    <a:lnTo>
                      <a:pt x="1758" y="1568"/>
                    </a:lnTo>
                    <a:lnTo>
                      <a:pt x="1758" y="1568"/>
                    </a:lnTo>
                    <a:close/>
                    <a:moveTo>
                      <a:pt x="1720" y="1624"/>
                    </a:moveTo>
                    <a:lnTo>
                      <a:pt x="1720" y="1621"/>
                    </a:lnTo>
                    <a:lnTo>
                      <a:pt x="1721" y="1623"/>
                    </a:lnTo>
                    <a:lnTo>
                      <a:pt x="1721" y="1624"/>
                    </a:lnTo>
                    <a:lnTo>
                      <a:pt x="1720" y="1624"/>
                    </a:lnTo>
                    <a:lnTo>
                      <a:pt x="1720" y="1624"/>
                    </a:lnTo>
                    <a:close/>
                    <a:moveTo>
                      <a:pt x="1770" y="1611"/>
                    </a:moveTo>
                    <a:lnTo>
                      <a:pt x="1770" y="1613"/>
                    </a:lnTo>
                    <a:lnTo>
                      <a:pt x="1773" y="1613"/>
                    </a:lnTo>
                    <a:lnTo>
                      <a:pt x="1776" y="1613"/>
                    </a:lnTo>
                    <a:lnTo>
                      <a:pt x="1776" y="1611"/>
                    </a:lnTo>
                    <a:lnTo>
                      <a:pt x="1773" y="1611"/>
                    </a:lnTo>
                    <a:lnTo>
                      <a:pt x="1770" y="1611"/>
                    </a:lnTo>
                    <a:lnTo>
                      <a:pt x="1770" y="1611"/>
                    </a:lnTo>
                    <a:close/>
                    <a:moveTo>
                      <a:pt x="1716" y="1528"/>
                    </a:moveTo>
                    <a:lnTo>
                      <a:pt x="1713" y="1530"/>
                    </a:lnTo>
                    <a:lnTo>
                      <a:pt x="1710" y="1533"/>
                    </a:lnTo>
                    <a:lnTo>
                      <a:pt x="1706" y="1533"/>
                    </a:lnTo>
                    <a:lnTo>
                      <a:pt x="1708" y="1535"/>
                    </a:lnTo>
                    <a:lnTo>
                      <a:pt x="1706" y="1536"/>
                    </a:lnTo>
                    <a:lnTo>
                      <a:pt x="1705" y="1536"/>
                    </a:lnTo>
                    <a:lnTo>
                      <a:pt x="1705" y="1540"/>
                    </a:lnTo>
                    <a:lnTo>
                      <a:pt x="1706" y="1540"/>
                    </a:lnTo>
                    <a:lnTo>
                      <a:pt x="1705" y="1541"/>
                    </a:lnTo>
                    <a:lnTo>
                      <a:pt x="1701" y="1541"/>
                    </a:lnTo>
                    <a:lnTo>
                      <a:pt x="1700" y="1545"/>
                    </a:lnTo>
                    <a:lnTo>
                      <a:pt x="1700" y="1546"/>
                    </a:lnTo>
                    <a:lnTo>
                      <a:pt x="1700" y="1546"/>
                    </a:lnTo>
                    <a:lnTo>
                      <a:pt x="1701" y="1546"/>
                    </a:lnTo>
                    <a:lnTo>
                      <a:pt x="1700" y="1548"/>
                    </a:lnTo>
                    <a:lnTo>
                      <a:pt x="1696" y="1548"/>
                    </a:lnTo>
                    <a:lnTo>
                      <a:pt x="1693" y="1553"/>
                    </a:lnTo>
                    <a:lnTo>
                      <a:pt x="1693" y="1555"/>
                    </a:lnTo>
                    <a:lnTo>
                      <a:pt x="1688" y="1561"/>
                    </a:lnTo>
                    <a:lnTo>
                      <a:pt x="1688" y="1565"/>
                    </a:lnTo>
                    <a:lnTo>
                      <a:pt x="1690" y="1566"/>
                    </a:lnTo>
                    <a:lnTo>
                      <a:pt x="1690" y="1568"/>
                    </a:lnTo>
                    <a:lnTo>
                      <a:pt x="1688" y="1568"/>
                    </a:lnTo>
                    <a:lnTo>
                      <a:pt x="1686" y="1566"/>
                    </a:lnTo>
                    <a:lnTo>
                      <a:pt x="1686" y="1568"/>
                    </a:lnTo>
                    <a:lnTo>
                      <a:pt x="1682" y="1570"/>
                    </a:lnTo>
                    <a:lnTo>
                      <a:pt x="1680" y="1571"/>
                    </a:lnTo>
                    <a:lnTo>
                      <a:pt x="1680" y="1573"/>
                    </a:lnTo>
                    <a:lnTo>
                      <a:pt x="1683" y="1575"/>
                    </a:lnTo>
                    <a:lnTo>
                      <a:pt x="1685" y="1576"/>
                    </a:lnTo>
                    <a:lnTo>
                      <a:pt x="1683" y="1576"/>
                    </a:lnTo>
                    <a:lnTo>
                      <a:pt x="1682" y="1580"/>
                    </a:lnTo>
                    <a:lnTo>
                      <a:pt x="1680" y="1581"/>
                    </a:lnTo>
                    <a:lnTo>
                      <a:pt x="1675" y="1580"/>
                    </a:lnTo>
                    <a:lnTo>
                      <a:pt x="1673" y="1581"/>
                    </a:lnTo>
                    <a:lnTo>
                      <a:pt x="1673" y="1583"/>
                    </a:lnTo>
                    <a:lnTo>
                      <a:pt x="1670" y="1586"/>
                    </a:lnTo>
                    <a:lnTo>
                      <a:pt x="1668" y="1590"/>
                    </a:lnTo>
                    <a:lnTo>
                      <a:pt x="1665" y="1593"/>
                    </a:lnTo>
                    <a:lnTo>
                      <a:pt x="1663" y="1593"/>
                    </a:lnTo>
                    <a:lnTo>
                      <a:pt x="1663" y="1590"/>
                    </a:lnTo>
                    <a:lnTo>
                      <a:pt x="1662" y="1593"/>
                    </a:lnTo>
                    <a:lnTo>
                      <a:pt x="1660" y="1590"/>
                    </a:lnTo>
                    <a:lnTo>
                      <a:pt x="1662" y="1588"/>
                    </a:lnTo>
                    <a:lnTo>
                      <a:pt x="1663" y="1586"/>
                    </a:lnTo>
                    <a:lnTo>
                      <a:pt x="1665" y="1585"/>
                    </a:lnTo>
                    <a:lnTo>
                      <a:pt x="1663" y="1585"/>
                    </a:lnTo>
                    <a:lnTo>
                      <a:pt x="1660" y="1588"/>
                    </a:lnTo>
                    <a:lnTo>
                      <a:pt x="1655" y="1591"/>
                    </a:lnTo>
                    <a:lnTo>
                      <a:pt x="1652" y="1596"/>
                    </a:lnTo>
                    <a:lnTo>
                      <a:pt x="1653" y="1596"/>
                    </a:lnTo>
                    <a:lnTo>
                      <a:pt x="1657" y="1595"/>
                    </a:lnTo>
                    <a:lnTo>
                      <a:pt x="1663" y="1595"/>
                    </a:lnTo>
                    <a:lnTo>
                      <a:pt x="1670" y="1595"/>
                    </a:lnTo>
                    <a:lnTo>
                      <a:pt x="1667" y="1596"/>
                    </a:lnTo>
                    <a:lnTo>
                      <a:pt x="1662" y="1601"/>
                    </a:lnTo>
                    <a:lnTo>
                      <a:pt x="1658" y="1606"/>
                    </a:lnTo>
                    <a:lnTo>
                      <a:pt x="1653" y="1608"/>
                    </a:lnTo>
                    <a:lnTo>
                      <a:pt x="1648" y="1613"/>
                    </a:lnTo>
                    <a:lnTo>
                      <a:pt x="1647" y="1613"/>
                    </a:lnTo>
                    <a:lnTo>
                      <a:pt x="1645" y="1615"/>
                    </a:lnTo>
                    <a:lnTo>
                      <a:pt x="1647" y="1616"/>
                    </a:lnTo>
                    <a:lnTo>
                      <a:pt x="1645" y="1620"/>
                    </a:lnTo>
                    <a:lnTo>
                      <a:pt x="1647" y="1621"/>
                    </a:lnTo>
                    <a:lnTo>
                      <a:pt x="1648" y="1623"/>
                    </a:lnTo>
                    <a:lnTo>
                      <a:pt x="1653" y="1623"/>
                    </a:lnTo>
                    <a:lnTo>
                      <a:pt x="1658" y="1623"/>
                    </a:lnTo>
                    <a:lnTo>
                      <a:pt x="1662" y="1621"/>
                    </a:lnTo>
                    <a:lnTo>
                      <a:pt x="1667" y="1620"/>
                    </a:lnTo>
                    <a:lnTo>
                      <a:pt x="1670" y="1618"/>
                    </a:lnTo>
                    <a:lnTo>
                      <a:pt x="1670" y="1616"/>
                    </a:lnTo>
                    <a:lnTo>
                      <a:pt x="1670" y="1618"/>
                    </a:lnTo>
                    <a:lnTo>
                      <a:pt x="1668" y="1620"/>
                    </a:lnTo>
                    <a:lnTo>
                      <a:pt x="1673" y="1621"/>
                    </a:lnTo>
                    <a:lnTo>
                      <a:pt x="1677" y="1620"/>
                    </a:lnTo>
                    <a:lnTo>
                      <a:pt x="1678" y="1621"/>
                    </a:lnTo>
                    <a:lnTo>
                      <a:pt x="1685" y="1623"/>
                    </a:lnTo>
                    <a:lnTo>
                      <a:pt x="1688" y="1621"/>
                    </a:lnTo>
                    <a:lnTo>
                      <a:pt x="1690" y="1623"/>
                    </a:lnTo>
                    <a:lnTo>
                      <a:pt x="1691" y="1624"/>
                    </a:lnTo>
                    <a:lnTo>
                      <a:pt x="1695" y="1624"/>
                    </a:lnTo>
                    <a:lnTo>
                      <a:pt x="1696" y="1624"/>
                    </a:lnTo>
                    <a:lnTo>
                      <a:pt x="1698" y="1626"/>
                    </a:lnTo>
                    <a:lnTo>
                      <a:pt x="1700" y="1626"/>
                    </a:lnTo>
                    <a:lnTo>
                      <a:pt x="1703" y="1624"/>
                    </a:lnTo>
                    <a:lnTo>
                      <a:pt x="1703" y="1623"/>
                    </a:lnTo>
                    <a:lnTo>
                      <a:pt x="1706" y="1623"/>
                    </a:lnTo>
                    <a:lnTo>
                      <a:pt x="1708" y="1624"/>
                    </a:lnTo>
                    <a:lnTo>
                      <a:pt x="1710" y="1624"/>
                    </a:lnTo>
                    <a:lnTo>
                      <a:pt x="1711" y="1623"/>
                    </a:lnTo>
                    <a:lnTo>
                      <a:pt x="1713" y="1623"/>
                    </a:lnTo>
                    <a:lnTo>
                      <a:pt x="1716" y="1623"/>
                    </a:lnTo>
                    <a:lnTo>
                      <a:pt x="1716" y="1621"/>
                    </a:lnTo>
                    <a:lnTo>
                      <a:pt x="1716" y="1620"/>
                    </a:lnTo>
                    <a:lnTo>
                      <a:pt x="1716" y="1616"/>
                    </a:lnTo>
                    <a:lnTo>
                      <a:pt x="1718" y="1618"/>
                    </a:lnTo>
                    <a:lnTo>
                      <a:pt x="1720" y="1615"/>
                    </a:lnTo>
                    <a:lnTo>
                      <a:pt x="1721" y="1615"/>
                    </a:lnTo>
                    <a:lnTo>
                      <a:pt x="1720" y="1616"/>
                    </a:lnTo>
                    <a:lnTo>
                      <a:pt x="1718" y="1620"/>
                    </a:lnTo>
                    <a:lnTo>
                      <a:pt x="1720" y="1621"/>
                    </a:lnTo>
                    <a:lnTo>
                      <a:pt x="1720" y="1620"/>
                    </a:lnTo>
                    <a:lnTo>
                      <a:pt x="1723" y="1616"/>
                    </a:lnTo>
                    <a:lnTo>
                      <a:pt x="1725" y="1616"/>
                    </a:lnTo>
                    <a:lnTo>
                      <a:pt x="1725" y="1618"/>
                    </a:lnTo>
                    <a:lnTo>
                      <a:pt x="1723" y="1621"/>
                    </a:lnTo>
                    <a:lnTo>
                      <a:pt x="1723" y="1623"/>
                    </a:lnTo>
                    <a:lnTo>
                      <a:pt x="1726" y="1621"/>
                    </a:lnTo>
                    <a:lnTo>
                      <a:pt x="1726" y="1621"/>
                    </a:lnTo>
                    <a:lnTo>
                      <a:pt x="1726" y="1623"/>
                    </a:lnTo>
                    <a:lnTo>
                      <a:pt x="1721" y="1624"/>
                    </a:lnTo>
                    <a:lnTo>
                      <a:pt x="1718" y="1626"/>
                    </a:lnTo>
                    <a:lnTo>
                      <a:pt x="1718" y="1628"/>
                    </a:lnTo>
                    <a:lnTo>
                      <a:pt x="1720" y="1626"/>
                    </a:lnTo>
                    <a:lnTo>
                      <a:pt x="1723" y="1626"/>
                    </a:lnTo>
                    <a:lnTo>
                      <a:pt x="1723" y="1628"/>
                    </a:lnTo>
                    <a:lnTo>
                      <a:pt x="1726" y="1628"/>
                    </a:lnTo>
                    <a:lnTo>
                      <a:pt x="1728" y="1629"/>
                    </a:lnTo>
                    <a:lnTo>
                      <a:pt x="1730" y="1628"/>
                    </a:lnTo>
                    <a:lnTo>
                      <a:pt x="1731" y="1628"/>
                    </a:lnTo>
                    <a:lnTo>
                      <a:pt x="1733" y="1624"/>
                    </a:lnTo>
                    <a:lnTo>
                      <a:pt x="1733" y="1623"/>
                    </a:lnTo>
                    <a:lnTo>
                      <a:pt x="1735" y="1623"/>
                    </a:lnTo>
                    <a:lnTo>
                      <a:pt x="1738" y="1624"/>
                    </a:lnTo>
                    <a:lnTo>
                      <a:pt x="1741" y="1626"/>
                    </a:lnTo>
                    <a:lnTo>
                      <a:pt x="1743" y="1626"/>
                    </a:lnTo>
                    <a:lnTo>
                      <a:pt x="1746" y="1624"/>
                    </a:lnTo>
                    <a:lnTo>
                      <a:pt x="1750" y="1624"/>
                    </a:lnTo>
                    <a:lnTo>
                      <a:pt x="1746" y="1626"/>
                    </a:lnTo>
                    <a:lnTo>
                      <a:pt x="1746" y="1628"/>
                    </a:lnTo>
                    <a:lnTo>
                      <a:pt x="1741" y="1629"/>
                    </a:lnTo>
                    <a:lnTo>
                      <a:pt x="1738" y="1629"/>
                    </a:lnTo>
                    <a:lnTo>
                      <a:pt x="1735" y="1631"/>
                    </a:lnTo>
                    <a:lnTo>
                      <a:pt x="1735" y="1633"/>
                    </a:lnTo>
                    <a:lnTo>
                      <a:pt x="1735" y="1634"/>
                    </a:lnTo>
                    <a:lnTo>
                      <a:pt x="1733" y="1636"/>
                    </a:lnTo>
                    <a:lnTo>
                      <a:pt x="1730" y="1636"/>
                    </a:lnTo>
                    <a:lnTo>
                      <a:pt x="1728" y="1636"/>
                    </a:lnTo>
                    <a:lnTo>
                      <a:pt x="1728" y="1638"/>
                    </a:lnTo>
                    <a:lnTo>
                      <a:pt x="1726" y="1639"/>
                    </a:lnTo>
                    <a:lnTo>
                      <a:pt x="1721" y="1639"/>
                    </a:lnTo>
                    <a:lnTo>
                      <a:pt x="1718" y="1643"/>
                    </a:lnTo>
                    <a:lnTo>
                      <a:pt x="1718" y="1644"/>
                    </a:lnTo>
                    <a:lnTo>
                      <a:pt x="1718" y="1646"/>
                    </a:lnTo>
                    <a:lnTo>
                      <a:pt x="1720" y="1646"/>
                    </a:lnTo>
                    <a:lnTo>
                      <a:pt x="1723" y="1646"/>
                    </a:lnTo>
                    <a:lnTo>
                      <a:pt x="1725" y="1644"/>
                    </a:lnTo>
                    <a:lnTo>
                      <a:pt x="1725" y="1644"/>
                    </a:lnTo>
                    <a:lnTo>
                      <a:pt x="1728" y="1644"/>
                    </a:lnTo>
                    <a:lnTo>
                      <a:pt x="1728" y="1646"/>
                    </a:lnTo>
                    <a:lnTo>
                      <a:pt x="1730" y="1648"/>
                    </a:lnTo>
                    <a:lnTo>
                      <a:pt x="1733" y="1646"/>
                    </a:lnTo>
                    <a:lnTo>
                      <a:pt x="1735" y="1644"/>
                    </a:lnTo>
                    <a:lnTo>
                      <a:pt x="1736" y="1641"/>
                    </a:lnTo>
                    <a:lnTo>
                      <a:pt x="1736" y="1641"/>
                    </a:lnTo>
                    <a:lnTo>
                      <a:pt x="1738" y="1639"/>
                    </a:lnTo>
                    <a:lnTo>
                      <a:pt x="1738" y="1636"/>
                    </a:lnTo>
                    <a:lnTo>
                      <a:pt x="1740" y="1636"/>
                    </a:lnTo>
                    <a:lnTo>
                      <a:pt x="1745" y="1631"/>
                    </a:lnTo>
                    <a:lnTo>
                      <a:pt x="1746" y="1631"/>
                    </a:lnTo>
                    <a:lnTo>
                      <a:pt x="1748" y="1633"/>
                    </a:lnTo>
                    <a:lnTo>
                      <a:pt x="1751" y="1631"/>
                    </a:lnTo>
                    <a:lnTo>
                      <a:pt x="1750" y="1633"/>
                    </a:lnTo>
                    <a:lnTo>
                      <a:pt x="1751" y="1633"/>
                    </a:lnTo>
                    <a:lnTo>
                      <a:pt x="1753" y="1631"/>
                    </a:lnTo>
                    <a:lnTo>
                      <a:pt x="1755" y="1626"/>
                    </a:lnTo>
                    <a:lnTo>
                      <a:pt x="1758" y="1623"/>
                    </a:lnTo>
                    <a:lnTo>
                      <a:pt x="1758" y="1618"/>
                    </a:lnTo>
                    <a:lnTo>
                      <a:pt x="1758" y="1618"/>
                    </a:lnTo>
                    <a:lnTo>
                      <a:pt x="1760" y="1618"/>
                    </a:lnTo>
                    <a:lnTo>
                      <a:pt x="1761" y="1620"/>
                    </a:lnTo>
                    <a:lnTo>
                      <a:pt x="1763" y="1620"/>
                    </a:lnTo>
                    <a:lnTo>
                      <a:pt x="1765" y="1621"/>
                    </a:lnTo>
                    <a:lnTo>
                      <a:pt x="1766" y="1624"/>
                    </a:lnTo>
                    <a:lnTo>
                      <a:pt x="1765" y="1628"/>
                    </a:lnTo>
                    <a:lnTo>
                      <a:pt x="1765" y="1631"/>
                    </a:lnTo>
                    <a:lnTo>
                      <a:pt x="1765" y="1633"/>
                    </a:lnTo>
                    <a:lnTo>
                      <a:pt x="1765" y="1634"/>
                    </a:lnTo>
                    <a:lnTo>
                      <a:pt x="1761" y="1638"/>
                    </a:lnTo>
                    <a:lnTo>
                      <a:pt x="1758" y="1644"/>
                    </a:lnTo>
                    <a:lnTo>
                      <a:pt x="1758" y="1646"/>
                    </a:lnTo>
                    <a:lnTo>
                      <a:pt x="1756" y="1648"/>
                    </a:lnTo>
                    <a:lnTo>
                      <a:pt x="1756" y="1649"/>
                    </a:lnTo>
                    <a:lnTo>
                      <a:pt x="1760" y="1651"/>
                    </a:lnTo>
                    <a:lnTo>
                      <a:pt x="1763" y="1649"/>
                    </a:lnTo>
                    <a:lnTo>
                      <a:pt x="1766" y="1643"/>
                    </a:lnTo>
                    <a:lnTo>
                      <a:pt x="1768" y="1643"/>
                    </a:lnTo>
                    <a:lnTo>
                      <a:pt x="1771" y="1639"/>
                    </a:lnTo>
                    <a:lnTo>
                      <a:pt x="1773" y="1638"/>
                    </a:lnTo>
                    <a:lnTo>
                      <a:pt x="1773" y="1639"/>
                    </a:lnTo>
                    <a:lnTo>
                      <a:pt x="1778" y="1639"/>
                    </a:lnTo>
                    <a:lnTo>
                      <a:pt x="1778" y="1639"/>
                    </a:lnTo>
                    <a:lnTo>
                      <a:pt x="1775" y="1641"/>
                    </a:lnTo>
                    <a:lnTo>
                      <a:pt x="1770" y="1644"/>
                    </a:lnTo>
                    <a:lnTo>
                      <a:pt x="1770" y="1648"/>
                    </a:lnTo>
                    <a:lnTo>
                      <a:pt x="1770" y="1649"/>
                    </a:lnTo>
                    <a:lnTo>
                      <a:pt x="1770" y="1651"/>
                    </a:lnTo>
                    <a:lnTo>
                      <a:pt x="1771" y="1656"/>
                    </a:lnTo>
                    <a:lnTo>
                      <a:pt x="1773" y="1658"/>
                    </a:lnTo>
                    <a:lnTo>
                      <a:pt x="1775" y="1654"/>
                    </a:lnTo>
                    <a:lnTo>
                      <a:pt x="1776" y="1653"/>
                    </a:lnTo>
                    <a:lnTo>
                      <a:pt x="1776" y="1653"/>
                    </a:lnTo>
                    <a:lnTo>
                      <a:pt x="1778" y="1653"/>
                    </a:lnTo>
                    <a:lnTo>
                      <a:pt x="1778" y="1653"/>
                    </a:lnTo>
                    <a:lnTo>
                      <a:pt x="1780" y="1654"/>
                    </a:lnTo>
                    <a:lnTo>
                      <a:pt x="1783" y="1656"/>
                    </a:lnTo>
                    <a:lnTo>
                      <a:pt x="1786" y="1654"/>
                    </a:lnTo>
                    <a:lnTo>
                      <a:pt x="1786" y="1651"/>
                    </a:lnTo>
                    <a:lnTo>
                      <a:pt x="1786" y="1651"/>
                    </a:lnTo>
                    <a:lnTo>
                      <a:pt x="1788" y="1649"/>
                    </a:lnTo>
                    <a:lnTo>
                      <a:pt x="1788" y="1646"/>
                    </a:lnTo>
                    <a:lnTo>
                      <a:pt x="1789" y="1646"/>
                    </a:lnTo>
                    <a:lnTo>
                      <a:pt x="1789" y="1644"/>
                    </a:lnTo>
                    <a:lnTo>
                      <a:pt x="1788" y="1643"/>
                    </a:lnTo>
                    <a:lnTo>
                      <a:pt x="1789" y="1639"/>
                    </a:lnTo>
                    <a:lnTo>
                      <a:pt x="1793" y="1634"/>
                    </a:lnTo>
                    <a:lnTo>
                      <a:pt x="1796" y="1629"/>
                    </a:lnTo>
                    <a:lnTo>
                      <a:pt x="1796" y="1624"/>
                    </a:lnTo>
                    <a:lnTo>
                      <a:pt x="1794" y="1621"/>
                    </a:lnTo>
                    <a:lnTo>
                      <a:pt x="1793" y="1621"/>
                    </a:lnTo>
                    <a:lnTo>
                      <a:pt x="1793" y="1623"/>
                    </a:lnTo>
                    <a:lnTo>
                      <a:pt x="1791" y="1626"/>
                    </a:lnTo>
                    <a:lnTo>
                      <a:pt x="1789" y="1628"/>
                    </a:lnTo>
                    <a:lnTo>
                      <a:pt x="1786" y="1631"/>
                    </a:lnTo>
                    <a:lnTo>
                      <a:pt x="1784" y="1631"/>
                    </a:lnTo>
                    <a:lnTo>
                      <a:pt x="1783" y="1629"/>
                    </a:lnTo>
                    <a:lnTo>
                      <a:pt x="1783" y="1626"/>
                    </a:lnTo>
                    <a:lnTo>
                      <a:pt x="1783" y="1623"/>
                    </a:lnTo>
                    <a:lnTo>
                      <a:pt x="1786" y="1620"/>
                    </a:lnTo>
                    <a:lnTo>
                      <a:pt x="1788" y="1618"/>
                    </a:lnTo>
                    <a:lnTo>
                      <a:pt x="1791" y="1616"/>
                    </a:lnTo>
                    <a:lnTo>
                      <a:pt x="1793" y="1616"/>
                    </a:lnTo>
                    <a:lnTo>
                      <a:pt x="1794" y="1615"/>
                    </a:lnTo>
                    <a:lnTo>
                      <a:pt x="1793" y="1613"/>
                    </a:lnTo>
                    <a:lnTo>
                      <a:pt x="1791" y="1615"/>
                    </a:lnTo>
                    <a:lnTo>
                      <a:pt x="1789" y="1615"/>
                    </a:lnTo>
                    <a:lnTo>
                      <a:pt x="1786" y="1616"/>
                    </a:lnTo>
                    <a:lnTo>
                      <a:pt x="1784" y="1616"/>
                    </a:lnTo>
                    <a:lnTo>
                      <a:pt x="1781" y="1620"/>
                    </a:lnTo>
                    <a:lnTo>
                      <a:pt x="1781" y="1621"/>
                    </a:lnTo>
                    <a:lnTo>
                      <a:pt x="1776" y="1624"/>
                    </a:lnTo>
                    <a:lnTo>
                      <a:pt x="1775" y="1626"/>
                    </a:lnTo>
                    <a:lnTo>
                      <a:pt x="1773" y="1628"/>
                    </a:lnTo>
                    <a:lnTo>
                      <a:pt x="1770" y="1624"/>
                    </a:lnTo>
                    <a:lnTo>
                      <a:pt x="1770" y="1623"/>
                    </a:lnTo>
                    <a:lnTo>
                      <a:pt x="1768" y="1620"/>
                    </a:lnTo>
                    <a:lnTo>
                      <a:pt x="1768" y="1618"/>
                    </a:lnTo>
                    <a:lnTo>
                      <a:pt x="1770" y="1620"/>
                    </a:lnTo>
                    <a:lnTo>
                      <a:pt x="1771" y="1620"/>
                    </a:lnTo>
                    <a:lnTo>
                      <a:pt x="1775" y="1616"/>
                    </a:lnTo>
                    <a:lnTo>
                      <a:pt x="1771" y="1616"/>
                    </a:lnTo>
                    <a:lnTo>
                      <a:pt x="1768" y="1615"/>
                    </a:lnTo>
                    <a:lnTo>
                      <a:pt x="1771" y="1615"/>
                    </a:lnTo>
                    <a:lnTo>
                      <a:pt x="1775" y="1615"/>
                    </a:lnTo>
                    <a:lnTo>
                      <a:pt x="1771" y="1615"/>
                    </a:lnTo>
                    <a:lnTo>
                      <a:pt x="1770" y="1613"/>
                    </a:lnTo>
                    <a:lnTo>
                      <a:pt x="1770" y="1610"/>
                    </a:lnTo>
                    <a:lnTo>
                      <a:pt x="1770" y="1610"/>
                    </a:lnTo>
                    <a:lnTo>
                      <a:pt x="1775" y="1610"/>
                    </a:lnTo>
                    <a:lnTo>
                      <a:pt x="1776" y="1608"/>
                    </a:lnTo>
                    <a:lnTo>
                      <a:pt x="1780" y="1606"/>
                    </a:lnTo>
                    <a:lnTo>
                      <a:pt x="1781" y="1603"/>
                    </a:lnTo>
                    <a:lnTo>
                      <a:pt x="1784" y="1603"/>
                    </a:lnTo>
                    <a:lnTo>
                      <a:pt x="1786" y="1603"/>
                    </a:lnTo>
                    <a:lnTo>
                      <a:pt x="1789" y="1601"/>
                    </a:lnTo>
                    <a:lnTo>
                      <a:pt x="1791" y="1598"/>
                    </a:lnTo>
                    <a:lnTo>
                      <a:pt x="1791" y="1595"/>
                    </a:lnTo>
                    <a:lnTo>
                      <a:pt x="1789" y="1593"/>
                    </a:lnTo>
                    <a:lnTo>
                      <a:pt x="1786" y="1596"/>
                    </a:lnTo>
                    <a:lnTo>
                      <a:pt x="1784" y="1598"/>
                    </a:lnTo>
                    <a:lnTo>
                      <a:pt x="1784" y="1596"/>
                    </a:lnTo>
                    <a:lnTo>
                      <a:pt x="1781" y="1596"/>
                    </a:lnTo>
                    <a:lnTo>
                      <a:pt x="1781" y="1598"/>
                    </a:lnTo>
                    <a:lnTo>
                      <a:pt x="1781" y="1600"/>
                    </a:lnTo>
                    <a:lnTo>
                      <a:pt x="1780" y="1601"/>
                    </a:lnTo>
                    <a:lnTo>
                      <a:pt x="1776" y="1601"/>
                    </a:lnTo>
                    <a:lnTo>
                      <a:pt x="1775" y="1603"/>
                    </a:lnTo>
                    <a:lnTo>
                      <a:pt x="1771" y="1605"/>
                    </a:lnTo>
                    <a:lnTo>
                      <a:pt x="1771" y="1606"/>
                    </a:lnTo>
                    <a:lnTo>
                      <a:pt x="1770" y="1608"/>
                    </a:lnTo>
                    <a:lnTo>
                      <a:pt x="1770" y="1606"/>
                    </a:lnTo>
                    <a:lnTo>
                      <a:pt x="1771" y="1603"/>
                    </a:lnTo>
                    <a:lnTo>
                      <a:pt x="1770" y="1605"/>
                    </a:lnTo>
                    <a:lnTo>
                      <a:pt x="1766" y="1605"/>
                    </a:lnTo>
                    <a:lnTo>
                      <a:pt x="1770" y="1603"/>
                    </a:lnTo>
                    <a:lnTo>
                      <a:pt x="1771" y="1601"/>
                    </a:lnTo>
                    <a:lnTo>
                      <a:pt x="1773" y="1600"/>
                    </a:lnTo>
                    <a:lnTo>
                      <a:pt x="1771" y="1598"/>
                    </a:lnTo>
                    <a:lnTo>
                      <a:pt x="1773" y="1596"/>
                    </a:lnTo>
                    <a:lnTo>
                      <a:pt x="1775" y="1593"/>
                    </a:lnTo>
                    <a:lnTo>
                      <a:pt x="1773" y="1593"/>
                    </a:lnTo>
                    <a:lnTo>
                      <a:pt x="1771" y="1595"/>
                    </a:lnTo>
                    <a:lnTo>
                      <a:pt x="1771" y="1593"/>
                    </a:lnTo>
                    <a:lnTo>
                      <a:pt x="1771" y="1590"/>
                    </a:lnTo>
                    <a:lnTo>
                      <a:pt x="1771" y="1590"/>
                    </a:lnTo>
                    <a:lnTo>
                      <a:pt x="1768" y="1591"/>
                    </a:lnTo>
                    <a:lnTo>
                      <a:pt x="1763" y="1590"/>
                    </a:lnTo>
                    <a:lnTo>
                      <a:pt x="1768" y="1590"/>
                    </a:lnTo>
                    <a:lnTo>
                      <a:pt x="1770" y="1590"/>
                    </a:lnTo>
                    <a:lnTo>
                      <a:pt x="1773" y="1588"/>
                    </a:lnTo>
                    <a:lnTo>
                      <a:pt x="1776" y="1586"/>
                    </a:lnTo>
                    <a:lnTo>
                      <a:pt x="1778" y="1585"/>
                    </a:lnTo>
                    <a:lnTo>
                      <a:pt x="1780" y="1585"/>
                    </a:lnTo>
                    <a:lnTo>
                      <a:pt x="1783" y="1583"/>
                    </a:lnTo>
                    <a:lnTo>
                      <a:pt x="1783" y="1581"/>
                    </a:lnTo>
                    <a:lnTo>
                      <a:pt x="1784" y="1580"/>
                    </a:lnTo>
                    <a:lnTo>
                      <a:pt x="1784" y="1576"/>
                    </a:lnTo>
                    <a:lnTo>
                      <a:pt x="1781" y="1575"/>
                    </a:lnTo>
                    <a:lnTo>
                      <a:pt x="1778" y="1571"/>
                    </a:lnTo>
                    <a:lnTo>
                      <a:pt x="1775" y="1571"/>
                    </a:lnTo>
                    <a:lnTo>
                      <a:pt x="1770" y="1573"/>
                    </a:lnTo>
                    <a:lnTo>
                      <a:pt x="1768" y="1573"/>
                    </a:lnTo>
                    <a:lnTo>
                      <a:pt x="1768" y="1575"/>
                    </a:lnTo>
                    <a:lnTo>
                      <a:pt x="1766" y="1578"/>
                    </a:lnTo>
                    <a:lnTo>
                      <a:pt x="1765" y="1581"/>
                    </a:lnTo>
                    <a:lnTo>
                      <a:pt x="1763" y="1583"/>
                    </a:lnTo>
                    <a:lnTo>
                      <a:pt x="1765" y="1581"/>
                    </a:lnTo>
                    <a:lnTo>
                      <a:pt x="1765" y="1578"/>
                    </a:lnTo>
                    <a:lnTo>
                      <a:pt x="1763" y="1576"/>
                    </a:lnTo>
                    <a:lnTo>
                      <a:pt x="1765" y="1575"/>
                    </a:lnTo>
                    <a:lnTo>
                      <a:pt x="1766" y="1571"/>
                    </a:lnTo>
                    <a:lnTo>
                      <a:pt x="1765" y="1571"/>
                    </a:lnTo>
                    <a:lnTo>
                      <a:pt x="1761" y="1573"/>
                    </a:lnTo>
                    <a:lnTo>
                      <a:pt x="1760" y="1575"/>
                    </a:lnTo>
                    <a:lnTo>
                      <a:pt x="1758" y="1576"/>
                    </a:lnTo>
                    <a:lnTo>
                      <a:pt x="1756" y="1575"/>
                    </a:lnTo>
                    <a:lnTo>
                      <a:pt x="1755" y="1576"/>
                    </a:lnTo>
                    <a:lnTo>
                      <a:pt x="1751" y="1578"/>
                    </a:lnTo>
                    <a:lnTo>
                      <a:pt x="1751" y="1576"/>
                    </a:lnTo>
                    <a:lnTo>
                      <a:pt x="1748" y="1578"/>
                    </a:lnTo>
                    <a:lnTo>
                      <a:pt x="1746" y="1583"/>
                    </a:lnTo>
                    <a:lnTo>
                      <a:pt x="1743" y="1585"/>
                    </a:lnTo>
                    <a:lnTo>
                      <a:pt x="1746" y="1581"/>
                    </a:lnTo>
                    <a:lnTo>
                      <a:pt x="1746" y="1576"/>
                    </a:lnTo>
                    <a:lnTo>
                      <a:pt x="1750" y="1573"/>
                    </a:lnTo>
                    <a:lnTo>
                      <a:pt x="1748" y="1573"/>
                    </a:lnTo>
                    <a:lnTo>
                      <a:pt x="1746" y="1573"/>
                    </a:lnTo>
                    <a:lnTo>
                      <a:pt x="1745" y="1575"/>
                    </a:lnTo>
                    <a:lnTo>
                      <a:pt x="1741" y="1578"/>
                    </a:lnTo>
                    <a:lnTo>
                      <a:pt x="1741" y="1576"/>
                    </a:lnTo>
                    <a:lnTo>
                      <a:pt x="1743" y="1575"/>
                    </a:lnTo>
                    <a:lnTo>
                      <a:pt x="1743" y="1573"/>
                    </a:lnTo>
                    <a:lnTo>
                      <a:pt x="1743" y="1571"/>
                    </a:lnTo>
                    <a:lnTo>
                      <a:pt x="1740" y="1573"/>
                    </a:lnTo>
                    <a:lnTo>
                      <a:pt x="1736" y="1575"/>
                    </a:lnTo>
                    <a:lnTo>
                      <a:pt x="1735" y="1575"/>
                    </a:lnTo>
                    <a:lnTo>
                      <a:pt x="1733" y="1571"/>
                    </a:lnTo>
                    <a:lnTo>
                      <a:pt x="1731" y="1571"/>
                    </a:lnTo>
                    <a:lnTo>
                      <a:pt x="1728" y="1575"/>
                    </a:lnTo>
                    <a:lnTo>
                      <a:pt x="1726" y="1573"/>
                    </a:lnTo>
                    <a:lnTo>
                      <a:pt x="1726" y="1573"/>
                    </a:lnTo>
                    <a:lnTo>
                      <a:pt x="1730" y="1570"/>
                    </a:lnTo>
                    <a:lnTo>
                      <a:pt x="1733" y="1566"/>
                    </a:lnTo>
                    <a:lnTo>
                      <a:pt x="1733" y="1563"/>
                    </a:lnTo>
                    <a:lnTo>
                      <a:pt x="1731" y="1565"/>
                    </a:lnTo>
                    <a:lnTo>
                      <a:pt x="1730" y="1565"/>
                    </a:lnTo>
                    <a:lnTo>
                      <a:pt x="1726" y="1566"/>
                    </a:lnTo>
                    <a:lnTo>
                      <a:pt x="1728" y="1565"/>
                    </a:lnTo>
                    <a:lnTo>
                      <a:pt x="1733" y="1561"/>
                    </a:lnTo>
                    <a:lnTo>
                      <a:pt x="1736" y="1561"/>
                    </a:lnTo>
                    <a:lnTo>
                      <a:pt x="1738" y="1560"/>
                    </a:lnTo>
                    <a:lnTo>
                      <a:pt x="1741" y="1560"/>
                    </a:lnTo>
                    <a:lnTo>
                      <a:pt x="1745" y="1556"/>
                    </a:lnTo>
                    <a:lnTo>
                      <a:pt x="1745" y="1555"/>
                    </a:lnTo>
                    <a:lnTo>
                      <a:pt x="1743" y="1556"/>
                    </a:lnTo>
                    <a:lnTo>
                      <a:pt x="1738" y="1556"/>
                    </a:lnTo>
                    <a:lnTo>
                      <a:pt x="1736" y="1556"/>
                    </a:lnTo>
                    <a:lnTo>
                      <a:pt x="1733" y="1553"/>
                    </a:lnTo>
                    <a:lnTo>
                      <a:pt x="1731" y="1555"/>
                    </a:lnTo>
                    <a:lnTo>
                      <a:pt x="1728" y="1555"/>
                    </a:lnTo>
                    <a:lnTo>
                      <a:pt x="1730" y="1551"/>
                    </a:lnTo>
                    <a:lnTo>
                      <a:pt x="1731" y="1551"/>
                    </a:lnTo>
                    <a:lnTo>
                      <a:pt x="1731" y="1550"/>
                    </a:lnTo>
                    <a:lnTo>
                      <a:pt x="1730" y="1550"/>
                    </a:lnTo>
                    <a:lnTo>
                      <a:pt x="1726" y="1553"/>
                    </a:lnTo>
                    <a:lnTo>
                      <a:pt x="1725" y="1555"/>
                    </a:lnTo>
                    <a:lnTo>
                      <a:pt x="1721" y="1558"/>
                    </a:lnTo>
                    <a:lnTo>
                      <a:pt x="1718" y="1560"/>
                    </a:lnTo>
                    <a:lnTo>
                      <a:pt x="1718" y="1561"/>
                    </a:lnTo>
                    <a:lnTo>
                      <a:pt x="1715" y="1563"/>
                    </a:lnTo>
                    <a:lnTo>
                      <a:pt x="1711" y="1566"/>
                    </a:lnTo>
                    <a:lnTo>
                      <a:pt x="1711" y="1563"/>
                    </a:lnTo>
                    <a:lnTo>
                      <a:pt x="1713" y="1560"/>
                    </a:lnTo>
                    <a:lnTo>
                      <a:pt x="1715" y="1556"/>
                    </a:lnTo>
                    <a:lnTo>
                      <a:pt x="1715" y="1555"/>
                    </a:lnTo>
                    <a:lnTo>
                      <a:pt x="1716" y="1551"/>
                    </a:lnTo>
                    <a:lnTo>
                      <a:pt x="1720" y="1548"/>
                    </a:lnTo>
                    <a:lnTo>
                      <a:pt x="1720" y="1546"/>
                    </a:lnTo>
                    <a:lnTo>
                      <a:pt x="1723" y="1545"/>
                    </a:lnTo>
                    <a:lnTo>
                      <a:pt x="1723" y="1543"/>
                    </a:lnTo>
                    <a:lnTo>
                      <a:pt x="1726" y="1540"/>
                    </a:lnTo>
                    <a:lnTo>
                      <a:pt x="1728" y="1538"/>
                    </a:lnTo>
                    <a:lnTo>
                      <a:pt x="1730" y="1535"/>
                    </a:lnTo>
                    <a:lnTo>
                      <a:pt x="1733" y="1535"/>
                    </a:lnTo>
                    <a:lnTo>
                      <a:pt x="1733" y="1533"/>
                    </a:lnTo>
                    <a:lnTo>
                      <a:pt x="1733" y="1531"/>
                    </a:lnTo>
                    <a:lnTo>
                      <a:pt x="1735" y="1528"/>
                    </a:lnTo>
                    <a:lnTo>
                      <a:pt x="1736" y="1526"/>
                    </a:lnTo>
                    <a:lnTo>
                      <a:pt x="1736" y="1528"/>
                    </a:lnTo>
                    <a:lnTo>
                      <a:pt x="1735" y="1530"/>
                    </a:lnTo>
                    <a:lnTo>
                      <a:pt x="1736" y="1533"/>
                    </a:lnTo>
                    <a:lnTo>
                      <a:pt x="1740" y="1528"/>
                    </a:lnTo>
                    <a:lnTo>
                      <a:pt x="1745" y="1525"/>
                    </a:lnTo>
                    <a:lnTo>
                      <a:pt x="1745" y="1522"/>
                    </a:lnTo>
                    <a:lnTo>
                      <a:pt x="1743" y="1520"/>
                    </a:lnTo>
                    <a:lnTo>
                      <a:pt x="1741" y="1520"/>
                    </a:lnTo>
                    <a:lnTo>
                      <a:pt x="1740" y="1522"/>
                    </a:lnTo>
                    <a:lnTo>
                      <a:pt x="1740" y="1518"/>
                    </a:lnTo>
                    <a:lnTo>
                      <a:pt x="1738" y="1517"/>
                    </a:lnTo>
                    <a:lnTo>
                      <a:pt x="1738" y="1515"/>
                    </a:lnTo>
                    <a:lnTo>
                      <a:pt x="1741" y="1515"/>
                    </a:lnTo>
                    <a:lnTo>
                      <a:pt x="1745" y="1515"/>
                    </a:lnTo>
                    <a:lnTo>
                      <a:pt x="1748" y="1517"/>
                    </a:lnTo>
                    <a:lnTo>
                      <a:pt x="1750" y="1517"/>
                    </a:lnTo>
                    <a:lnTo>
                      <a:pt x="1751" y="1513"/>
                    </a:lnTo>
                    <a:lnTo>
                      <a:pt x="1751" y="1508"/>
                    </a:lnTo>
                    <a:lnTo>
                      <a:pt x="1748" y="1508"/>
                    </a:lnTo>
                    <a:lnTo>
                      <a:pt x="1746" y="1510"/>
                    </a:lnTo>
                    <a:lnTo>
                      <a:pt x="1746" y="1512"/>
                    </a:lnTo>
                    <a:lnTo>
                      <a:pt x="1745" y="1512"/>
                    </a:lnTo>
                    <a:lnTo>
                      <a:pt x="1745" y="1508"/>
                    </a:lnTo>
                    <a:lnTo>
                      <a:pt x="1745" y="1507"/>
                    </a:lnTo>
                    <a:lnTo>
                      <a:pt x="1741" y="1508"/>
                    </a:lnTo>
                    <a:lnTo>
                      <a:pt x="1740" y="1512"/>
                    </a:lnTo>
                    <a:lnTo>
                      <a:pt x="1736" y="1512"/>
                    </a:lnTo>
                    <a:lnTo>
                      <a:pt x="1735" y="1513"/>
                    </a:lnTo>
                    <a:lnTo>
                      <a:pt x="1731" y="1515"/>
                    </a:lnTo>
                    <a:lnTo>
                      <a:pt x="1728" y="1515"/>
                    </a:lnTo>
                    <a:lnTo>
                      <a:pt x="1725" y="1517"/>
                    </a:lnTo>
                    <a:lnTo>
                      <a:pt x="1720" y="1520"/>
                    </a:lnTo>
                    <a:lnTo>
                      <a:pt x="1720" y="1523"/>
                    </a:lnTo>
                    <a:lnTo>
                      <a:pt x="1718" y="1523"/>
                    </a:lnTo>
                    <a:lnTo>
                      <a:pt x="1715" y="1523"/>
                    </a:lnTo>
                    <a:lnTo>
                      <a:pt x="1715" y="1525"/>
                    </a:lnTo>
                    <a:lnTo>
                      <a:pt x="1716" y="1525"/>
                    </a:lnTo>
                    <a:lnTo>
                      <a:pt x="1716" y="1528"/>
                    </a:lnTo>
                    <a:lnTo>
                      <a:pt x="1716" y="1528"/>
                    </a:lnTo>
                    <a:close/>
                    <a:moveTo>
                      <a:pt x="1560" y="1568"/>
                    </a:moveTo>
                    <a:lnTo>
                      <a:pt x="1564" y="1568"/>
                    </a:lnTo>
                    <a:lnTo>
                      <a:pt x="1572" y="1575"/>
                    </a:lnTo>
                    <a:lnTo>
                      <a:pt x="1579" y="1575"/>
                    </a:lnTo>
                    <a:lnTo>
                      <a:pt x="1583" y="1575"/>
                    </a:lnTo>
                    <a:lnTo>
                      <a:pt x="1587" y="1578"/>
                    </a:lnTo>
                    <a:lnTo>
                      <a:pt x="1590" y="1578"/>
                    </a:lnTo>
                    <a:lnTo>
                      <a:pt x="1595" y="1580"/>
                    </a:lnTo>
                    <a:lnTo>
                      <a:pt x="1600" y="1578"/>
                    </a:lnTo>
                    <a:lnTo>
                      <a:pt x="1602" y="1576"/>
                    </a:lnTo>
                    <a:lnTo>
                      <a:pt x="1598" y="1573"/>
                    </a:lnTo>
                    <a:lnTo>
                      <a:pt x="1597" y="1571"/>
                    </a:lnTo>
                    <a:lnTo>
                      <a:pt x="1595" y="1570"/>
                    </a:lnTo>
                    <a:lnTo>
                      <a:pt x="1592" y="1568"/>
                    </a:lnTo>
                    <a:lnTo>
                      <a:pt x="1588" y="1565"/>
                    </a:lnTo>
                    <a:lnTo>
                      <a:pt x="1582" y="1561"/>
                    </a:lnTo>
                    <a:lnTo>
                      <a:pt x="1580" y="1560"/>
                    </a:lnTo>
                    <a:lnTo>
                      <a:pt x="1575" y="1556"/>
                    </a:lnTo>
                    <a:lnTo>
                      <a:pt x="1570" y="1553"/>
                    </a:lnTo>
                    <a:lnTo>
                      <a:pt x="1564" y="1553"/>
                    </a:lnTo>
                    <a:lnTo>
                      <a:pt x="1552" y="1550"/>
                    </a:lnTo>
                    <a:lnTo>
                      <a:pt x="1549" y="1548"/>
                    </a:lnTo>
                    <a:lnTo>
                      <a:pt x="1544" y="1551"/>
                    </a:lnTo>
                    <a:lnTo>
                      <a:pt x="1545" y="1555"/>
                    </a:lnTo>
                    <a:lnTo>
                      <a:pt x="1550" y="1556"/>
                    </a:lnTo>
                    <a:lnTo>
                      <a:pt x="1559" y="1561"/>
                    </a:lnTo>
                    <a:lnTo>
                      <a:pt x="1559" y="1566"/>
                    </a:lnTo>
                    <a:lnTo>
                      <a:pt x="1560" y="1568"/>
                    </a:lnTo>
                    <a:lnTo>
                      <a:pt x="1560" y="1568"/>
                    </a:lnTo>
                    <a:close/>
                    <a:moveTo>
                      <a:pt x="1562" y="1668"/>
                    </a:moveTo>
                    <a:lnTo>
                      <a:pt x="1557" y="1666"/>
                    </a:lnTo>
                    <a:lnTo>
                      <a:pt x="1555" y="1661"/>
                    </a:lnTo>
                    <a:lnTo>
                      <a:pt x="1544" y="1659"/>
                    </a:lnTo>
                    <a:lnTo>
                      <a:pt x="1542" y="1658"/>
                    </a:lnTo>
                    <a:lnTo>
                      <a:pt x="1540" y="1656"/>
                    </a:lnTo>
                    <a:lnTo>
                      <a:pt x="1539" y="1653"/>
                    </a:lnTo>
                    <a:lnTo>
                      <a:pt x="1537" y="1653"/>
                    </a:lnTo>
                    <a:lnTo>
                      <a:pt x="1535" y="1651"/>
                    </a:lnTo>
                    <a:lnTo>
                      <a:pt x="1532" y="1649"/>
                    </a:lnTo>
                    <a:lnTo>
                      <a:pt x="1532" y="1646"/>
                    </a:lnTo>
                    <a:lnTo>
                      <a:pt x="1530" y="1644"/>
                    </a:lnTo>
                    <a:lnTo>
                      <a:pt x="1527" y="1644"/>
                    </a:lnTo>
                    <a:lnTo>
                      <a:pt x="1525" y="1644"/>
                    </a:lnTo>
                    <a:lnTo>
                      <a:pt x="1527" y="1639"/>
                    </a:lnTo>
                    <a:lnTo>
                      <a:pt x="1537" y="1634"/>
                    </a:lnTo>
                    <a:lnTo>
                      <a:pt x="1537" y="1638"/>
                    </a:lnTo>
                    <a:lnTo>
                      <a:pt x="1535" y="1641"/>
                    </a:lnTo>
                    <a:lnTo>
                      <a:pt x="1535" y="1643"/>
                    </a:lnTo>
                    <a:lnTo>
                      <a:pt x="1537" y="1644"/>
                    </a:lnTo>
                    <a:lnTo>
                      <a:pt x="1537" y="1648"/>
                    </a:lnTo>
                    <a:lnTo>
                      <a:pt x="1540" y="1651"/>
                    </a:lnTo>
                    <a:lnTo>
                      <a:pt x="1540" y="1648"/>
                    </a:lnTo>
                    <a:lnTo>
                      <a:pt x="1545" y="1648"/>
                    </a:lnTo>
                    <a:lnTo>
                      <a:pt x="1550" y="1653"/>
                    </a:lnTo>
                    <a:lnTo>
                      <a:pt x="1554" y="1653"/>
                    </a:lnTo>
                    <a:lnTo>
                      <a:pt x="1555" y="1654"/>
                    </a:lnTo>
                    <a:lnTo>
                      <a:pt x="1562" y="1654"/>
                    </a:lnTo>
                    <a:lnTo>
                      <a:pt x="1565" y="1651"/>
                    </a:lnTo>
                    <a:lnTo>
                      <a:pt x="1569" y="1653"/>
                    </a:lnTo>
                    <a:lnTo>
                      <a:pt x="1575" y="1653"/>
                    </a:lnTo>
                    <a:lnTo>
                      <a:pt x="1574" y="1654"/>
                    </a:lnTo>
                    <a:lnTo>
                      <a:pt x="1569" y="1656"/>
                    </a:lnTo>
                    <a:lnTo>
                      <a:pt x="1567" y="1659"/>
                    </a:lnTo>
                    <a:lnTo>
                      <a:pt x="1567" y="1663"/>
                    </a:lnTo>
                    <a:lnTo>
                      <a:pt x="1565" y="1666"/>
                    </a:lnTo>
                    <a:lnTo>
                      <a:pt x="1562" y="1668"/>
                    </a:lnTo>
                    <a:lnTo>
                      <a:pt x="1562" y="1668"/>
                    </a:lnTo>
                    <a:close/>
                    <a:moveTo>
                      <a:pt x="1597" y="1683"/>
                    </a:moveTo>
                    <a:lnTo>
                      <a:pt x="1595" y="1679"/>
                    </a:lnTo>
                    <a:lnTo>
                      <a:pt x="1588" y="1676"/>
                    </a:lnTo>
                    <a:lnTo>
                      <a:pt x="1587" y="1669"/>
                    </a:lnTo>
                    <a:lnTo>
                      <a:pt x="1585" y="1668"/>
                    </a:lnTo>
                    <a:lnTo>
                      <a:pt x="1588" y="1664"/>
                    </a:lnTo>
                    <a:lnTo>
                      <a:pt x="1595" y="1661"/>
                    </a:lnTo>
                    <a:lnTo>
                      <a:pt x="1600" y="1654"/>
                    </a:lnTo>
                    <a:lnTo>
                      <a:pt x="1602" y="1651"/>
                    </a:lnTo>
                    <a:lnTo>
                      <a:pt x="1603" y="1648"/>
                    </a:lnTo>
                    <a:lnTo>
                      <a:pt x="1610" y="1643"/>
                    </a:lnTo>
                    <a:lnTo>
                      <a:pt x="1612" y="1639"/>
                    </a:lnTo>
                    <a:lnTo>
                      <a:pt x="1615" y="1639"/>
                    </a:lnTo>
                    <a:lnTo>
                      <a:pt x="1617" y="1641"/>
                    </a:lnTo>
                    <a:lnTo>
                      <a:pt x="1613" y="1644"/>
                    </a:lnTo>
                    <a:lnTo>
                      <a:pt x="1618" y="1644"/>
                    </a:lnTo>
                    <a:lnTo>
                      <a:pt x="1618" y="1648"/>
                    </a:lnTo>
                    <a:lnTo>
                      <a:pt x="1613" y="1656"/>
                    </a:lnTo>
                    <a:lnTo>
                      <a:pt x="1610" y="1658"/>
                    </a:lnTo>
                    <a:lnTo>
                      <a:pt x="1615" y="1659"/>
                    </a:lnTo>
                    <a:lnTo>
                      <a:pt x="1617" y="1663"/>
                    </a:lnTo>
                    <a:lnTo>
                      <a:pt x="1613" y="1666"/>
                    </a:lnTo>
                    <a:lnTo>
                      <a:pt x="1615" y="1668"/>
                    </a:lnTo>
                    <a:lnTo>
                      <a:pt x="1618" y="1666"/>
                    </a:lnTo>
                    <a:lnTo>
                      <a:pt x="1618" y="1663"/>
                    </a:lnTo>
                    <a:lnTo>
                      <a:pt x="1622" y="1661"/>
                    </a:lnTo>
                    <a:lnTo>
                      <a:pt x="1627" y="1663"/>
                    </a:lnTo>
                    <a:lnTo>
                      <a:pt x="1627" y="1668"/>
                    </a:lnTo>
                    <a:lnTo>
                      <a:pt x="1628" y="1669"/>
                    </a:lnTo>
                    <a:lnTo>
                      <a:pt x="1623" y="1671"/>
                    </a:lnTo>
                    <a:lnTo>
                      <a:pt x="1622" y="1673"/>
                    </a:lnTo>
                    <a:lnTo>
                      <a:pt x="1615" y="1674"/>
                    </a:lnTo>
                    <a:lnTo>
                      <a:pt x="1607" y="1679"/>
                    </a:lnTo>
                    <a:lnTo>
                      <a:pt x="1603" y="1679"/>
                    </a:lnTo>
                    <a:lnTo>
                      <a:pt x="1602" y="1676"/>
                    </a:lnTo>
                    <a:lnTo>
                      <a:pt x="1600" y="1678"/>
                    </a:lnTo>
                    <a:lnTo>
                      <a:pt x="1598" y="1681"/>
                    </a:lnTo>
                    <a:lnTo>
                      <a:pt x="1597" y="1683"/>
                    </a:lnTo>
                    <a:lnTo>
                      <a:pt x="1597" y="1683"/>
                    </a:lnTo>
                    <a:close/>
                    <a:moveTo>
                      <a:pt x="1221" y="1419"/>
                    </a:moveTo>
                    <a:lnTo>
                      <a:pt x="1223" y="1422"/>
                    </a:lnTo>
                    <a:lnTo>
                      <a:pt x="1223" y="1424"/>
                    </a:lnTo>
                    <a:lnTo>
                      <a:pt x="1225" y="1422"/>
                    </a:lnTo>
                    <a:lnTo>
                      <a:pt x="1225" y="1417"/>
                    </a:lnTo>
                    <a:lnTo>
                      <a:pt x="1223" y="1417"/>
                    </a:lnTo>
                    <a:lnTo>
                      <a:pt x="1221" y="1419"/>
                    </a:lnTo>
                    <a:lnTo>
                      <a:pt x="1221" y="1419"/>
                    </a:lnTo>
                    <a:close/>
                    <a:moveTo>
                      <a:pt x="1221" y="1467"/>
                    </a:moveTo>
                    <a:lnTo>
                      <a:pt x="1223" y="1463"/>
                    </a:lnTo>
                    <a:lnTo>
                      <a:pt x="1226" y="1463"/>
                    </a:lnTo>
                    <a:lnTo>
                      <a:pt x="1228" y="1462"/>
                    </a:lnTo>
                    <a:lnTo>
                      <a:pt x="1230" y="1465"/>
                    </a:lnTo>
                    <a:lnTo>
                      <a:pt x="1223" y="1468"/>
                    </a:lnTo>
                    <a:lnTo>
                      <a:pt x="1221" y="1467"/>
                    </a:lnTo>
                    <a:lnTo>
                      <a:pt x="1221" y="1467"/>
                    </a:lnTo>
                    <a:close/>
                    <a:moveTo>
                      <a:pt x="1177" y="1432"/>
                    </a:moveTo>
                    <a:lnTo>
                      <a:pt x="1182" y="1427"/>
                    </a:lnTo>
                    <a:lnTo>
                      <a:pt x="1185" y="1428"/>
                    </a:lnTo>
                    <a:lnTo>
                      <a:pt x="1185" y="1425"/>
                    </a:lnTo>
                    <a:lnTo>
                      <a:pt x="1188" y="1424"/>
                    </a:lnTo>
                    <a:lnTo>
                      <a:pt x="1193" y="1424"/>
                    </a:lnTo>
                    <a:lnTo>
                      <a:pt x="1193" y="1425"/>
                    </a:lnTo>
                    <a:lnTo>
                      <a:pt x="1198" y="1424"/>
                    </a:lnTo>
                    <a:lnTo>
                      <a:pt x="1203" y="1428"/>
                    </a:lnTo>
                    <a:lnTo>
                      <a:pt x="1205" y="1433"/>
                    </a:lnTo>
                    <a:lnTo>
                      <a:pt x="1205" y="1435"/>
                    </a:lnTo>
                    <a:lnTo>
                      <a:pt x="1205" y="1438"/>
                    </a:lnTo>
                    <a:lnTo>
                      <a:pt x="1193" y="1437"/>
                    </a:lnTo>
                    <a:lnTo>
                      <a:pt x="1190" y="1433"/>
                    </a:lnTo>
                    <a:lnTo>
                      <a:pt x="1185" y="1433"/>
                    </a:lnTo>
                    <a:lnTo>
                      <a:pt x="1185" y="1437"/>
                    </a:lnTo>
                    <a:lnTo>
                      <a:pt x="1185" y="1438"/>
                    </a:lnTo>
                    <a:lnTo>
                      <a:pt x="1183" y="1435"/>
                    </a:lnTo>
                    <a:lnTo>
                      <a:pt x="1182" y="1433"/>
                    </a:lnTo>
                    <a:lnTo>
                      <a:pt x="1178" y="1433"/>
                    </a:lnTo>
                    <a:lnTo>
                      <a:pt x="1177" y="1432"/>
                    </a:lnTo>
                    <a:lnTo>
                      <a:pt x="1177" y="1432"/>
                    </a:lnTo>
                    <a:close/>
                    <a:moveTo>
                      <a:pt x="185" y="1450"/>
                    </a:moveTo>
                    <a:lnTo>
                      <a:pt x="190" y="1453"/>
                    </a:lnTo>
                    <a:lnTo>
                      <a:pt x="195" y="1460"/>
                    </a:lnTo>
                    <a:lnTo>
                      <a:pt x="193" y="1462"/>
                    </a:lnTo>
                    <a:lnTo>
                      <a:pt x="187" y="1455"/>
                    </a:lnTo>
                    <a:lnTo>
                      <a:pt x="185" y="1450"/>
                    </a:lnTo>
                    <a:lnTo>
                      <a:pt x="185" y="1450"/>
                    </a:lnTo>
                    <a:close/>
                    <a:moveTo>
                      <a:pt x="177" y="1440"/>
                    </a:moveTo>
                    <a:lnTo>
                      <a:pt x="175" y="1433"/>
                    </a:lnTo>
                    <a:lnTo>
                      <a:pt x="178" y="1433"/>
                    </a:lnTo>
                    <a:lnTo>
                      <a:pt x="177" y="1440"/>
                    </a:lnTo>
                    <a:lnTo>
                      <a:pt x="177" y="1440"/>
                    </a:lnTo>
                    <a:close/>
                    <a:moveTo>
                      <a:pt x="150" y="1419"/>
                    </a:moveTo>
                    <a:lnTo>
                      <a:pt x="157" y="1422"/>
                    </a:lnTo>
                    <a:lnTo>
                      <a:pt x="157" y="1419"/>
                    </a:lnTo>
                    <a:lnTo>
                      <a:pt x="150" y="1419"/>
                    </a:lnTo>
                    <a:lnTo>
                      <a:pt x="150" y="1419"/>
                    </a:lnTo>
                    <a:close/>
                    <a:moveTo>
                      <a:pt x="110" y="1404"/>
                    </a:moveTo>
                    <a:lnTo>
                      <a:pt x="112" y="1409"/>
                    </a:lnTo>
                    <a:lnTo>
                      <a:pt x="113" y="1410"/>
                    </a:lnTo>
                    <a:lnTo>
                      <a:pt x="115" y="1415"/>
                    </a:lnTo>
                    <a:lnTo>
                      <a:pt x="127" y="1417"/>
                    </a:lnTo>
                    <a:lnTo>
                      <a:pt x="123" y="1419"/>
                    </a:lnTo>
                    <a:lnTo>
                      <a:pt x="117" y="1419"/>
                    </a:lnTo>
                    <a:lnTo>
                      <a:pt x="113" y="1424"/>
                    </a:lnTo>
                    <a:lnTo>
                      <a:pt x="117" y="1425"/>
                    </a:lnTo>
                    <a:lnTo>
                      <a:pt x="113" y="1430"/>
                    </a:lnTo>
                    <a:lnTo>
                      <a:pt x="115" y="1432"/>
                    </a:lnTo>
                    <a:lnTo>
                      <a:pt x="120" y="1430"/>
                    </a:lnTo>
                    <a:lnTo>
                      <a:pt x="122" y="1433"/>
                    </a:lnTo>
                    <a:lnTo>
                      <a:pt x="127" y="1433"/>
                    </a:lnTo>
                    <a:lnTo>
                      <a:pt x="127" y="1438"/>
                    </a:lnTo>
                    <a:lnTo>
                      <a:pt x="132" y="1440"/>
                    </a:lnTo>
                    <a:lnTo>
                      <a:pt x="137" y="1438"/>
                    </a:lnTo>
                    <a:lnTo>
                      <a:pt x="130" y="1445"/>
                    </a:lnTo>
                    <a:lnTo>
                      <a:pt x="133" y="1450"/>
                    </a:lnTo>
                    <a:lnTo>
                      <a:pt x="137" y="1450"/>
                    </a:lnTo>
                    <a:lnTo>
                      <a:pt x="137" y="1445"/>
                    </a:lnTo>
                    <a:lnTo>
                      <a:pt x="143" y="1443"/>
                    </a:lnTo>
                    <a:lnTo>
                      <a:pt x="142" y="1448"/>
                    </a:lnTo>
                    <a:lnTo>
                      <a:pt x="137" y="1452"/>
                    </a:lnTo>
                    <a:lnTo>
                      <a:pt x="138" y="1455"/>
                    </a:lnTo>
                    <a:lnTo>
                      <a:pt x="140" y="1455"/>
                    </a:lnTo>
                    <a:lnTo>
                      <a:pt x="142" y="1460"/>
                    </a:lnTo>
                    <a:lnTo>
                      <a:pt x="150" y="1460"/>
                    </a:lnTo>
                    <a:lnTo>
                      <a:pt x="150" y="1463"/>
                    </a:lnTo>
                    <a:lnTo>
                      <a:pt x="153" y="1463"/>
                    </a:lnTo>
                    <a:lnTo>
                      <a:pt x="155" y="1468"/>
                    </a:lnTo>
                    <a:lnTo>
                      <a:pt x="153" y="1472"/>
                    </a:lnTo>
                    <a:lnTo>
                      <a:pt x="158" y="1477"/>
                    </a:lnTo>
                    <a:lnTo>
                      <a:pt x="162" y="1473"/>
                    </a:lnTo>
                    <a:lnTo>
                      <a:pt x="165" y="1475"/>
                    </a:lnTo>
                    <a:lnTo>
                      <a:pt x="168" y="1475"/>
                    </a:lnTo>
                    <a:lnTo>
                      <a:pt x="162" y="1482"/>
                    </a:lnTo>
                    <a:lnTo>
                      <a:pt x="172" y="1490"/>
                    </a:lnTo>
                    <a:lnTo>
                      <a:pt x="173" y="1492"/>
                    </a:lnTo>
                    <a:lnTo>
                      <a:pt x="177" y="1495"/>
                    </a:lnTo>
                    <a:lnTo>
                      <a:pt x="192" y="1502"/>
                    </a:lnTo>
                    <a:lnTo>
                      <a:pt x="193" y="1500"/>
                    </a:lnTo>
                    <a:lnTo>
                      <a:pt x="198" y="1502"/>
                    </a:lnTo>
                    <a:lnTo>
                      <a:pt x="195" y="1490"/>
                    </a:lnTo>
                    <a:lnTo>
                      <a:pt x="195" y="1483"/>
                    </a:lnTo>
                    <a:lnTo>
                      <a:pt x="193" y="1480"/>
                    </a:lnTo>
                    <a:lnTo>
                      <a:pt x="195" y="1472"/>
                    </a:lnTo>
                    <a:lnTo>
                      <a:pt x="190" y="1467"/>
                    </a:lnTo>
                    <a:lnTo>
                      <a:pt x="180" y="1460"/>
                    </a:lnTo>
                    <a:lnTo>
                      <a:pt x="178" y="1447"/>
                    </a:lnTo>
                    <a:lnTo>
                      <a:pt x="173" y="1440"/>
                    </a:lnTo>
                    <a:lnTo>
                      <a:pt x="172" y="1432"/>
                    </a:lnTo>
                    <a:lnTo>
                      <a:pt x="170" y="1430"/>
                    </a:lnTo>
                    <a:lnTo>
                      <a:pt x="165" y="1428"/>
                    </a:lnTo>
                    <a:lnTo>
                      <a:pt x="157" y="1425"/>
                    </a:lnTo>
                    <a:lnTo>
                      <a:pt x="152" y="1425"/>
                    </a:lnTo>
                    <a:lnTo>
                      <a:pt x="147" y="1424"/>
                    </a:lnTo>
                    <a:lnTo>
                      <a:pt x="143" y="1419"/>
                    </a:lnTo>
                    <a:lnTo>
                      <a:pt x="137" y="1415"/>
                    </a:lnTo>
                    <a:lnTo>
                      <a:pt x="133" y="1412"/>
                    </a:lnTo>
                    <a:lnTo>
                      <a:pt x="132" y="1407"/>
                    </a:lnTo>
                    <a:lnTo>
                      <a:pt x="125" y="1409"/>
                    </a:lnTo>
                    <a:lnTo>
                      <a:pt x="123" y="1404"/>
                    </a:lnTo>
                    <a:lnTo>
                      <a:pt x="118" y="1402"/>
                    </a:lnTo>
                    <a:lnTo>
                      <a:pt x="117" y="1404"/>
                    </a:lnTo>
                    <a:lnTo>
                      <a:pt x="110" y="1404"/>
                    </a:lnTo>
                    <a:lnTo>
                      <a:pt x="110" y="1404"/>
                    </a:lnTo>
                    <a:close/>
                    <a:moveTo>
                      <a:pt x="153" y="1414"/>
                    </a:moveTo>
                    <a:lnTo>
                      <a:pt x="157" y="1412"/>
                    </a:lnTo>
                    <a:lnTo>
                      <a:pt x="158" y="1410"/>
                    </a:lnTo>
                    <a:lnTo>
                      <a:pt x="160" y="1414"/>
                    </a:lnTo>
                    <a:lnTo>
                      <a:pt x="157" y="1415"/>
                    </a:lnTo>
                    <a:lnTo>
                      <a:pt x="153" y="1417"/>
                    </a:lnTo>
                    <a:lnTo>
                      <a:pt x="153" y="1414"/>
                    </a:lnTo>
                    <a:lnTo>
                      <a:pt x="153" y="1414"/>
                    </a:lnTo>
                    <a:close/>
                    <a:moveTo>
                      <a:pt x="148" y="1409"/>
                    </a:moveTo>
                    <a:lnTo>
                      <a:pt x="152" y="1405"/>
                    </a:lnTo>
                    <a:lnTo>
                      <a:pt x="153" y="1410"/>
                    </a:lnTo>
                    <a:lnTo>
                      <a:pt x="148" y="1409"/>
                    </a:lnTo>
                    <a:lnTo>
                      <a:pt x="148" y="1409"/>
                    </a:lnTo>
                    <a:close/>
                    <a:moveTo>
                      <a:pt x="122" y="1312"/>
                    </a:moveTo>
                    <a:lnTo>
                      <a:pt x="122" y="1319"/>
                    </a:lnTo>
                    <a:lnTo>
                      <a:pt x="123" y="1316"/>
                    </a:lnTo>
                    <a:lnTo>
                      <a:pt x="122" y="1312"/>
                    </a:lnTo>
                    <a:lnTo>
                      <a:pt x="122" y="1312"/>
                    </a:lnTo>
                    <a:close/>
                    <a:moveTo>
                      <a:pt x="133" y="1359"/>
                    </a:moveTo>
                    <a:lnTo>
                      <a:pt x="133" y="1354"/>
                    </a:lnTo>
                    <a:lnTo>
                      <a:pt x="135" y="1354"/>
                    </a:lnTo>
                    <a:lnTo>
                      <a:pt x="137" y="1355"/>
                    </a:lnTo>
                    <a:lnTo>
                      <a:pt x="135" y="1359"/>
                    </a:lnTo>
                    <a:lnTo>
                      <a:pt x="133" y="1359"/>
                    </a:lnTo>
                    <a:lnTo>
                      <a:pt x="133" y="1359"/>
                    </a:lnTo>
                    <a:close/>
                    <a:moveTo>
                      <a:pt x="133" y="1372"/>
                    </a:moveTo>
                    <a:lnTo>
                      <a:pt x="130" y="1375"/>
                    </a:lnTo>
                    <a:lnTo>
                      <a:pt x="130" y="1379"/>
                    </a:lnTo>
                    <a:lnTo>
                      <a:pt x="132" y="1382"/>
                    </a:lnTo>
                    <a:lnTo>
                      <a:pt x="133" y="1375"/>
                    </a:lnTo>
                    <a:lnTo>
                      <a:pt x="133" y="1372"/>
                    </a:lnTo>
                    <a:lnTo>
                      <a:pt x="133" y="1372"/>
                    </a:lnTo>
                    <a:close/>
                    <a:moveTo>
                      <a:pt x="137" y="1367"/>
                    </a:moveTo>
                    <a:lnTo>
                      <a:pt x="140" y="1362"/>
                    </a:lnTo>
                    <a:lnTo>
                      <a:pt x="138" y="1359"/>
                    </a:lnTo>
                    <a:lnTo>
                      <a:pt x="132" y="1362"/>
                    </a:lnTo>
                    <a:lnTo>
                      <a:pt x="132" y="1367"/>
                    </a:lnTo>
                    <a:lnTo>
                      <a:pt x="133" y="1367"/>
                    </a:lnTo>
                    <a:lnTo>
                      <a:pt x="133" y="1367"/>
                    </a:lnTo>
                    <a:lnTo>
                      <a:pt x="137" y="1367"/>
                    </a:lnTo>
                    <a:lnTo>
                      <a:pt x="137" y="1367"/>
                    </a:lnTo>
                    <a:close/>
                    <a:moveTo>
                      <a:pt x="142" y="1362"/>
                    </a:moveTo>
                    <a:lnTo>
                      <a:pt x="147" y="1355"/>
                    </a:lnTo>
                    <a:lnTo>
                      <a:pt x="150" y="1355"/>
                    </a:lnTo>
                    <a:lnTo>
                      <a:pt x="153" y="1350"/>
                    </a:lnTo>
                    <a:lnTo>
                      <a:pt x="160" y="1349"/>
                    </a:lnTo>
                    <a:lnTo>
                      <a:pt x="160" y="1350"/>
                    </a:lnTo>
                    <a:lnTo>
                      <a:pt x="153" y="1357"/>
                    </a:lnTo>
                    <a:lnTo>
                      <a:pt x="148" y="1357"/>
                    </a:lnTo>
                    <a:lnTo>
                      <a:pt x="143" y="1362"/>
                    </a:lnTo>
                    <a:lnTo>
                      <a:pt x="142" y="1362"/>
                    </a:lnTo>
                    <a:lnTo>
                      <a:pt x="142" y="1362"/>
                    </a:lnTo>
                    <a:close/>
                    <a:moveTo>
                      <a:pt x="137" y="1339"/>
                    </a:moveTo>
                    <a:lnTo>
                      <a:pt x="137" y="1334"/>
                    </a:lnTo>
                    <a:lnTo>
                      <a:pt x="140" y="1330"/>
                    </a:lnTo>
                    <a:lnTo>
                      <a:pt x="142" y="1334"/>
                    </a:lnTo>
                    <a:lnTo>
                      <a:pt x="140" y="1335"/>
                    </a:lnTo>
                    <a:lnTo>
                      <a:pt x="140" y="1337"/>
                    </a:lnTo>
                    <a:lnTo>
                      <a:pt x="137" y="1339"/>
                    </a:lnTo>
                    <a:lnTo>
                      <a:pt x="137" y="1339"/>
                    </a:lnTo>
                    <a:close/>
                    <a:moveTo>
                      <a:pt x="127" y="1337"/>
                    </a:moveTo>
                    <a:lnTo>
                      <a:pt x="133" y="1340"/>
                    </a:lnTo>
                    <a:lnTo>
                      <a:pt x="135" y="1337"/>
                    </a:lnTo>
                    <a:lnTo>
                      <a:pt x="133" y="1335"/>
                    </a:lnTo>
                    <a:lnTo>
                      <a:pt x="127" y="1337"/>
                    </a:lnTo>
                    <a:lnTo>
                      <a:pt x="127" y="1337"/>
                    </a:lnTo>
                    <a:close/>
                    <a:moveTo>
                      <a:pt x="120" y="1324"/>
                    </a:moveTo>
                    <a:lnTo>
                      <a:pt x="120" y="1332"/>
                    </a:lnTo>
                    <a:lnTo>
                      <a:pt x="123" y="1334"/>
                    </a:lnTo>
                    <a:lnTo>
                      <a:pt x="123" y="1337"/>
                    </a:lnTo>
                    <a:lnTo>
                      <a:pt x="125" y="1334"/>
                    </a:lnTo>
                    <a:lnTo>
                      <a:pt x="123" y="1329"/>
                    </a:lnTo>
                    <a:lnTo>
                      <a:pt x="120" y="1324"/>
                    </a:lnTo>
                    <a:lnTo>
                      <a:pt x="120" y="1324"/>
                    </a:lnTo>
                    <a:close/>
                    <a:moveTo>
                      <a:pt x="123" y="1321"/>
                    </a:moveTo>
                    <a:lnTo>
                      <a:pt x="128" y="1321"/>
                    </a:lnTo>
                    <a:lnTo>
                      <a:pt x="127" y="1324"/>
                    </a:lnTo>
                    <a:lnTo>
                      <a:pt x="127" y="1327"/>
                    </a:lnTo>
                    <a:lnTo>
                      <a:pt x="130" y="1327"/>
                    </a:lnTo>
                    <a:lnTo>
                      <a:pt x="135" y="1324"/>
                    </a:lnTo>
                    <a:lnTo>
                      <a:pt x="133" y="1329"/>
                    </a:lnTo>
                    <a:lnTo>
                      <a:pt x="133" y="1332"/>
                    </a:lnTo>
                    <a:lnTo>
                      <a:pt x="138" y="1329"/>
                    </a:lnTo>
                    <a:lnTo>
                      <a:pt x="140" y="1317"/>
                    </a:lnTo>
                    <a:lnTo>
                      <a:pt x="133" y="1316"/>
                    </a:lnTo>
                    <a:lnTo>
                      <a:pt x="128" y="1316"/>
                    </a:lnTo>
                    <a:lnTo>
                      <a:pt x="123" y="1321"/>
                    </a:lnTo>
                    <a:lnTo>
                      <a:pt x="123" y="1321"/>
                    </a:lnTo>
                    <a:close/>
                    <a:moveTo>
                      <a:pt x="123" y="1311"/>
                    </a:moveTo>
                    <a:lnTo>
                      <a:pt x="127" y="1314"/>
                    </a:lnTo>
                    <a:lnTo>
                      <a:pt x="128" y="1312"/>
                    </a:lnTo>
                    <a:lnTo>
                      <a:pt x="127" y="1309"/>
                    </a:lnTo>
                    <a:lnTo>
                      <a:pt x="123" y="1311"/>
                    </a:lnTo>
                    <a:lnTo>
                      <a:pt x="123" y="1311"/>
                    </a:lnTo>
                    <a:close/>
                    <a:moveTo>
                      <a:pt x="133" y="1304"/>
                    </a:moveTo>
                    <a:lnTo>
                      <a:pt x="135" y="1299"/>
                    </a:lnTo>
                    <a:lnTo>
                      <a:pt x="140" y="1296"/>
                    </a:lnTo>
                    <a:lnTo>
                      <a:pt x="142" y="1296"/>
                    </a:lnTo>
                    <a:lnTo>
                      <a:pt x="140" y="1301"/>
                    </a:lnTo>
                    <a:lnTo>
                      <a:pt x="137" y="1302"/>
                    </a:lnTo>
                    <a:lnTo>
                      <a:pt x="133" y="1304"/>
                    </a:lnTo>
                    <a:lnTo>
                      <a:pt x="133" y="1304"/>
                    </a:lnTo>
                    <a:close/>
                    <a:moveTo>
                      <a:pt x="103" y="1291"/>
                    </a:moveTo>
                    <a:lnTo>
                      <a:pt x="113" y="1302"/>
                    </a:lnTo>
                    <a:lnTo>
                      <a:pt x="117" y="1307"/>
                    </a:lnTo>
                    <a:lnTo>
                      <a:pt x="115" y="1312"/>
                    </a:lnTo>
                    <a:lnTo>
                      <a:pt x="112" y="1311"/>
                    </a:lnTo>
                    <a:lnTo>
                      <a:pt x="112" y="1306"/>
                    </a:lnTo>
                    <a:lnTo>
                      <a:pt x="105" y="1299"/>
                    </a:lnTo>
                    <a:lnTo>
                      <a:pt x="102" y="1294"/>
                    </a:lnTo>
                    <a:lnTo>
                      <a:pt x="102" y="1294"/>
                    </a:lnTo>
                    <a:lnTo>
                      <a:pt x="103" y="1291"/>
                    </a:lnTo>
                    <a:lnTo>
                      <a:pt x="103" y="1291"/>
                    </a:lnTo>
                    <a:close/>
                    <a:moveTo>
                      <a:pt x="113" y="1287"/>
                    </a:moveTo>
                    <a:lnTo>
                      <a:pt x="113" y="1292"/>
                    </a:lnTo>
                    <a:lnTo>
                      <a:pt x="117" y="1297"/>
                    </a:lnTo>
                    <a:lnTo>
                      <a:pt x="118" y="1304"/>
                    </a:lnTo>
                    <a:lnTo>
                      <a:pt x="123" y="1307"/>
                    </a:lnTo>
                    <a:lnTo>
                      <a:pt x="123" y="1301"/>
                    </a:lnTo>
                    <a:lnTo>
                      <a:pt x="118" y="1292"/>
                    </a:lnTo>
                    <a:lnTo>
                      <a:pt x="117" y="1286"/>
                    </a:lnTo>
                    <a:lnTo>
                      <a:pt x="115" y="1286"/>
                    </a:lnTo>
                    <a:lnTo>
                      <a:pt x="113" y="1287"/>
                    </a:lnTo>
                    <a:lnTo>
                      <a:pt x="113" y="1287"/>
                    </a:lnTo>
                    <a:close/>
                    <a:moveTo>
                      <a:pt x="105" y="1281"/>
                    </a:moveTo>
                    <a:lnTo>
                      <a:pt x="112" y="1281"/>
                    </a:lnTo>
                    <a:lnTo>
                      <a:pt x="112" y="1282"/>
                    </a:lnTo>
                    <a:lnTo>
                      <a:pt x="115" y="1282"/>
                    </a:lnTo>
                    <a:lnTo>
                      <a:pt x="118" y="1277"/>
                    </a:lnTo>
                    <a:lnTo>
                      <a:pt x="113" y="1276"/>
                    </a:lnTo>
                    <a:lnTo>
                      <a:pt x="107" y="1277"/>
                    </a:lnTo>
                    <a:lnTo>
                      <a:pt x="105" y="1281"/>
                    </a:lnTo>
                    <a:lnTo>
                      <a:pt x="105" y="1281"/>
                    </a:lnTo>
                    <a:close/>
                    <a:moveTo>
                      <a:pt x="54" y="1284"/>
                    </a:moveTo>
                    <a:lnTo>
                      <a:pt x="52" y="1276"/>
                    </a:lnTo>
                    <a:lnTo>
                      <a:pt x="60" y="1264"/>
                    </a:lnTo>
                    <a:lnTo>
                      <a:pt x="67" y="1266"/>
                    </a:lnTo>
                    <a:lnTo>
                      <a:pt x="67" y="1272"/>
                    </a:lnTo>
                    <a:lnTo>
                      <a:pt x="69" y="1271"/>
                    </a:lnTo>
                    <a:lnTo>
                      <a:pt x="72" y="1267"/>
                    </a:lnTo>
                    <a:lnTo>
                      <a:pt x="75" y="1269"/>
                    </a:lnTo>
                    <a:lnTo>
                      <a:pt x="75" y="1272"/>
                    </a:lnTo>
                    <a:lnTo>
                      <a:pt x="75" y="1277"/>
                    </a:lnTo>
                    <a:lnTo>
                      <a:pt x="72" y="1281"/>
                    </a:lnTo>
                    <a:lnTo>
                      <a:pt x="62" y="1284"/>
                    </a:lnTo>
                    <a:lnTo>
                      <a:pt x="65" y="1286"/>
                    </a:lnTo>
                    <a:lnTo>
                      <a:pt x="65" y="1289"/>
                    </a:lnTo>
                    <a:lnTo>
                      <a:pt x="70" y="1287"/>
                    </a:lnTo>
                    <a:lnTo>
                      <a:pt x="74" y="1281"/>
                    </a:lnTo>
                    <a:lnTo>
                      <a:pt x="80" y="1274"/>
                    </a:lnTo>
                    <a:lnTo>
                      <a:pt x="87" y="1271"/>
                    </a:lnTo>
                    <a:lnTo>
                      <a:pt x="90" y="1271"/>
                    </a:lnTo>
                    <a:lnTo>
                      <a:pt x="82" y="1281"/>
                    </a:lnTo>
                    <a:lnTo>
                      <a:pt x="79" y="1287"/>
                    </a:lnTo>
                    <a:lnTo>
                      <a:pt x="75" y="1292"/>
                    </a:lnTo>
                    <a:lnTo>
                      <a:pt x="74" y="1299"/>
                    </a:lnTo>
                    <a:lnTo>
                      <a:pt x="69" y="1302"/>
                    </a:lnTo>
                    <a:lnTo>
                      <a:pt x="65" y="1302"/>
                    </a:lnTo>
                    <a:lnTo>
                      <a:pt x="60" y="1307"/>
                    </a:lnTo>
                    <a:lnTo>
                      <a:pt x="65" y="1307"/>
                    </a:lnTo>
                    <a:lnTo>
                      <a:pt x="69" y="1306"/>
                    </a:lnTo>
                    <a:lnTo>
                      <a:pt x="74" y="1306"/>
                    </a:lnTo>
                    <a:lnTo>
                      <a:pt x="74" y="1311"/>
                    </a:lnTo>
                    <a:lnTo>
                      <a:pt x="67" y="1311"/>
                    </a:lnTo>
                    <a:lnTo>
                      <a:pt x="65" y="1316"/>
                    </a:lnTo>
                    <a:lnTo>
                      <a:pt x="65" y="1321"/>
                    </a:lnTo>
                    <a:lnTo>
                      <a:pt x="65" y="1327"/>
                    </a:lnTo>
                    <a:lnTo>
                      <a:pt x="69" y="1334"/>
                    </a:lnTo>
                    <a:lnTo>
                      <a:pt x="69" y="1340"/>
                    </a:lnTo>
                    <a:lnTo>
                      <a:pt x="72" y="1340"/>
                    </a:lnTo>
                    <a:lnTo>
                      <a:pt x="75" y="1342"/>
                    </a:lnTo>
                    <a:lnTo>
                      <a:pt x="72" y="1345"/>
                    </a:lnTo>
                    <a:lnTo>
                      <a:pt x="65" y="1345"/>
                    </a:lnTo>
                    <a:lnTo>
                      <a:pt x="59" y="1330"/>
                    </a:lnTo>
                    <a:lnTo>
                      <a:pt x="59" y="1324"/>
                    </a:lnTo>
                    <a:lnTo>
                      <a:pt x="59" y="1321"/>
                    </a:lnTo>
                    <a:lnTo>
                      <a:pt x="54" y="1321"/>
                    </a:lnTo>
                    <a:lnTo>
                      <a:pt x="52" y="1317"/>
                    </a:lnTo>
                    <a:lnTo>
                      <a:pt x="54" y="1314"/>
                    </a:lnTo>
                    <a:lnTo>
                      <a:pt x="60" y="1314"/>
                    </a:lnTo>
                    <a:lnTo>
                      <a:pt x="55" y="1309"/>
                    </a:lnTo>
                    <a:lnTo>
                      <a:pt x="52" y="1309"/>
                    </a:lnTo>
                    <a:lnTo>
                      <a:pt x="55" y="1304"/>
                    </a:lnTo>
                    <a:lnTo>
                      <a:pt x="52" y="1301"/>
                    </a:lnTo>
                    <a:lnTo>
                      <a:pt x="52" y="1297"/>
                    </a:lnTo>
                    <a:lnTo>
                      <a:pt x="57" y="1299"/>
                    </a:lnTo>
                    <a:lnTo>
                      <a:pt x="59" y="1299"/>
                    </a:lnTo>
                    <a:lnTo>
                      <a:pt x="59" y="1296"/>
                    </a:lnTo>
                    <a:lnTo>
                      <a:pt x="55" y="1292"/>
                    </a:lnTo>
                    <a:lnTo>
                      <a:pt x="52" y="1292"/>
                    </a:lnTo>
                    <a:lnTo>
                      <a:pt x="50" y="1287"/>
                    </a:lnTo>
                    <a:lnTo>
                      <a:pt x="54" y="1284"/>
                    </a:lnTo>
                    <a:lnTo>
                      <a:pt x="54" y="1284"/>
                    </a:lnTo>
                    <a:close/>
                    <a:moveTo>
                      <a:pt x="112" y="1261"/>
                    </a:moveTo>
                    <a:lnTo>
                      <a:pt x="112" y="1256"/>
                    </a:lnTo>
                    <a:lnTo>
                      <a:pt x="115" y="1254"/>
                    </a:lnTo>
                    <a:lnTo>
                      <a:pt x="115" y="1257"/>
                    </a:lnTo>
                    <a:lnTo>
                      <a:pt x="112" y="1261"/>
                    </a:lnTo>
                    <a:lnTo>
                      <a:pt x="112" y="1261"/>
                    </a:lnTo>
                    <a:close/>
                    <a:moveTo>
                      <a:pt x="605" y="593"/>
                    </a:moveTo>
                    <a:lnTo>
                      <a:pt x="608" y="595"/>
                    </a:lnTo>
                    <a:lnTo>
                      <a:pt x="610" y="595"/>
                    </a:lnTo>
                    <a:lnTo>
                      <a:pt x="610" y="593"/>
                    </a:lnTo>
                    <a:lnTo>
                      <a:pt x="612" y="591"/>
                    </a:lnTo>
                    <a:lnTo>
                      <a:pt x="607" y="591"/>
                    </a:lnTo>
                    <a:lnTo>
                      <a:pt x="605" y="593"/>
                    </a:lnTo>
                    <a:lnTo>
                      <a:pt x="605" y="593"/>
                    </a:lnTo>
                    <a:close/>
                    <a:moveTo>
                      <a:pt x="559" y="551"/>
                    </a:moveTo>
                    <a:lnTo>
                      <a:pt x="562" y="553"/>
                    </a:lnTo>
                    <a:lnTo>
                      <a:pt x="567" y="550"/>
                    </a:lnTo>
                    <a:lnTo>
                      <a:pt x="567" y="545"/>
                    </a:lnTo>
                    <a:lnTo>
                      <a:pt x="560" y="548"/>
                    </a:lnTo>
                    <a:lnTo>
                      <a:pt x="559" y="551"/>
                    </a:lnTo>
                    <a:lnTo>
                      <a:pt x="559" y="551"/>
                    </a:lnTo>
                    <a:close/>
                    <a:moveTo>
                      <a:pt x="388" y="565"/>
                    </a:moveTo>
                    <a:lnTo>
                      <a:pt x="391" y="565"/>
                    </a:lnTo>
                    <a:lnTo>
                      <a:pt x="393" y="561"/>
                    </a:lnTo>
                    <a:lnTo>
                      <a:pt x="391" y="561"/>
                    </a:lnTo>
                    <a:lnTo>
                      <a:pt x="391" y="561"/>
                    </a:lnTo>
                    <a:lnTo>
                      <a:pt x="388" y="565"/>
                    </a:lnTo>
                    <a:lnTo>
                      <a:pt x="388" y="565"/>
                    </a:lnTo>
                    <a:close/>
                    <a:moveTo>
                      <a:pt x="388" y="571"/>
                    </a:moveTo>
                    <a:lnTo>
                      <a:pt x="386" y="570"/>
                    </a:lnTo>
                    <a:lnTo>
                      <a:pt x="389" y="568"/>
                    </a:lnTo>
                    <a:lnTo>
                      <a:pt x="391" y="570"/>
                    </a:lnTo>
                    <a:lnTo>
                      <a:pt x="388" y="571"/>
                    </a:lnTo>
                    <a:lnTo>
                      <a:pt x="388" y="571"/>
                    </a:lnTo>
                    <a:close/>
                    <a:moveTo>
                      <a:pt x="379" y="585"/>
                    </a:moveTo>
                    <a:lnTo>
                      <a:pt x="379" y="591"/>
                    </a:lnTo>
                    <a:lnTo>
                      <a:pt x="376" y="595"/>
                    </a:lnTo>
                    <a:lnTo>
                      <a:pt x="378" y="600"/>
                    </a:lnTo>
                    <a:lnTo>
                      <a:pt x="383" y="600"/>
                    </a:lnTo>
                    <a:lnTo>
                      <a:pt x="386" y="596"/>
                    </a:lnTo>
                    <a:lnTo>
                      <a:pt x="389" y="596"/>
                    </a:lnTo>
                    <a:lnTo>
                      <a:pt x="406" y="585"/>
                    </a:lnTo>
                    <a:lnTo>
                      <a:pt x="412" y="581"/>
                    </a:lnTo>
                    <a:lnTo>
                      <a:pt x="416" y="576"/>
                    </a:lnTo>
                    <a:lnTo>
                      <a:pt x="412" y="576"/>
                    </a:lnTo>
                    <a:lnTo>
                      <a:pt x="411" y="575"/>
                    </a:lnTo>
                    <a:lnTo>
                      <a:pt x="409" y="568"/>
                    </a:lnTo>
                    <a:lnTo>
                      <a:pt x="406" y="568"/>
                    </a:lnTo>
                    <a:lnTo>
                      <a:pt x="402" y="573"/>
                    </a:lnTo>
                    <a:lnTo>
                      <a:pt x="397" y="575"/>
                    </a:lnTo>
                    <a:lnTo>
                      <a:pt x="399" y="578"/>
                    </a:lnTo>
                    <a:lnTo>
                      <a:pt x="396" y="578"/>
                    </a:lnTo>
                    <a:lnTo>
                      <a:pt x="394" y="580"/>
                    </a:lnTo>
                    <a:lnTo>
                      <a:pt x="393" y="583"/>
                    </a:lnTo>
                    <a:lnTo>
                      <a:pt x="389" y="580"/>
                    </a:lnTo>
                    <a:lnTo>
                      <a:pt x="391" y="578"/>
                    </a:lnTo>
                    <a:lnTo>
                      <a:pt x="389" y="575"/>
                    </a:lnTo>
                    <a:lnTo>
                      <a:pt x="386" y="578"/>
                    </a:lnTo>
                    <a:lnTo>
                      <a:pt x="384" y="578"/>
                    </a:lnTo>
                    <a:lnTo>
                      <a:pt x="381" y="581"/>
                    </a:lnTo>
                    <a:lnTo>
                      <a:pt x="379" y="585"/>
                    </a:lnTo>
                    <a:lnTo>
                      <a:pt x="379" y="585"/>
                    </a:lnTo>
                    <a:close/>
                    <a:moveTo>
                      <a:pt x="361" y="598"/>
                    </a:moveTo>
                    <a:lnTo>
                      <a:pt x="363" y="595"/>
                    </a:lnTo>
                    <a:lnTo>
                      <a:pt x="363" y="586"/>
                    </a:lnTo>
                    <a:lnTo>
                      <a:pt x="358" y="590"/>
                    </a:lnTo>
                    <a:lnTo>
                      <a:pt x="358" y="593"/>
                    </a:lnTo>
                    <a:lnTo>
                      <a:pt x="356" y="595"/>
                    </a:lnTo>
                    <a:lnTo>
                      <a:pt x="358" y="596"/>
                    </a:lnTo>
                    <a:lnTo>
                      <a:pt x="358" y="596"/>
                    </a:lnTo>
                    <a:lnTo>
                      <a:pt x="361" y="598"/>
                    </a:lnTo>
                    <a:lnTo>
                      <a:pt x="361" y="598"/>
                    </a:lnTo>
                    <a:close/>
                    <a:moveTo>
                      <a:pt x="363" y="601"/>
                    </a:moveTo>
                    <a:lnTo>
                      <a:pt x="366" y="600"/>
                    </a:lnTo>
                    <a:lnTo>
                      <a:pt x="368" y="596"/>
                    </a:lnTo>
                    <a:lnTo>
                      <a:pt x="364" y="591"/>
                    </a:lnTo>
                    <a:lnTo>
                      <a:pt x="366" y="585"/>
                    </a:lnTo>
                    <a:lnTo>
                      <a:pt x="368" y="581"/>
                    </a:lnTo>
                    <a:lnTo>
                      <a:pt x="371" y="583"/>
                    </a:lnTo>
                    <a:lnTo>
                      <a:pt x="371" y="580"/>
                    </a:lnTo>
                    <a:lnTo>
                      <a:pt x="374" y="580"/>
                    </a:lnTo>
                    <a:lnTo>
                      <a:pt x="376" y="583"/>
                    </a:lnTo>
                    <a:lnTo>
                      <a:pt x="376" y="595"/>
                    </a:lnTo>
                    <a:lnTo>
                      <a:pt x="373" y="598"/>
                    </a:lnTo>
                    <a:lnTo>
                      <a:pt x="374" y="601"/>
                    </a:lnTo>
                    <a:lnTo>
                      <a:pt x="368" y="605"/>
                    </a:lnTo>
                    <a:lnTo>
                      <a:pt x="363" y="601"/>
                    </a:lnTo>
                    <a:lnTo>
                      <a:pt x="363" y="601"/>
                    </a:lnTo>
                    <a:close/>
                    <a:moveTo>
                      <a:pt x="369" y="623"/>
                    </a:moveTo>
                    <a:lnTo>
                      <a:pt x="373" y="620"/>
                    </a:lnTo>
                    <a:lnTo>
                      <a:pt x="369" y="613"/>
                    </a:lnTo>
                    <a:lnTo>
                      <a:pt x="369" y="606"/>
                    </a:lnTo>
                    <a:lnTo>
                      <a:pt x="364" y="606"/>
                    </a:lnTo>
                    <a:lnTo>
                      <a:pt x="358" y="600"/>
                    </a:lnTo>
                    <a:lnTo>
                      <a:pt x="356" y="601"/>
                    </a:lnTo>
                    <a:lnTo>
                      <a:pt x="356" y="603"/>
                    </a:lnTo>
                    <a:lnTo>
                      <a:pt x="364" y="611"/>
                    </a:lnTo>
                    <a:lnTo>
                      <a:pt x="358" y="610"/>
                    </a:lnTo>
                    <a:lnTo>
                      <a:pt x="358" y="613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3"/>
                    </a:lnTo>
                    <a:close/>
                    <a:moveTo>
                      <a:pt x="316" y="545"/>
                    </a:moveTo>
                    <a:lnTo>
                      <a:pt x="319" y="550"/>
                    </a:lnTo>
                    <a:lnTo>
                      <a:pt x="323" y="548"/>
                    </a:lnTo>
                    <a:lnTo>
                      <a:pt x="326" y="550"/>
                    </a:lnTo>
                    <a:lnTo>
                      <a:pt x="329" y="550"/>
                    </a:lnTo>
                    <a:lnTo>
                      <a:pt x="324" y="543"/>
                    </a:lnTo>
                    <a:lnTo>
                      <a:pt x="319" y="541"/>
                    </a:lnTo>
                    <a:lnTo>
                      <a:pt x="316" y="545"/>
                    </a:lnTo>
                    <a:lnTo>
                      <a:pt x="316" y="545"/>
                    </a:lnTo>
                    <a:close/>
                    <a:moveTo>
                      <a:pt x="215" y="1480"/>
                    </a:moveTo>
                    <a:lnTo>
                      <a:pt x="215" y="1480"/>
                    </a:lnTo>
                    <a:lnTo>
                      <a:pt x="211" y="1478"/>
                    </a:lnTo>
                    <a:lnTo>
                      <a:pt x="210" y="1472"/>
                    </a:lnTo>
                    <a:lnTo>
                      <a:pt x="215" y="1462"/>
                    </a:lnTo>
                    <a:lnTo>
                      <a:pt x="215" y="1457"/>
                    </a:lnTo>
                    <a:lnTo>
                      <a:pt x="213" y="1460"/>
                    </a:lnTo>
                    <a:lnTo>
                      <a:pt x="206" y="1462"/>
                    </a:lnTo>
                    <a:lnTo>
                      <a:pt x="201" y="1465"/>
                    </a:lnTo>
                    <a:lnTo>
                      <a:pt x="196" y="1458"/>
                    </a:lnTo>
                    <a:lnTo>
                      <a:pt x="196" y="1453"/>
                    </a:lnTo>
                    <a:lnTo>
                      <a:pt x="200" y="1455"/>
                    </a:lnTo>
                    <a:lnTo>
                      <a:pt x="201" y="1458"/>
                    </a:lnTo>
                    <a:lnTo>
                      <a:pt x="203" y="1458"/>
                    </a:lnTo>
                    <a:lnTo>
                      <a:pt x="203" y="1457"/>
                    </a:lnTo>
                    <a:lnTo>
                      <a:pt x="201" y="1453"/>
                    </a:lnTo>
                    <a:lnTo>
                      <a:pt x="200" y="1448"/>
                    </a:lnTo>
                    <a:lnTo>
                      <a:pt x="196" y="1448"/>
                    </a:lnTo>
                    <a:lnTo>
                      <a:pt x="193" y="1450"/>
                    </a:lnTo>
                    <a:lnTo>
                      <a:pt x="188" y="1448"/>
                    </a:lnTo>
                    <a:lnTo>
                      <a:pt x="185" y="1443"/>
                    </a:lnTo>
                    <a:lnTo>
                      <a:pt x="185" y="1440"/>
                    </a:lnTo>
                    <a:lnTo>
                      <a:pt x="192" y="1437"/>
                    </a:lnTo>
                    <a:lnTo>
                      <a:pt x="193" y="1432"/>
                    </a:lnTo>
                    <a:lnTo>
                      <a:pt x="196" y="1428"/>
                    </a:lnTo>
                    <a:lnTo>
                      <a:pt x="196" y="1428"/>
                    </a:lnTo>
                    <a:lnTo>
                      <a:pt x="192" y="1428"/>
                    </a:lnTo>
                    <a:lnTo>
                      <a:pt x="187" y="1428"/>
                    </a:lnTo>
                    <a:lnTo>
                      <a:pt x="185" y="1427"/>
                    </a:lnTo>
                    <a:lnTo>
                      <a:pt x="188" y="1424"/>
                    </a:lnTo>
                    <a:lnTo>
                      <a:pt x="193" y="1419"/>
                    </a:lnTo>
                    <a:lnTo>
                      <a:pt x="193" y="1412"/>
                    </a:lnTo>
                    <a:lnTo>
                      <a:pt x="195" y="1410"/>
                    </a:lnTo>
                    <a:lnTo>
                      <a:pt x="195" y="1407"/>
                    </a:lnTo>
                    <a:lnTo>
                      <a:pt x="192" y="1409"/>
                    </a:lnTo>
                    <a:lnTo>
                      <a:pt x="190" y="1412"/>
                    </a:lnTo>
                    <a:lnTo>
                      <a:pt x="188" y="1419"/>
                    </a:lnTo>
                    <a:lnTo>
                      <a:pt x="183" y="1425"/>
                    </a:lnTo>
                    <a:lnTo>
                      <a:pt x="180" y="1427"/>
                    </a:lnTo>
                    <a:lnTo>
                      <a:pt x="178" y="1425"/>
                    </a:lnTo>
                    <a:lnTo>
                      <a:pt x="175" y="1424"/>
                    </a:lnTo>
                    <a:lnTo>
                      <a:pt x="175" y="1422"/>
                    </a:lnTo>
                    <a:lnTo>
                      <a:pt x="177" y="1420"/>
                    </a:lnTo>
                    <a:lnTo>
                      <a:pt x="177" y="1417"/>
                    </a:lnTo>
                    <a:lnTo>
                      <a:pt x="173" y="1420"/>
                    </a:lnTo>
                    <a:lnTo>
                      <a:pt x="172" y="1422"/>
                    </a:lnTo>
                    <a:lnTo>
                      <a:pt x="170" y="1422"/>
                    </a:lnTo>
                    <a:lnTo>
                      <a:pt x="168" y="1420"/>
                    </a:lnTo>
                    <a:lnTo>
                      <a:pt x="165" y="1420"/>
                    </a:lnTo>
                    <a:lnTo>
                      <a:pt x="163" y="1422"/>
                    </a:lnTo>
                    <a:lnTo>
                      <a:pt x="160" y="1420"/>
                    </a:lnTo>
                    <a:lnTo>
                      <a:pt x="160" y="1420"/>
                    </a:lnTo>
                    <a:lnTo>
                      <a:pt x="163" y="1417"/>
                    </a:lnTo>
                    <a:lnTo>
                      <a:pt x="167" y="1415"/>
                    </a:lnTo>
                    <a:lnTo>
                      <a:pt x="173" y="1415"/>
                    </a:lnTo>
                    <a:lnTo>
                      <a:pt x="178" y="1410"/>
                    </a:lnTo>
                    <a:lnTo>
                      <a:pt x="182" y="1407"/>
                    </a:lnTo>
                    <a:lnTo>
                      <a:pt x="182" y="1402"/>
                    </a:lnTo>
                    <a:lnTo>
                      <a:pt x="180" y="1405"/>
                    </a:lnTo>
                    <a:lnTo>
                      <a:pt x="177" y="1409"/>
                    </a:lnTo>
                    <a:lnTo>
                      <a:pt x="173" y="1412"/>
                    </a:lnTo>
                    <a:lnTo>
                      <a:pt x="170" y="1414"/>
                    </a:lnTo>
                    <a:lnTo>
                      <a:pt x="163" y="1412"/>
                    </a:lnTo>
                    <a:lnTo>
                      <a:pt x="163" y="1409"/>
                    </a:lnTo>
                    <a:lnTo>
                      <a:pt x="158" y="1409"/>
                    </a:lnTo>
                    <a:lnTo>
                      <a:pt x="158" y="1407"/>
                    </a:lnTo>
                    <a:lnTo>
                      <a:pt x="162" y="1405"/>
                    </a:lnTo>
                    <a:lnTo>
                      <a:pt x="160" y="1404"/>
                    </a:lnTo>
                    <a:lnTo>
                      <a:pt x="153" y="1405"/>
                    </a:lnTo>
                    <a:lnTo>
                      <a:pt x="150" y="1404"/>
                    </a:lnTo>
                    <a:lnTo>
                      <a:pt x="147" y="1404"/>
                    </a:lnTo>
                    <a:lnTo>
                      <a:pt x="145" y="1407"/>
                    </a:lnTo>
                    <a:lnTo>
                      <a:pt x="140" y="1404"/>
                    </a:lnTo>
                    <a:lnTo>
                      <a:pt x="138" y="1400"/>
                    </a:lnTo>
                    <a:lnTo>
                      <a:pt x="140" y="1399"/>
                    </a:lnTo>
                    <a:lnTo>
                      <a:pt x="143" y="1400"/>
                    </a:lnTo>
                    <a:lnTo>
                      <a:pt x="148" y="1402"/>
                    </a:lnTo>
                    <a:lnTo>
                      <a:pt x="153" y="1400"/>
                    </a:lnTo>
                    <a:lnTo>
                      <a:pt x="153" y="1399"/>
                    </a:lnTo>
                    <a:lnTo>
                      <a:pt x="152" y="1399"/>
                    </a:lnTo>
                    <a:lnTo>
                      <a:pt x="145" y="1399"/>
                    </a:lnTo>
                    <a:lnTo>
                      <a:pt x="143" y="1397"/>
                    </a:lnTo>
                    <a:lnTo>
                      <a:pt x="145" y="1395"/>
                    </a:lnTo>
                    <a:lnTo>
                      <a:pt x="148" y="1397"/>
                    </a:lnTo>
                    <a:lnTo>
                      <a:pt x="153" y="1395"/>
                    </a:lnTo>
                    <a:lnTo>
                      <a:pt x="153" y="1394"/>
                    </a:lnTo>
                    <a:lnTo>
                      <a:pt x="148" y="1394"/>
                    </a:lnTo>
                    <a:lnTo>
                      <a:pt x="145" y="1392"/>
                    </a:lnTo>
                    <a:lnTo>
                      <a:pt x="140" y="1394"/>
                    </a:lnTo>
                    <a:lnTo>
                      <a:pt x="137" y="1394"/>
                    </a:lnTo>
                    <a:lnTo>
                      <a:pt x="133" y="1392"/>
                    </a:lnTo>
                    <a:lnTo>
                      <a:pt x="135" y="1389"/>
                    </a:lnTo>
                    <a:lnTo>
                      <a:pt x="140" y="1387"/>
                    </a:lnTo>
                    <a:lnTo>
                      <a:pt x="142" y="1389"/>
                    </a:lnTo>
                    <a:lnTo>
                      <a:pt x="147" y="1389"/>
                    </a:lnTo>
                    <a:lnTo>
                      <a:pt x="150" y="1387"/>
                    </a:lnTo>
                    <a:lnTo>
                      <a:pt x="145" y="1387"/>
                    </a:lnTo>
                    <a:lnTo>
                      <a:pt x="142" y="1385"/>
                    </a:lnTo>
                    <a:lnTo>
                      <a:pt x="135" y="1385"/>
                    </a:lnTo>
                    <a:lnTo>
                      <a:pt x="137" y="1384"/>
                    </a:lnTo>
                    <a:lnTo>
                      <a:pt x="143" y="1382"/>
                    </a:lnTo>
                    <a:lnTo>
                      <a:pt x="145" y="1384"/>
                    </a:lnTo>
                    <a:lnTo>
                      <a:pt x="148" y="1382"/>
                    </a:lnTo>
                    <a:lnTo>
                      <a:pt x="148" y="1380"/>
                    </a:lnTo>
                    <a:lnTo>
                      <a:pt x="148" y="1379"/>
                    </a:lnTo>
                    <a:lnTo>
                      <a:pt x="150" y="1375"/>
                    </a:lnTo>
                    <a:lnTo>
                      <a:pt x="157" y="1375"/>
                    </a:lnTo>
                    <a:lnTo>
                      <a:pt x="162" y="1377"/>
                    </a:lnTo>
                    <a:lnTo>
                      <a:pt x="162" y="1375"/>
                    </a:lnTo>
                    <a:lnTo>
                      <a:pt x="155" y="1374"/>
                    </a:lnTo>
                    <a:lnTo>
                      <a:pt x="153" y="1372"/>
                    </a:lnTo>
                    <a:lnTo>
                      <a:pt x="150" y="1372"/>
                    </a:lnTo>
                    <a:lnTo>
                      <a:pt x="148" y="1375"/>
                    </a:lnTo>
                    <a:lnTo>
                      <a:pt x="143" y="1377"/>
                    </a:lnTo>
                    <a:lnTo>
                      <a:pt x="140" y="1379"/>
                    </a:lnTo>
                    <a:lnTo>
                      <a:pt x="138" y="1377"/>
                    </a:lnTo>
                    <a:lnTo>
                      <a:pt x="138" y="1374"/>
                    </a:lnTo>
                    <a:lnTo>
                      <a:pt x="138" y="1372"/>
                    </a:lnTo>
                    <a:lnTo>
                      <a:pt x="140" y="1367"/>
                    </a:lnTo>
                    <a:lnTo>
                      <a:pt x="147" y="1365"/>
                    </a:lnTo>
                    <a:lnTo>
                      <a:pt x="148" y="1362"/>
                    </a:lnTo>
                    <a:lnTo>
                      <a:pt x="160" y="1355"/>
                    </a:lnTo>
                    <a:lnTo>
                      <a:pt x="163" y="1354"/>
                    </a:lnTo>
                    <a:lnTo>
                      <a:pt x="165" y="1355"/>
                    </a:lnTo>
                    <a:lnTo>
                      <a:pt x="165" y="1362"/>
                    </a:lnTo>
                    <a:lnTo>
                      <a:pt x="168" y="1365"/>
                    </a:lnTo>
                    <a:lnTo>
                      <a:pt x="170" y="1364"/>
                    </a:lnTo>
                    <a:lnTo>
                      <a:pt x="168" y="1359"/>
                    </a:lnTo>
                    <a:lnTo>
                      <a:pt x="168" y="1352"/>
                    </a:lnTo>
                    <a:lnTo>
                      <a:pt x="173" y="1350"/>
                    </a:lnTo>
                    <a:lnTo>
                      <a:pt x="178" y="1350"/>
                    </a:lnTo>
                    <a:lnTo>
                      <a:pt x="173" y="1349"/>
                    </a:lnTo>
                    <a:lnTo>
                      <a:pt x="168" y="1349"/>
                    </a:lnTo>
                    <a:lnTo>
                      <a:pt x="165" y="1350"/>
                    </a:lnTo>
                    <a:lnTo>
                      <a:pt x="163" y="1347"/>
                    </a:lnTo>
                    <a:lnTo>
                      <a:pt x="163" y="1345"/>
                    </a:lnTo>
                    <a:lnTo>
                      <a:pt x="168" y="1344"/>
                    </a:lnTo>
                    <a:lnTo>
                      <a:pt x="173" y="1340"/>
                    </a:lnTo>
                    <a:lnTo>
                      <a:pt x="177" y="1334"/>
                    </a:lnTo>
                    <a:lnTo>
                      <a:pt x="177" y="1332"/>
                    </a:lnTo>
                    <a:lnTo>
                      <a:pt x="175" y="1332"/>
                    </a:lnTo>
                    <a:lnTo>
                      <a:pt x="173" y="1335"/>
                    </a:lnTo>
                    <a:lnTo>
                      <a:pt x="170" y="1339"/>
                    </a:lnTo>
                    <a:lnTo>
                      <a:pt x="165" y="1340"/>
                    </a:lnTo>
                    <a:lnTo>
                      <a:pt x="160" y="1345"/>
                    </a:lnTo>
                    <a:lnTo>
                      <a:pt x="153" y="1350"/>
                    </a:lnTo>
                    <a:lnTo>
                      <a:pt x="147" y="1352"/>
                    </a:lnTo>
                    <a:lnTo>
                      <a:pt x="143" y="1349"/>
                    </a:lnTo>
                    <a:lnTo>
                      <a:pt x="143" y="1345"/>
                    </a:lnTo>
                    <a:lnTo>
                      <a:pt x="148" y="1345"/>
                    </a:lnTo>
                    <a:lnTo>
                      <a:pt x="143" y="1344"/>
                    </a:lnTo>
                    <a:lnTo>
                      <a:pt x="137" y="1347"/>
                    </a:lnTo>
                    <a:lnTo>
                      <a:pt x="135" y="1344"/>
                    </a:lnTo>
                    <a:lnTo>
                      <a:pt x="137" y="1342"/>
                    </a:lnTo>
                    <a:lnTo>
                      <a:pt x="142" y="1339"/>
                    </a:lnTo>
                    <a:lnTo>
                      <a:pt x="147" y="1337"/>
                    </a:lnTo>
                    <a:lnTo>
                      <a:pt x="150" y="1337"/>
                    </a:lnTo>
                    <a:lnTo>
                      <a:pt x="152" y="1335"/>
                    </a:lnTo>
                    <a:lnTo>
                      <a:pt x="152" y="1334"/>
                    </a:lnTo>
                    <a:lnTo>
                      <a:pt x="148" y="1332"/>
                    </a:lnTo>
                    <a:lnTo>
                      <a:pt x="150" y="1330"/>
                    </a:lnTo>
                    <a:lnTo>
                      <a:pt x="152" y="1329"/>
                    </a:lnTo>
                    <a:lnTo>
                      <a:pt x="150" y="1327"/>
                    </a:lnTo>
                    <a:lnTo>
                      <a:pt x="147" y="1329"/>
                    </a:lnTo>
                    <a:lnTo>
                      <a:pt x="143" y="1329"/>
                    </a:lnTo>
                    <a:lnTo>
                      <a:pt x="142" y="1326"/>
                    </a:lnTo>
                    <a:lnTo>
                      <a:pt x="142" y="1316"/>
                    </a:lnTo>
                    <a:lnTo>
                      <a:pt x="140" y="1312"/>
                    </a:lnTo>
                    <a:lnTo>
                      <a:pt x="138" y="1309"/>
                    </a:lnTo>
                    <a:lnTo>
                      <a:pt x="140" y="1306"/>
                    </a:lnTo>
                    <a:lnTo>
                      <a:pt x="147" y="1307"/>
                    </a:lnTo>
                    <a:lnTo>
                      <a:pt x="152" y="1309"/>
                    </a:lnTo>
                    <a:lnTo>
                      <a:pt x="157" y="1309"/>
                    </a:lnTo>
                    <a:lnTo>
                      <a:pt x="163" y="1311"/>
                    </a:lnTo>
                    <a:lnTo>
                      <a:pt x="160" y="1309"/>
                    </a:lnTo>
                    <a:lnTo>
                      <a:pt x="157" y="1307"/>
                    </a:lnTo>
                    <a:lnTo>
                      <a:pt x="152" y="1307"/>
                    </a:lnTo>
                    <a:lnTo>
                      <a:pt x="148" y="1304"/>
                    </a:lnTo>
                    <a:lnTo>
                      <a:pt x="145" y="1301"/>
                    </a:lnTo>
                    <a:lnTo>
                      <a:pt x="145" y="1299"/>
                    </a:lnTo>
                    <a:lnTo>
                      <a:pt x="148" y="1296"/>
                    </a:lnTo>
                    <a:lnTo>
                      <a:pt x="150" y="1294"/>
                    </a:lnTo>
                    <a:lnTo>
                      <a:pt x="153" y="1291"/>
                    </a:lnTo>
                    <a:lnTo>
                      <a:pt x="152" y="1286"/>
                    </a:lnTo>
                    <a:lnTo>
                      <a:pt x="150" y="1286"/>
                    </a:lnTo>
                    <a:lnTo>
                      <a:pt x="147" y="1291"/>
                    </a:lnTo>
                    <a:lnTo>
                      <a:pt x="142" y="1294"/>
                    </a:lnTo>
                    <a:lnTo>
                      <a:pt x="135" y="1296"/>
                    </a:lnTo>
                    <a:lnTo>
                      <a:pt x="130" y="1299"/>
                    </a:lnTo>
                    <a:lnTo>
                      <a:pt x="130" y="1302"/>
                    </a:lnTo>
                    <a:lnTo>
                      <a:pt x="127" y="1302"/>
                    </a:lnTo>
                    <a:lnTo>
                      <a:pt x="123" y="1296"/>
                    </a:lnTo>
                    <a:lnTo>
                      <a:pt x="122" y="1289"/>
                    </a:lnTo>
                    <a:lnTo>
                      <a:pt x="123" y="1277"/>
                    </a:lnTo>
                    <a:lnTo>
                      <a:pt x="125" y="1271"/>
                    </a:lnTo>
                    <a:lnTo>
                      <a:pt x="123" y="1267"/>
                    </a:lnTo>
                    <a:lnTo>
                      <a:pt x="120" y="1267"/>
                    </a:lnTo>
                    <a:lnTo>
                      <a:pt x="120" y="1261"/>
                    </a:lnTo>
                    <a:lnTo>
                      <a:pt x="123" y="1259"/>
                    </a:lnTo>
                    <a:lnTo>
                      <a:pt x="125" y="1261"/>
                    </a:lnTo>
                    <a:lnTo>
                      <a:pt x="128" y="1262"/>
                    </a:lnTo>
                    <a:lnTo>
                      <a:pt x="127" y="1257"/>
                    </a:lnTo>
                    <a:lnTo>
                      <a:pt x="132" y="1254"/>
                    </a:lnTo>
                    <a:lnTo>
                      <a:pt x="133" y="1247"/>
                    </a:lnTo>
                    <a:lnTo>
                      <a:pt x="138" y="1247"/>
                    </a:lnTo>
                    <a:lnTo>
                      <a:pt x="143" y="1247"/>
                    </a:lnTo>
                    <a:lnTo>
                      <a:pt x="145" y="1246"/>
                    </a:lnTo>
                    <a:lnTo>
                      <a:pt x="142" y="1246"/>
                    </a:lnTo>
                    <a:lnTo>
                      <a:pt x="142" y="1244"/>
                    </a:lnTo>
                    <a:lnTo>
                      <a:pt x="148" y="1237"/>
                    </a:lnTo>
                    <a:lnTo>
                      <a:pt x="152" y="1234"/>
                    </a:lnTo>
                    <a:lnTo>
                      <a:pt x="158" y="1229"/>
                    </a:lnTo>
                    <a:lnTo>
                      <a:pt x="158" y="1228"/>
                    </a:lnTo>
                    <a:lnTo>
                      <a:pt x="155" y="1228"/>
                    </a:lnTo>
                    <a:lnTo>
                      <a:pt x="155" y="1226"/>
                    </a:lnTo>
                    <a:lnTo>
                      <a:pt x="148" y="1229"/>
                    </a:lnTo>
                    <a:lnTo>
                      <a:pt x="147" y="1234"/>
                    </a:lnTo>
                    <a:lnTo>
                      <a:pt x="140" y="1242"/>
                    </a:lnTo>
                    <a:lnTo>
                      <a:pt x="138" y="1242"/>
                    </a:lnTo>
                    <a:lnTo>
                      <a:pt x="138" y="1239"/>
                    </a:lnTo>
                    <a:lnTo>
                      <a:pt x="143" y="1232"/>
                    </a:lnTo>
                    <a:lnTo>
                      <a:pt x="145" y="1226"/>
                    </a:lnTo>
                    <a:lnTo>
                      <a:pt x="150" y="1216"/>
                    </a:lnTo>
                    <a:lnTo>
                      <a:pt x="153" y="1211"/>
                    </a:lnTo>
                    <a:lnTo>
                      <a:pt x="152" y="1211"/>
                    </a:lnTo>
                    <a:lnTo>
                      <a:pt x="152" y="1209"/>
                    </a:lnTo>
                    <a:lnTo>
                      <a:pt x="152" y="1206"/>
                    </a:lnTo>
                    <a:lnTo>
                      <a:pt x="153" y="1204"/>
                    </a:lnTo>
                    <a:lnTo>
                      <a:pt x="153" y="1203"/>
                    </a:lnTo>
                    <a:lnTo>
                      <a:pt x="155" y="1201"/>
                    </a:lnTo>
                    <a:lnTo>
                      <a:pt x="153" y="1199"/>
                    </a:lnTo>
                    <a:lnTo>
                      <a:pt x="150" y="1198"/>
                    </a:lnTo>
                    <a:lnTo>
                      <a:pt x="150" y="1193"/>
                    </a:lnTo>
                    <a:lnTo>
                      <a:pt x="148" y="1189"/>
                    </a:lnTo>
                    <a:lnTo>
                      <a:pt x="143" y="1186"/>
                    </a:lnTo>
                    <a:lnTo>
                      <a:pt x="140" y="1183"/>
                    </a:lnTo>
                    <a:lnTo>
                      <a:pt x="138" y="1181"/>
                    </a:lnTo>
                    <a:lnTo>
                      <a:pt x="133" y="1174"/>
                    </a:lnTo>
                    <a:lnTo>
                      <a:pt x="130" y="1174"/>
                    </a:lnTo>
                    <a:lnTo>
                      <a:pt x="127" y="1174"/>
                    </a:lnTo>
                    <a:lnTo>
                      <a:pt x="127" y="1173"/>
                    </a:lnTo>
                    <a:lnTo>
                      <a:pt x="128" y="1169"/>
                    </a:lnTo>
                    <a:lnTo>
                      <a:pt x="127" y="1166"/>
                    </a:lnTo>
                    <a:lnTo>
                      <a:pt x="125" y="1164"/>
                    </a:lnTo>
                    <a:lnTo>
                      <a:pt x="125" y="1163"/>
                    </a:lnTo>
                    <a:lnTo>
                      <a:pt x="127" y="1161"/>
                    </a:lnTo>
                    <a:lnTo>
                      <a:pt x="128" y="1159"/>
                    </a:lnTo>
                    <a:lnTo>
                      <a:pt x="128" y="1158"/>
                    </a:lnTo>
                    <a:lnTo>
                      <a:pt x="125" y="1156"/>
                    </a:lnTo>
                    <a:lnTo>
                      <a:pt x="123" y="1156"/>
                    </a:lnTo>
                    <a:lnTo>
                      <a:pt x="123" y="1153"/>
                    </a:lnTo>
                    <a:lnTo>
                      <a:pt x="127" y="1151"/>
                    </a:lnTo>
                    <a:lnTo>
                      <a:pt x="125" y="1134"/>
                    </a:lnTo>
                    <a:lnTo>
                      <a:pt x="127" y="1120"/>
                    </a:lnTo>
                    <a:lnTo>
                      <a:pt x="128" y="1106"/>
                    </a:lnTo>
                    <a:lnTo>
                      <a:pt x="127" y="1103"/>
                    </a:lnTo>
                    <a:lnTo>
                      <a:pt x="125" y="1100"/>
                    </a:lnTo>
                    <a:lnTo>
                      <a:pt x="128" y="1095"/>
                    </a:lnTo>
                    <a:lnTo>
                      <a:pt x="127" y="1091"/>
                    </a:lnTo>
                    <a:lnTo>
                      <a:pt x="125" y="1088"/>
                    </a:lnTo>
                    <a:lnTo>
                      <a:pt x="123" y="1080"/>
                    </a:lnTo>
                    <a:lnTo>
                      <a:pt x="118" y="1075"/>
                    </a:lnTo>
                    <a:lnTo>
                      <a:pt x="117" y="1066"/>
                    </a:lnTo>
                    <a:lnTo>
                      <a:pt x="118" y="1063"/>
                    </a:lnTo>
                    <a:lnTo>
                      <a:pt x="113" y="1050"/>
                    </a:lnTo>
                    <a:lnTo>
                      <a:pt x="115" y="1046"/>
                    </a:lnTo>
                    <a:lnTo>
                      <a:pt x="118" y="1041"/>
                    </a:lnTo>
                    <a:lnTo>
                      <a:pt x="117" y="1038"/>
                    </a:lnTo>
                    <a:lnTo>
                      <a:pt x="117" y="1033"/>
                    </a:lnTo>
                    <a:lnTo>
                      <a:pt x="112" y="1030"/>
                    </a:lnTo>
                    <a:lnTo>
                      <a:pt x="103" y="1030"/>
                    </a:lnTo>
                    <a:lnTo>
                      <a:pt x="95" y="1033"/>
                    </a:lnTo>
                    <a:lnTo>
                      <a:pt x="94" y="1033"/>
                    </a:lnTo>
                    <a:lnTo>
                      <a:pt x="85" y="1036"/>
                    </a:lnTo>
                    <a:lnTo>
                      <a:pt x="80" y="1041"/>
                    </a:lnTo>
                    <a:lnTo>
                      <a:pt x="74" y="1050"/>
                    </a:lnTo>
                    <a:lnTo>
                      <a:pt x="67" y="1053"/>
                    </a:lnTo>
                    <a:lnTo>
                      <a:pt x="59" y="1055"/>
                    </a:lnTo>
                    <a:lnTo>
                      <a:pt x="50" y="1055"/>
                    </a:lnTo>
                    <a:lnTo>
                      <a:pt x="49" y="1056"/>
                    </a:lnTo>
                    <a:lnTo>
                      <a:pt x="49" y="1053"/>
                    </a:lnTo>
                    <a:lnTo>
                      <a:pt x="52" y="1046"/>
                    </a:lnTo>
                    <a:lnTo>
                      <a:pt x="50" y="1041"/>
                    </a:lnTo>
                    <a:lnTo>
                      <a:pt x="44" y="1017"/>
                    </a:lnTo>
                    <a:lnTo>
                      <a:pt x="39" y="1005"/>
                    </a:lnTo>
                    <a:lnTo>
                      <a:pt x="37" y="998"/>
                    </a:lnTo>
                    <a:lnTo>
                      <a:pt x="42" y="990"/>
                    </a:lnTo>
                    <a:lnTo>
                      <a:pt x="30" y="988"/>
                    </a:lnTo>
                    <a:lnTo>
                      <a:pt x="20" y="993"/>
                    </a:lnTo>
                    <a:lnTo>
                      <a:pt x="15" y="990"/>
                    </a:lnTo>
                    <a:lnTo>
                      <a:pt x="0" y="990"/>
                    </a:lnTo>
                    <a:lnTo>
                      <a:pt x="281" y="527"/>
                    </a:lnTo>
                    <a:lnTo>
                      <a:pt x="281" y="530"/>
                    </a:lnTo>
                    <a:lnTo>
                      <a:pt x="285" y="530"/>
                    </a:lnTo>
                    <a:lnTo>
                      <a:pt x="298" y="538"/>
                    </a:lnTo>
                    <a:lnTo>
                      <a:pt x="303" y="540"/>
                    </a:lnTo>
                    <a:lnTo>
                      <a:pt x="306" y="543"/>
                    </a:lnTo>
                    <a:lnTo>
                      <a:pt x="308" y="546"/>
                    </a:lnTo>
                    <a:lnTo>
                      <a:pt x="309" y="545"/>
                    </a:lnTo>
                    <a:lnTo>
                      <a:pt x="314" y="548"/>
                    </a:lnTo>
                    <a:lnTo>
                      <a:pt x="314" y="553"/>
                    </a:lnTo>
                    <a:lnTo>
                      <a:pt x="321" y="558"/>
                    </a:lnTo>
                    <a:lnTo>
                      <a:pt x="319" y="560"/>
                    </a:lnTo>
                    <a:lnTo>
                      <a:pt x="319" y="561"/>
                    </a:lnTo>
                    <a:lnTo>
                      <a:pt x="318" y="566"/>
                    </a:lnTo>
                    <a:lnTo>
                      <a:pt x="319" y="571"/>
                    </a:lnTo>
                    <a:lnTo>
                      <a:pt x="323" y="573"/>
                    </a:lnTo>
                    <a:lnTo>
                      <a:pt x="324" y="570"/>
                    </a:lnTo>
                    <a:lnTo>
                      <a:pt x="324" y="571"/>
                    </a:lnTo>
                    <a:lnTo>
                      <a:pt x="326" y="578"/>
                    </a:lnTo>
                    <a:lnTo>
                      <a:pt x="328" y="585"/>
                    </a:lnTo>
                    <a:lnTo>
                      <a:pt x="334" y="591"/>
                    </a:lnTo>
                    <a:lnTo>
                      <a:pt x="339" y="595"/>
                    </a:lnTo>
                    <a:lnTo>
                      <a:pt x="341" y="593"/>
                    </a:lnTo>
                    <a:lnTo>
                      <a:pt x="344" y="595"/>
                    </a:lnTo>
                    <a:lnTo>
                      <a:pt x="344" y="600"/>
                    </a:lnTo>
                    <a:lnTo>
                      <a:pt x="348" y="600"/>
                    </a:lnTo>
                    <a:lnTo>
                      <a:pt x="349" y="600"/>
                    </a:lnTo>
                    <a:lnTo>
                      <a:pt x="354" y="606"/>
                    </a:lnTo>
                    <a:lnTo>
                      <a:pt x="354" y="613"/>
                    </a:lnTo>
                    <a:lnTo>
                      <a:pt x="358" y="613"/>
                    </a:lnTo>
                    <a:lnTo>
                      <a:pt x="359" y="616"/>
                    </a:lnTo>
                    <a:lnTo>
                      <a:pt x="363" y="616"/>
                    </a:lnTo>
                    <a:lnTo>
                      <a:pt x="369" y="623"/>
                    </a:lnTo>
                    <a:lnTo>
                      <a:pt x="369" y="626"/>
                    </a:lnTo>
                    <a:lnTo>
                      <a:pt x="371" y="628"/>
                    </a:lnTo>
                    <a:lnTo>
                      <a:pt x="371" y="631"/>
                    </a:lnTo>
                    <a:lnTo>
                      <a:pt x="366" y="636"/>
                    </a:lnTo>
                    <a:lnTo>
                      <a:pt x="363" y="639"/>
                    </a:lnTo>
                    <a:lnTo>
                      <a:pt x="373" y="633"/>
                    </a:lnTo>
                    <a:lnTo>
                      <a:pt x="376" y="630"/>
                    </a:lnTo>
                    <a:lnTo>
                      <a:pt x="379" y="631"/>
                    </a:lnTo>
                    <a:lnTo>
                      <a:pt x="379" y="625"/>
                    </a:lnTo>
                    <a:lnTo>
                      <a:pt x="379" y="613"/>
                    </a:lnTo>
                    <a:lnTo>
                      <a:pt x="379" y="606"/>
                    </a:lnTo>
                    <a:lnTo>
                      <a:pt x="383" y="601"/>
                    </a:lnTo>
                    <a:lnTo>
                      <a:pt x="389" y="600"/>
                    </a:lnTo>
                    <a:lnTo>
                      <a:pt x="396" y="596"/>
                    </a:lnTo>
                    <a:lnTo>
                      <a:pt x="401" y="593"/>
                    </a:lnTo>
                    <a:lnTo>
                      <a:pt x="404" y="591"/>
                    </a:lnTo>
                    <a:lnTo>
                      <a:pt x="407" y="590"/>
                    </a:lnTo>
                    <a:lnTo>
                      <a:pt x="411" y="590"/>
                    </a:lnTo>
                    <a:lnTo>
                      <a:pt x="414" y="588"/>
                    </a:lnTo>
                    <a:lnTo>
                      <a:pt x="419" y="588"/>
                    </a:lnTo>
                    <a:lnTo>
                      <a:pt x="421" y="588"/>
                    </a:lnTo>
                    <a:lnTo>
                      <a:pt x="426" y="588"/>
                    </a:lnTo>
                    <a:lnTo>
                      <a:pt x="427" y="590"/>
                    </a:lnTo>
                    <a:lnTo>
                      <a:pt x="434" y="583"/>
                    </a:lnTo>
                    <a:lnTo>
                      <a:pt x="436" y="578"/>
                    </a:lnTo>
                    <a:lnTo>
                      <a:pt x="439" y="578"/>
                    </a:lnTo>
                    <a:lnTo>
                      <a:pt x="444" y="580"/>
                    </a:lnTo>
                    <a:lnTo>
                      <a:pt x="446" y="578"/>
                    </a:lnTo>
                    <a:lnTo>
                      <a:pt x="446" y="576"/>
                    </a:lnTo>
                    <a:lnTo>
                      <a:pt x="449" y="576"/>
                    </a:lnTo>
                    <a:lnTo>
                      <a:pt x="451" y="578"/>
                    </a:lnTo>
                    <a:lnTo>
                      <a:pt x="464" y="576"/>
                    </a:lnTo>
                    <a:lnTo>
                      <a:pt x="476" y="573"/>
                    </a:lnTo>
                    <a:lnTo>
                      <a:pt x="481" y="571"/>
                    </a:lnTo>
                    <a:lnTo>
                      <a:pt x="482" y="571"/>
                    </a:lnTo>
                    <a:lnTo>
                      <a:pt x="486" y="575"/>
                    </a:lnTo>
                    <a:lnTo>
                      <a:pt x="489" y="573"/>
                    </a:lnTo>
                    <a:lnTo>
                      <a:pt x="491" y="568"/>
                    </a:lnTo>
                    <a:lnTo>
                      <a:pt x="497" y="565"/>
                    </a:lnTo>
                    <a:lnTo>
                      <a:pt x="502" y="565"/>
                    </a:lnTo>
                    <a:lnTo>
                      <a:pt x="504" y="566"/>
                    </a:lnTo>
                    <a:lnTo>
                      <a:pt x="507" y="566"/>
                    </a:lnTo>
                    <a:lnTo>
                      <a:pt x="507" y="570"/>
                    </a:lnTo>
                    <a:lnTo>
                      <a:pt x="512" y="568"/>
                    </a:lnTo>
                    <a:lnTo>
                      <a:pt x="512" y="565"/>
                    </a:lnTo>
                    <a:lnTo>
                      <a:pt x="514" y="563"/>
                    </a:lnTo>
                    <a:lnTo>
                      <a:pt x="517" y="565"/>
                    </a:lnTo>
                    <a:lnTo>
                      <a:pt x="517" y="570"/>
                    </a:lnTo>
                    <a:lnTo>
                      <a:pt x="520" y="571"/>
                    </a:lnTo>
                    <a:lnTo>
                      <a:pt x="517" y="573"/>
                    </a:lnTo>
                    <a:lnTo>
                      <a:pt x="515" y="573"/>
                    </a:lnTo>
                    <a:lnTo>
                      <a:pt x="514" y="578"/>
                    </a:lnTo>
                    <a:lnTo>
                      <a:pt x="504" y="580"/>
                    </a:lnTo>
                    <a:lnTo>
                      <a:pt x="494" y="583"/>
                    </a:lnTo>
                    <a:lnTo>
                      <a:pt x="491" y="586"/>
                    </a:lnTo>
                    <a:lnTo>
                      <a:pt x="486" y="588"/>
                    </a:lnTo>
                    <a:lnTo>
                      <a:pt x="481" y="588"/>
                    </a:lnTo>
                    <a:lnTo>
                      <a:pt x="477" y="590"/>
                    </a:lnTo>
                    <a:lnTo>
                      <a:pt x="476" y="590"/>
                    </a:lnTo>
                    <a:lnTo>
                      <a:pt x="474" y="586"/>
                    </a:lnTo>
                    <a:lnTo>
                      <a:pt x="466" y="590"/>
                    </a:lnTo>
                    <a:lnTo>
                      <a:pt x="459" y="590"/>
                    </a:lnTo>
                    <a:lnTo>
                      <a:pt x="457" y="591"/>
                    </a:lnTo>
                    <a:lnTo>
                      <a:pt x="449" y="591"/>
                    </a:lnTo>
                    <a:lnTo>
                      <a:pt x="444" y="593"/>
                    </a:lnTo>
                    <a:lnTo>
                      <a:pt x="441" y="598"/>
                    </a:lnTo>
                    <a:lnTo>
                      <a:pt x="429" y="601"/>
                    </a:lnTo>
                    <a:lnTo>
                      <a:pt x="427" y="600"/>
                    </a:lnTo>
                    <a:lnTo>
                      <a:pt x="422" y="605"/>
                    </a:lnTo>
                    <a:lnTo>
                      <a:pt x="421" y="606"/>
                    </a:lnTo>
                    <a:lnTo>
                      <a:pt x="417" y="608"/>
                    </a:lnTo>
                    <a:lnTo>
                      <a:pt x="416" y="606"/>
                    </a:lnTo>
                    <a:lnTo>
                      <a:pt x="411" y="610"/>
                    </a:lnTo>
                    <a:lnTo>
                      <a:pt x="407" y="615"/>
                    </a:lnTo>
                    <a:lnTo>
                      <a:pt x="404" y="615"/>
                    </a:lnTo>
                    <a:lnTo>
                      <a:pt x="402" y="618"/>
                    </a:lnTo>
                    <a:lnTo>
                      <a:pt x="406" y="623"/>
                    </a:lnTo>
                    <a:lnTo>
                      <a:pt x="411" y="625"/>
                    </a:lnTo>
                    <a:lnTo>
                      <a:pt x="406" y="620"/>
                    </a:lnTo>
                    <a:lnTo>
                      <a:pt x="407" y="618"/>
                    </a:lnTo>
                    <a:lnTo>
                      <a:pt x="411" y="620"/>
                    </a:lnTo>
                    <a:lnTo>
                      <a:pt x="414" y="618"/>
                    </a:lnTo>
                    <a:lnTo>
                      <a:pt x="417" y="620"/>
                    </a:lnTo>
                    <a:lnTo>
                      <a:pt x="416" y="616"/>
                    </a:lnTo>
                    <a:lnTo>
                      <a:pt x="422" y="610"/>
                    </a:lnTo>
                    <a:lnTo>
                      <a:pt x="431" y="608"/>
                    </a:lnTo>
                    <a:lnTo>
                      <a:pt x="434" y="608"/>
                    </a:lnTo>
                    <a:lnTo>
                      <a:pt x="447" y="601"/>
                    </a:lnTo>
                    <a:lnTo>
                      <a:pt x="449" y="596"/>
                    </a:lnTo>
                    <a:lnTo>
                      <a:pt x="452" y="596"/>
                    </a:lnTo>
                    <a:lnTo>
                      <a:pt x="456" y="600"/>
                    </a:lnTo>
                    <a:lnTo>
                      <a:pt x="459" y="596"/>
                    </a:lnTo>
                    <a:lnTo>
                      <a:pt x="462" y="596"/>
                    </a:lnTo>
                    <a:lnTo>
                      <a:pt x="462" y="598"/>
                    </a:lnTo>
                    <a:lnTo>
                      <a:pt x="471" y="595"/>
                    </a:lnTo>
                    <a:lnTo>
                      <a:pt x="472" y="596"/>
                    </a:lnTo>
                    <a:lnTo>
                      <a:pt x="466" y="603"/>
                    </a:lnTo>
                    <a:lnTo>
                      <a:pt x="467" y="606"/>
                    </a:lnTo>
                    <a:lnTo>
                      <a:pt x="472" y="600"/>
                    </a:lnTo>
                    <a:lnTo>
                      <a:pt x="479" y="598"/>
                    </a:lnTo>
                    <a:lnTo>
                      <a:pt x="494" y="588"/>
                    </a:lnTo>
                    <a:lnTo>
                      <a:pt x="500" y="588"/>
                    </a:lnTo>
                    <a:lnTo>
                      <a:pt x="507" y="585"/>
                    </a:lnTo>
                    <a:lnTo>
                      <a:pt x="515" y="585"/>
                    </a:lnTo>
                    <a:lnTo>
                      <a:pt x="519" y="583"/>
                    </a:lnTo>
                    <a:lnTo>
                      <a:pt x="524" y="583"/>
                    </a:lnTo>
                    <a:lnTo>
                      <a:pt x="522" y="586"/>
                    </a:lnTo>
                    <a:lnTo>
                      <a:pt x="515" y="590"/>
                    </a:lnTo>
                    <a:lnTo>
                      <a:pt x="515" y="593"/>
                    </a:lnTo>
                    <a:lnTo>
                      <a:pt x="520" y="595"/>
                    </a:lnTo>
                    <a:lnTo>
                      <a:pt x="525" y="590"/>
                    </a:lnTo>
                    <a:lnTo>
                      <a:pt x="537" y="585"/>
                    </a:lnTo>
                    <a:lnTo>
                      <a:pt x="539" y="585"/>
                    </a:lnTo>
                    <a:lnTo>
                      <a:pt x="539" y="581"/>
                    </a:lnTo>
                    <a:lnTo>
                      <a:pt x="544" y="578"/>
                    </a:lnTo>
                    <a:lnTo>
                      <a:pt x="547" y="580"/>
                    </a:lnTo>
                    <a:lnTo>
                      <a:pt x="547" y="576"/>
                    </a:lnTo>
                    <a:lnTo>
                      <a:pt x="549" y="575"/>
                    </a:lnTo>
                    <a:lnTo>
                      <a:pt x="552" y="576"/>
                    </a:lnTo>
                    <a:lnTo>
                      <a:pt x="555" y="578"/>
                    </a:lnTo>
                    <a:lnTo>
                      <a:pt x="557" y="571"/>
                    </a:lnTo>
                    <a:lnTo>
                      <a:pt x="555" y="566"/>
                    </a:lnTo>
                    <a:lnTo>
                      <a:pt x="557" y="565"/>
                    </a:lnTo>
                    <a:lnTo>
                      <a:pt x="555" y="561"/>
                    </a:lnTo>
                    <a:lnTo>
                      <a:pt x="559" y="555"/>
                    </a:lnTo>
                    <a:lnTo>
                      <a:pt x="565" y="553"/>
                    </a:lnTo>
                    <a:lnTo>
                      <a:pt x="565" y="558"/>
                    </a:lnTo>
                    <a:lnTo>
                      <a:pt x="567" y="575"/>
                    </a:lnTo>
                    <a:lnTo>
                      <a:pt x="564" y="580"/>
                    </a:lnTo>
                    <a:lnTo>
                      <a:pt x="565" y="593"/>
                    </a:lnTo>
                    <a:lnTo>
                      <a:pt x="560" y="601"/>
                    </a:lnTo>
                    <a:lnTo>
                      <a:pt x="560" y="621"/>
                    </a:lnTo>
                    <a:lnTo>
                      <a:pt x="562" y="626"/>
                    </a:lnTo>
                    <a:lnTo>
                      <a:pt x="569" y="628"/>
                    </a:lnTo>
                    <a:lnTo>
                      <a:pt x="572" y="635"/>
                    </a:lnTo>
                    <a:lnTo>
                      <a:pt x="579" y="631"/>
                    </a:lnTo>
                    <a:lnTo>
                      <a:pt x="577" y="628"/>
                    </a:lnTo>
                    <a:lnTo>
                      <a:pt x="572" y="628"/>
                    </a:lnTo>
                    <a:lnTo>
                      <a:pt x="570" y="625"/>
                    </a:lnTo>
                    <a:lnTo>
                      <a:pt x="575" y="623"/>
                    </a:lnTo>
                    <a:lnTo>
                      <a:pt x="580" y="625"/>
                    </a:lnTo>
                    <a:lnTo>
                      <a:pt x="580" y="620"/>
                    </a:lnTo>
                    <a:lnTo>
                      <a:pt x="579" y="618"/>
                    </a:lnTo>
                    <a:lnTo>
                      <a:pt x="584" y="615"/>
                    </a:lnTo>
                    <a:lnTo>
                      <a:pt x="589" y="615"/>
                    </a:lnTo>
                    <a:lnTo>
                      <a:pt x="590" y="618"/>
                    </a:lnTo>
                    <a:lnTo>
                      <a:pt x="593" y="615"/>
                    </a:lnTo>
                    <a:lnTo>
                      <a:pt x="589" y="606"/>
                    </a:lnTo>
                    <a:lnTo>
                      <a:pt x="593" y="608"/>
                    </a:lnTo>
                    <a:lnTo>
                      <a:pt x="602" y="603"/>
                    </a:lnTo>
                    <a:lnTo>
                      <a:pt x="602" y="598"/>
                    </a:lnTo>
                    <a:lnTo>
                      <a:pt x="608" y="598"/>
                    </a:lnTo>
                    <a:lnTo>
                      <a:pt x="608" y="603"/>
                    </a:lnTo>
                    <a:lnTo>
                      <a:pt x="608" y="606"/>
                    </a:lnTo>
                    <a:lnTo>
                      <a:pt x="605" y="610"/>
                    </a:lnTo>
                    <a:lnTo>
                      <a:pt x="605" y="611"/>
                    </a:lnTo>
                    <a:lnTo>
                      <a:pt x="600" y="616"/>
                    </a:lnTo>
                    <a:lnTo>
                      <a:pt x="600" y="618"/>
                    </a:lnTo>
                    <a:lnTo>
                      <a:pt x="602" y="620"/>
                    </a:lnTo>
                    <a:lnTo>
                      <a:pt x="605" y="620"/>
                    </a:lnTo>
                    <a:lnTo>
                      <a:pt x="607" y="621"/>
                    </a:lnTo>
                    <a:lnTo>
                      <a:pt x="605" y="623"/>
                    </a:lnTo>
                    <a:lnTo>
                      <a:pt x="602" y="625"/>
                    </a:lnTo>
                    <a:lnTo>
                      <a:pt x="597" y="628"/>
                    </a:lnTo>
                    <a:lnTo>
                      <a:pt x="595" y="628"/>
                    </a:lnTo>
                    <a:lnTo>
                      <a:pt x="593" y="630"/>
                    </a:lnTo>
                    <a:lnTo>
                      <a:pt x="589" y="635"/>
                    </a:lnTo>
                    <a:lnTo>
                      <a:pt x="592" y="636"/>
                    </a:lnTo>
                    <a:lnTo>
                      <a:pt x="598" y="638"/>
                    </a:lnTo>
                    <a:lnTo>
                      <a:pt x="603" y="641"/>
                    </a:lnTo>
                    <a:lnTo>
                      <a:pt x="607" y="639"/>
                    </a:lnTo>
                    <a:lnTo>
                      <a:pt x="612" y="636"/>
                    </a:lnTo>
                    <a:lnTo>
                      <a:pt x="617" y="636"/>
                    </a:lnTo>
                    <a:lnTo>
                      <a:pt x="622" y="628"/>
                    </a:lnTo>
                    <a:lnTo>
                      <a:pt x="627" y="623"/>
                    </a:lnTo>
                    <a:lnTo>
                      <a:pt x="632" y="621"/>
                    </a:lnTo>
                    <a:lnTo>
                      <a:pt x="635" y="625"/>
                    </a:lnTo>
                    <a:lnTo>
                      <a:pt x="640" y="625"/>
                    </a:lnTo>
                    <a:lnTo>
                      <a:pt x="643" y="628"/>
                    </a:lnTo>
                    <a:lnTo>
                      <a:pt x="648" y="628"/>
                    </a:lnTo>
                    <a:lnTo>
                      <a:pt x="655" y="631"/>
                    </a:lnTo>
                    <a:lnTo>
                      <a:pt x="658" y="631"/>
                    </a:lnTo>
                    <a:lnTo>
                      <a:pt x="658" y="636"/>
                    </a:lnTo>
                    <a:lnTo>
                      <a:pt x="663" y="646"/>
                    </a:lnTo>
                    <a:lnTo>
                      <a:pt x="663" y="651"/>
                    </a:lnTo>
                    <a:lnTo>
                      <a:pt x="668" y="659"/>
                    </a:lnTo>
                    <a:lnTo>
                      <a:pt x="688" y="671"/>
                    </a:lnTo>
                    <a:lnTo>
                      <a:pt x="690" y="674"/>
                    </a:lnTo>
                    <a:lnTo>
                      <a:pt x="696" y="678"/>
                    </a:lnTo>
                    <a:lnTo>
                      <a:pt x="703" y="684"/>
                    </a:lnTo>
                    <a:lnTo>
                      <a:pt x="705" y="684"/>
                    </a:lnTo>
                    <a:lnTo>
                      <a:pt x="710" y="688"/>
                    </a:lnTo>
                    <a:lnTo>
                      <a:pt x="711" y="691"/>
                    </a:lnTo>
                    <a:lnTo>
                      <a:pt x="715" y="693"/>
                    </a:lnTo>
                    <a:lnTo>
                      <a:pt x="718" y="691"/>
                    </a:lnTo>
                    <a:lnTo>
                      <a:pt x="720" y="694"/>
                    </a:lnTo>
                    <a:lnTo>
                      <a:pt x="726" y="698"/>
                    </a:lnTo>
                    <a:lnTo>
                      <a:pt x="730" y="698"/>
                    </a:lnTo>
                    <a:lnTo>
                      <a:pt x="730" y="703"/>
                    </a:lnTo>
                    <a:lnTo>
                      <a:pt x="733" y="706"/>
                    </a:lnTo>
                    <a:lnTo>
                      <a:pt x="735" y="703"/>
                    </a:lnTo>
                    <a:lnTo>
                      <a:pt x="733" y="699"/>
                    </a:lnTo>
                    <a:lnTo>
                      <a:pt x="735" y="698"/>
                    </a:lnTo>
                    <a:lnTo>
                      <a:pt x="730" y="694"/>
                    </a:lnTo>
                    <a:lnTo>
                      <a:pt x="730" y="691"/>
                    </a:lnTo>
                    <a:lnTo>
                      <a:pt x="736" y="694"/>
                    </a:lnTo>
                    <a:lnTo>
                      <a:pt x="738" y="698"/>
                    </a:lnTo>
                    <a:lnTo>
                      <a:pt x="741" y="698"/>
                    </a:lnTo>
                    <a:lnTo>
                      <a:pt x="741" y="694"/>
                    </a:lnTo>
                    <a:lnTo>
                      <a:pt x="745" y="694"/>
                    </a:lnTo>
                    <a:lnTo>
                      <a:pt x="750" y="699"/>
                    </a:lnTo>
                    <a:lnTo>
                      <a:pt x="751" y="703"/>
                    </a:lnTo>
                    <a:lnTo>
                      <a:pt x="755" y="704"/>
                    </a:lnTo>
                    <a:lnTo>
                      <a:pt x="758" y="709"/>
                    </a:lnTo>
                    <a:lnTo>
                      <a:pt x="760" y="713"/>
                    </a:lnTo>
                    <a:lnTo>
                      <a:pt x="760" y="719"/>
                    </a:lnTo>
                    <a:lnTo>
                      <a:pt x="763" y="724"/>
                    </a:lnTo>
                    <a:lnTo>
                      <a:pt x="760" y="728"/>
                    </a:lnTo>
                    <a:lnTo>
                      <a:pt x="760" y="733"/>
                    </a:lnTo>
                    <a:lnTo>
                      <a:pt x="755" y="737"/>
                    </a:lnTo>
                    <a:lnTo>
                      <a:pt x="745" y="734"/>
                    </a:lnTo>
                    <a:lnTo>
                      <a:pt x="738" y="733"/>
                    </a:lnTo>
                    <a:lnTo>
                      <a:pt x="738" y="736"/>
                    </a:lnTo>
                    <a:lnTo>
                      <a:pt x="736" y="736"/>
                    </a:lnTo>
                    <a:lnTo>
                      <a:pt x="731" y="734"/>
                    </a:lnTo>
                    <a:lnTo>
                      <a:pt x="726" y="734"/>
                    </a:lnTo>
                    <a:lnTo>
                      <a:pt x="728" y="737"/>
                    </a:lnTo>
                    <a:lnTo>
                      <a:pt x="723" y="739"/>
                    </a:lnTo>
                    <a:lnTo>
                      <a:pt x="723" y="744"/>
                    </a:lnTo>
                    <a:lnTo>
                      <a:pt x="718" y="744"/>
                    </a:lnTo>
                    <a:lnTo>
                      <a:pt x="713" y="746"/>
                    </a:lnTo>
                    <a:lnTo>
                      <a:pt x="716" y="747"/>
                    </a:lnTo>
                    <a:lnTo>
                      <a:pt x="720" y="749"/>
                    </a:lnTo>
                    <a:lnTo>
                      <a:pt x="721" y="754"/>
                    </a:lnTo>
                    <a:lnTo>
                      <a:pt x="726" y="757"/>
                    </a:lnTo>
                    <a:lnTo>
                      <a:pt x="728" y="756"/>
                    </a:lnTo>
                    <a:lnTo>
                      <a:pt x="735" y="759"/>
                    </a:lnTo>
                    <a:lnTo>
                      <a:pt x="735" y="764"/>
                    </a:lnTo>
                    <a:lnTo>
                      <a:pt x="741" y="764"/>
                    </a:lnTo>
                    <a:lnTo>
                      <a:pt x="748" y="767"/>
                    </a:lnTo>
                    <a:lnTo>
                      <a:pt x="756" y="767"/>
                    </a:lnTo>
                    <a:lnTo>
                      <a:pt x="766" y="772"/>
                    </a:lnTo>
                    <a:lnTo>
                      <a:pt x="773" y="772"/>
                    </a:lnTo>
                    <a:lnTo>
                      <a:pt x="773" y="771"/>
                    </a:lnTo>
                    <a:lnTo>
                      <a:pt x="776" y="771"/>
                    </a:lnTo>
                    <a:lnTo>
                      <a:pt x="780" y="772"/>
                    </a:lnTo>
                    <a:lnTo>
                      <a:pt x="780" y="776"/>
                    </a:lnTo>
                    <a:lnTo>
                      <a:pt x="786" y="771"/>
                    </a:lnTo>
                    <a:lnTo>
                      <a:pt x="790" y="772"/>
                    </a:lnTo>
                    <a:lnTo>
                      <a:pt x="791" y="772"/>
                    </a:lnTo>
                    <a:lnTo>
                      <a:pt x="794" y="769"/>
                    </a:lnTo>
                    <a:lnTo>
                      <a:pt x="798" y="769"/>
                    </a:lnTo>
                    <a:lnTo>
                      <a:pt x="798" y="771"/>
                    </a:lnTo>
                    <a:lnTo>
                      <a:pt x="799" y="772"/>
                    </a:lnTo>
                    <a:lnTo>
                      <a:pt x="808" y="769"/>
                    </a:lnTo>
                    <a:lnTo>
                      <a:pt x="821" y="764"/>
                    </a:lnTo>
                    <a:lnTo>
                      <a:pt x="824" y="764"/>
                    </a:lnTo>
                    <a:lnTo>
                      <a:pt x="824" y="767"/>
                    </a:lnTo>
                    <a:lnTo>
                      <a:pt x="823" y="771"/>
                    </a:lnTo>
                    <a:lnTo>
                      <a:pt x="823" y="771"/>
                    </a:lnTo>
                    <a:lnTo>
                      <a:pt x="826" y="772"/>
                    </a:lnTo>
                    <a:lnTo>
                      <a:pt x="826" y="776"/>
                    </a:lnTo>
                    <a:lnTo>
                      <a:pt x="824" y="779"/>
                    </a:lnTo>
                    <a:lnTo>
                      <a:pt x="826" y="782"/>
                    </a:lnTo>
                    <a:lnTo>
                      <a:pt x="828" y="782"/>
                    </a:lnTo>
                    <a:lnTo>
                      <a:pt x="831" y="781"/>
                    </a:lnTo>
                    <a:lnTo>
                      <a:pt x="834" y="782"/>
                    </a:lnTo>
                    <a:lnTo>
                      <a:pt x="833" y="786"/>
                    </a:lnTo>
                    <a:lnTo>
                      <a:pt x="829" y="794"/>
                    </a:lnTo>
                    <a:lnTo>
                      <a:pt x="831" y="797"/>
                    </a:lnTo>
                    <a:lnTo>
                      <a:pt x="833" y="799"/>
                    </a:lnTo>
                    <a:lnTo>
                      <a:pt x="836" y="796"/>
                    </a:lnTo>
                    <a:lnTo>
                      <a:pt x="836" y="791"/>
                    </a:lnTo>
                    <a:lnTo>
                      <a:pt x="838" y="787"/>
                    </a:lnTo>
                    <a:lnTo>
                      <a:pt x="839" y="787"/>
                    </a:lnTo>
                    <a:lnTo>
                      <a:pt x="839" y="794"/>
                    </a:lnTo>
                    <a:lnTo>
                      <a:pt x="836" y="801"/>
                    </a:lnTo>
                    <a:lnTo>
                      <a:pt x="833" y="806"/>
                    </a:lnTo>
                    <a:lnTo>
                      <a:pt x="833" y="812"/>
                    </a:lnTo>
                    <a:lnTo>
                      <a:pt x="836" y="817"/>
                    </a:lnTo>
                    <a:lnTo>
                      <a:pt x="836" y="826"/>
                    </a:lnTo>
                    <a:lnTo>
                      <a:pt x="834" y="831"/>
                    </a:lnTo>
                    <a:lnTo>
                      <a:pt x="839" y="834"/>
                    </a:lnTo>
                    <a:lnTo>
                      <a:pt x="839" y="837"/>
                    </a:lnTo>
                    <a:lnTo>
                      <a:pt x="836" y="840"/>
                    </a:lnTo>
                    <a:lnTo>
                      <a:pt x="839" y="842"/>
                    </a:lnTo>
                    <a:lnTo>
                      <a:pt x="841" y="849"/>
                    </a:lnTo>
                    <a:lnTo>
                      <a:pt x="843" y="862"/>
                    </a:lnTo>
                    <a:lnTo>
                      <a:pt x="843" y="849"/>
                    </a:lnTo>
                    <a:lnTo>
                      <a:pt x="839" y="839"/>
                    </a:lnTo>
                    <a:lnTo>
                      <a:pt x="841" y="829"/>
                    </a:lnTo>
                    <a:lnTo>
                      <a:pt x="848" y="819"/>
                    </a:lnTo>
                    <a:lnTo>
                      <a:pt x="851" y="821"/>
                    </a:lnTo>
                    <a:lnTo>
                      <a:pt x="851" y="824"/>
                    </a:lnTo>
                    <a:lnTo>
                      <a:pt x="849" y="824"/>
                    </a:lnTo>
                    <a:lnTo>
                      <a:pt x="848" y="827"/>
                    </a:lnTo>
                    <a:lnTo>
                      <a:pt x="849" y="829"/>
                    </a:lnTo>
                    <a:lnTo>
                      <a:pt x="853" y="827"/>
                    </a:lnTo>
                    <a:lnTo>
                      <a:pt x="854" y="829"/>
                    </a:lnTo>
                    <a:lnTo>
                      <a:pt x="856" y="827"/>
                    </a:lnTo>
                    <a:lnTo>
                      <a:pt x="856" y="822"/>
                    </a:lnTo>
                    <a:lnTo>
                      <a:pt x="853" y="819"/>
                    </a:lnTo>
                    <a:lnTo>
                      <a:pt x="853" y="816"/>
                    </a:lnTo>
                    <a:lnTo>
                      <a:pt x="858" y="816"/>
                    </a:lnTo>
                    <a:lnTo>
                      <a:pt x="859" y="812"/>
                    </a:lnTo>
                    <a:lnTo>
                      <a:pt x="854" y="809"/>
                    </a:lnTo>
                    <a:lnTo>
                      <a:pt x="854" y="806"/>
                    </a:lnTo>
                    <a:lnTo>
                      <a:pt x="858" y="799"/>
                    </a:lnTo>
                    <a:lnTo>
                      <a:pt x="861" y="787"/>
                    </a:lnTo>
                    <a:lnTo>
                      <a:pt x="861" y="784"/>
                    </a:lnTo>
                    <a:lnTo>
                      <a:pt x="861" y="781"/>
                    </a:lnTo>
                    <a:lnTo>
                      <a:pt x="863" y="777"/>
                    </a:lnTo>
                    <a:lnTo>
                      <a:pt x="871" y="777"/>
                    </a:lnTo>
                    <a:lnTo>
                      <a:pt x="871" y="776"/>
                    </a:lnTo>
                    <a:lnTo>
                      <a:pt x="873" y="774"/>
                    </a:lnTo>
                    <a:lnTo>
                      <a:pt x="876" y="772"/>
                    </a:lnTo>
                    <a:lnTo>
                      <a:pt x="878" y="776"/>
                    </a:lnTo>
                    <a:lnTo>
                      <a:pt x="881" y="774"/>
                    </a:lnTo>
                    <a:lnTo>
                      <a:pt x="884" y="771"/>
                    </a:lnTo>
                    <a:lnTo>
                      <a:pt x="888" y="769"/>
                    </a:lnTo>
                    <a:lnTo>
                      <a:pt x="888" y="772"/>
                    </a:lnTo>
                    <a:lnTo>
                      <a:pt x="889" y="772"/>
                    </a:lnTo>
                    <a:lnTo>
                      <a:pt x="894" y="771"/>
                    </a:lnTo>
                    <a:lnTo>
                      <a:pt x="897" y="767"/>
                    </a:lnTo>
                    <a:lnTo>
                      <a:pt x="899" y="767"/>
                    </a:lnTo>
                    <a:lnTo>
                      <a:pt x="901" y="771"/>
                    </a:lnTo>
                    <a:lnTo>
                      <a:pt x="904" y="771"/>
                    </a:lnTo>
                    <a:lnTo>
                      <a:pt x="904" y="776"/>
                    </a:lnTo>
                    <a:lnTo>
                      <a:pt x="904" y="771"/>
                    </a:lnTo>
                    <a:lnTo>
                      <a:pt x="902" y="766"/>
                    </a:lnTo>
                    <a:lnTo>
                      <a:pt x="907" y="759"/>
                    </a:lnTo>
                    <a:lnTo>
                      <a:pt x="911" y="759"/>
                    </a:lnTo>
                    <a:lnTo>
                      <a:pt x="912" y="761"/>
                    </a:lnTo>
                    <a:lnTo>
                      <a:pt x="916" y="761"/>
                    </a:lnTo>
                    <a:lnTo>
                      <a:pt x="919" y="759"/>
                    </a:lnTo>
                    <a:lnTo>
                      <a:pt x="922" y="761"/>
                    </a:lnTo>
                    <a:lnTo>
                      <a:pt x="927" y="756"/>
                    </a:lnTo>
                    <a:lnTo>
                      <a:pt x="926" y="752"/>
                    </a:lnTo>
                    <a:lnTo>
                      <a:pt x="929" y="749"/>
                    </a:lnTo>
                    <a:lnTo>
                      <a:pt x="924" y="749"/>
                    </a:lnTo>
                    <a:lnTo>
                      <a:pt x="924" y="747"/>
                    </a:lnTo>
                    <a:lnTo>
                      <a:pt x="921" y="747"/>
                    </a:lnTo>
                    <a:lnTo>
                      <a:pt x="911" y="751"/>
                    </a:lnTo>
                    <a:lnTo>
                      <a:pt x="907" y="751"/>
                    </a:lnTo>
                    <a:lnTo>
                      <a:pt x="906" y="754"/>
                    </a:lnTo>
                    <a:lnTo>
                      <a:pt x="902" y="754"/>
                    </a:lnTo>
                    <a:lnTo>
                      <a:pt x="902" y="757"/>
                    </a:lnTo>
                    <a:lnTo>
                      <a:pt x="901" y="759"/>
                    </a:lnTo>
                    <a:lnTo>
                      <a:pt x="897" y="754"/>
                    </a:lnTo>
                    <a:lnTo>
                      <a:pt x="897" y="751"/>
                    </a:lnTo>
                    <a:lnTo>
                      <a:pt x="894" y="754"/>
                    </a:lnTo>
                    <a:lnTo>
                      <a:pt x="894" y="757"/>
                    </a:lnTo>
                    <a:lnTo>
                      <a:pt x="891" y="759"/>
                    </a:lnTo>
                    <a:lnTo>
                      <a:pt x="886" y="756"/>
                    </a:lnTo>
                    <a:lnTo>
                      <a:pt x="883" y="756"/>
                    </a:lnTo>
                    <a:lnTo>
                      <a:pt x="881" y="754"/>
                    </a:lnTo>
                    <a:lnTo>
                      <a:pt x="879" y="754"/>
                    </a:lnTo>
                    <a:lnTo>
                      <a:pt x="878" y="757"/>
                    </a:lnTo>
                    <a:lnTo>
                      <a:pt x="881" y="761"/>
                    </a:lnTo>
                    <a:lnTo>
                      <a:pt x="881" y="762"/>
                    </a:lnTo>
                    <a:lnTo>
                      <a:pt x="876" y="764"/>
                    </a:lnTo>
                    <a:lnTo>
                      <a:pt x="874" y="762"/>
                    </a:lnTo>
                    <a:lnTo>
                      <a:pt x="868" y="761"/>
                    </a:lnTo>
                    <a:lnTo>
                      <a:pt x="868" y="759"/>
                    </a:lnTo>
                    <a:lnTo>
                      <a:pt x="871" y="756"/>
                    </a:lnTo>
                    <a:lnTo>
                      <a:pt x="873" y="752"/>
                    </a:lnTo>
                    <a:lnTo>
                      <a:pt x="869" y="752"/>
                    </a:lnTo>
                    <a:lnTo>
                      <a:pt x="868" y="754"/>
                    </a:lnTo>
                    <a:lnTo>
                      <a:pt x="863" y="752"/>
                    </a:lnTo>
                    <a:lnTo>
                      <a:pt x="866" y="749"/>
                    </a:lnTo>
                    <a:lnTo>
                      <a:pt x="869" y="746"/>
                    </a:lnTo>
                    <a:lnTo>
                      <a:pt x="876" y="739"/>
                    </a:lnTo>
                    <a:lnTo>
                      <a:pt x="881" y="739"/>
                    </a:lnTo>
                    <a:lnTo>
                      <a:pt x="886" y="739"/>
                    </a:lnTo>
                    <a:lnTo>
                      <a:pt x="902" y="739"/>
                    </a:lnTo>
                    <a:lnTo>
                      <a:pt x="916" y="736"/>
                    </a:lnTo>
                    <a:lnTo>
                      <a:pt x="919" y="736"/>
                    </a:lnTo>
                    <a:lnTo>
                      <a:pt x="924" y="734"/>
                    </a:lnTo>
                    <a:lnTo>
                      <a:pt x="927" y="737"/>
                    </a:lnTo>
                    <a:lnTo>
                      <a:pt x="931" y="739"/>
                    </a:lnTo>
                    <a:lnTo>
                      <a:pt x="932" y="741"/>
                    </a:lnTo>
                    <a:lnTo>
                      <a:pt x="934" y="744"/>
                    </a:lnTo>
                    <a:lnTo>
                      <a:pt x="932" y="752"/>
                    </a:lnTo>
                    <a:lnTo>
                      <a:pt x="932" y="756"/>
                    </a:lnTo>
                    <a:lnTo>
                      <a:pt x="934" y="756"/>
                    </a:lnTo>
                    <a:lnTo>
                      <a:pt x="934" y="757"/>
                    </a:lnTo>
                    <a:lnTo>
                      <a:pt x="929" y="761"/>
                    </a:lnTo>
                    <a:lnTo>
                      <a:pt x="931" y="762"/>
                    </a:lnTo>
                    <a:lnTo>
                      <a:pt x="932" y="764"/>
                    </a:lnTo>
                    <a:lnTo>
                      <a:pt x="932" y="772"/>
                    </a:lnTo>
                    <a:lnTo>
                      <a:pt x="936" y="772"/>
                    </a:lnTo>
                    <a:lnTo>
                      <a:pt x="939" y="774"/>
                    </a:lnTo>
                    <a:lnTo>
                      <a:pt x="939" y="776"/>
                    </a:lnTo>
                    <a:lnTo>
                      <a:pt x="936" y="777"/>
                    </a:lnTo>
                    <a:lnTo>
                      <a:pt x="936" y="781"/>
                    </a:lnTo>
                    <a:lnTo>
                      <a:pt x="934" y="784"/>
                    </a:lnTo>
                    <a:lnTo>
                      <a:pt x="937" y="784"/>
                    </a:lnTo>
                    <a:lnTo>
                      <a:pt x="942" y="786"/>
                    </a:lnTo>
                    <a:lnTo>
                      <a:pt x="944" y="787"/>
                    </a:lnTo>
                    <a:lnTo>
                      <a:pt x="946" y="787"/>
                    </a:lnTo>
                    <a:lnTo>
                      <a:pt x="949" y="791"/>
                    </a:lnTo>
                    <a:lnTo>
                      <a:pt x="954" y="791"/>
                    </a:lnTo>
                    <a:lnTo>
                      <a:pt x="957" y="787"/>
                    </a:lnTo>
                    <a:lnTo>
                      <a:pt x="959" y="789"/>
                    </a:lnTo>
                    <a:lnTo>
                      <a:pt x="959" y="792"/>
                    </a:lnTo>
                    <a:lnTo>
                      <a:pt x="961" y="794"/>
                    </a:lnTo>
                    <a:lnTo>
                      <a:pt x="962" y="792"/>
                    </a:lnTo>
                    <a:lnTo>
                      <a:pt x="966" y="796"/>
                    </a:lnTo>
                    <a:lnTo>
                      <a:pt x="964" y="797"/>
                    </a:lnTo>
                    <a:lnTo>
                      <a:pt x="964" y="801"/>
                    </a:lnTo>
                    <a:lnTo>
                      <a:pt x="966" y="801"/>
                    </a:lnTo>
                    <a:lnTo>
                      <a:pt x="967" y="804"/>
                    </a:lnTo>
                    <a:lnTo>
                      <a:pt x="974" y="809"/>
                    </a:lnTo>
                    <a:lnTo>
                      <a:pt x="974" y="812"/>
                    </a:lnTo>
                    <a:lnTo>
                      <a:pt x="979" y="809"/>
                    </a:lnTo>
                    <a:lnTo>
                      <a:pt x="981" y="811"/>
                    </a:lnTo>
                    <a:lnTo>
                      <a:pt x="981" y="814"/>
                    </a:lnTo>
                    <a:lnTo>
                      <a:pt x="982" y="814"/>
                    </a:lnTo>
                    <a:lnTo>
                      <a:pt x="987" y="819"/>
                    </a:lnTo>
                    <a:lnTo>
                      <a:pt x="992" y="816"/>
                    </a:lnTo>
                    <a:lnTo>
                      <a:pt x="1000" y="816"/>
                    </a:lnTo>
                    <a:lnTo>
                      <a:pt x="1004" y="812"/>
                    </a:lnTo>
                    <a:lnTo>
                      <a:pt x="1010" y="809"/>
                    </a:lnTo>
                    <a:lnTo>
                      <a:pt x="1010" y="809"/>
                    </a:lnTo>
                    <a:lnTo>
                      <a:pt x="1012" y="812"/>
                    </a:lnTo>
                    <a:lnTo>
                      <a:pt x="1022" y="812"/>
                    </a:lnTo>
                    <a:lnTo>
                      <a:pt x="1030" y="817"/>
                    </a:lnTo>
                    <a:lnTo>
                      <a:pt x="1034" y="817"/>
                    </a:lnTo>
                    <a:lnTo>
                      <a:pt x="1037" y="821"/>
                    </a:lnTo>
                    <a:lnTo>
                      <a:pt x="1039" y="819"/>
                    </a:lnTo>
                    <a:lnTo>
                      <a:pt x="1049" y="817"/>
                    </a:lnTo>
                    <a:lnTo>
                      <a:pt x="1052" y="822"/>
                    </a:lnTo>
                    <a:lnTo>
                      <a:pt x="1054" y="821"/>
                    </a:lnTo>
                    <a:lnTo>
                      <a:pt x="1054" y="816"/>
                    </a:lnTo>
                    <a:lnTo>
                      <a:pt x="1049" y="812"/>
                    </a:lnTo>
                    <a:lnTo>
                      <a:pt x="1049" y="806"/>
                    </a:lnTo>
                    <a:lnTo>
                      <a:pt x="1050" y="804"/>
                    </a:lnTo>
                    <a:lnTo>
                      <a:pt x="1052" y="804"/>
                    </a:lnTo>
                    <a:lnTo>
                      <a:pt x="1055" y="812"/>
                    </a:lnTo>
                    <a:lnTo>
                      <a:pt x="1057" y="817"/>
                    </a:lnTo>
                    <a:lnTo>
                      <a:pt x="1064" y="824"/>
                    </a:lnTo>
                    <a:lnTo>
                      <a:pt x="1067" y="827"/>
                    </a:lnTo>
                    <a:lnTo>
                      <a:pt x="1069" y="832"/>
                    </a:lnTo>
                    <a:lnTo>
                      <a:pt x="1069" y="822"/>
                    </a:lnTo>
                    <a:lnTo>
                      <a:pt x="1065" y="819"/>
                    </a:lnTo>
                    <a:lnTo>
                      <a:pt x="1059" y="817"/>
                    </a:lnTo>
                    <a:lnTo>
                      <a:pt x="1057" y="811"/>
                    </a:lnTo>
                    <a:lnTo>
                      <a:pt x="1055" y="802"/>
                    </a:lnTo>
                    <a:lnTo>
                      <a:pt x="1057" y="799"/>
                    </a:lnTo>
                    <a:lnTo>
                      <a:pt x="1059" y="799"/>
                    </a:lnTo>
                    <a:lnTo>
                      <a:pt x="1059" y="802"/>
                    </a:lnTo>
                    <a:lnTo>
                      <a:pt x="1060" y="804"/>
                    </a:lnTo>
                    <a:lnTo>
                      <a:pt x="1064" y="802"/>
                    </a:lnTo>
                    <a:lnTo>
                      <a:pt x="1064" y="799"/>
                    </a:lnTo>
                    <a:lnTo>
                      <a:pt x="1060" y="796"/>
                    </a:lnTo>
                    <a:lnTo>
                      <a:pt x="1062" y="794"/>
                    </a:lnTo>
                    <a:lnTo>
                      <a:pt x="1062" y="791"/>
                    </a:lnTo>
                    <a:lnTo>
                      <a:pt x="1062" y="789"/>
                    </a:lnTo>
                    <a:lnTo>
                      <a:pt x="1065" y="789"/>
                    </a:lnTo>
                    <a:lnTo>
                      <a:pt x="1069" y="792"/>
                    </a:lnTo>
                    <a:lnTo>
                      <a:pt x="1069" y="794"/>
                    </a:lnTo>
                    <a:lnTo>
                      <a:pt x="1070" y="796"/>
                    </a:lnTo>
                    <a:lnTo>
                      <a:pt x="1070" y="794"/>
                    </a:lnTo>
                    <a:lnTo>
                      <a:pt x="1075" y="791"/>
                    </a:lnTo>
                    <a:lnTo>
                      <a:pt x="1079" y="787"/>
                    </a:lnTo>
                    <a:lnTo>
                      <a:pt x="1082" y="787"/>
                    </a:lnTo>
                    <a:lnTo>
                      <a:pt x="1084" y="791"/>
                    </a:lnTo>
                    <a:lnTo>
                      <a:pt x="1082" y="792"/>
                    </a:lnTo>
                    <a:lnTo>
                      <a:pt x="1082" y="796"/>
                    </a:lnTo>
                    <a:lnTo>
                      <a:pt x="1084" y="792"/>
                    </a:lnTo>
                    <a:lnTo>
                      <a:pt x="1087" y="792"/>
                    </a:lnTo>
                    <a:lnTo>
                      <a:pt x="1090" y="796"/>
                    </a:lnTo>
                    <a:lnTo>
                      <a:pt x="1088" y="801"/>
                    </a:lnTo>
                    <a:lnTo>
                      <a:pt x="1088" y="802"/>
                    </a:lnTo>
                    <a:lnTo>
                      <a:pt x="1090" y="806"/>
                    </a:lnTo>
                    <a:lnTo>
                      <a:pt x="1093" y="806"/>
                    </a:lnTo>
                    <a:lnTo>
                      <a:pt x="1097" y="806"/>
                    </a:lnTo>
                    <a:lnTo>
                      <a:pt x="1097" y="811"/>
                    </a:lnTo>
                    <a:lnTo>
                      <a:pt x="1090" y="812"/>
                    </a:lnTo>
                    <a:lnTo>
                      <a:pt x="1090" y="814"/>
                    </a:lnTo>
                    <a:lnTo>
                      <a:pt x="1093" y="816"/>
                    </a:lnTo>
                    <a:lnTo>
                      <a:pt x="1098" y="812"/>
                    </a:lnTo>
                    <a:lnTo>
                      <a:pt x="1102" y="807"/>
                    </a:lnTo>
                    <a:lnTo>
                      <a:pt x="1107" y="806"/>
                    </a:lnTo>
                    <a:lnTo>
                      <a:pt x="1112" y="806"/>
                    </a:lnTo>
                    <a:lnTo>
                      <a:pt x="1112" y="807"/>
                    </a:lnTo>
                    <a:lnTo>
                      <a:pt x="1108" y="809"/>
                    </a:lnTo>
                    <a:lnTo>
                      <a:pt x="1105" y="811"/>
                    </a:lnTo>
                    <a:lnTo>
                      <a:pt x="1105" y="817"/>
                    </a:lnTo>
                    <a:lnTo>
                      <a:pt x="1098" y="821"/>
                    </a:lnTo>
                    <a:lnTo>
                      <a:pt x="1097" y="824"/>
                    </a:lnTo>
                    <a:lnTo>
                      <a:pt x="1090" y="829"/>
                    </a:lnTo>
                    <a:lnTo>
                      <a:pt x="1090" y="832"/>
                    </a:lnTo>
                    <a:lnTo>
                      <a:pt x="1088" y="834"/>
                    </a:lnTo>
                    <a:lnTo>
                      <a:pt x="1088" y="831"/>
                    </a:lnTo>
                    <a:lnTo>
                      <a:pt x="1085" y="834"/>
                    </a:lnTo>
                    <a:lnTo>
                      <a:pt x="1084" y="842"/>
                    </a:lnTo>
                    <a:lnTo>
                      <a:pt x="1084" y="844"/>
                    </a:lnTo>
                    <a:lnTo>
                      <a:pt x="1087" y="842"/>
                    </a:lnTo>
                    <a:lnTo>
                      <a:pt x="1090" y="842"/>
                    </a:lnTo>
                    <a:lnTo>
                      <a:pt x="1090" y="847"/>
                    </a:lnTo>
                    <a:lnTo>
                      <a:pt x="1085" y="849"/>
                    </a:lnTo>
                    <a:lnTo>
                      <a:pt x="1084" y="852"/>
                    </a:lnTo>
                    <a:lnTo>
                      <a:pt x="1090" y="850"/>
                    </a:lnTo>
                    <a:lnTo>
                      <a:pt x="1093" y="847"/>
                    </a:lnTo>
                    <a:lnTo>
                      <a:pt x="1097" y="847"/>
                    </a:lnTo>
                    <a:lnTo>
                      <a:pt x="1095" y="852"/>
                    </a:lnTo>
                    <a:lnTo>
                      <a:pt x="1092" y="854"/>
                    </a:lnTo>
                    <a:lnTo>
                      <a:pt x="1093" y="855"/>
                    </a:lnTo>
                    <a:lnTo>
                      <a:pt x="1098" y="854"/>
                    </a:lnTo>
                    <a:lnTo>
                      <a:pt x="1095" y="859"/>
                    </a:lnTo>
                    <a:lnTo>
                      <a:pt x="1095" y="862"/>
                    </a:lnTo>
                    <a:lnTo>
                      <a:pt x="1092" y="865"/>
                    </a:lnTo>
                    <a:lnTo>
                      <a:pt x="1087" y="864"/>
                    </a:lnTo>
                    <a:lnTo>
                      <a:pt x="1085" y="859"/>
                    </a:lnTo>
                    <a:lnTo>
                      <a:pt x="1079" y="862"/>
                    </a:lnTo>
                    <a:lnTo>
                      <a:pt x="1077" y="855"/>
                    </a:lnTo>
                    <a:lnTo>
                      <a:pt x="1075" y="855"/>
                    </a:lnTo>
                    <a:lnTo>
                      <a:pt x="1074" y="862"/>
                    </a:lnTo>
                    <a:lnTo>
                      <a:pt x="1077" y="867"/>
                    </a:lnTo>
                    <a:lnTo>
                      <a:pt x="1079" y="872"/>
                    </a:lnTo>
                    <a:lnTo>
                      <a:pt x="1077" y="882"/>
                    </a:lnTo>
                    <a:lnTo>
                      <a:pt x="1080" y="874"/>
                    </a:lnTo>
                    <a:lnTo>
                      <a:pt x="1079" y="865"/>
                    </a:lnTo>
                    <a:lnTo>
                      <a:pt x="1082" y="864"/>
                    </a:lnTo>
                    <a:lnTo>
                      <a:pt x="1085" y="867"/>
                    </a:lnTo>
                    <a:lnTo>
                      <a:pt x="1090" y="867"/>
                    </a:lnTo>
                    <a:lnTo>
                      <a:pt x="1095" y="869"/>
                    </a:lnTo>
                    <a:lnTo>
                      <a:pt x="1098" y="867"/>
                    </a:lnTo>
                    <a:lnTo>
                      <a:pt x="1098" y="862"/>
                    </a:lnTo>
                    <a:lnTo>
                      <a:pt x="1105" y="860"/>
                    </a:lnTo>
                    <a:lnTo>
                      <a:pt x="1108" y="855"/>
                    </a:lnTo>
                    <a:lnTo>
                      <a:pt x="1113" y="855"/>
                    </a:lnTo>
                    <a:lnTo>
                      <a:pt x="1117" y="852"/>
                    </a:lnTo>
                    <a:lnTo>
                      <a:pt x="1113" y="854"/>
                    </a:lnTo>
                    <a:lnTo>
                      <a:pt x="1108" y="854"/>
                    </a:lnTo>
                    <a:lnTo>
                      <a:pt x="1105" y="857"/>
                    </a:lnTo>
                    <a:lnTo>
                      <a:pt x="1103" y="859"/>
                    </a:lnTo>
                    <a:lnTo>
                      <a:pt x="1102" y="859"/>
                    </a:lnTo>
                    <a:lnTo>
                      <a:pt x="1103" y="854"/>
                    </a:lnTo>
                    <a:lnTo>
                      <a:pt x="1107" y="850"/>
                    </a:lnTo>
                    <a:lnTo>
                      <a:pt x="1105" y="849"/>
                    </a:lnTo>
                    <a:lnTo>
                      <a:pt x="1105" y="845"/>
                    </a:lnTo>
                    <a:lnTo>
                      <a:pt x="1107" y="839"/>
                    </a:lnTo>
                    <a:lnTo>
                      <a:pt x="1107" y="835"/>
                    </a:lnTo>
                    <a:lnTo>
                      <a:pt x="1105" y="834"/>
                    </a:lnTo>
                    <a:lnTo>
                      <a:pt x="1107" y="832"/>
                    </a:lnTo>
                    <a:lnTo>
                      <a:pt x="1110" y="826"/>
                    </a:lnTo>
                    <a:lnTo>
                      <a:pt x="1112" y="821"/>
                    </a:lnTo>
                    <a:lnTo>
                      <a:pt x="1117" y="817"/>
                    </a:lnTo>
                    <a:lnTo>
                      <a:pt x="1118" y="819"/>
                    </a:lnTo>
                    <a:lnTo>
                      <a:pt x="1117" y="821"/>
                    </a:lnTo>
                    <a:lnTo>
                      <a:pt x="1120" y="821"/>
                    </a:lnTo>
                    <a:lnTo>
                      <a:pt x="1122" y="816"/>
                    </a:lnTo>
                    <a:lnTo>
                      <a:pt x="1123" y="819"/>
                    </a:lnTo>
                    <a:lnTo>
                      <a:pt x="1125" y="819"/>
                    </a:lnTo>
                    <a:lnTo>
                      <a:pt x="1127" y="821"/>
                    </a:lnTo>
                    <a:lnTo>
                      <a:pt x="1132" y="821"/>
                    </a:lnTo>
                    <a:lnTo>
                      <a:pt x="1135" y="816"/>
                    </a:lnTo>
                    <a:lnTo>
                      <a:pt x="1145" y="812"/>
                    </a:lnTo>
                    <a:lnTo>
                      <a:pt x="1148" y="809"/>
                    </a:lnTo>
                    <a:lnTo>
                      <a:pt x="1147" y="806"/>
                    </a:lnTo>
                    <a:lnTo>
                      <a:pt x="1150" y="806"/>
                    </a:lnTo>
                    <a:lnTo>
                      <a:pt x="1155" y="801"/>
                    </a:lnTo>
                    <a:lnTo>
                      <a:pt x="1162" y="801"/>
                    </a:lnTo>
                    <a:lnTo>
                      <a:pt x="1165" y="797"/>
                    </a:lnTo>
                    <a:lnTo>
                      <a:pt x="1165" y="794"/>
                    </a:lnTo>
                    <a:lnTo>
                      <a:pt x="1167" y="789"/>
                    </a:lnTo>
                    <a:lnTo>
                      <a:pt x="1170" y="784"/>
                    </a:lnTo>
                    <a:lnTo>
                      <a:pt x="1170" y="779"/>
                    </a:lnTo>
                    <a:lnTo>
                      <a:pt x="1168" y="777"/>
                    </a:lnTo>
                    <a:lnTo>
                      <a:pt x="1165" y="779"/>
                    </a:lnTo>
                    <a:lnTo>
                      <a:pt x="1162" y="781"/>
                    </a:lnTo>
                    <a:lnTo>
                      <a:pt x="1163" y="782"/>
                    </a:lnTo>
                    <a:lnTo>
                      <a:pt x="1160" y="786"/>
                    </a:lnTo>
                    <a:lnTo>
                      <a:pt x="1155" y="786"/>
                    </a:lnTo>
                    <a:lnTo>
                      <a:pt x="1153" y="784"/>
                    </a:lnTo>
                    <a:lnTo>
                      <a:pt x="1150" y="784"/>
                    </a:lnTo>
                    <a:lnTo>
                      <a:pt x="1148" y="782"/>
                    </a:lnTo>
                    <a:lnTo>
                      <a:pt x="1152" y="777"/>
                    </a:lnTo>
                    <a:lnTo>
                      <a:pt x="1155" y="777"/>
                    </a:lnTo>
                    <a:lnTo>
                      <a:pt x="1158" y="774"/>
                    </a:lnTo>
                    <a:lnTo>
                      <a:pt x="1165" y="771"/>
                    </a:lnTo>
                    <a:lnTo>
                      <a:pt x="1165" y="769"/>
                    </a:lnTo>
                    <a:lnTo>
                      <a:pt x="1162" y="766"/>
                    </a:lnTo>
                    <a:lnTo>
                      <a:pt x="1167" y="762"/>
                    </a:lnTo>
                    <a:lnTo>
                      <a:pt x="1172" y="761"/>
                    </a:lnTo>
                    <a:lnTo>
                      <a:pt x="1177" y="762"/>
                    </a:lnTo>
                    <a:lnTo>
                      <a:pt x="1173" y="764"/>
                    </a:lnTo>
                    <a:lnTo>
                      <a:pt x="1173" y="769"/>
                    </a:lnTo>
                    <a:lnTo>
                      <a:pt x="1173" y="771"/>
                    </a:lnTo>
                    <a:lnTo>
                      <a:pt x="1178" y="767"/>
                    </a:lnTo>
                    <a:lnTo>
                      <a:pt x="1183" y="759"/>
                    </a:lnTo>
                    <a:lnTo>
                      <a:pt x="1183" y="756"/>
                    </a:lnTo>
                    <a:lnTo>
                      <a:pt x="1178" y="756"/>
                    </a:lnTo>
                    <a:lnTo>
                      <a:pt x="1173" y="756"/>
                    </a:lnTo>
                    <a:lnTo>
                      <a:pt x="1172" y="752"/>
                    </a:lnTo>
                    <a:lnTo>
                      <a:pt x="1165" y="752"/>
                    </a:lnTo>
                    <a:lnTo>
                      <a:pt x="1162" y="746"/>
                    </a:lnTo>
                    <a:lnTo>
                      <a:pt x="1163" y="741"/>
                    </a:lnTo>
                    <a:lnTo>
                      <a:pt x="1160" y="746"/>
                    </a:lnTo>
                    <a:lnTo>
                      <a:pt x="1157" y="746"/>
                    </a:lnTo>
                    <a:lnTo>
                      <a:pt x="1155" y="741"/>
                    </a:lnTo>
                    <a:lnTo>
                      <a:pt x="1150" y="739"/>
                    </a:lnTo>
                    <a:lnTo>
                      <a:pt x="1148" y="734"/>
                    </a:lnTo>
                    <a:lnTo>
                      <a:pt x="1147" y="733"/>
                    </a:lnTo>
                    <a:lnTo>
                      <a:pt x="1143" y="734"/>
                    </a:lnTo>
                    <a:lnTo>
                      <a:pt x="1142" y="729"/>
                    </a:lnTo>
                    <a:lnTo>
                      <a:pt x="1140" y="728"/>
                    </a:lnTo>
                    <a:lnTo>
                      <a:pt x="1143" y="724"/>
                    </a:lnTo>
                    <a:lnTo>
                      <a:pt x="1143" y="721"/>
                    </a:lnTo>
                    <a:lnTo>
                      <a:pt x="1140" y="718"/>
                    </a:lnTo>
                    <a:lnTo>
                      <a:pt x="1142" y="706"/>
                    </a:lnTo>
                    <a:lnTo>
                      <a:pt x="1145" y="703"/>
                    </a:lnTo>
                    <a:lnTo>
                      <a:pt x="1153" y="696"/>
                    </a:lnTo>
                    <a:lnTo>
                      <a:pt x="1158" y="694"/>
                    </a:lnTo>
                    <a:lnTo>
                      <a:pt x="1162" y="694"/>
                    </a:lnTo>
                    <a:lnTo>
                      <a:pt x="1162" y="693"/>
                    </a:lnTo>
                    <a:lnTo>
                      <a:pt x="1165" y="691"/>
                    </a:lnTo>
                    <a:lnTo>
                      <a:pt x="1167" y="688"/>
                    </a:lnTo>
                    <a:lnTo>
                      <a:pt x="1163" y="688"/>
                    </a:lnTo>
                    <a:lnTo>
                      <a:pt x="1160" y="689"/>
                    </a:lnTo>
                    <a:lnTo>
                      <a:pt x="1157" y="689"/>
                    </a:lnTo>
                    <a:lnTo>
                      <a:pt x="1157" y="686"/>
                    </a:lnTo>
                    <a:lnTo>
                      <a:pt x="1155" y="681"/>
                    </a:lnTo>
                    <a:lnTo>
                      <a:pt x="1157" y="678"/>
                    </a:lnTo>
                    <a:lnTo>
                      <a:pt x="1162" y="671"/>
                    </a:lnTo>
                    <a:lnTo>
                      <a:pt x="1167" y="663"/>
                    </a:lnTo>
                    <a:lnTo>
                      <a:pt x="1170" y="663"/>
                    </a:lnTo>
                    <a:lnTo>
                      <a:pt x="1173" y="656"/>
                    </a:lnTo>
                    <a:lnTo>
                      <a:pt x="1175" y="656"/>
                    </a:lnTo>
                    <a:lnTo>
                      <a:pt x="1180" y="651"/>
                    </a:lnTo>
                    <a:lnTo>
                      <a:pt x="1185" y="649"/>
                    </a:lnTo>
                    <a:lnTo>
                      <a:pt x="1188" y="651"/>
                    </a:lnTo>
                    <a:lnTo>
                      <a:pt x="1187" y="656"/>
                    </a:lnTo>
                    <a:lnTo>
                      <a:pt x="1190" y="659"/>
                    </a:lnTo>
                    <a:lnTo>
                      <a:pt x="1188" y="663"/>
                    </a:lnTo>
                    <a:lnTo>
                      <a:pt x="1193" y="659"/>
                    </a:lnTo>
                    <a:lnTo>
                      <a:pt x="1193" y="656"/>
                    </a:lnTo>
                    <a:lnTo>
                      <a:pt x="1200" y="649"/>
                    </a:lnTo>
                    <a:lnTo>
                      <a:pt x="1200" y="648"/>
                    </a:lnTo>
                    <a:lnTo>
                      <a:pt x="1195" y="646"/>
                    </a:lnTo>
                    <a:lnTo>
                      <a:pt x="1191" y="644"/>
                    </a:lnTo>
                    <a:lnTo>
                      <a:pt x="1188" y="641"/>
                    </a:lnTo>
                    <a:lnTo>
                      <a:pt x="1193" y="638"/>
                    </a:lnTo>
                    <a:lnTo>
                      <a:pt x="1198" y="638"/>
                    </a:lnTo>
                    <a:lnTo>
                      <a:pt x="1200" y="636"/>
                    </a:lnTo>
                    <a:lnTo>
                      <a:pt x="1206" y="631"/>
                    </a:lnTo>
                    <a:lnTo>
                      <a:pt x="1206" y="628"/>
                    </a:lnTo>
                    <a:lnTo>
                      <a:pt x="1210" y="626"/>
                    </a:lnTo>
                    <a:lnTo>
                      <a:pt x="1216" y="628"/>
                    </a:lnTo>
                    <a:lnTo>
                      <a:pt x="1223" y="630"/>
                    </a:lnTo>
                    <a:lnTo>
                      <a:pt x="1225" y="633"/>
                    </a:lnTo>
                    <a:lnTo>
                      <a:pt x="1223" y="636"/>
                    </a:lnTo>
                    <a:lnTo>
                      <a:pt x="1226" y="636"/>
                    </a:lnTo>
                    <a:lnTo>
                      <a:pt x="1230" y="639"/>
                    </a:lnTo>
                    <a:lnTo>
                      <a:pt x="1233" y="643"/>
                    </a:lnTo>
                    <a:lnTo>
                      <a:pt x="1231" y="646"/>
                    </a:lnTo>
                    <a:lnTo>
                      <a:pt x="1230" y="648"/>
                    </a:lnTo>
                    <a:lnTo>
                      <a:pt x="1231" y="651"/>
                    </a:lnTo>
                    <a:lnTo>
                      <a:pt x="1230" y="654"/>
                    </a:lnTo>
                    <a:lnTo>
                      <a:pt x="1235" y="658"/>
                    </a:lnTo>
                    <a:lnTo>
                      <a:pt x="1235" y="661"/>
                    </a:lnTo>
                    <a:lnTo>
                      <a:pt x="1235" y="669"/>
                    </a:lnTo>
                    <a:lnTo>
                      <a:pt x="1238" y="671"/>
                    </a:lnTo>
                    <a:lnTo>
                      <a:pt x="1238" y="673"/>
                    </a:lnTo>
                    <a:lnTo>
                      <a:pt x="1235" y="678"/>
                    </a:lnTo>
                    <a:lnTo>
                      <a:pt x="1233" y="681"/>
                    </a:lnTo>
                    <a:lnTo>
                      <a:pt x="1230" y="686"/>
                    </a:lnTo>
                    <a:lnTo>
                      <a:pt x="1230" y="691"/>
                    </a:lnTo>
                    <a:lnTo>
                      <a:pt x="1228" y="693"/>
                    </a:lnTo>
                    <a:lnTo>
                      <a:pt x="1230" y="696"/>
                    </a:lnTo>
                    <a:lnTo>
                      <a:pt x="1228" y="701"/>
                    </a:lnTo>
                    <a:lnTo>
                      <a:pt x="1233" y="706"/>
                    </a:lnTo>
                    <a:lnTo>
                      <a:pt x="1233" y="709"/>
                    </a:lnTo>
                    <a:lnTo>
                      <a:pt x="1231" y="711"/>
                    </a:lnTo>
                    <a:lnTo>
                      <a:pt x="1233" y="714"/>
                    </a:lnTo>
                    <a:lnTo>
                      <a:pt x="1231" y="719"/>
                    </a:lnTo>
                    <a:lnTo>
                      <a:pt x="1231" y="723"/>
                    </a:lnTo>
                    <a:lnTo>
                      <a:pt x="1235" y="723"/>
                    </a:lnTo>
                    <a:lnTo>
                      <a:pt x="1238" y="726"/>
                    </a:lnTo>
                    <a:lnTo>
                      <a:pt x="1238" y="731"/>
                    </a:lnTo>
                    <a:lnTo>
                      <a:pt x="1233" y="733"/>
                    </a:lnTo>
                    <a:lnTo>
                      <a:pt x="1231" y="731"/>
                    </a:lnTo>
                    <a:lnTo>
                      <a:pt x="1226" y="733"/>
                    </a:lnTo>
                    <a:lnTo>
                      <a:pt x="1225" y="728"/>
                    </a:lnTo>
                    <a:lnTo>
                      <a:pt x="1226" y="724"/>
                    </a:lnTo>
                    <a:lnTo>
                      <a:pt x="1220" y="726"/>
                    </a:lnTo>
                    <a:lnTo>
                      <a:pt x="1218" y="731"/>
                    </a:lnTo>
                    <a:lnTo>
                      <a:pt x="1213" y="733"/>
                    </a:lnTo>
                    <a:lnTo>
                      <a:pt x="1213" y="734"/>
                    </a:lnTo>
                    <a:lnTo>
                      <a:pt x="1220" y="733"/>
                    </a:lnTo>
                    <a:lnTo>
                      <a:pt x="1223" y="736"/>
                    </a:lnTo>
                    <a:lnTo>
                      <a:pt x="1221" y="737"/>
                    </a:lnTo>
                    <a:lnTo>
                      <a:pt x="1210" y="746"/>
                    </a:lnTo>
                    <a:lnTo>
                      <a:pt x="1206" y="746"/>
                    </a:lnTo>
                    <a:lnTo>
                      <a:pt x="1205" y="749"/>
                    </a:lnTo>
                    <a:lnTo>
                      <a:pt x="1201" y="749"/>
                    </a:lnTo>
                    <a:lnTo>
                      <a:pt x="1201" y="754"/>
                    </a:lnTo>
                    <a:lnTo>
                      <a:pt x="1203" y="756"/>
                    </a:lnTo>
                    <a:lnTo>
                      <a:pt x="1208" y="756"/>
                    </a:lnTo>
                    <a:lnTo>
                      <a:pt x="1211" y="756"/>
                    </a:lnTo>
                    <a:lnTo>
                      <a:pt x="1211" y="761"/>
                    </a:lnTo>
                    <a:lnTo>
                      <a:pt x="1216" y="764"/>
                    </a:lnTo>
                    <a:lnTo>
                      <a:pt x="1221" y="762"/>
                    </a:lnTo>
                    <a:lnTo>
                      <a:pt x="1223" y="759"/>
                    </a:lnTo>
                    <a:lnTo>
                      <a:pt x="1226" y="759"/>
                    </a:lnTo>
                    <a:lnTo>
                      <a:pt x="1228" y="761"/>
                    </a:lnTo>
                    <a:lnTo>
                      <a:pt x="1226" y="762"/>
                    </a:lnTo>
                    <a:lnTo>
                      <a:pt x="1226" y="762"/>
                    </a:lnTo>
                    <a:lnTo>
                      <a:pt x="1230" y="764"/>
                    </a:lnTo>
                    <a:lnTo>
                      <a:pt x="1233" y="767"/>
                    </a:lnTo>
                    <a:lnTo>
                      <a:pt x="1238" y="764"/>
                    </a:lnTo>
                    <a:lnTo>
                      <a:pt x="1241" y="766"/>
                    </a:lnTo>
                    <a:lnTo>
                      <a:pt x="1238" y="769"/>
                    </a:lnTo>
                    <a:lnTo>
                      <a:pt x="1233" y="769"/>
                    </a:lnTo>
                    <a:lnTo>
                      <a:pt x="1228" y="774"/>
                    </a:lnTo>
                    <a:lnTo>
                      <a:pt x="1226" y="776"/>
                    </a:lnTo>
                    <a:lnTo>
                      <a:pt x="1225" y="771"/>
                    </a:lnTo>
                    <a:lnTo>
                      <a:pt x="1223" y="771"/>
                    </a:lnTo>
                    <a:lnTo>
                      <a:pt x="1221" y="771"/>
                    </a:lnTo>
                    <a:lnTo>
                      <a:pt x="1221" y="772"/>
                    </a:lnTo>
                    <a:lnTo>
                      <a:pt x="1225" y="776"/>
                    </a:lnTo>
                    <a:lnTo>
                      <a:pt x="1225" y="779"/>
                    </a:lnTo>
                    <a:lnTo>
                      <a:pt x="1228" y="786"/>
                    </a:lnTo>
                    <a:lnTo>
                      <a:pt x="1228" y="791"/>
                    </a:lnTo>
                    <a:lnTo>
                      <a:pt x="1228" y="792"/>
                    </a:lnTo>
                    <a:lnTo>
                      <a:pt x="1228" y="796"/>
                    </a:lnTo>
                    <a:lnTo>
                      <a:pt x="1225" y="799"/>
                    </a:lnTo>
                    <a:lnTo>
                      <a:pt x="1225" y="802"/>
                    </a:lnTo>
                    <a:lnTo>
                      <a:pt x="1223" y="807"/>
                    </a:lnTo>
                    <a:lnTo>
                      <a:pt x="1220" y="812"/>
                    </a:lnTo>
                    <a:lnTo>
                      <a:pt x="1220" y="814"/>
                    </a:lnTo>
                    <a:lnTo>
                      <a:pt x="1221" y="819"/>
                    </a:lnTo>
                    <a:lnTo>
                      <a:pt x="1218" y="821"/>
                    </a:lnTo>
                    <a:lnTo>
                      <a:pt x="1218" y="824"/>
                    </a:lnTo>
                    <a:lnTo>
                      <a:pt x="1221" y="824"/>
                    </a:lnTo>
                    <a:lnTo>
                      <a:pt x="1225" y="819"/>
                    </a:lnTo>
                    <a:lnTo>
                      <a:pt x="1226" y="816"/>
                    </a:lnTo>
                    <a:lnTo>
                      <a:pt x="1233" y="814"/>
                    </a:lnTo>
                    <a:lnTo>
                      <a:pt x="1233" y="812"/>
                    </a:lnTo>
                    <a:lnTo>
                      <a:pt x="1233" y="811"/>
                    </a:lnTo>
                    <a:lnTo>
                      <a:pt x="1236" y="807"/>
                    </a:lnTo>
                    <a:lnTo>
                      <a:pt x="1238" y="809"/>
                    </a:lnTo>
                    <a:lnTo>
                      <a:pt x="1241" y="807"/>
                    </a:lnTo>
                    <a:lnTo>
                      <a:pt x="1241" y="799"/>
                    </a:lnTo>
                    <a:lnTo>
                      <a:pt x="1241" y="796"/>
                    </a:lnTo>
                    <a:lnTo>
                      <a:pt x="1248" y="791"/>
                    </a:lnTo>
                    <a:lnTo>
                      <a:pt x="1253" y="782"/>
                    </a:lnTo>
                    <a:lnTo>
                      <a:pt x="1255" y="779"/>
                    </a:lnTo>
                    <a:lnTo>
                      <a:pt x="1258" y="779"/>
                    </a:lnTo>
                    <a:lnTo>
                      <a:pt x="1260" y="781"/>
                    </a:lnTo>
                    <a:lnTo>
                      <a:pt x="1260" y="784"/>
                    </a:lnTo>
                    <a:lnTo>
                      <a:pt x="1265" y="792"/>
                    </a:lnTo>
                    <a:lnTo>
                      <a:pt x="1265" y="797"/>
                    </a:lnTo>
                    <a:lnTo>
                      <a:pt x="1270" y="802"/>
                    </a:lnTo>
                    <a:lnTo>
                      <a:pt x="1270" y="807"/>
                    </a:lnTo>
                    <a:lnTo>
                      <a:pt x="1268" y="811"/>
                    </a:lnTo>
                    <a:lnTo>
                      <a:pt x="1270" y="821"/>
                    </a:lnTo>
                    <a:lnTo>
                      <a:pt x="1266" y="824"/>
                    </a:lnTo>
                    <a:lnTo>
                      <a:pt x="1263" y="826"/>
                    </a:lnTo>
                    <a:lnTo>
                      <a:pt x="1260" y="824"/>
                    </a:lnTo>
                    <a:lnTo>
                      <a:pt x="1256" y="826"/>
                    </a:lnTo>
                    <a:lnTo>
                      <a:pt x="1255" y="829"/>
                    </a:lnTo>
                    <a:lnTo>
                      <a:pt x="1256" y="834"/>
                    </a:lnTo>
                    <a:lnTo>
                      <a:pt x="1253" y="837"/>
                    </a:lnTo>
                    <a:lnTo>
                      <a:pt x="1250" y="844"/>
                    </a:lnTo>
                    <a:lnTo>
                      <a:pt x="1251" y="845"/>
                    </a:lnTo>
                    <a:lnTo>
                      <a:pt x="1253" y="854"/>
                    </a:lnTo>
                    <a:lnTo>
                      <a:pt x="1256" y="869"/>
                    </a:lnTo>
                    <a:lnTo>
                      <a:pt x="1260" y="875"/>
                    </a:lnTo>
                    <a:lnTo>
                      <a:pt x="1258" y="879"/>
                    </a:lnTo>
                    <a:lnTo>
                      <a:pt x="1261" y="882"/>
                    </a:lnTo>
                    <a:lnTo>
                      <a:pt x="1266" y="882"/>
                    </a:lnTo>
                    <a:lnTo>
                      <a:pt x="1265" y="877"/>
                    </a:lnTo>
                    <a:lnTo>
                      <a:pt x="1263" y="875"/>
                    </a:lnTo>
                    <a:lnTo>
                      <a:pt x="1266" y="872"/>
                    </a:lnTo>
                    <a:lnTo>
                      <a:pt x="1270" y="872"/>
                    </a:lnTo>
                    <a:lnTo>
                      <a:pt x="1271" y="877"/>
                    </a:lnTo>
                    <a:lnTo>
                      <a:pt x="1275" y="877"/>
                    </a:lnTo>
                    <a:lnTo>
                      <a:pt x="1276" y="872"/>
                    </a:lnTo>
                    <a:lnTo>
                      <a:pt x="1280" y="869"/>
                    </a:lnTo>
                    <a:lnTo>
                      <a:pt x="1280" y="862"/>
                    </a:lnTo>
                    <a:lnTo>
                      <a:pt x="1283" y="860"/>
                    </a:lnTo>
                    <a:lnTo>
                      <a:pt x="1288" y="854"/>
                    </a:lnTo>
                    <a:lnTo>
                      <a:pt x="1289" y="854"/>
                    </a:lnTo>
                    <a:lnTo>
                      <a:pt x="1293" y="850"/>
                    </a:lnTo>
                    <a:lnTo>
                      <a:pt x="1301" y="844"/>
                    </a:lnTo>
                    <a:lnTo>
                      <a:pt x="1306" y="835"/>
                    </a:lnTo>
                    <a:lnTo>
                      <a:pt x="1311" y="827"/>
                    </a:lnTo>
                    <a:lnTo>
                      <a:pt x="1314" y="819"/>
                    </a:lnTo>
                    <a:lnTo>
                      <a:pt x="1319" y="816"/>
                    </a:lnTo>
                    <a:lnTo>
                      <a:pt x="1323" y="821"/>
                    </a:lnTo>
                    <a:lnTo>
                      <a:pt x="1326" y="817"/>
                    </a:lnTo>
                    <a:lnTo>
                      <a:pt x="1328" y="819"/>
                    </a:lnTo>
                    <a:lnTo>
                      <a:pt x="1333" y="819"/>
                    </a:lnTo>
                    <a:lnTo>
                      <a:pt x="1333" y="816"/>
                    </a:lnTo>
                    <a:lnTo>
                      <a:pt x="1331" y="816"/>
                    </a:lnTo>
                    <a:lnTo>
                      <a:pt x="1326" y="812"/>
                    </a:lnTo>
                    <a:lnTo>
                      <a:pt x="1328" y="811"/>
                    </a:lnTo>
                    <a:lnTo>
                      <a:pt x="1334" y="809"/>
                    </a:lnTo>
                    <a:lnTo>
                      <a:pt x="1336" y="812"/>
                    </a:lnTo>
                    <a:lnTo>
                      <a:pt x="1338" y="811"/>
                    </a:lnTo>
                    <a:lnTo>
                      <a:pt x="1341" y="811"/>
                    </a:lnTo>
                    <a:lnTo>
                      <a:pt x="1344" y="809"/>
                    </a:lnTo>
                    <a:lnTo>
                      <a:pt x="1341" y="806"/>
                    </a:lnTo>
                    <a:lnTo>
                      <a:pt x="1339" y="804"/>
                    </a:lnTo>
                    <a:lnTo>
                      <a:pt x="1338" y="801"/>
                    </a:lnTo>
                    <a:lnTo>
                      <a:pt x="1334" y="801"/>
                    </a:lnTo>
                    <a:lnTo>
                      <a:pt x="1334" y="794"/>
                    </a:lnTo>
                    <a:lnTo>
                      <a:pt x="1338" y="791"/>
                    </a:lnTo>
                    <a:lnTo>
                      <a:pt x="1338" y="787"/>
                    </a:lnTo>
                    <a:lnTo>
                      <a:pt x="1341" y="787"/>
                    </a:lnTo>
                    <a:lnTo>
                      <a:pt x="1339" y="784"/>
                    </a:lnTo>
                    <a:lnTo>
                      <a:pt x="1339" y="781"/>
                    </a:lnTo>
                    <a:lnTo>
                      <a:pt x="1343" y="777"/>
                    </a:lnTo>
                    <a:lnTo>
                      <a:pt x="1341" y="776"/>
                    </a:lnTo>
                    <a:lnTo>
                      <a:pt x="1341" y="774"/>
                    </a:lnTo>
                    <a:lnTo>
                      <a:pt x="1346" y="774"/>
                    </a:lnTo>
                    <a:lnTo>
                      <a:pt x="1348" y="771"/>
                    </a:lnTo>
                    <a:lnTo>
                      <a:pt x="1344" y="769"/>
                    </a:lnTo>
                    <a:lnTo>
                      <a:pt x="1343" y="767"/>
                    </a:lnTo>
                    <a:lnTo>
                      <a:pt x="1348" y="767"/>
                    </a:lnTo>
                    <a:lnTo>
                      <a:pt x="1349" y="771"/>
                    </a:lnTo>
                    <a:lnTo>
                      <a:pt x="1353" y="771"/>
                    </a:lnTo>
                    <a:lnTo>
                      <a:pt x="1356" y="769"/>
                    </a:lnTo>
                    <a:lnTo>
                      <a:pt x="1364" y="769"/>
                    </a:lnTo>
                    <a:lnTo>
                      <a:pt x="1371" y="774"/>
                    </a:lnTo>
                    <a:lnTo>
                      <a:pt x="1371" y="776"/>
                    </a:lnTo>
                    <a:lnTo>
                      <a:pt x="1373" y="779"/>
                    </a:lnTo>
                    <a:lnTo>
                      <a:pt x="1383" y="782"/>
                    </a:lnTo>
                    <a:lnTo>
                      <a:pt x="1386" y="781"/>
                    </a:lnTo>
                    <a:lnTo>
                      <a:pt x="1391" y="782"/>
                    </a:lnTo>
                    <a:lnTo>
                      <a:pt x="1397" y="786"/>
                    </a:lnTo>
                    <a:lnTo>
                      <a:pt x="1397" y="787"/>
                    </a:lnTo>
                    <a:lnTo>
                      <a:pt x="1394" y="789"/>
                    </a:lnTo>
                    <a:lnTo>
                      <a:pt x="1397" y="792"/>
                    </a:lnTo>
                    <a:lnTo>
                      <a:pt x="1394" y="794"/>
                    </a:lnTo>
                    <a:lnTo>
                      <a:pt x="1391" y="791"/>
                    </a:lnTo>
                    <a:lnTo>
                      <a:pt x="1387" y="791"/>
                    </a:lnTo>
                    <a:lnTo>
                      <a:pt x="1387" y="792"/>
                    </a:lnTo>
                    <a:lnTo>
                      <a:pt x="1397" y="799"/>
                    </a:lnTo>
                    <a:lnTo>
                      <a:pt x="1399" y="802"/>
                    </a:lnTo>
                    <a:lnTo>
                      <a:pt x="1394" y="804"/>
                    </a:lnTo>
                    <a:lnTo>
                      <a:pt x="1397" y="806"/>
                    </a:lnTo>
                    <a:lnTo>
                      <a:pt x="1401" y="804"/>
                    </a:lnTo>
                    <a:lnTo>
                      <a:pt x="1409" y="806"/>
                    </a:lnTo>
                    <a:lnTo>
                      <a:pt x="1411" y="809"/>
                    </a:lnTo>
                    <a:lnTo>
                      <a:pt x="1412" y="809"/>
                    </a:lnTo>
                    <a:lnTo>
                      <a:pt x="1414" y="811"/>
                    </a:lnTo>
                    <a:lnTo>
                      <a:pt x="1411" y="816"/>
                    </a:lnTo>
                    <a:lnTo>
                      <a:pt x="1402" y="821"/>
                    </a:lnTo>
                    <a:lnTo>
                      <a:pt x="1399" y="822"/>
                    </a:lnTo>
                    <a:lnTo>
                      <a:pt x="1396" y="824"/>
                    </a:lnTo>
                    <a:lnTo>
                      <a:pt x="1402" y="824"/>
                    </a:lnTo>
                    <a:lnTo>
                      <a:pt x="1404" y="824"/>
                    </a:lnTo>
                    <a:lnTo>
                      <a:pt x="1404" y="827"/>
                    </a:lnTo>
                    <a:lnTo>
                      <a:pt x="1406" y="827"/>
                    </a:lnTo>
                    <a:lnTo>
                      <a:pt x="1407" y="829"/>
                    </a:lnTo>
                    <a:lnTo>
                      <a:pt x="1404" y="834"/>
                    </a:lnTo>
                    <a:lnTo>
                      <a:pt x="1407" y="835"/>
                    </a:lnTo>
                    <a:lnTo>
                      <a:pt x="1401" y="839"/>
                    </a:lnTo>
                    <a:lnTo>
                      <a:pt x="1394" y="840"/>
                    </a:lnTo>
                    <a:lnTo>
                      <a:pt x="1391" y="840"/>
                    </a:lnTo>
                    <a:lnTo>
                      <a:pt x="1389" y="842"/>
                    </a:lnTo>
                    <a:lnTo>
                      <a:pt x="1384" y="842"/>
                    </a:lnTo>
                    <a:lnTo>
                      <a:pt x="1381" y="837"/>
                    </a:lnTo>
                    <a:lnTo>
                      <a:pt x="1376" y="837"/>
                    </a:lnTo>
                    <a:lnTo>
                      <a:pt x="1376" y="835"/>
                    </a:lnTo>
                    <a:lnTo>
                      <a:pt x="1373" y="835"/>
                    </a:lnTo>
                    <a:lnTo>
                      <a:pt x="1373" y="839"/>
                    </a:lnTo>
                    <a:lnTo>
                      <a:pt x="1369" y="840"/>
                    </a:lnTo>
                    <a:lnTo>
                      <a:pt x="1374" y="840"/>
                    </a:lnTo>
                    <a:lnTo>
                      <a:pt x="1378" y="844"/>
                    </a:lnTo>
                    <a:lnTo>
                      <a:pt x="1376" y="845"/>
                    </a:lnTo>
                    <a:lnTo>
                      <a:pt x="1373" y="849"/>
                    </a:lnTo>
                    <a:lnTo>
                      <a:pt x="1378" y="849"/>
                    </a:lnTo>
                    <a:lnTo>
                      <a:pt x="1374" y="852"/>
                    </a:lnTo>
                    <a:lnTo>
                      <a:pt x="1374" y="855"/>
                    </a:lnTo>
                    <a:lnTo>
                      <a:pt x="1376" y="855"/>
                    </a:lnTo>
                    <a:lnTo>
                      <a:pt x="1379" y="854"/>
                    </a:lnTo>
                    <a:lnTo>
                      <a:pt x="1381" y="854"/>
                    </a:lnTo>
                    <a:lnTo>
                      <a:pt x="1379" y="857"/>
                    </a:lnTo>
                    <a:lnTo>
                      <a:pt x="1374" y="859"/>
                    </a:lnTo>
                    <a:lnTo>
                      <a:pt x="1371" y="862"/>
                    </a:lnTo>
                    <a:lnTo>
                      <a:pt x="1373" y="867"/>
                    </a:lnTo>
                    <a:lnTo>
                      <a:pt x="1378" y="870"/>
                    </a:lnTo>
                    <a:lnTo>
                      <a:pt x="1378" y="874"/>
                    </a:lnTo>
                    <a:lnTo>
                      <a:pt x="1383" y="884"/>
                    </a:lnTo>
                    <a:lnTo>
                      <a:pt x="1381" y="889"/>
                    </a:lnTo>
                    <a:lnTo>
                      <a:pt x="1379" y="890"/>
                    </a:lnTo>
                    <a:lnTo>
                      <a:pt x="1379" y="894"/>
                    </a:lnTo>
                    <a:lnTo>
                      <a:pt x="1373" y="899"/>
                    </a:lnTo>
                    <a:lnTo>
                      <a:pt x="1374" y="902"/>
                    </a:lnTo>
                    <a:lnTo>
                      <a:pt x="1371" y="905"/>
                    </a:lnTo>
                    <a:lnTo>
                      <a:pt x="1368" y="904"/>
                    </a:lnTo>
                    <a:lnTo>
                      <a:pt x="1359" y="904"/>
                    </a:lnTo>
                    <a:lnTo>
                      <a:pt x="1356" y="905"/>
                    </a:lnTo>
                    <a:lnTo>
                      <a:pt x="1356" y="910"/>
                    </a:lnTo>
                    <a:lnTo>
                      <a:pt x="1351" y="914"/>
                    </a:lnTo>
                    <a:lnTo>
                      <a:pt x="1348" y="915"/>
                    </a:lnTo>
                    <a:lnTo>
                      <a:pt x="1344" y="915"/>
                    </a:lnTo>
                    <a:lnTo>
                      <a:pt x="1338" y="922"/>
                    </a:lnTo>
                    <a:lnTo>
                      <a:pt x="1336" y="922"/>
                    </a:lnTo>
                    <a:lnTo>
                      <a:pt x="1331" y="922"/>
                    </a:lnTo>
                    <a:lnTo>
                      <a:pt x="1329" y="927"/>
                    </a:lnTo>
                    <a:lnTo>
                      <a:pt x="1318" y="929"/>
                    </a:lnTo>
                    <a:lnTo>
                      <a:pt x="1314" y="927"/>
                    </a:lnTo>
                    <a:lnTo>
                      <a:pt x="1316" y="925"/>
                    </a:lnTo>
                    <a:lnTo>
                      <a:pt x="1314" y="919"/>
                    </a:lnTo>
                    <a:lnTo>
                      <a:pt x="1311" y="915"/>
                    </a:lnTo>
                    <a:lnTo>
                      <a:pt x="1311" y="914"/>
                    </a:lnTo>
                    <a:lnTo>
                      <a:pt x="1314" y="912"/>
                    </a:lnTo>
                    <a:lnTo>
                      <a:pt x="1314" y="909"/>
                    </a:lnTo>
                    <a:lnTo>
                      <a:pt x="1318" y="904"/>
                    </a:lnTo>
                    <a:lnTo>
                      <a:pt x="1313" y="907"/>
                    </a:lnTo>
                    <a:lnTo>
                      <a:pt x="1311" y="909"/>
                    </a:lnTo>
                    <a:lnTo>
                      <a:pt x="1311" y="899"/>
                    </a:lnTo>
                    <a:lnTo>
                      <a:pt x="1309" y="899"/>
                    </a:lnTo>
                    <a:lnTo>
                      <a:pt x="1306" y="894"/>
                    </a:lnTo>
                    <a:lnTo>
                      <a:pt x="1301" y="897"/>
                    </a:lnTo>
                    <a:lnTo>
                      <a:pt x="1299" y="895"/>
                    </a:lnTo>
                    <a:lnTo>
                      <a:pt x="1296" y="895"/>
                    </a:lnTo>
                    <a:lnTo>
                      <a:pt x="1291" y="902"/>
                    </a:lnTo>
                    <a:lnTo>
                      <a:pt x="1294" y="902"/>
                    </a:lnTo>
                    <a:lnTo>
                      <a:pt x="1299" y="899"/>
                    </a:lnTo>
                    <a:lnTo>
                      <a:pt x="1303" y="899"/>
                    </a:lnTo>
                    <a:lnTo>
                      <a:pt x="1303" y="904"/>
                    </a:lnTo>
                    <a:lnTo>
                      <a:pt x="1306" y="905"/>
                    </a:lnTo>
                    <a:lnTo>
                      <a:pt x="1309" y="912"/>
                    </a:lnTo>
                    <a:lnTo>
                      <a:pt x="1308" y="917"/>
                    </a:lnTo>
                    <a:lnTo>
                      <a:pt x="1311" y="919"/>
                    </a:lnTo>
                    <a:lnTo>
                      <a:pt x="1311" y="925"/>
                    </a:lnTo>
                    <a:lnTo>
                      <a:pt x="1309" y="927"/>
                    </a:lnTo>
                    <a:lnTo>
                      <a:pt x="1311" y="929"/>
                    </a:lnTo>
                    <a:lnTo>
                      <a:pt x="1311" y="932"/>
                    </a:lnTo>
                    <a:lnTo>
                      <a:pt x="1308" y="933"/>
                    </a:lnTo>
                    <a:lnTo>
                      <a:pt x="1301" y="927"/>
                    </a:lnTo>
                    <a:lnTo>
                      <a:pt x="1299" y="924"/>
                    </a:lnTo>
                    <a:lnTo>
                      <a:pt x="1296" y="922"/>
                    </a:lnTo>
                    <a:lnTo>
                      <a:pt x="1296" y="919"/>
                    </a:lnTo>
                    <a:lnTo>
                      <a:pt x="1293" y="922"/>
                    </a:lnTo>
                    <a:lnTo>
                      <a:pt x="1298" y="925"/>
                    </a:lnTo>
                    <a:lnTo>
                      <a:pt x="1296" y="930"/>
                    </a:lnTo>
                    <a:lnTo>
                      <a:pt x="1291" y="927"/>
                    </a:lnTo>
                    <a:lnTo>
                      <a:pt x="1286" y="925"/>
                    </a:lnTo>
                    <a:lnTo>
                      <a:pt x="1286" y="924"/>
                    </a:lnTo>
                    <a:lnTo>
                      <a:pt x="1283" y="925"/>
                    </a:lnTo>
                    <a:lnTo>
                      <a:pt x="1283" y="922"/>
                    </a:lnTo>
                    <a:lnTo>
                      <a:pt x="1285" y="915"/>
                    </a:lnTo>
                    <a:lnTo>
                      <a:pt x="1286" y="915"/>
                    </a:lnTo>
                    <a:lnTo>
                      <a:pt x="1283" y="914"/>
                    </a:lnTo>
                    <a:lnTo>
                      <a:pt x="1283" y="912"/>
                    </a:lnTo>
                    <a:lnTo>
                      <a:pt x="1276" y="914"/>
                    </a:lnTo>
                    <a:lnTo>
                      <a:pt x="1271" y="914"/>
                    </a:lnTo>
                    <a:lnTo>
                      <a:pt x="1266" y="912"/>
                    </a:lnTo>
                    <a:lnTo>
                      <a:pt x="1263" y="912"/>
                    </a:lnTo>
                    <a:lnTo>
                      <a:pt x="1258" y="909"/>
                    </a:lnTo>
                    <a:lnTo>
                      <a:pt x="1256" y="912"/>
                    </a:lnTo>
                    <a:lnTo>
                      <a:pt x="1258" y="915"/>
                    </a:lnTo>
                    <a:lnTo>
                      <a:pt x="1256" y="917"/>
                    </a:lnTo>
                    <a:lnTo>
                      <a:pt x="1256" y="920"/>
                    </a:lnTo>
                    <a:lnTo>
                      <a:pt x="1258" y="924"/>
                    </a:lnTo>
                    <a:lnTo>
                      <a:pt x="1265" y="925"/>
                    </a:lnTo>
                    <a:lnTo>
                      <a:pt x="1266" y="929"/>
                    </a:lnTo>
                    <a:lnTo>
                      <a:pt x="1263" y="935"/>
                    </a:lnTo>
                    <a:lnTo>
                      <a:pt x="1260" y="935"/>
                    </a:lnTo>
                    <a:lnTo>
                      <a:pt x="1248" y="943"/>
                    </a:lnTo>
                    <a:lnTo>
                      <a:pt x="1243" y="948"/>
                    </a:lnTo>
                    <a:lnTo>
                      <a:pt x="1238" y="955"/>
                    </a:lnTo>
                    <a:lnTo>
                      <a:pt x="1235" y="953"/>
                    </a:lnTo>
                    <a:lnTo>
                      <a:pt x="1231" y="957"/>
                    </a:lnTo>
                    <a:lnTo>
                      <a:pt x="1228" y="962"/>
                    </a:lnTo>
                    <a:lnTo>
                      <a:pt x="1225" y="963"/>
                    </a:lnTo>
                    <a:lnTo>
                      <a:pt x="1210" y="960"/>
                    </a:lnTo>
                    <a:lnTo>
                      <a:pt x="1206" y="955"/>
                    </a:lnTo>
                    <a:lnTo>
                      <a:pt x="1203" y="950"/>
                    </a:lnTo>
                    <a:lnTo>
                      <a:pt x="1196" y="948"/>
                    </a:lnTo>
                    <a:lnTo>
                      <a:pt x="1196" y="945"/>
                    </a:lnTo>
                    <a:lnTo>
                      <a:pt x="1198" y="945"/>
                    </a:lnTo>
                    <a:lnTo>
                      <a:pt x="1201" y="943"/>
                    </a:lnTo>
                    <a:lnTo>
                      <a:pt x="1198" y="942"/>
                    </a:lnTo>
                    <a:lnTo>
                      <a:pt x="1193" y="940"/>
                    </a:lnTo>
                    <a:lnTo>
                      <a:pt x="1188" y="932"/>
                    </a:lnTo>
                    <a:lnTo>
                      <a:pt x="1183" y="929"/>
                    </a:lnTo>
                    <a:lnTo>
                      <a:pt x="1173" y="929"/>
                    </a:lnTo>
                    <a:lnTo>
                      <a:pt x="1167" y="924"/>
                    </a:lnTo>
                    <a:lnTo>
                      <a:pt x="1155" y="924"/>
                    </a:lnTo>
                    <a:lnTo>
                      <a:pt x="1150" y="922"/>
                    </a:lnTo>
                    <a:lnTo>
                      <a:pt x="1150" y="925"/>
                    </a:lnTo>
                    <a:lnTo>
                      <a:pt x="1153" y="929"/>
                    </a:lnTo>
                    <a:lnTo>
                      <a:pt x="1155" y="927"/>
                    </a:lnTo>
                    <a:lnTo>
                      <a:pt x="1158" y="925"/>
                    </a:lnTo>
                    <a:lnTo>
                      <a:pt x="1168" y="929"/>
                    </a:lnTo>
                    <a:lnTo>
                      <a:pt x="1178" y="929"/>
                    </a:lnTo>
                    <a:lnTo>
                      <a:pt x="1182" y="930"/>
                    </a:lnTo>
                    <a:lnTo>
                      <a:pt x="1182" y="933"/>
                    </a:lnTo>
                    <a:lnTo>
                      <a:pt x="1180" y="933"/>
                    </a:lnTo>
                    <a:lnTo>
                      <a:pt x="1178" y="935"/>
                    </a:lnTo>
                    <a:lnTo>
                      <a:pt x="1178" y="937"/>
                    </a:lnTo>
                    <a:lnTo>
                      <a:pt x="1180" y="943"/>
                    </a:lnTo>
                    <a:lnTo>
                      <a:pt x="1182" y="943"/>
                    </a:lnTo>
                    <a:lnTo>
                      <a:pt x="1187" y="953"/>
                    </a:lnTo>
                    <a:lnTo>
                      <a:pt x="1190" y="960"/>
                    </a:lnTo>
                    <a:lnTo>
                      <a:pt x="1198" y="962"/>
                    </a:lnTo>
                    <a:lnTo>
                      <a:pt x="1208" y="963"/>
                    </a:lnTo>
                    <a:lnTo>
                      <a:pt x="1226" y="968"/>
                    </a:lnTo>
                    <a:lnTo>
                      <a:pt x="1226" y="973"/>
                    </a:lnTo>
                    <a:lnTo>
                      <a:pt x="1225" y="975"/>
                    </a:lnTo>
                    <a:lnTo>
                      <a:pt x="1218" y="978"/>
                    </a:lnTo>
                    <a:lnTo>
                      <a:pt x="1215" y="980"/>
                    </a:lnTo>
                    <a:lnTo>
                      <a:pt x="1208" y="988"/>
                    </a:lnTo>
                    <a:lnTo>
                      <a:pt x="1206" y="987"/>
                    </a:lnTo>
                    <a:lnTo>
                      <a:pt x="1205" y="988"/>
                    </a:lnTo>
                    <a:lnTo>
                      <a:pt x="1203" y="990"/>
                    </a:lnTo>
                    <a:lnTo>
                      <a:pt x="1188" y="1005"/>
                    </a:lnTo>
                    <a:lnTo>
                      <a:pt x="1182" y="1008"/>
                    </a:lnTo>
                    <a:lnTo>
                      <a:pt x="1178" y="1015"/>
                    </a:lnTo>
                    <a:lnTo>
                      <a:pt x="1173" y="1015"/>
                    </a:lnTo>
                    <a:lnTo>
                      <a:pt x="1172" y="1013"/>
                    </a:lnTo>
                    <a:lnTo>
                      <a:pt x="1168" y="1013"/>
                    </a:lnTo>
                    <a:lnTo>
                      <a:pt x="1168" y="1017"/>
                    </a:lnTo>
                    <a:lnTo>
                      <a:pt x="1162" y="1010"/>
                    </a:lnTo>
                    <a:lnTo>
                      <a:pt x="1158" y="1008"/>
                    </a:lnTo>
                    <a:lnTo>
                      <a:pt x="1155" y="1012"/>
                    </a:lnTo>
                    <a:lnTo>
                      <a:pt x="1153" y="1008"/>
                    </a:lnTo>
                    <a:lnTo>
                      <a:pt x="1152" y="1008"/>
                    </a:lnTo>
                    <a:lnTo>
                      <a:pt x="1155" y="1003"/>
                    </a:lnTo>
                    <a:lnTo>
                      <a:pt x="1153" y="1002"/>
                    </a:lnTo>
                    <a:lnTo>
                      <a:pt x="1153" y="1000"/>
                    </a:lnTo>
                    <a:lnTo>
                      <a:pt x="1148" y="1003"/>
                    </a:lnTo>
                    <a:lnTo>
                      <a:pt x="1145" y="1012"/>
                    </a:lnTo>
                    <a:lnTo>
                      <a:pt x="1145" y="1007"/>
                    </a:lnTo>
                    <a:lnTo>
                      <a:pt x="1142" y="1000"/>
                    </a:lnTo>
                    <a:lnTo>
                      <a:pt x="1140" y="1007"/>
                    </a:lnTo>
                    <a:lnTo>
                      <a:pt x="1142" y="1010"/>
                    </a:lnTo>
                    <a:lnTo>
                      <a:pt x="1142" y="1017"/>
                    </a:lnTo>
                    <a:lnTo>
                      <a:pt x="1135" y="1025"/>
                    </a:lnTo>
                    <a:lnTo>
                      <a:pt x="1132" y="1023"/>
                    </a:lnTo>
                    <a:lnTo>
                      <a:pt x="1132" y="1022"/>
                    </a:lnTo>
                    <a:lnTo>
                      <a:pt x="1128" y="1017"/>
                    </a:lnTo>
                    <a:lnTo>
                      <a:pt x="1127" y="1020"/>
                    </a:lnTo>
                    <a:lnTo>
                      <a:pt x="1130" y="1022"/>
                    </a:lnTo>
                    <a:lnTo>
                      <a:pt x="1125" y="1025"/>
                    </a:lnTo>
                    <a:lnTo>
                      <a:pt x="1125" y="1030"/>
                    </a:lnTo>
                    <a:lnTo>
                      <a:pt x="1123" y="1028"/>
                    </a:lnTo>
                    <a:lnTo>
                      <a:pt x="1118" y="1027"/>
                    </a:lnTo>
                    <a:lnTo>
                      <a:pt x="1117" y="1023"/>
                    </a:lnTo>
                    <a:lnTo>
                      <a:pt x="1113" y="1020"/>
                    </a:lnTo>
                    <a:lnTo>
                      <a:pt x="1108" y="1015"/>
                    </a:lnTo>
                    <a:lnTo>
                      <a:pt x="1098" y="1012"/>
                    </a:lnTo>
                    <a:lnTo>
                      <a:pt x="1090" y="1007"/>
                    </a:lnTo>
                    <a:lnTo>
                      <a:pt x="1087" y="1000"/>
                    </a:lnTo>
                    <a:lnTo>
                      <a:pt x="1084" y="1000"/>
                    </a:lnTo>
                    <a:lnTo>
                      <a:pt x="1077" y="995"/>
                    </a:lnTo>
                    <a:lnTo>
                      <a:pt x="1074" y="992"/>
                    </a:lnTo>
                    <a:lnTo>
                      <a:pt x="1074" y="998"/>
                    </a:lnTo>
                    <a:lnTo>
                      <a:pt x="1069" y="997"/>
                    </a:lnTo>
                    <a:lnTo>
                      <a:pt x="1072" y="1003"/>
                    </a:lnTo>
                    <a:lnTo>
                      <a:pt x="1077" y="1007"/>
                    </a:lnTo>
                    <a:lnTo>
                      <a:pt x="1079" y="1005"/>
                    </a:lnTo>
                    <a:lnTo>
                      <a:pt x="1075" y="1002"/>
                    </a:lnTo>
                    <a:lnTo>
                      <a:pt x="1077" y="1000"/>
                    </a:lnTo>
                    <a:lnTo>
                      <a:pt x="1079" y="1000"/>
                    </a:lnTo>
                    <a:lnTo>
                      <a:pt x="1088" y="1008"/>
                    </a:lnTo>
                    <a:lnTo>
                      <a:pt x="1097" y="1013"/>
                    </a:lnTo>
                    <a:lnTo>
                      <a:pt x="1098" y="1017"/>
                    </a:lnTo>
                    <a:lnTo>
                      <a:pt x="1092" y="1020"/>
                    </a:lnTo>
                    <a:lnTo>
                      <a:pt x="1087" y="1020"/>
                    </a:lnTo>
                    <a:lnTo>
                      <a:pt x="1084" y="1020"/>
                    </a:lnTo>
                    <a:lnTo>
                      <a:pt x="1084" y="1022"/>
                    </a:lnTo>
                    <a:lnTo>
                      <a:pt x="1084" y="1023"/>
                    </a:lnTo>
                    <a:lnTo>
                      <a:pt x="1087" y="1022"/>
                    </a:lnTo>
                    <a:lnTo>
                      <a:pt x="1097" y="1022"/>
                    </a:lnTo>
                    <a:lnTo>
                      <a:pt x="1102" y="1017"/>
                    </a:lnTo>
                    <a:lnTo>
                      <a:pt x="1103" y="1017"/>
                    </a:lnTo>
                    <a:lnTo>
                      <a:pt x="1107" y="1020"/>
                    </a:lnTo>
                    <a:lnTo>
                      <a:pt x="1107" y="1025"/>
                    </a:lnTo>
                    <a:lnTo>
                      <a:pt x="1117" y="1035"/>
                    </a:lnTo>
                    <a:lnTo>
                      <a:pt x="1115" y="1045"/>
                    </a:lnTo>
                    <a:lnTo>
                      <a:pt x="1110" y="1051"/>
                    </a:lnTo>
                    <a:lnTo>
                      <a:pt x="1105" y="1051"/>
                    </a:lnTo>
                    <a:lnTo>
                      <a:pt x="1103" y="1053"/>
                    </a:lnTo>
                    <a:lnTo>
                      <a:pt x="1097" y="1053"/>
                    </a:lnTo>
                    <a:lnTo>
                      <a:pt x="1093" y="1050"/>
                    </a:lnTo>
                    <a:lnTo>
                      <a:pt x="1082" y="1048"/>
                    </a:lnTo>
                    <a:lnTo>
                      <a:pt x="1075" y="1041"/>
                    </a:lnTo>
                    <a:lnTo>
                      <a:pt x="1074" y="1033"/>
                    </a:lnTo>
                    <a:lnTo>
                      <a:pt x="1070" y="1031"/>
                    </a:lnTo>
                    <a:lnTo>
                      <a:pt x="1069" y="1033"/>
                    </a:lnTo>
                    <a:lnTo>
                      <a:pt x="1070" y="1035"/>
                    </a:lnTo>
                    <a:lnTo>
                      <a:pt x="1070" y="1040"/>
                    </a:lnTo>
                    <a:lnTo>
                      <a:pt x="1074" y="1045"/>
                    </a:lnTo>
                    <a:lnTo>
                      <a:pt x="1077" y="1053"/>
                    </a:lnTo>
                    <a:lnTo>
                      <a:pt x="1082" y="1061"/>
                    </a:lnTo>
                    <a:lnTo>
                      <a:pt x="1079" y="1063"/>
                    </a:lnTo>
                    <a:lnTo>
                      <a:pt x="1077" y="1061"/>
                    </a:lnTo>
                    <a:lnTo>
                      <a:pt x="1072" y="1063"/>
                    </a:lnTo>
                    <a:lnTo>
                      <a:pt x="1070" y="1056"/>
                    </a:lnTo>
                    <a:lnTo>
                      <a:pt x="1070" y="1060"/>
                    </a:lnTo>
                    <a:lnTo>
                      <a:pt x="1067" y="1061"/>
                    </a:lnTo>
                    <a:lnTo>
                      <a:pt x="1069" y="1063"/>
                    </a:lnTo>
                    <a:lnTo>
                      <a:pt x="1074" y="1065"/>
                    </a:lnTo>
                    <a:lnTo>
                      <a:pt x="1075" y="1068"/>
                    </a:lnTo>
                    <a:lnTo>
                      <a:pt x="1065" y="1066"/>
                    </a:lnTo>
                    <a:lnTo>
                      <a:pt x="1064" y="1065"/>
                    </a:lnTo>
                    <a:lnTo>
                      <a:pt x="1064" y="1068"/>
                    </a:lnTo>
                    <a:lnTo>
                      <a:pt x="1067" y="1070"/>
                    </a:lnTo>
                    <a:lnTo>
                      <a:pt x="1067" y="1073"/>
                    </a:lnTo>
                    <a:lnTo>
                      <a:pt x="1062" y="1078"/>
                    </a:lnTo>
                    <a:lnTo>
                      <a:pt x="1062" y="1073"/>
                    </a:lnTo>
                    <a:lnTo>
                      <a:pt x="1059" y="1073"/>
                    </a:lnTo>
                    <a:lnTo>
                      <a:pt x="1060" y="1075"/>
                    </a:lnTo>
                    <a:lnTo>
                      <a:pt x="1060" y="1078"/>
                    </a:lnTo>
                    <a:lnTo>
                      <a:pt x="1059" y="1076"/>
                    </a:lnTo>
                    <a:lnTo>
                      <a:pt x="1052" y="1076"/>
                    </a:lnTo>
                    <a:lnTo>
                      <a:pt x="1050" y="1080"/>
                    </a:lnTo>
                    <a:lnTo>
                      <a:pt x="1042" y="1081"/>
                    </a:lnTo>
                    <a:lnTo>
                      <a:pt x="1047" y="1083"/>
                    </a:lnTo>
                    <a:lnTo>
                      <a:pt x="1047" y="1086"/>
                    </a:lnTo>
                    <a:lnTo>
                      <a:pt x="1045" y="1088"/>
                    </a:lnTo>
                    <a:lnTo>
                      <a:pt x="1044" y="1086"/>
                    </a:lnTo>
                    <a:lnTo>
                      <a:pt x="1039" y="1081"/>
                    </a:lnTo>
                    <a:lnTo>
                      <a:pt x="1035" y="1081"/>
                    </a:lnTo>
                    <a:lnTo>
                      <a:pt x="1035" y="1085"/>
                    </a:lnTo>
                    <a:lnTo>
                      <a:pt x="1032" y="1085"/>
                    </a:lnTo>
                    <a:lnTo>
                      <a:pt x="1039" y="1090"/>
                    </a:lnTo>
                    <a:lnTo>
                      <a:pt x="1035" y="1091"/>
                    </a:lnTo>
                    <a:lnTo>
                      <a:pt x="1035" y="1095"/>
                    </a:lnTo>
                    <a:lnTo>
                      <a:pt x="1032" y="1095"/>
                    </a:lnTo>
                    <a:lnTo>
                      <a:pt x="1027" y="1100"/>
                    </a:lnTo>
                    <a:lnTo>
                      <a:pt x="1022" y="1103"/>
                    </a:lnTo>
                    <a:lnTo>
                      <a:pt x="1024" y="1105"/>
                    </a:lnTo>
                    <a:lnTo>
                      <a:pt x="1022" y="1108"/>
                    </a:lnTo>
                    <a:lnTo>
                      <a:pt x="1020" y="1108"/>
                    </a:lnTo>
                    <a:lnTo>
                      <a:pt x="1017" y="1111"/>
                    </a:lnTo>
                    <a:lnTo>
                      <a:pt x="1017" y="1115"/>
                    </a:lnTo>
                    <a:lnTo>
                      <a:pt x="1014" y="1116"/>
                    </a:lnTo>
                    <a:lnTo>
                      <a:pt x="1007" y="1123"/>
                    </a:lnTo>
                    <a:lnTo>
                      <a:pt x="1002" y="1125"/>
                    </a:lnTo>
                    <a:lnTo>
                      <a:pt x="1000" y="1128"/>
                    </a:lnTo>
                    <a:lnTo>
                      <a:pt x="995" y="1133"/>
                    </a:lnTo>
                    <a:lnTo>
                      <a:pt x="990" y="1130"/>
                    </a:lnTo>
                    <a:lnTo>
                      <a:pt x="990" y="1133"/>
                    </a:lnTo>
                    <a:lnTo>
                      <a:pt x="992" y="1138"/>
                    </a:lnTo>
                    <a:lnTo>
                      <a:pt x="989" y="1141"/>
                    </a:lnTo>
                    <a:lnTo>
                      <a:pt x="987" y="1149"/>
                    </a:lnTo>
                    <a:lnTo>
                      <a:pt x="984" y="1153"/>
                    </a:lnTo>
                    <a:lnTo>
                      <a:pt x="982" y="1159"/>
                    </a:lnTo>
                    <a:lnTo>
                      <a:pt x="977" y="1161"/>
                    </a:lnTo>
                    <a:lnTo>
                      <a:pt x="974" y="1169"/>
                    </a:lnTo>
                    <a:lnTo>
                      <a:pt x="976" y="1171"/>
                    </a:lnTo>
                    <a:lnTo>
                      <a:pt x="976" y="1178"/>
                    </a:lnTo>
                    <a:lnTo>
                      <a:pt x="972" y="1184"/>
                    </a:lnTo>
                    <a:lnTo>
                      <a:pt x="971" y="1189"/>
                    </a:lnTo>
                    <a:lnTo>
                      <a:pt x="966" y="1189"/>
                    </a:lnTo>
                    <a:lnTo>
                      <a:pt x="964" y="1193"/>
                    </a:lnTo>
                    <a:lnTo>
                      <a:pt x="969" y="1193"/>
                    </a:lnTo>
                    <a:lnTo>
                      <a:pt x="971" y="1196"/>
                    </a:lnTo>
                    <a:lnTo>
                      <a:pt x="969" y="1199"/>
                    </a:lnTo>
                    <a:lnTo>
                      <a:pt x="971" y="1203"/>
                    </a:lnTo>
                    <a:lnTo>
                      <a:pt x="971" y="1208"/>
                    </a:lnTo>
                    <a:lnTo>
                      <a:pt x="972" y="1209"/>
                    </a:lnTo>
                    <a:lnTo>
                      <a:pt x="969" y="1219"/>
                    </a:lnTo>
                    <a:lnTo>
                      <a:pt x="962" y="1226"/>
                    </a:lnTo>
                    <a:lnTo>
                      <a:pt x="949" y="1228"/>
                    </a:lnTo>
                    <a:lnTo>
                      <a:pt x="947" y="1232"/>
                    </a:lnTo>
                    <a:lnTo>
                      <a:pt x="954" y="1228"/>
                    </a:lnTo>
                    <a:lnTo>
                      <a:pt x="966" y="1226"/>
                    </a:lnTo>
                    <a:lnTo>
                      <a:pt x="974" y="1218"/>
                    </a:lnTo>
                    <a:lnTo>
                      <a:pt x="979" y="1206"/>
                    </a:lnTo>
                    <a:lnTo>
                      <a:pt x="994" y="1206"/>
                    </a:lnTo>
                    <a:lnTo>
                      <a:pt x="997" y="1208"/>
                    </a:lnTo>
                    <a:lnTo>
                      <a:pt x="997" y="1211"/>
                    </a:lnTo>
                    <a:lnTo>
                      <a:pt x="995" y="1216"/>
                    </a:lnTo>
                    <a:lnTo>
                      <a:pt x="995" y="1221"/>
                    </a:lnTo>
                    <a:lnTo>
                      <a:pt x="999" y="1228"/>
                    </a:lnTo>
                    <a:lnTo>
                      <a:pt x="999" y="1236"/>
                    </a:lnTo>
                    <a:lnTo>
                      <a:pt x="994" y="1244"/>
                    </a:lnTo>
                    <a:lnTo>
                      <a:pt x="997" y="1247"/>
                    </a:lnTo>
                    <a:lnTo>
                      <a:pt x="999" y="1257"/>
                    </a:lnTo>
                    <a:lnTo>
                      <a:pt x="997" y="1261"/>
                    </a:lnTo>
                    <a:lnTo>
                      <a:pt x="982" y="1274"/>
                    </a:lnTo>
                    <a:lnTo>
                      <a:pt x="976" y="1276"/>
                    </a:lnTo>
                    <a:lnTo>
                      <a:pt x="971" y="1276"/>
                    </a:lnTo>
                    <a:lnTo>
                      <a:pt x="976" y="1277"/>
                    </a:lnTo>
                    <a:lnTo>
                      <a:pt x="982" y="1277"/>
                    </a:lnTo>
                    <a:lnTo>
                      <a:pt x="1000" y="1272"/>
                    </a:lnTo>
                    <a:lnTo>
                      <a:pt x="1017" y="1267"/>
                    </a:lnTo>
                    <a:lnTo>
                      <a:pt x="1025" y="1266"/>
                    </a:lnTo>
                    <a:lnTo>
                      <a:pt x="1037" y="1272"/>
                    </a:lnTo>
                    <a:lnTo>
                      <a:pt x="1044" y="1279"/>
                    </a:lnTo>
                    <a:lnTo>
                      <a:pt x="1055" y="1282"/>
                    </a:lnTo>
                    <a:lnTo>
                      <a:pt x="1057" y="1284"/>
                    </a:lnTo>
                    <a:lnTo>
                      <a:pt x="1062" y="1286"/>
                    </a:lnTo>
                    <a:lnTo>
                      <a:pt x="1070" y="1292"/>
                    </a:lnTo>
                    <a:lnTo>
                      <a:pt x="1074" y="1294"/>
                    </a:lnTo>
                    <a:lnTo>
                      <a:pt x="1077" y="1301"/>
                    </a:lnTo>
                    <a:lnTo>
                      <a:pt x="1082" y="1302"/>
                    </a:lnTo>
                    <a:lnTo>
                      <a:pt x="1082" y="1306"/>
                    </a:lnTo>
                    <a:lnTo>
                      <a:pt x="1085" y="1309"/>
                    </a:lnTo>
                    <a:lnTo>
                      <a:pt x="1088" y="1317"/>
                    </a:lnTo>
                    <a:lnTo>
                      <a:pt x="1088" y="1319"/>
                    </a:lnTo>
                    <a:lnTo>
                      <a:pt x="1092" y="1317"/>
                    </a:lnTo>
                    <a:lnTo>
                      <a:pt x="1093" y="1321"/>
                    </a:lnTo>
                    <a:lnTo>
                      <a:pt x="1103" y="1326"/>
                    </a:lnTo>
                    <a:lnTo>
                      <a:pt x="1107" y="1327"/>
                    </a:lnTo>
                    <a:lnTo>
                      <a:pt x="1113" y="1330"/>
                    </a:lnTo>
                    <a:lnTo>
                      <a:pt x="1118" y="1332"/>
                    </a:lnTo>
                    <a:lnTo>
                      <a:pt x="1125" y="1339"/>
                    </a:lnTo>
                    <a:lnTo>
                      <a:pt x="1127" y="1342"/>
                    </a:lnTo>
                    <a:lnTo>
                      <a:pt x="1133" y="1347"/>
                    </a:lnTo>
                    <a:lnTo>
                      <a:pt x="1132" y="1349"/>
                    </a:lnTo>
                    <a:lnTo>
                      <a:pt x="1133" y="1350"/>
                    </a:lnTo>
                    <a:lnTo>
                      <a:pt x="1142" y="1350"/>
                    </a:lnTo>
                    <a:lnTo>
                      <a:pt x="1143" y="1352"/>
                    </a:lnTo>
                    <a:lnTo>
                      <a:pt x="1148" y="1350"/>
                    </a:lnTo>
                    <a:lnTo>
                      <a:pt x="1160" y="1350"/>
                    </a:lnTo>
                    <a:lnTo>
                      <a:pt x="1162" y="1354"/>
                    </a:lnTo>
                    <a:lnTo>
                      <a:pt x="1163" y="1354"/>
                    </a:lnTo>
                    <a:lnTo>
                      <a:pt x="1172" y="1355"/>
                    </a:lnTo>
                    <a:lnTo>
                      <a:pt x="1180" y="1357"/>
                    </a:lnTo>
                    <a:lnTo>
                      <a:pt x="1185" y="1355"/>
                    </a:lnTo>
                    <a:lnTo>
                      <a:pt x="1188" y="1355"/>
                    </a:lnTo>
                    <a:lnTo>
                      <a:pt x="1188" y="1357"/>
                    </a:lnTo>
                    <a:lnTo>
                      <a:pt x="1190" y="1355"/>
                    </a:lnTo>
                    <a:lnTo>
                      <a:pt x="1193" y="1355"/>
                    </a:lnTo>
                    <a:lnTo>
                      <a:pt x="1193" y="1362"/>
                    </a:lnTo>
                    <a:lnTo>
                      <a:pt x="1187" y="1372"/>
                    </a:lnTo>
                    <a:lnTo>
                      <a:pt x="1187" y="1377"/>
                    </a:lnTo>
                    <a:lnTo>
                      <a:pt x="1183" y="1380"/>
                    </a:lnTo>
                    <a:lnTo>
                      <a:pt x="1180" y="1387"/>
                    </a:lnTo>
                    <a:lnTo>
                      <a:pt x="1182" y="1392"/>
                    </a:lnTo>
                    <a:lnTo>
                      <a:pt x="1183" y="1392"/>
                    </a:lnTo>
                    <a:lnTo>
                      <a:pt x="1183" y="1402"/>
                    </a:lnTo>
                    <a:lnTo>
                      <a:pt x="1177" y="1410"/>
                    </a:lnTo>
                    <a:lnTo>
                      <a:pt x="1177" y="1415"/>
                    </a:lnTo>
                    <a:lnTo>
                      <a:pt x="1175" y="1420"/>
                    </a:lnTo>
                    <a:lnTo>
                      <a:pt x="1170" y="1424"/>
                    </a:lnTo>
                    <a:lnTo>
                      <a:pt x="1167" y="1433"/>
                    </a:lnTo>
                    <a:lnTo>
                      <a:pt x="1170" y="1437"/>
                    </a:lnTo>
                    <a:lnTo>
                      <a:pt x="1175" y="1440"/>
                    </a:lnTo>
                    <a:lnTo>
                      <a:pt x="1175" y="1445"/>
                    </a:lnTo>
                    <a:lnTo>
                      <a:pt x="1178" y="1447"/>
                    </a:lnTo>
                    <a:lnTo>
                      <a:pt x="1180" y="1450"/>
                    </a:lnTo>
                    <a:lnTo>
                      <a:pt x="1180" y="1453"/>
                    </a:lnTo>
                    <a:lnTo>
                      <a:pt x="1180" y="1457"/>
                    </a:lnTo>
                    <a:lnTo>
                      <a:pt x="1180" y="1458"/>
                    </a:lnTo>
                    <a:lnTo>
                      <a:pt x="1185" y="1460"/>
                    </a:lnTo>
                    <a:lnTo>
                      <a:pt x="1190" y="1463"/>
                    </a:lnTo>
                    <a:lnTo>
                      <a:pt x="1191" y="1463"/>
                    </a:lnTo>
                    <a:lnTo>
                      <a:pt x="1191" y="1467"/>
                    </a:lnTo>
                    <a:lnTo>
                      <a:pt x="1195" y="1470"/>
                    </a:lnTo>
                    <a:lnTo>
                      <a:pt x="1196" y="1477"/>
                    </a:lnTo>
                    <a:lnTo>
                      <a:pt x="1196" y="1480"/>
                    </a:lnTo>
                    <a:lnTo>
                      <a:pt x="1195" y="1487"/>
                    </a:lnTo>
                    <a:lnTo>
                      <a:pt x="1187" y="1493"/>
                    </a:lnTo>
                    <a:lnTo>
                      <a:pt x="1193" y="1490"/>
                    </a:lnTo>
                    <a:lnTo>
                      <a:pt x="1198" y="1487"/>
                    </a:lnTo>
                    <a:lnTo>
                      <a:pt x="1205" y="1488"/>
                    </a:lnTo>
                    <a:lnTo>
                      <a:pt x="1210" y="1492"/>
                    </a:lnTo>
                    <a:lnTo>
                      <a:pt x="1213" y="1492"/>
                    </a:lnTo>
                    <a:lnTo>
                      <a:pt x="1215" y="1488"/>
                    </a:lnTo>
                    <a:lnTo>
                      <a:pt x="1215" y="1485"/>
                    </a:lnTo>
                    <a:lnTo>
                      <a:pt x="1223" y="1475"/>
                    </a:lnTo>
                    <a:lnTo>
                      <a:pt x="1225" y="1475"/>
                    </a:lnTo>
                    <a:lnTo>
                      <a:pt x="1225" y="1480"/>
                    </a:lnTo>
                    <a:lnTo>
                      <a:pt x="1225" y="1482"/>
                    </a:lnTo>
                    <a:lnTo>
                      <a:pt x="1228" y="1482"/>
                    </a:lnTo>
                    <a:lnTo>
                      <a:pt x="1230" y="1490"/>
                    </a:lnTo>
                    <a:lnTo>
                      <a:pt x="1228" y="1497"/>
                    </a:lnTo>
                    <a:lnTo>
                      <a:pt x="1235" y="1500"/>
                    </a:lnTo>
                    <a:lnTo>
                      <a:pt x="1243" y="1500"/>
                    </a:lnTo>
                    <a:lnTo>
                      <a:pt x="1238" y="1498"/>
                    </a:lnTo>
                    <a:lnTo>
                      <a:pt x="1233" y="1493"/>
                    </a:lnTo>
                    <a:lnTo>
                      <a:pt x="1231" y="1488"/>
                    </a:lnTo>
                    <a:lnTo>
                      <a:pt x="1233" y="1482"/>
                    </a:lnTo>
                    <a:lnTo>
                      <a:pt x="1236" y="1478"/>
                    </a:lnTo>
                    <a:lnTo>
                      <a:pt x="1233" y="1477"/>
                    </a:lnTo>
                    <a:lnTo>
                      <a:pt x="1233" y="1472"/>
                    </a:lnTo>
                    <a:lnTo>
                      <a:pt x="1235" y="1473"/>
                    </a:lnTo>
                    <a:lnTo>
                      <a:pt x="1238" y="1472"/>
                    </a:lnTo>
                    <a:lnTo>
                      <a:pt x="1240" y="1467"/>
                    </a:lnTo>
                    <a:lnTo>
                      <a:pt x="1245" y="1462"/>
                    </a:lnTo>
                    <a:lnTo>
                      <a:pt x="1243" y="1458"/>
                    </a:lnTo>
                    <a:lnTo>
                      <a:pt x="1243" y="1453"/>
                    </a:lnTo>
                    <a:lnTo>
                      <a:pt x="1240" y="1452"/>
                    </a:lnTo>
                    <a:lnTo>
                      <a:pt x="1240" y="1447"/>
                    </a:lnTo>
                    <a:lnTo>
                      <a:pt x="1245" y="1442"/>
                    </a:lnTo>
                    <a:lnTo>
                      <a:pt x="1243" y="1440"/>
                    </a:lnTo>
                    <a:lnTo>
                      <a:pt x="1243" y="1437"/>
                    </a:lnTo>
                    <a:lnTo>
                      <a:pt x="1241" y="1437"/>
                    </a:lnTo>
                    <a:lnTo>
                      <a:pt x="1240" y="1433"/>
                    </a:lnTo>
                    <a:lnTo>
                      <a:pt x="1245" y="1422"/>
                    </a:lnTo>
                    <a:lnTo>
                      <a:pt x="1243" y="1419"/>
                    </a:lnTo>
                    <a:lnTo>
                      <a:pt x="1245" y="1410"/>
                    </a:lnTo>
                    <a:lnTo>
                      <a:pt x="1246" y="1409"/>
                    </a:lnTo>
                    <a:lnTo>
                      <a:pt x="1245" y="1405"/>
                    </a:lnTo>
                    <a:lnTo>
                      <a:pt x="1248" y="1404"/>
                    </a:lnTo>
                    <a:lnTo>
                      <a:pt x="1246" y="1400"/>
                    </a:lnTo>
                    <a:lnTo>
                      <a:pt x="1248" y="1397"/>
                    </a:lnTo>
                    <a:lnTo>
                      <a:pt x="1246" y="1397"/>
                    </a:lnTo>
                    <a:lnTo>
                      <a:pt x="1245" y="1394"/>
                    </a:lnTo>
                    <a:lnTo>
                      <a:pt x="1246" y="1394"/>
                    </a:lnTo>
                    <a:lnTo>
                      <a:pt x="1245" y="1390"/>
                    </a:lnTo>
                    <a:lnTo>
                      <a:pt x="1245" y="1385"/>
                    </a:lnTo>
                    <a:lnTo>
                      <a:pt x="1243" y="1382"/>
                    </a:lnTo>
                    <a:lnTo>
                      <a:pt x="1243" y="1377"/>
                    </a:lnTo>
                    <a:lnTo>
                      <a:pt x="1241" y="1375"/>
                    </a:lnTo>
                    <a:lnTo>
                      <a:pt x="1248" y="1372"/>
                    </a:lnTo>
                    <a:lnTo>
                      <a:pt x="1256" y="1372"/>
                    </a:lnTo>
                    <a:lnTo>
                      <a:pt x="1261" y="1367"/>
                    </a:lnTo>
                    <a:lnTo>
                      <a:pt x="1268" y="1369"/>
                    </a:lnTo>
                    <a:lnTo>
                      <a:pt x="1270" y="1365"/>
                    </a:lnTo>
                    <a:lnTo>
                      <a:pt x="1280" y="1362"/>
                    </a:lnTo>
                    <a:lnTo>
                      <a:pt x="1294" y="1357"/>
                    </a:lnTo>
                    <a:lnTo>
                      <a:pt x="1294" y="1355"/>
                    </a:lnTo>
                    <a:lnTo>
                      <a:pt x="1298" y="1352"/>
                    </a:lnTo>
                    <a:lnTo>
                      <a:pt x="1309" y="1349"/>
                    </a:lnTo>
                    <a:lnTo>
                      <a:pt x="1309" y="1344"/>
                    </a:lnTo>
                    <a:lnTo>
                      <a:pt x="1316" y="1342"/>
                    </a:lnTo>
                    <a:lnTo>
                      <a:pt x="1323" y="1332"/>
                    </a:lnTo>
                    <a:lnTo>
                      <a:pt x="1324" y="1332"/>
                    </a:lnTo>
                    <a:lnTo>
                      <a:pt x="1328" y="1335"/>
                    </a:lnTo>
                    <a:lnTo>
                      <a:pt x="1333" y="1334"/>
                    </a:lnTo>
                    <a:lnTo>
                      <a:pt x="1336" y="1330"/>
                    </a:lnTo>
                    <a:lnTo>
                      <a:pt x="1331" y="1326"/>
                    </a:lnTo>
                    <a:lnTo>
                      <a:pt x="1331" y="1321"/>
                    </a:lnTo>
                    <a:lnTo>
                      <a:pt x="1328" y="1322"/>
                    </a:lnTo>
                    <a:lnTo>
                      <a:pt x="1328" y="1327"/>
                    </a:lnTo>
                    <a:lnTo>
                      <a:pt x="1324" y="1327"/>
                    </a:lnTo>
                    <a:lnTo>
                      <a:pt x="1326" y="1322"/>
                    </a:lnTo>
                    <a:lnTo>
                      <a:pt x="1331" y="1311"/>
                    </a:lnTo>
                    <a:lnTo>
                      <a:pt x="1333" y="1309"/>
                    </a:lnTo>
                    <a:lnTo>
                      <a:pt x="1333" y="1302"/>
                    </a:lnTo>
                    <a:lnTo>
                      <a:pt x="1334" y="1297"/>
                    </a:lnTo>
                    <a:lnTo>
                      <a:pt x="1329" y="1291"/>
                    </a:lnTo>
                    <a:lnTo>
                      <a:pt x="1331" y="1277"/>
                    </a:lnTo>
                    <a:lnTo>
                      <a:pt x="1329" y="1266"/>
                    </a:lnTo>
                    <a:lnTo>
                      <a:pt x="1321" y="1256"/>
                    </a:lnTo>
                    <a:lnTo>
                      <a:pt x="1316" y="1252"/>
                    </a:lnTo>
                    <a:lnTo>
                      <a:pt x="1314" y="1247"/>
                    </a:lnTo>
                    <a:lnTo>
                      <a:pt x="1309" y="1246"/>
                    </a:lnTo>
                    <a:lnTo>
                      <a:pt x="1308" y="1242"/>
                    </a:lnTo>
                    <a:lnTo>
                      <a:pt x="1311" y="1234"/>
                    </a:lnTo>
                    <a:lnTo>
                      <a:pt x="1316" y="1232"/>
                    </a:lnTo>
                    <a:lnTo>
                      <a:pt x="1329" y="1221"/>
                    </a:lnTo>
                    <a:lnTo>
                      <a:pt x="1333" y="1219"/>
                    </a:lnTo>
                    <a:lnTo>
                      <a:pt x="1336" y="1216"/>
                    </a:lnTo>
                    <a:lnTo>
                      <a:pt x="1336" y="1213"/>
                    </a:lnTo>
                    <a:lnTo>
                      <a:pt x="1334" y="1213"/>
                    </a:lnTo>
                    <a:lnTo>
                      <a:pt x="1334" y="1211"/>
                    </a:lnTo>
                    <a:lnTo>
                      <a:pt x="1339" y="1204"/>
                    </a:lnTo>
                    <a:lnTo>
                      <a:pt x="1341" y="1204"/>
                    </a:lnTo>
                    <a:lnTo>
                      <a:pt x="1344" y="1209"/>
                    </a:lnTo>
                    <a:lnTo>
                      <a:pt x="1348" y="1211"/>
                    </a:lnTo>
                    <a:lnTo>
                      <a:pt x="1346" y="1209"/>
                    </a:lnTo>
                    <a:lnTo>
                      <a:pt x="1346" y="1204"/>
                    </a:lnTo>
                    <a:lnTo>
                      <a:pt x="1351" y="1201"/>
                    </a:lnTo>
                    <a:lnTo>
                      <a:pt x="1356" y="1193"/>
                    </a:lnTo>
                    <a:lnTo>
                      <a:pt x="1356" y="1191"/>
                    </a:lnTo>
                    <a:lnTo>
                      <a:pt x="1349" y="1191"/>
                    </a:lnTo>
                    <a:lnTo>
                      <a:pt x="1349" y="1189"/>
                    </a:lnTo>
                    <a:lnTo>
                      <a:pt x="1353" y="1184"/>
                    </a:lnTo>
                    <a:lnTo>
                      <a:pt x="1351" y="1181"/>
                    </a:lnTo>
                    <a:lnTo>
                      <a:pt x="1349" y="1179"/>
                    </a:lnTo>
                    <a:lnTo>
                      <a:pt x="1353" y="1174"/>
                    </a:lnTo>
                    <a:lnTo>
                      <a:pt x="1356" y="1174"/>
                    </a:lnTo>
                    <a:lnTo>
                      <a:pt x="1351" y="1173"/>
                    </a:lnTo>
                    <a:lnTo>
                      <a:pt x="1351" y="1171"/>
                    </a:lnTo>
                    <a:lnTo>
                      <a:pt x="1353" y="1164"/>
                    </a:lnTo>
                    <a:lnTo>
                      <a:pt x="1358" y="1163"/>
                    </a:lnTo>
                    <a:lnTo>
                      <a:pt x="1354" y="1161"/>
                    </a:lnTo>
                    <a:lnTo>
                      <a:pt x="1346" y="1163"/>
                    </a:lnTo>
                    <a:lnTo>
                      <a:pt x="1344" y="1161"/>
                    </a:lnTo>
                    <a:lnTo>
                      <a:pt x="1344" y="1158"/>
                    </a:lnTo>
                    <a:lnTo>
                      <a:pt x="1354" y="1151"/>
                    </a:lnTo>
                    <a:lnTo>
                      <a:pt x="1361" y="1143"/>
                    </a:lnTo>
                    <a:lnTo>
                      <a:pt x="1363" y="1138"/>
                    </a:lnTo>
                    <a:lnTo>
                      <a:pt x="1366" y="1138"/>
                    </a:lnTo>
                    <a:lnTo>
                      <a:pt x="1368" y="1136"/>
                    </a:lnTo>
                    <a:lnTo>
                      <a:pt x="1368" y="1131"/>
                    </a:lnTo>
                    <a:lnTo>
                      <a:pt x="1364" y="1130"/>
                    </a:lnTo>
                    <a:lnTo>
                      <a:pt x="1364" y="1128"/>
                    </a:lnTo>
                    <a:lnTo>
                      <a:pt x="1363" y="1128"/>
                    </a:lnTo>
                    <a:lnTo>
                      <a:pt x="1359" y="1123"/>
                    </a:lnTo>
                    <a:lnTo>
                      <a:pt x="1359" y="1115"/>
                    </a:lnTo>
                    <a:lnTo>
                      <a:pt x="1363" y="1108"/>
                    </a:lnTo>
                    <a:lnTo>
                      <a:pt x="1363" y="1103"/>
                    </a:lnTo>
                    <a:lnTo>
                      <a:pt x="1366" y="1101"/>
                    </a:lnTo>
                    <a:lnTo>
                      <a:pt x="1368" y="1101"/>
                    </a:lnTo>
                    <a:lnTo>
                      <a:pt x="1371" y="1101"/>
                    </a:lnTo>
                    <a:lnTo>
                      <a:pt x="1371" y="1100"/>
                    </a:lnTo>
                    <a:lnTo>
                      <a:pt x="1374" y="1096"/>
                    </a:lnTo>
                    <a:lnTo>
                      <a:pt x="1378" y="1096"/>
                    </a:lnTo>
                    <a:lnTo>
                      <a:pt x="1381" y="1095"/>
                    </a:lnTo>
                    <a:lnTo>
                      <a:pt x="1383" y="1096"/>
                    </a:lnTo>
                    <a:lnTo>
                      <a:pt x="1391" y="1096"/>
                    </a:lnTo>
                    <a:lnTo>
                      <a:pt x="1399" y="1101"/>
                    </a:lnTo>
                    <a:lnTo>
                      <a:pt x="1411" y="1106"/>
                    </a:lnTo>
                    <a:lnTo>
                      <a:pt x="1416" y="1106"/>
                    </a:lnTo>
                    <a:lnTo>
                      <a:pt x="1414" y="1110"/>
                    </a:lnTo>
                    <a:lnTo>
                      <a:pt x="1409" y="1113"/>
                    </a:lnTo>
                    <a:lnTo>
                      <a:pt x="1416" y="1113"/>
                    </a:lnTo>
                    <a:lnTo>
                      <a:pt x="1422" y="1108"/>
                    </a:lnTo>
                    <a:lnTo>
                      <a:pt x="1427" y="1108"/>
                    </a:lnTo>
                    <a:lnTo>
                      <a:pt x="1431" y="1111"/>
                    </a:lnTo>
                    <a:lnTo>
                      <a:pt x="1434" y="1111"/>
                    </a:lnTo>
                    <a:lnTo>
                      <a:pt x="1437" y="1115"/>
                    </a:lnTo>
                    <a:lnTo>
                      <a:pt x="1437" y="1110"/>
                    </a:lnTo>
                    <a:lnTo>
                      <a:pt x="1442" y="1113"/>
                    </a:lnTo>
                    <a:lnTo>
                      <a:pt x="1446" y="1110"/>
                    </a:lnTo>
                    <a:lnTo>
                      <a:pt x="1449" y="1110"/>
                    </a:lnTo>
                    <a:lnTo>
                      <a:pt x="1456" y="1106"/>
                    </a:lnTo>
                    <a:lnTo>
                      <a:pt x="1464" y="1113"/>
                    </a:lnTo>
                    <a:lnTo>
                      <a:pt x="1464" y="1116"/>
                    </a:lnTo>
                    <a:lnTo>
                      <a:pt x="1469" y="1121"/>
                    </a:lnTo>
                    <a:lnTo>
                      <a:pt x="1474" y="1121"/>
                    </a:lnTo>
                    <a:lnTo>
                      <a:pt x="1474" y="1128"/>
                    </a:lnTo>
                    <a:lnTo>
                      <a:pt x="1471" y="1131"/>
                    </a:lnTo>
                    <a:lnTo>
                      <a:pt x="1471" y="1134"/>
                    </a:lnTo>
                    <a:lnTo>
                      <a:pt x="1474" y="1133"/>
                    </a:lnTo>
                    <a:lnTo>
                      <a:pt x="1479" y="1136"/>
                    </a:lnTo>
                    <a:lnTo>
                      <a:pt x="1482" y="1141"/>
                    </a:lnTo>
                    <a:lnTo>
                      <a:pt x="1477" y="1143"/>
                    </a:lnTo>
                    <a:lnTo>
                      <a:pt x="1482" y="1146"/>
                    </a:lnTo>
                    <a:lnTo>
                      <a:pt x="1485" y="1143"/>
                    </a:lnTo>
                    <a:lnTo>
                      <a:pt x="1489" y="1148"/>
                    </a:lnTo>
                    <a:lnTo>
                      <a:pt x="1489" y="1151"/>
                    </a:lnTo>
                    <a:lnTo>
                      <a:pt x="1485" y="1148"/>
                    </a:lnTo>
                    <a:lnTo>
                      <a:pt x="1482" y="1151"/>
                    </a:lnTo>
                    <a:lnTo>
                      <a:pt x="1479" y="1151"/>
                    </a:lnTo>
                    <a:lnTo>
                      <a:pt x="1484" y="1158"/>
                    </a:lnTo>
                    <a:lnTo>
                      <a:pt x="1484" y="1161"/>
                    </a:lnTo>
                    <a:lnTo>
                      <a:pt x="1489" y="1158"/>
                    </a:lnTo>
                    <a:lnTo>
                      <a:pt x="1489" y="1161"/>
                    </a:lnTo>
                    <a:lnTo>
                      <a:pt x="1492" y="1159"/>
                    </a:lnTo>
                    <a:lnTo>
                      <a:pt x="1500" y="1164"/>
                    </a:lnTo>
                    <a:lnTo>
                      <a:pt x="1502" y="1164"/>
                    </a:lnTo>
                    <a:lnTo>
                      <a:pt x="1505" y="1166"/>
                    </a:lnTo>
                    <a:lnTo>
                      <a:pt x="1510" y="1164"/>
                    </a:lnTo>
                    <a:lnTo>
                      <a:pt x="1515" y="1166"/>
                    </a:lnTo>
                    <a:lnTo>
                      <a:pt x="1515" y="1174"/>
                    </a:lnTo>
                    <a:lnTo>
                      <a:pt x="1517" y="1178"/>
                    </a:lnTo>
                    <a:lnTo>
                      <a:pt x="1524" y="1173"/>
                    </a:lnTo>
                    <a:lnTo>
                      <a:pt x="1524" y="1168"/>
                    </a:lnTo>
                    <a:lnTo>
                      <a:pt x="1529" y="1166"/>
                    </a:lnTo>
                    <a:lnTo>
                      <a:pt x="1529" y="1174"/>
                    </a:lnTo>
                    <a:lnTo>
                      <a:pt x="1527" y="1181"/>
                    </a:lnTo>
                    <a:lnTo>
                      <a:pt x="1520" y="1183"/>
                    </a:lnTo>
                    <a:lnTo>
                      <a:pt x="1515" y="1189"/>
                    </a:lnTo>
                    <a:lnTo>
                      <a:pt x="1517" y="1199"/>
                    </a:lnTo>
                    <a:lnTo>
                      <a:pt x="1515" y="1204"/>
                    </a:lnTo>
                    <a:lnTo>
                      <a:pt x="1514" y="1198"/>
                    </a:lnTo>
                    <a:lnTo>
                      <a:pt x="1512" y="1201"/>
                    </a:lnTo>
                    <a:lnTo>
                      <a:pt x="1510" y="1208"/>
                    </a:lnTo>
                    <a:lnTo>
                      <a:pt x="1500" y="1206"/>
                    </a:lnTo>
                    <a:lnTo>
                      <a:pt x="1487" y="1203"/>
                    </a:lnTo>
                    <a:lnTo>
                      <a:pt x="1499" y="1208"/>
                    </a:lnTo>
                    <a:lnTo>
                      <a:pt x="1507" y="1209"/>
                    </a:lnTo>
                    <a:lnTo>
                      <a:pt x="1514" y="1214"/>
                    </a:lnTo>
                    <a:lnTo>
                      <a:pt x="1514" y="1223"/>
                    </a:lnTo>
                    <a:lnTo>
                      <a:pt x="1509" y="1228"/>
                    </a:lnTo>
                    <a:lnTo>
                      <a:pt x="1509" y="1229"/>
                    </a:lnTo>
                    <a:lnTo>
                      <a:pt x="1504" y="1236"/>
                    </a:lnTo>
                    <a:lnTo>
                      <a:pt x="1505" y="1236"/>
                    </a:lnTo>
                    <a:lnTo>
                      <a:pt x="1512" y="1244"/>
                    </a:lnTo>
                    <a:lnTo>
                      <a:pt x="1515" y="1246"/>
                    </a:lnTo>
                    <a:lnTo>
                      <a:pt x="1512" y="1247"/>
                    </a:lnTo>
                    <a:lnTo>
                      <a:pt x="1504" y="1244"/>
                    </a:lnTo>
                    <a:lnTo>
                      <a:pt x="1510" y="1251"/>
                    </a:lnTo>
                    <a:lnTo>
                      <a:pt x="1514" y="1254"/>
                    </a:lnTo>
                    <a:lnTo>
                      <a:pt x="1515" y="1254"/>
                    </a:lnTo>
                    <a:lnTo>
                      <a:pt x="1514" y="1249"/>
                    </a:lnTo>
                    <a:lnTo>
                      <a:pt x="1519" y="1249"/>
                    </a:lnTo>
                    <a:lnTo>
                      <a:pt x="1524" y="1252"/>
                    </a:lnTo>
                    <a:lnTo>
                      <a:pt x="1525" y="1257"/>
                    </a:lnTo>
                    <a:lnTo>
                      <a:pt x="1525" y="1262"/>
                    </a:lnTo>
                    <a:lnTo>
                      <a:pt x="1525" y="1267"/>
                    </a:lnTo>
                    <a:lnTo>
                      <a:pt x="1520" y="1274"/>
                    </a:lnTo>
                    <a:lnTo>
                      <a:pt x="1519" y="1279"/>
                    </a:lnTo>
                    <a:lnTo>
                      <a:pt x="1515" y="1282"/>
                    </a:lnTo>
                    <a:lnTo>
                      <a:pt x="1520" y="1281"/>
                    </a:lnTo>
                    <a:lnTo>
                      <a:pt x="1527" y="1269"/>
                    </a:lnTo>
                    <a:lnTo>
                      <a:pt x="1534" y="1264"/>
                    </a:lnTo>
                    <a:lnTo>
                      <a:pt x="1535" y="1264"/>
                    </a:lnTo>
                    <a:lnTo>
                      <a:pt x="1534" y="1267"/>
                    </a:lnTo>
                    <a:lnTo>
                      <a:pt x="1535" y="1277"/>
                    </a:lnTo>
                    <a:lnTo>
                      <a:pt x="1534" y="1279"/>
                    </a:lnTo>
                    <a:lnTo>
                      <a:pt x="1534" y="1282"/>
                    </a:lnTo>
                    <a:lnTo>
                      <a:pt x="1532" y="1287"/>
                    </a:lnTo>
                    <a:lnTo>
                      <a:pt x="1537" y="1281"/>
                    </a:lnTo>
                    <a:lnTo>
                      <a:pt x="1537" y="1276"/>
                    </a:lnTo>
                    <a:lnTo>
                      <a:pt x="1544" y="1272"/>
                    </a:lnTo>
                    <a:lnTo>
                      <a:pt x="1547" y="1272"/>
                    </a:lnTo>
                    <a:lnTo>
                      <a:pt x="1552" y="1269"/>
                    </a:lnTo>
                    <a:lnTo>
                      <a:pt x="1555" y="1269"/>
                    </a:lnTo>
                    <a:lnTo>
                      <a:pt x="1555" y="1271"/>
                    </a:lnTo>
                    <a:lnTo>
                      <a:pt x="1557" y="1269"/>
                    </a:lnTo>
                    <a:lnTo>
                      <a:pt x="1562" y="1267"/>
                    </a:lnTo>
                    <a:lnTo>
                      <a:pt x="1564" y="1264"/>
                    </a:lnTo>
                    <a:lnTo>
                      <a:pt x="1565" y="1259"/>
                    </a:lnTo>
                    <a:lnTo>
                      <a:pt x="1572" y="1256"/>
                    </a:lnTo>
                    <a:lnTo>
                      <a:pt x="1575" y="1257"/>
                    </a:lnTo>
                    <a:lnTo>
                      <a:pt x="1577" y="1264"/>
                    </a:lnTo>
                    <a:lnTo>
                      <a:pt x="1577" y="1269"/>
                    </a:lnTo>
                    <a:lnTo>
                      <a:pt x="1580" y="1262"/>
                    </a:lnTo>
                    <a:lnTo>
                      <a:pt x="1579" y="1256"/>
                    </a:lnTo>
                    <a:lnTo>
                      <a:pt x="1582" y="1256"/>
                    </a:lnTo>
                    <a:lnTo>
                      <a:pt x="1580" y="1254"/>
                    </a:lnTo>
                    <a:lnTo>
                      <a:pt x="1583" y="1249"/>
                    </a:lnTo>
                    <a:lnTo>
                      <a:pt x="1587" y="1249"/>
                    </a:lnTo>
                    <a:lnTo>
                      <a:pt x="1588" y="1244"/>
                    </a:lnTo>
                    <a:lnTo>
                      <a:pt x="1592" y="1241"/>
                    </a:lnTo>
                    <a:lnTo>
                      <a:pt x="1595" y="1237"/>
                    </a:lnTo>
                    <a:lnTo>
                      <a:pt x="1597" y="1234"/>
                    </a:lnTo>
                    <a:lnTo>
                      <a:pt x="1600" y="1234"/>
                    </a:lnTo>
                    <a:lnTo>
                      <a:pt x="1603" y="1237"/>
                    </a:lnTo>
                    <a:lnTo>
                      <a:pt x="1603" y="1236"/>
                    </a:lnTo>
                    <a:lnTo>
                      <a:pt x="1602" y="1232"/>
                    </a:lnTo>
                    <a:lnTo>
                      <a:pt x="1597" y="1232"/>
                    </a:lnTo>
                    <a:lnTo>
                      <a:pt x="1597" y="1229"/>
                    </a:lnTo>
                    <a:lnTo>
                      <a:pt x="1600" y="1223"/>
                    </a:lnTo>
                    <a:lnTo>
                      <a:pt x="1603" y="1221"/>
                    </a:lnTo>
                    <a:lnTo>
                      <a:pt x="1605" y="1224"/>
                    </a:lnTo>
                    <a:lnTo>
                      <a:pt x="1605" y="1219"/>
                    </a:lnTo>
                    <a:lnTo>
                      <a:pt x="1608" y="1218"/>
                    </a:lnTo>
                    <a:lnTo>
                      <a:pt x="1608" y="1214"/>
                    </a:lnTo>
                    <a:lnTo>
                      <a:pt x="1613" y="1209"/>
                    </a:lnTo>
                    <a:lnTo>
                      <a:pt x="1617" y="1206"/>
                    </a:lnTo>
                    <a:lnTo>
                      <a:pt x="1615" y="1203"/>
                    </a:lnTo>
                    <a:lnTo>
                      <a:pt x="1620" y="1198"/>
                    </a:lnTo>
                    <a:lnTo>
                      <a:pt x="1625" y="1196"/>
                    </a:lnTo>
                    <a:lnTo>
                      <a:pt x="1627" y="1198"/>
                    </a:lnTo>
                    <a:lnTo>
                      <a:pt x="1622" y="1201"/>
                    </a:lnTo>
                    <a:lnTo>
                      <a:pt x="1627" y="1199"/>
                    </a:lnTo>
                    <a:lnTo>
                      <a:pt x="1628" y="1201"/>
                    </a:lnTo>
                    <a:lnTo>
                      <a:pt x="1625" y="1203"/>
                    </a:lnTo>
                    <a:lnTo>
                      <a:pt x="1625" y="1206"/>
                    </a:lnTo>
                    <a:lnTo>
                      <a:pt x="1628" y="1208"/>
                    </a:lnTo>
                    <a:lnTo>
                      <a:pt x="1625" y="1211"/>
                    </a:lnTo>
                    <a:lnTo>
                      <a:pt x="1622" y="1213"/>
                    </a:lnTo>
                    <a:lnTo>
                      <a:pt x="1622" y="1213"/>
                    </a:lnTo>
                    <a:lnTo>
                      <a:pt x="1625" y="1214"/>
                    </a:lnTo>
                    <a:lnTo>
                      <a:pt x="1628" y="1214"/>
                    </a:lnTo>
                    <a:lnTo>
                      <a:pt x="1627" y="1218"/>
                    </a:lnTo>
                    <a:lnTo>
                      <a:pt x="1625" y="1219"/>
                    </a:lnTo>
                    <a:lnTo>
                      <a:pt x="1628" y="1219"/>
                    </a:lnTo>
                    <a:lnTo>
                      <a:pt x="1630" y="1223"/>
                    </a:lnTo>
                    <a:lnTo>
                      <a:pt x="1627" y="1226"/>
                    </a:lnTo>
                    <a:lnTo>
                      <a:pt x="1627" y="1229"/>
                    </a:lnTo>
                    <a:lnTo>
                      <a:pt x="1632" y="1232"/>
                    </a:lnTo>
                    <a:lnTo>
                      <a:pt x="1632" y="1239"/>
                    </a:lnTo>
                    <a:lnTo>
                      <a:pt x="1630" y="1241"/>
                    </a:lnTo>
                    <a:lnTo>
                      <a:pt x="1628" y="1239"/>
                    </a:lnTo>
                    <a:lnTo>
                      <a:pt x="1625" y="1239"/>
                    </a:lnTo>
                    <a:lnTo>
                      <a:pt x="1628" y="1242"/>
                    </a:lnTo>
                    <a:lnTo>
                      <a:pt x="1628" y="1244"/>
                    </a:lnTo>
                    <a:lnTo>
                      <a:pt x="1632" y="1244"/>
                    </a:lnTo>
                    <a:lnTo>
                      <a:pt x="1633" y="1242"/>
                    </a:lnTo>
                    <a:lnTo>
                      <a:pt x="1635" y="1246"/>
                    </a:lnTo>
                    <a:lnTo>
                      <a:pt x="1638" y="1247"/>
                    </a:lnTo>
                    <a:lnTo>
                      <a:pt x="1635" y="1252"/>
                    </a:lnTo>
                    <a:lnTo>
                      <a:pt x="1630" y="1254"/>
                    </a:lnTo>
                    <a:lnTo>
                      <a:pt x="1625" y="1252"/>
                    </a:lnTo>
                    <a:lnTo>
                      <a:pt x="1622" y="1256"/>
                    </a:lnTo>
                    <a:lnTo>
                      <a:pt x="1627" y="1257"/>
                    </a:lnTo>
                    <a:lnTo>
                      <a:pt x="1637" y="1254"/>
                    </a:lnTo>
                    <a:lnTo>
                      <a:pt x="1642" y="1256"/>
                    </a:lnTo>
                    <a:lnTo>
                      <a:pt x="1640" y="1259"/>
                    </a:lnTo>
                    <a:lnTo>
                      <a:pt x="1635" y="1264"/>
                    </a:lnTo>
                    <a:lnTo>
                      <a:pt x="1638" y="1264"/>
                    </a:lnTo>
                    <a:lnTo>
                      <a:pt x="1643" y="1262"/>
                    </a:lnTo>
                    <a:lnTo>
                      <a:pt x="1643" y="1267"/>
                    </a:lnTo>
                    <a:lnTo>
                      <a:pt x="1638" y="1272"/>
                    </a:lnTo>
                    <a:lnTo>
                      <a:pt x="1632" y="1272"/>
                    </a:lnTo>
                    <a:lnTo>
                      <a:pt x="1628" y="1271"/>
                    </a:lnTo>
                    <a:lnTo>
                      <a:pt x="1625" y="1274"/>
                    </a:lnTo>
                    <a:lnTo>
                      <a:pt x="1627" y="1276"/>
                    </a:lnTo>
                    <a:lnTo>
                      <a:pt x="1625" y="1279"/>
                    </a:lnTo>
                    <a:lnTo>
                      <a:pt x="1632" y="1277"/>
                    </a:lnTo>
                    <a:lnTo>
                      <a:pt x="1640" y="1277"/>
                    </a:lnTo>
                    <a:lnTo>
                      <a:pt x="1645" y="1276"/>
                    </a:lnTo>
                    <a:lnTo>
                      <a:pt x="1647" y="1276"/>
                    </a:lnTo>
                    <a:lnTo>
                      <a:pt x="1643" y="1279"/>
                    </a:lnTo>
                    <a:lnTo>
                      <a:pt x="1643" y="1281"/>
                    </a:lnTo>
                    <a:lnTo>
                      <a:pt x="1638" y="1284"/>
                    </a:lnTo>
                    <a:lnTo>
                      <a:pt x="1635" y="1284"/>
                    </a:lnTo>
                    <a:lnTo>
                      <a:pt x="1627" y="1292"/>
                    </a:lnTo>
                    <a:lnTo>
                      <a:pt x="1635" y="1289"/>
                    </a:lnTo>
                    <a:lnTo>
                      <a:pt x="1640" y="1289"/>
                    </a:lnTo>
                    <a:lnTo>
                      <a:pt x="1643" y="1287"/>
                    </a:lnTo>
                    <a:lnTo>
                      <a:pt x="1648" y="1287"/>
                    </a:lnTo>
                    <a:lnTo>
                      <a:pt x="1648" y="1292"/>
                    </a:lnTo>
                    <a:lnTo>
                      <a:pt x="1645" y="1292"/>
                    </a:lnTo>
                    <a:lnTo>
                      <a:pt x="1640" y="1296"/>
                    </a:lnTo>
                    <a:lnTo>
                      <a:pt x="1638" y="1299"/>
                    </a:lnTo>
                    <a:lnTo>
                      <a:pt x="1640" y="1297"/>
                    </a:lnTo>
                    <a:lnTo>
                      <a:pt x="1645" y="1299"/>
                    </a:lnTo>
                    <a:lnTo>
                      <a:pt x="1648" y="1296"/>
                    </a:lnTo>
                    <a:lnTo>
                      <a:pt x="1653" y="1299"/>
                    </a:lnTo>
                    <a:lnTo>
                      <a:pt x="1655" y="1307"/>
                    </a:lnTo>
                    <a:lnTo>
                      <a:pt x="1650" y="1311"/>
                    </a:lnTo>
                    <a:lnTo>
                      <a:pt x="1647" y="1309"/>
                    </a:lnTo>
                    <a:lnTo>
                      <a:pt x="1645" y="1311"/>
                    </a:lnTo>
                    <a:lnTo>
                      <a:pt x="1640" y="1311"/>
                    </a:lnTo>
                    <a:lnTo>
                      <a:pt x="1643" y="1314"/>
                    </a:lnTo>
                    <a:lnTo>
                      <a:pt x="1647" y="1314"/>
                    </a:lnTo>
                    <a:lnTo>
                      <a:pt x="1648" y="1314"/>
                    </a:lnTo>
                    <a:lnTo>
                      <a:pt x="1653" y="1314"/>
                    </a:lnTo>
                    <a:lnTo>
                      <a:pt x="1655" y="1317"/>
                    </a:lnTo>
                    <a:lnTo>
                      <a:pt x="1655" y="1321"/>
                    </a:lnTo>
                    <a:lnTo>
                      <a:pt x="1652" y="1322"/>
                    </a:lnTo>
                    <a:lnTo>
                      <a:pt x="1655" y="1324"/>
                    </a:lnTo>
                    <a:lnTo>
                      <a:pt x="1658" y="1322"/>
                    </a:lnTo>
                    <a:lnTo>
                      <a:pt x="1663" y="1327"/>
                    </a:lnTo>
                    <a:lnTo>
                      <a:pt x="1662" y="1330"/>
                    </a:lnTo>
                    <a:lnTo>
                      <a:pt x="1658" y="1332"/>
                    </a:lnTo>
                    <a:lnTo>
                      <a:pt x="1653" y="1337"/>
                    </a:lnTo>
                    <a:lnTo>
                      <a:pt x="1648" y="1335"/>
                    </a:lnTo>
                    <a:lnTo>
                      <a:pt x="1648" y="1337"/>
                    </a:lnTo>
                    <a:lnTo>
                      <a:pt x="1652" y="1339"/>
                    </a:lnTo>
                    <a:lnTo>
                      <a:pt x="1652" y="1342"/>
                    </a:lnTo>
                    <a:lnTo>
                      <a:pt x="1647" y="1342"/>
                    </a:lnTo>
                    <a:lnTo>
                      <a:pt x="1642" y="1339"/>
                    </a:lnTo>
                    <a:lnTo>
                      <a:pt x="1635" y="1339"/>
                    </a:lnTo>
                    <a:lnTo>
                      <a:pt x="1640" y="1342"/>
                    </a:lnTo>
                    <a:lnTo>
                      <a:pt x="1640" y="1345"/>
                    </a:lnTo>
                    <a:lnTo>
                      <a:pt x="1645" y="1350"/>
                    </a:lnTo>
                    <a:lnTo>
                      <a:pt x="1648" y="1352"/>
                    </a:lnTo>
                    <a:lnTo>
                      <a:pt x="1647" y="1355"/>
                    </a:lnTo>
                    <a:lnTo>
                      <a:pt x="1642" y="1355"/>
                    </a:lnTo>
                    <a:lnTo>
                      <a:pt x="1640" y="1359"/>
                    </a:lnTo>
                    <a:lnTo>
                      <a:pt x="1633" y="1357"/>
                    </a:lnTo>
                    <a:lnTo>
                      <a:pt x="1642" y="1360"/>
                    </a:lnTo>
                    <a:lnTo>
                      <a:pt x="1645" y="1359"/>
                    </a:lnTo>
                    <a:lnTo>
                      <a:pt x="1645" y="1357"/>
                    </a:lnTo>
                    <a:lnTo>
                      <a:pt x="1652" y="1355"/>
                    </a:lnTo>
                    <a:lnTo>
                      <a:pt x="1655" y="1357"/>
                    </a:lnTo>
                    <a:lnTo>
                      <a:pt x="1655" y="1360"/>
                    </a:lnTo>
                    <a:lnTo>
                      <a:pt x="1657" y="1362"/>
                    </a:lnTo>
                    <a:lnTo>
                      <a:pt x="1653" y="1364"/>
                    </a:lnTo>
                    <a:lnTo>
                      <a:pt x="1657" y="1364"/>
                    </a:lnTo>
                    <a:lnTo>
                      <a:pt x="1658" y="1365"/>
                    </a:lnTo>
                    <a:lnTo>
                      <a:pt x="1657" y="1369"/>
                    </a:lnTo>
                    <a:lnTo>
                      <a:pt x="1658" y="1370"/>
                    </a:lnTo>
                    <a:lnTo>
                      <a:pt x="1663" y="1367"/>
                    </a:lnTo>
                    <a:lnTo>
                      <a:pt x="1665" y="1369"/>
                    </a:lnTo>
                    <a:lnTo>
                      <a:pt x="1668" y="1369"/>
                    </a:lnTo>
                    <a:lnTo>
                      <a:pt x="1667" y="1374"/>
                    </a:lnTo>
                    <a:lnTo>
                      <a:pt x="1665" y="1377"/>
                    </a:lnTo>
                    <a:lnTo>
                      <a:pt x="1665" y="1379"/>
                    </a:lnTo>
                    <a:lnTo>
                      <a:pt x="1668" y="1379"/>
                    </a:lnTo>
                    <a:lnTo>
                      <a:pt x="1673" y="1374"/>
                    </a:lnTo>
                    <a:lnTo>
                      <a:pt x="1673" y="1374"/>
                    </a:lnTo>
                    <a:lnTo>
                      <a:pt x="1673" y="1377"/>
                    </a:lnTo>
                    <a:lnTo>
                      <a:pt x="1677" y="1380"/>
                    </a:lnTo>
                    <a:lnTo>
                      <a:pt x="1670" y="1384"/>
                    </a:lnTo>
                    <a:lnTo>
                      <a:pt x="1663" y="1392"/>
                    </a:lnTo>
                    <a:lnTo>
                      <a:pt x="1658" y="1395"/>
                    </a:lnTo>
                    <a:lnTo>
                      <a:pt x="1653" y="1394"/>
                    </a:lnTo>
                    <a:lnTo>
                      <a:pt x="1658" y="1397"/>
                    </a:lnTo>
                    <a:lnTo>
                      <a:pt x="1662" y="1395"/>
                    </a:lnTo>
                    <a:lnTo>
                      <a:pt x="1672" y="1387"/>
                    </a:lnTo>
                    <a:lnTo>
                      <a:pt x="1675" y="1387"/>
                    </a:lnTo>
                    <a:lnTo>
                      <a:pt x="1675" y="1390"/>
                    </a:lnTo>
                    <a:lnTo>
                      <a:pt x="1672" y="1392"/>
                    </a:lnTo>
                    <a:lnTo>
                      <a:pt x="1668" y="1397"/>
                    </a:lnTo>
                    <a:lnTo>
                      <a:pt x="1672" y="1397"/>
                    </a:lnTo>
                    <a:lnTo>
                      <a:pt x="1677" y="1392"/>
                    </a:lnTo>
                    <a:lnTo>
                      <a:pt x="1680" y="1387"/>
                    </a:lnTo>
                    <a:lnTo>
                      <a:pt x="1685" y="1387"/>
                    </a:lnTo>
                    <a:lnTo>
                      <a:pt x="1685" y="1389"/>
                    </a:lnTo>
                    <a:lnTo>
                      <a:pt x="1682" y="1390"/>
                    </a:lnTo>
                    <a:lnTo>
                      <a:pt x="1680" y="1392"/>
                    </a:lnTo>
                    <a:lnTo>
                      <a:pt x="1682" y="1394"/>
                    </a:lnTo>
                    <a:lnTo>
                      <a:pt x="1688" y="1390"/>
                    </a:lnTo>
                    <a:lnTo>
                      <a:pt x="1690" y="1394"/>
                    </a:lnTo>
                    <a:lnTo>
                      <a:pt x="1683" y="1397"/>
                    </a:lnTo>
                    <a:lnTo>
                      <a:pt x="1680" y="1400"/>
                    </a:lnTo>
                    <a:lnTo>
                      <a:pt x="1682" y="1402"/>
                    </a:lnTo>
                    <a:lnTo>
                      <a:pt x="1686" y="1399"/>
                    </a:lnTo>
                    <a:lnTo>
                      <a:pt x="1695" y="1392"/>
                    </a:lnTo>
                    <a:lnTo>
                      <a:pt x="1696" y="1392"/>
                    </a:lnTo>
                    <a:lnTo>
                      <a:pt x="1695" y="1394"/>
                    </a:lnTo>
                    <a:lnTo>
                      <a:pt x="1693" y="1395"/>
                    </a:lnTo>
                    <a:lnTo>
                      <a:pt x="1700" y="1392"/>
                    </a:lnTo>
                    <a:lnTo>
                      <a:pt x="1700" y="1394"/>
                    </a:lnTo>
                    <a:lnTo>
                      <a:pt x="1700" y="1402"/>
                    </a:lnTo>
                    <a:lnTo>
                      <a:pt x="1696" y="1402"/>
                    </a:lnTo>
                    <a:lnTo>
                      <a:pt x="1698" y="1405"/>
                    </a:lnTo>
                    <a:lnTo>
                      <a:pt x="1703" y="1404"/>
                    </a:lnTo>
                    <a:lnTo>
                      <a:pt x="1708" y="1407"/>
                    </a:lnTo>
                    <a:lnTo>
                      <a:pt x="1711" y="1404"/>
                    </a:lnTo>
                    <a:lnTo>
                      <a:pt x="1718" y="1402"/>
                    </a:lnTo>
                    <a:lnTo>
                      <a:pt x="1721" y="1402"/>
                    </a:lnTo>
                    <a:lnTo>
                      <a:pt x="1720" y="1407"/>
                    </a:lnTo>
                    <a:lnTo>
                      <a:pt x="1716" y="1407"/>
                    </a:lnTo>
                    <a:lnTo>
                      <a:pt x="1715" y="1409"/>
                    </a:lnTo>
                    <a:lnTo>
                      <a:pt x="1726" y="1412"/>
                    </a:lnTo>
                    <a:lnTo>
                      <a:pt x="1731" y="1415"/>
                    </a:lnTo>
                    <a:lnTo>
                      <a:pt x="1723" y="1415"/>
                    </a:lnTo>
                    <a:lnTo>
                      <a:pt x="1723" y="1417"/>
                    </a:lnTo>
                    <a:lnTo>
                      <a:pt x="1713" y="1419"/>
                    </a:lnTo>
                    <a:lnTo>
                      <a:pt x="1711" y="1417"/>
                    </a:lnTo>
                    <a:lnTo>
                      <a:pt x="1705" y="1420"/>
                    </a:lnTo>
                    <a:lnTo>
                      <a:pt x="1700" y="1424"/>
                    </a:lnTo>
                    <a:lnTo>
                      <a:pt x="1691" y="1425"/>
                    </a:lnTo>
                    <a:lnTo>
                      <a:pt x="1678" y="1427"/>
                    </a:lnTo>
                    <a:lnTo>
                      <a:pt x="1678" y="1430"/>
                    </a:lnTo>
                    <a:lnTo>
                      <a:pt x="1686" y="1428"/>
                    </a:lnTo>
                    <a:lnTo>
                      <a:pt x="1696" y="1425"/>
                    </a:lnTo>
                    <a:lnTo>
                      <a:pt x="1700" y="1425"/>
                    </a:lnTo>
                    <a:lnTo>
                      <a:pt x="1700" y="1428"/>
                    </a:lnTo>
                    <a:lnTo>
                      <a:pt x="1691" y="1428"/>
                    </a:lnTo>
                    <a:lnTo>
                      <a:pt x="1682" y="1430"/>
                    </a:lnTo>
                    <a:lnTo>
                      <a:pt x="1673" y="1435"/>
                    </a:lnTo>
                    <a:lnTo>
                      <a:pt x="1672" y="1437"/>
                    </a:lnTo>
                    <a:lnTo>
                      <a:pt x="1665" y="1437"/>
                    </a:lnTo>
                    <a:lnTo>
                      <a:pt x="1665" y="1442"/>
                    </a:lnTo>
                    <a:lnTo>
                      <a:pt x="1663" y="1443"/>
                    </a:lnTo>
                    <a:lnTo>
                      <a:pt x="1653" y="1438"/>
                    </a:lnTo>
                    <a:lnTo>
                      <a:pt x="1648" y="1430"/>
                    </a:lnTo>
                    <a:lnTo>
                      <a:pt x="1650" y="1433"/>
                    </a:lnTo>
                    <a:lnTo>
                      <a:pt x="1648" y="1437"/>
                    </a:lnTo>
                    <a:lnTo>
                      <a:pt x="1652" y="1438"/>
                    </a:lnTo>
                    <a:lnTo>
                      <a:pt x="1653" y="1440"/>
                    </a:lnTo>
                    <a:lnTo>
                      <a:pt x="1662" y="1447"/>
                    </a:lnTo>
                    <a:lnTo>
                      <a:pt x="1660" y="1450"/>
                    </a:lnTo>
                    <a:lnTo>
                      <a:pt x="1658" y="1448"/>
                    </a:lnTo>
                    <a:lnTo>
                      <a:pt x="1655" y="1452"/>
                    </a:lnTo>
                    <a:lnTo>
                      <a:pt x="1657" y="1455"/>
                    </a:lnTo>
                    <a:lnTo>
                      <a:pt x="1660" y="1455"/>
                    </a:lnTo>
                    <a:lnTo>
                      <a:pt x="1662" y="1453"/>
                    </a:lnTo>
                    <a:lnTo>
                      <a:pt x="1663" y="1453"/>
                    </a:lnTo>
                    <a:lnTo>
                      <a:pt x="1668" y="1445"/>
                    </a:lnTo>
                    <a:lnTo>
                      <a:pt x="1675" y="1447"/>
                    </a:lnTo>
                    <a:lnTo>
                      <a:pt x="1680" y="1442"/>
                    </a:lnTo>
                    <a:lnTo>
                      <a:pt x="1683" y="1442"/>
                    </a:lnTo>
                    <a:lnTo>
                      <a:pt x="1686" y="1437"/>
                    </a:lnTo>
                    <a:lnTo>
                      <a:pt x="1690" y="1433"/>
                    </a:lnTo>
                    <a:lnTo>
                      <a:pt x="1696" y="1432"/>
                    </a:lnTo>
                    <a:lnTo>
                      <a:pt x="1703" y="1428"/>
                    </a:lnTo>
                    <a:lnTo>
                      <a:pt x="1710" y="1430"/>
                    </a:lnTo>
                    <a:lnTo>
                      <a:pt x="1715" y="1430"/>
                    </a:lnTo>
                    <a:lnTo>
                      <a:pt x="1713" y="1428"/>
                    </a:lnTo>
                    <a:lnTo>
                      <a:pt x="1708" y="1428"/>
                    </a:lnTo>
                    <a:lnTo>
                      <a:pt x="1706" y="1427"/>
                    </a:lnTo>
                    <a:lnTo>
                      <a:pt x="1710" y="1425"/>
                    </a:lnTo>
                    <a:lnTo>
                      <a:pt x="1720" y="1425"/>
                    </a:lnTo>
                    <a:lnTo>
                      <a:pt x="1728" y="1427"/>
                    </a:lnTo>
                    <a:lnTo>
                      <a:pt x="1731" y="1433"/>
                    </a:lnTo>
                    <a:lnTo>
                      <a:pt x="1731" y="1437"/>
                    </a:lnTo>
                    <a:lnTo>
                      <a:pt x="1725" y="1442"/>
                    </a:lnTo>
                    <a:lnTo>
                      <a:pt x="1723" y="1442"/>
                    </a:lnTo>
                    <a:lnTo>
                      <a:pt x="1720" y="1445"/>
                    </a:lnTo>
                    <a:lnTo>
                      <a:pt x="1725" y="1445"/>
                    </a:lnTo>
                    <a:lnTo>
                      <a:pt x="1726" y="1450"/>
                    </a:lnTo>
                    <a:lnTo>
                      <a:pt x="1730" y="1447"/>
                    </a:lnTo>
                    <a:lnTo>
                      <a:pt x="1731" y="1443"/>
                    </a:lnTo>
                    <a:lnTo>
                      <a:pt x="1738" y="1440"/>
                    </a:lnTo>
                    <a:lnTo>
                      <a:pt x="1743" y="1440"/>
                    </a:lnTo>
                    <a:lnTo>
                      <a:pt x="1745" y="1442"/>
                    </a:lnTo>
                    <a:lnTo>
                      <a:pt x="1743" y="1443"/>
                    </a:lnTo>
                    <a:lnTo>
                      <a:pt x="1741" y="1445"/>
                    </a:lnTo>
                    <a:lnTo>
                      <a:pt x="1748" y="1445"/>
                    </a:lnTo>
                    <a:lnTo>
                      <a:pt x="1755" y="1448"/>
                    </a:lnTo>
                    <a:lnTo>
                      <a:pt x="1755" y="1450"/>
                    </a:lnTo>
                    <a:lnTo>
                      <a:pt x="1751" y="1448"/>
                    </a:lnTo>
                    <a:lnTo>
                      <a:pt x="1748" y="1450"/>
                    </a:lnTo>
                    <a:lnTo>
                      <a:pt x="1750" y="1453"/>
                    </a:lnTo>
                    <a:lnTo>
                      <a:pt x="1756" y="1455"/>
                    </a:lnTo>
                    <a:lnTo>
                      <a:pt x="1758" y="1458"/>
                    </a:lnTo>
                    <a:lnTo>
                      <a:pt x="1755" y="1462"/>
                    </a:lnTo>
                    <a:lnTo>
                      <a:pt x="1750" y="1460"/>
                    </a:lnTo>
                    <a:lnTo>
                      <a:pt x="1746" y="1463"/>
                    </a:lnTo>
                    <a:lnTo>
                      <a:pt x="1753" y="1465"/>
                    </a:lnTo>
                    <a:lnTo>
                      <a:pt x="1751" y="1470"/>
                    </a:lnTo>
                    <a:lnTo>
                      <a:pt x="1748" y="1472"/>
                    </a:lnTo>
                    <a:lnTo>
                      <a:pt x="1746" y="1475"/>
                    </a:lnTo>
                    <a:lnTo>
                      <a:pt x="1743" y="1477"/>
                    </a:lnTo>
                    <a:lnTo>
                      <a:pt x="1738" y="1473"/>
                    </a:lnTo>
                    <a:lnTo>
                      <a:pt x="1740" y="1477"/>
                    </a:lnTo>
                    <a:lnTo>
                      <a:pt x="1746" y="1480"/>
                    </a:lnTo>
                    <a:lnTo>
                      <a:pt x="1750" y="1478"/>
                    </a:lnTo>
                    <a:lnTo>
                      <a:pt x="1753" y="1482"/>
                    </a:lnTo>
                    <a:lnTo>
                      <a:pt x="1750" y="1483"/>
                    </a:lnTo>
                    <a:lnTo>
                      <a:pt x="1746" y="1483"/>
                    </a:lnTo>
                    <a:lnTo>
                      <a:pt x="1743" y="1483"/>
                    </a:lnTo>
                    <a:lnTo>
                      <a:pt x="1746" y="1485"/>
                    </a:lnTo>
                    <a:lnTo>
                      <a:pt x="1751" y="1485"/>
                    </a:lnTo>
                    <a:lnTo>
                      <a:pt x="1753" y="1487"/>
                    </a:lnTo>
                    <a:lnTo>
                      <a:pt x="1751" y="1490"/>
                    </a:lnTo>
                    <a:lnTo>
                      <a:pt x="1751" y="1493"/>
                    </a:lnTo>
                    <a:lnTo>
                      <a:pt x="1746" y="1493"/>
                    </a:lnTo>
                    <a:lnTo>
                      <a:pt x="1745" y="1498"/>
                    </a:lnTo>
                    <a:lnTo>
                      <a:pt x="1738" y="1502"/>
                    </a:lnTo>
                    <a:lnTo>
                      <a:pt x="1733" y="1502"/>
                    </a:lnTo>
                    <a:lnTo>
                      <a:pt x="1728" y="1507"/>
                    </a:lnTo>
                    <a:lnTo>
                      <a:pt x="1726" y="1507"/>
                    </a:lnTo>
                    <a:lnTo>
                      <a:pt x="1723" y="1510"/>
                    </a:lnTo>
                    <a:lnTo>
                      <a:pt x="1720" y="1510"/>
                    </a:lnTo>
                    <a:lnTo>
                      <a:pt x="1720" y="1512"/>
                    </a:lnTo>
                    <a:lnTo>
                      <a:pt x="1715" y="1513"/>
                    </a:lnTo>
                    <a:lnTo>
                      <a:pt x="1711" y="1510"/>
                    </a:lnTo>
                    <a:lnTo>
                      <a:pt x="1708" y="1512"/>
                    </a:lnTo>
                    <a:lnTo>
                      <a:pt x="1705" y="1512"/>
                    </a:lnTo>
                    <a:lnTo>
                      <a:pt x="1703" y="1510"/>
                    </a:lnTo>
                    <a:lnTo>
                      <a:pt x="1698" y="1513"/>
                    </a:lnTo>
                    <a:lnTo>
                      <a:pt x="1693" y="1513"/>
                    </a:lnTo>
                    <a:lnTo>
                      <a:pt x="1691" y="1510"/>
                    </a:lnTo>
                    <a:lnTo>
                      <a:pt x="1690" y="1510"/>
                    </a:lnTo>
                    <a:lnTo>
                      <a:pt x="1690" y="1513"/>
                    </a:lnTo>
                    <a:lnTo>
                      <a:pt x="1685" y="1515"/>
                    </a:lnTo>
                    <a:lnTo>
                      <a:pt x="1680" y="1513"/>
                    </a:lnTo>
                    <a:lnTo>
                      <a:pt x="1680" y="1515"/>
                    </a:lnTo>
                    <a:lnTo>
                      <a:pt x="1682" y="1517"/>
                    </a:lnTo>
                    <a:lnTo>
                      <a:pt x="1680" y="1518"/>
                    </a:lnTo>
                    <a:lnTo>
                      <a:pt x="1677" y="1522"/>
                    </a:lnTo>
                    <a:lnTo>
                      <a:pt x="1673" y="1522"/>
                    </a:lnTo>
                    <a:lnTo>
                      <a:pt x="1673" y="1525"/>
                    </a:lnTo>
                    <a:lnTo>
                      <a:pt x="1670" y="1531"/>
                    </a:lnTo>
                    <a:lnTo>
                      <a:pt x="1667" y="1531"/>
                    </a:lnTo>
                    <a:lnTo>
                      <a:pt x="1665" y="1533"/>
                    </a:lnTo>
                    <a:lnTo>
                      <a:pt x="1662" y="1535"/>
                    </a:lnTo>
                    <a:lnTo>
                      <a:pt x="1658" y="1540"/>
                    </a:lnTo>
                    <a:lnTo>
                      <a:pt x="1657" y="1538"/>
                    </a:lnTo>
                    <a:lnTo>
                      <a:pt x="1653" y="1540"/>
                    </a:lnTo>
                    <a:lnTo>
                      <a:pt x="1648" y="1540"/>
                    </a:lnTo>
                    <a:lnTo>
                      <a:pt x="1647" y="1543"/>
                    </a:lnTo>
                    <a:lnTo>
                      <a:pt x="1643" y="1545"/>
                    </a:lnTo>
                    <a:lnTo>
                      <a:pt x="1640" y="1543"/>
                    </a:lnTo>
                    <a:lnTo>
                      <a:pt x="1632" y="1543"/>
                    </a:lnTo>
                    <a:lnTo>
                      <a:pt x="1630" y="1541"/>
                    </a:lnTo>
                    <a:lnTo>
                      <a:pt x="1625" y="1543"/>
                    </a:lnTo>
                    <a:lnTo>
                      <a:pt x="1622" y="1543"/>
                    </a:lnTo>
                    <a:lnTo>
                      <a:pt x="1610" y="1546"/>
                    </a:lnTo>
                    <a:lnTo>
                      <a:pt x="1607" y="1545"/>
                    </a:lnTo>
                    <a:lnTo>
                      <a:pt x="1607" y="1543"/>
                    </a:lnTo>
                    <a:lnTo>
                      <a:pt x="1603" y="1541"/>
                    </a:lnTo>
                    <a:lnTo>
                      <a:pt x="1600" y="1543"/>
                    </a:lnTo>
                    <a:lnTo>
                      <a:pt x="1595" y="1543"/>
                    </a:lnTo>
                    <a:lnTo>
                      <a:pt x="1588" y="1540"/>
                    </a:lnTo>
                    <a:lnTo>
                      <a:pt x="1587" y="1541"/>
                    </a:lnTo>
                    <a:lnTo>
                      <a:pt x="1580" y="1540"/>
                    </a:lnTo>
                    <a:lnTo>
                      <a:pt x="1577" y="1538"/>
                    </a:lnTo>
                    <a:lnTo>
                      <a:pt x="1575" y="1538"/>
                    </a:lnTo>
                    <a:lnTo>
                      <a:pt x="1572" y="1540"/>
                    </a:lnTo>
                    <a:lnTo>
                      <a:pt x="1564" y="1540"/>
                    </a:lnTo>
                    <a:lnTo>
                      <a:pt x="1559" y="1536"/>
                    </a:lnTo>
                    <a:lnTo>
                      <a:pt x="1554" y="1538"/>
                    </a:lnTo>
                    <a:lnTo>
                      <a:pt x="1550" y="1538"/>
                    </a:lnTo>
                    <a:lnTo>
                      <a:pt x="1547" y="1536"/>
                    </a:lnTo>
                    <a:lnTo>
                      <a:pt x="1540" y="1538"/>
                    </a:lnTo>
                    <a:lnTo>
                      <a:pt x="1539" y="1538"/>
                    </a:lnTo>
                    <a:lnTo>
                      <a:pt x="1535" y="1538"/>
                    </a:lnTo>
                    <a:lnTo>
                      <a:pt x="1527" y="1535"/>
                    </a:lnTo>
                    <a:lnTo>
                      <a:pt x="1517" y="1536"/>
                    </a:lnTo>
                    <a:lnTo>
                      <a:pt x="1512" y="1535"/>
                    </a:lnTo>
                    <a:lnTo>
                      <a:pt x="1507" y="1531"/>
                    </a:lnTo>
                    <a:lnTo>
                      <a:pt x="1504" y="1533"/>
                    </a:lnTo>
                    <a:lnTo>
                      <a:pt x="1500" y="1535"/>
                    </a:lnTo>
                    <a:lnTo>
                      <a:pt x="1504" y="1538"/>
                    </a:lnTo>
                    <a:lnTo>
                      <a:pt x="1502" y="1540"/>
                    </a:lnTo>
                    <a:lnTo>
                      <a:pt x="1497" y="1540"/>
                    </a:lnTo>
                    <a:lnTo>
                      <a:pt x="1489" y="1548"/>
                    </a:lnTo>
                    <a:lnTo>
                      <a:pt x="1482" y="1550"/>
                    </a:lnTo>
                    <a:lnTo>
                      <a:pt x="1482" y="1553"/>
                    </a:lnTo>
                    <a:lnTo>
                      <a:pt x="1481" y="1556"/>
                    </a:lnTo>
                    <a:lnTo>
                      <a:pt x="1479" y="1561"/>
                    </a:lnTo>
                    <a:lnTo>
                      <a:pt x="1477" y="1565"/>
                    </a:lnTo>
                    <a:lnTo>
                      <a:pt x="1469" y="1565"/>
                    </a:lnTo>
                    <a:lnTo>
                      <a:pt x="1466" y="1566"/>
                    </a:lnTo>
                    <a:lnTo>
                      <a:pt x="1457" y="1566"/>
                    </a:lnTo>
                    <a:lnTo>
                      <a:pt x="1454" y="1571"/>
                    </a:lnTo>
                    <a:lnTo>
                      <a:pt x="1451" y="1573"/>
                    </a:lnTo>
                    <a:lnTo>
                      <a:pt x="1449" y="1571"/>
                    </a:lnTo>
                    <a:lnTo>
                      <a:pt x="1444" y="1573"/>
                    </a:lnTo>
                    <a:lnTo>
                      <a:pt x="1442" y="1578"/>
                    </a:lnTo>
                    <a:lnTo>
                      <a:pt x="1437" y="1578"/>
                    </a:lnTo>
                    <a:lnTo>
                      <a:pt x="1432" y="1581"/>
                    </a:lnTo>
                    <a:lnTo>
                      <a:pt x="1432" y="1585"/>
                    </a:lnTo>
                    <a:lnTo>
                      <a:pt x="1429" y="1585"/>
                    </a:lnTo>
                    <a:lnTo>
                      <a:pt x="1422" y="1593"/>
                    </a:lnTo>
                    <a:lnTo>
                      <a:pt x="1414" y="1596"/>
                    </a:lnTo>
                    <a:lnTo>
                      <a:pt x="1411" y="1605"/>
                    </a:lnTo>
                    <a:lnTo>
                      <a:pt x="1404" y="1608"/>
                    </a:lnTo>
                    <a:lnTo>
                      <a:pt x="1399" y="1613"/>
                    </a:lnTo>
                    <a:lnTo>
                      <a:pt x="1394" y="1613"/>
                    </a:lnTo>
                    <a:lnTo>
                      <a:pt x="1392" y="1620"/>
                    </a:lnTo>
                    <a:lnTo>
                      <a:pt x="1389" y="1624"/>
                    </a:lnTo>
                    <a:lnTo>
                      <a:pt x="1378" y="1629"/>
                    </a:lnTo>
                    <a:lnTo>
                      <a:pt x="1378" y="1633"/>
                    </a:lnTo>
                    <a:lnTo>
                      <a:pt x="1364" y="1638"/>
                    </a:lnTo>
                    <a:lnTo>
                      <a:pt x="1358" y="1639"/>
                    </a:lnTo>
                    <a:lnTo>
                      <a:pt x="1363" y="1639"/>
                    </a:lnTo>
                    <a:lnTo>
                      <a:pt x="1376" y="1634"/>
                    </a:lnTo>
                    <a:lnTo>
                      <a:pt x="1386" y="1629"/>
                    </a:lnTo>
                    <a:lnTo>
                      <a:pt x="1394" y="1626"/>
                    </a:lnTo>
                    <a:lnTo>
                      <a:pt x="1401" y="1618"/>
                    </a:lnTo>
                    <a:lnTo>
                      <a:pt x="1407" y="1613"/>
                    </a:lnTo>
                    <a:lnTo>
                      <a:pt x="1411" y="1611"/>
                    </a:lnTo>
                    <a:lnTo>
                      <a:pt x="1422" y="1601"/>
                    </a:lnTo>
                    <a:lnTo>
                      <a:pt x="1439" y="1591"/>
                    </a:lnTo>
                    <a:lnTo>
                      <a:pt x="1451" y="1585"/>
                    </a:lnTo>
                    <a:lnTo>
                      <a:pt x="1457" y="1585"/>
                    </a:lnTo>
                    <a:lnTo>
                      <a:pt x="1464" y="1581"/>
                    </a:lnTo>
                    <a:lnTo>
                      <a:pt x="1476" y="1578"/>
                    </a:lnTo>
                    <a:lnTo>
                      <a:pt x="1490" y="1575"/>
                    </a:lnTo>
                    <a:lnTo>
                      <a:pt x="1495" y="1573"/>
                    </a:lnTo>
                    <a:lnTo>
                      <a:pt x="1500" y="1571"/>
                    </a:lnTo>
                    <a:lnTo>
                      <a:pt x="1517" y="1571"/>
                    </a:lnTo>
                    <a:lnTo>
                      <a:pt x="1525" y="1575"/>
                    </a:lnTo>
                    <a:lnTo>
                      <a:pt x="1535" y="1580"/>
                    </a:lnTo>
                    <a:lnTo>
                      <a:pt x="1535" y="1581"/>
                    </a:lnTo>
                    <a:lnTo>
                      <a:pt x="1529" y="1581"/>
                    </a:lnTo>
                    <a:lnTo>
                      <a:pt x="1529" y="1581"/>
                    </a:lnTo>
                    <a:lnTo>
                      <a:pt x="1527" y="1583"/>
                    </a:lnTo>
                    <a:lnTo>
                      <a:pt x="1532" y="1583"/>
                    </a:lnTo>
                    <a:lnTo>
                      <a:pt x="1537" y="1585"/>
                    </a:lnTo>
                    <a:lnTo>
                      <a:pt x="1539" y="1588"/>
                    </a:lnTo>
                    <a:lnTo>
                      <a:pt x="1535" y="1588"/>
                    </a:lnTo>
                    <a:lnTo>
                      <a:pt x="1539" y="1590"/>
                    </a:lnTo>
                    <a:lnTo>
                      <a:pt x="1534" y="1598"/>
                    </a:lnTo>
                    <a:lnTo>
                      <a:pt x="1529" y="1598"/>
                    </a:lnTo>
                    <a:lnTo>
                      <a:pt x="1524" y="1603"/>
                    </a:lnTo>
                    <a:lnTo>
                      <a:pt x="1520" y="1603"/>
                    </a:lnTo>
                    <a:lnTo>
                      <a:pt x="1514" y="1606"/>
                    </a:lnTo>
                    <a:lnTo>
                      <a:pt x="1509" y="1606"/>
                    </a:lnTo>
                    <a:lnTo>
                      <a:pt x="1505" y="1603"/>
                    </a:lnTo>
                    <a:lnTo>
                      <a:pt x="1499" y="1601"/>
                    </a:lnTo>
                    <a:lnTo>
                      <a:pt x="1495" y="1605"/>
                    </a:lnTo>
                    <a:lnTo>
                      <a:pt x="1490" y="1605"/>
                    </a:lnTo>
                    <a:lnTo>
                      <a:pt x="1485" y="1605"/>
                    </a:lnTo>
                    <a:lnTo>
                      <a:pt x="1479" y="1606"/>
                    </a:lnTo>
                    <a:lnTo>
                      <a:pt x="1485" y="1606"/>
                    </a:lnTo>
                    <a:lnTo>
                      <a:pt x="1492" y="1606"/>
                    </a:lnTo>
                    <a:lnTo>
                      <a:pt x="1502" y="1610"/>
                    </a:lnTo>
                    <a:lnTo>
                      <a:pt x="1504" y="1613"/>
                    </a:lnTo>
                    <a:lnTo>
                      <a:pt x="1505" y="1616"/>
                    </a:lnTo>
                    <a:lnTo>
                      <a:pt x="1510" y="1613"/>
                    </a:lnTo>
                    <a:lnTo>
                      <a:pt x="1515" y="1611"/>
                    </a:lnTo>
                    <a:lnTo>
                      <a:pt x="1520" y="1611"/>
                    </a:lnTo>
                    <a:lnTo>
                      <a:pt x="1522" y="1613"/>
                    </a:lnTo>
                    <a:lnTo>
                      <a:pt x="1525" y="1613"/>
                    </a:lnTo>
                    <a:lnTo>
                      <a:pt x="1525" y="1615"/>
                    </a:lnTo>
                    <a:lnTo>
                      <a:pt x="1522" y="1618"/>
                    </a:lnTo>
                    <a:lnTo>
                      <a:pt x="1515" y="1629"/>
                    </a:lnTo>
                    <a:lnTo>
                      <a:pt x="1512" y="1629"/>
                    </a:lnTo>
                    <a:lnTo>
                      <a:pt x="1509" y="1633"/>
                    </a:lnTo>
                    <a:lnTo>
                      <a:pt x="1519" y="1633"/>
                    </a:lnTo>
                    <a:lnTo>
                      <a:pt x="1519" y="1634"/>
                    </a:lnTo>
                    <a:lnTo>
                      <a:pt x="1515" y="1639"/>
                    </a:lnTo>
                    <a:lnTo>
                      <a:pt x="1519" y="1643"/>
                    </a:lnTo>
                    <a:lnTo>
                      <a:pt x="1519" y="1646"/>
                    </a:lnTo>
                    <a:lnTo>
                      <a:pt x="1519" y="1653"/>
                    </a:lnTo>
                    <a:lnTo>
                      <a:pt x="1520" y="1653"/>
                    </a:lnTo>
                    <a:lnTo>
                      <a:pt x="1524" y="1659"/>
                    </a:lnTo>
                    <a:lnTo>
                      <a:pt x="1529" y="1659"/>
                    </a:lnTo>
                    <a:lnTo>
                      <a:pt x="1530" y="1661"/>
                    </a:lnTo>
                    <a:lnTo>
                      <a:pt x="1537" y="1661"/>
                    </a:lnTo>
                    <a:lnTo>
                      <a:pt x="1535" y="1664"/>
                    </a:lnTo>
                    <a:lnTo>
                      <a:pt x="1530" y="1666"/>
                    </a:lnTo>
                    <a:lnTo>
                      <a:pt x="1537" y="1669"/>
                    </a:lnTo>
                    <a:lnTo>
                      <a:pt x="1545" y="1669"/>
                    </a:lnTo>
                    <a:lnTo>
                      <a:pt x="1549" y="1673"/>
                    </a:lnTo>
                    <a:lnTo>
                      <a:pt x="1552" y="1671"/>
                    </a:lnTo>
                    <a:lnTo>
                      <a:pt x="1559" y="1673"/>
                    </a:lnTo>
                    <a:lnTo>
                      <a:pt x="1559" y="1676"/>
                    </a:lnTo>
                    <a:lnTo>
                      <a:pt x="1567" y="1676"/>
                    </a:lnTo>
                    <a:lnTo>
                      <a:pt x="1569" y="1674"/>
                    </a:lnTo>
                    <a:lnTo>
                      <a:pt x="1577" y="1669"/>
                    </a:lnTo>
                    <a:lnTo>
                      <a:pt x="1577" y="1674"/>
                    </a:lnTo>
                    <a:lnTo>
                      <a:pt x="1575" y="1676"/>
                    </a:lnTo>
                    <a:lnTo>
                      <a:pt x="1582" y="1676"/>
                    </a:lnTo>
                    <a:lnTo>
                      <a:pt x="1590" y="1679"/>
                    </a:lnTo>
                    <a:lnTo>
                      <a:pt x="1590" y="1683"/>
                    </a:lnTo>
                    <a:lnTo>
                      <a:pt x="1587" y="1683"/>
                    </a:lnTo>
                    <a:lnTo>
                      <a:pt x="1585" y="1683"/>
                    </a:lnTo>
                    <a:lnTo>
                      <a:pt x="1588" y="1686"/>
                    </a:lnTo>
                    <a:lnTo>
                      <a:pt x="1593" y="1686"/>
                    </a:lnTo>
                    <a:lnTo>
                      <a:pt x="1597" y="1688"/>
                    </a:lnTo>
                    <a:lnTo>
                      <a:pt x="1592" y="1689"/>
                    </a:lnTo>
                    <a:lnTo>
                      <a:pt x="1588" y="1688"/>
                    </a:lnTo>
                    <a:lnTo>
                      <a:pt x="1585" y="1689"/>
                    </a:lnTo>
                    <a:lnTo>
                      <a:pt x="1577" y="1691"/>
                    </a:lnTo>
                    <a:lnTo>
                      <a:pt x="1567" y="1696"/>
                    </a:lnTo>
                    <a:lnTo>
                      <a:pt x="1562" y="1696"/>
                    </a:lnTo>
                    <a:lnTo>
                      <a:pt x="1554" y="1698"/>
                    </a:lnTo>
                    <a:lnTo>
                      <a:pt x="1547" y="1699"/>
                    </a:lnTo>
                    <a:lnTo>
                      <a:pt x="1539" y="1704"/>
                    </a:lnTo>
                    <a:lnTo>
                      <a:pt x="1535" y="1704"/>
                    </a:lnTo>
                    <a:lnTo>
                      <a:pt x="1535" y="1706"/>
                    </a:lnTo>
                    <a:lnTo>
                      <a:pt x="1529" y="1704"/>
                    </a:lnTo>
                    <a:lnTo>
                      <a:pt x="1527" y="1701"/>
                    </a:lnTo>
                    <a:lnTo>
                      <a:pt x="1525" y="1701"/>
                    </a:lnTo>
                    <a:lnTo>
                      <a:pt x="1524" y="1703"/>
                    </a:lnTo>
                    <a:lnTo>
                      <a:pt x="1520" y="1703"/>
                    </a:lnTo>
                    <a:lnTo>
                      <a:pt x="1517" y="1708"/>
                    </a:lnTo>
                    <a:lnTo>
                      <a:pt x="1519" y="1709"/>
                    </a:lnTo>
                    <a:lnTo>
                      <a:pt x="1510" y="1714"/>
                    </a:lnTo>
                    <a:lnTo>
                      <a:pt x="1504" y="1722"/>
                    </a:lnTo>
                    <a:lnTo>
                      <a:pt x="1500" y="1724"/>
                    </a:lnTo>
                    <a:lnTo>
                      <a:pt x="1494" y="1727"/>
                    </a:lnTo>
                    <a:lnTo>
                      <a:pt x="1492" y="1727"/>
                    </a:lnTo>
                    <a:lnTo>
                      <a:pt x="1490" y="1727"/>
                    </a:lnTo>
                    <a:lnTo>
                      <a:pt x="1489" y="1732"/>
                    </a:lnTo>
                    <a:lnTo>
                      <a:pt x="1487" y="1734"/>
                    </a:lnTo>
                    <a:lnTo>
                      <a:pt x="1484" y="1732"/>
                    </a:lnTo>
                    <a:lnTo>
                      <a:pt x="1482" y="1734"/>
                    </a:lnTo>
                    <a:lnTo>
                      <a:pt x="1479" y="1731"/>
                    </a:lnTo>
                    <a:lnTo>
                      <a:pt x="1477" y="1726"/>
                    </a:lnTo>
                    <a:lnTo>
                      <a:pt x="1476" y="1724"/>
                    </a:lnTo>
                    <a:lnTo>
                      <a:pt x="1472" y="1726"/>
                    </a:lnTo>
                    <a:lnTo>
                      <a:pt x="1472" y="1721"/>
                    </a:lnTo>
                    <a:lnTo>
                      <a:pt x="1471" y="1718"/>
                    </a:lnTo>
                    <a:lnTo>
                      <a:pt x="1471" y="1713"/>
                    </a:lnTo>
                    <a:lnTo>
                      <a:pt x="1474" y="1706"/>
                    </a:lnTo>
                    <a:lnTo>
                      <a:pt x="1481" y="1701"/>
                    </a:lnTo>
                    <a:lnTo>
                      <a:pt x="1481" y="1698"/>
                    </a:lnTo>
                    <a:lnTo>
                      <a:pt x="1490" y="1693"/>
                    </a:lnTo>
                    <a:lnTo>
                      <a:pt x="1500" y="1691"/>
                    </a:lnTo>
                    <a:lnTo>
                      <a:pt x="1509" y="1686"/>
                    </a:lnTo>
                    <a:lnTo>
                      <a:pt x="1515" y="1684"/>
                    </a:lnTo>
                    <a:lnTo>
                      <a:pt x="1519" y="1686"/>
                    </a:lnTo>
                    <a:lnTo>
                      <a:pt x="1520" y="1689"/>
                    </a:lnTo>
                    <a:lnTo>
                      <a:pt x="1524" y="1691"/>
                    </a:lnTo>
                    <a:lnTo>
                      <a:pt x="1522" y="1689"/>
                    </a:lnTo>
                    <a:lnTo>
                      <a:pt x="1524" y="1686"/>
                    </a:lnTo>
                    <a:lnTo>
                      <a:pt x="1529" y="1686"/>
                    </a:lnTo>
                    <a:lnTo>
                      <a:pt x="1535" y="1684"/>
                    </a:lnTo>
                    <a:lnTo>
                      <a:pt x="1540" y="1683"/>
                    </a:lnTo>
                    <a:lnTo>
                      <a:pt x="1532" y="1683"/>
                    </a:lnTo>
                    <a:lnTo>
                      <a:pt x="1522" y="1683"/>
                    </a:lnTo>
                    <a:lnTo>
                      <a:pt x="1519" y="1681"/>
                    </a:lnTo>
                    <a:lnTo>
                      <a:pt x="1514" y="1681"/>
                    </a:lnTo>
                    <a:lnTo>
                      <a:pt x="1512" y="1684"/>
                    </a:lnTo>
                    <a:lnTo>
                      <a:pt x="1505" y="1683"/>
                    </a:lnTo>
                    <a:lnTo>
                      <a:pt x="1510" y="1678"/>
                    </a:lnTo>
                    <a:lnTo>
                      <a:pt x="1515" y="1676"/>
                    </a:lnTo>
                    <a:lnTo>
                      <a:pt x="1520" y="1671"/>
                    </a:lnTo>
                    <a:lnTo>
                      <a:pt x="1520" y="1669"/>
                    </a:lnTo>
                    <a:lnTo>
                      <a:pt x="1517" y="1671"/>
                    </a:lnTo>
                    <a:lnTo>
                      <a:pt x="1517" y="1668"/>
                    </a:lnTo>
                    <a:lnTo>
                      <a:pt x="1512" y="1674"/>
                    </a:lnTo>
                    <a:lnTo>
                      <a:pt x="1507" y="1676"/>
                    </a:lnTo>
                    <a:lnTo>
                      <a:pt x="1502" y="1681"/>
                    </a:lnTo>
                    <a:lnTo>
                      <a:pt x="1497" y="1681"/>
                    </a:lnTo>
                    <a:lnTo>
                      <a:pt x="1495" y="1683"/>
                    </a:lnTo>
                    <a:lnTo>
                      <a:pt x="1484" y="1686"/>
                    </a:lnTo>
                    <a:lnTo>
                      <a:pt x="1482" y="1684"/>
                    </a:lnTo>
                    <a:lnTo>
                      <a:pt x="1484" y="1683"/>
                    </a:lnTo>
                    <a:lnTo>
                      <a:pt x="1482" y="1683"/>
                    </a:lnTo>
                    <a:lnTo>
                      <a:pt x="1484" y="1678"/>
                    </a:lnTo>
                    <a:lnTo>
                      <a:pt x="1481" y="1683"/>
                    </a:lnTo>
                    <a:lnTo>
                      <a:pt x="1477" y="1686"/>
                    </a:lnTo>
                    <a:lnTo>
                      <a:pt x="1472" y="1688"/>
                    </a:lnTo>
                    <a:lnTo>
                      <a:pt x="1469" y="1686"/>
                    </a:lnTo>
                    <a:lnTo>
                      <a:pt x="1466" y="1689"/>
                    </a:lnTo>
                    <a:lnTo>
                      <a:pt x="1464" y="1688"/>
                    </a:lnTo>
                    <a:lnTo>
                      <a:pt x="1462" y="1684"/>
                    </a:lnTo>
                    <a:lnTo>
                      <a:pt x="1457" y="1686"/>
                    </a:lnTo>
                    <a:lnTo>
                      <a:pt x="1449" y="1684"/>
                    </a:lnTo>
                    <a:lnTo>
                      <a:pt x="1449" y="1684"/>
                    </a:lnTo>
                    <a:lnTo>
                      <a:pt x="1449" y="1683"/>
                    </a:lnTo>
                    <a:lnTo>
                      <a:pt x="1449" y="1681"/>
                    </a:lnTo>
                    <a:lnTo>
                      <a:pt x="1449" y="1679"/>
                    </a:lnTo>
                    <a:lnTo>
                      <a:pt x="1449" y="1676"/>
                    </a:lnTo>
                    <a:lnTo>
                      <a:pt x="1449" y="1673"/>
                    </a:lnTo>
                    <a:lnTo>
                      <a:pt x="1447" y="1671"/>
                    </a:lnTo>
                    <a:lnTo>
                      <a:pt x="1446" y="1668"/>
                    </a:lnTo>
                    <a:lnTo>
                      <a:pt x="1444" y="1668"/>
                    </a:lnTo>
                    <a:lnTo>
                      <a:pt x="1446" y="1664"/>
                    </a:lnTo>
                    <a:lnTo>
                      <a:pt x="1451" y="1636"/>
                    </a:lnTo>
                    <a:lnTo>
                      <a:pt x="1451" y="1629"/>
                    </a:lnTo>
                    <a:lnTo>
                      <a:pt x="1441" y="1621"/>
                    </a:lnTo>
                    <a:lnTo>
                      <a:pt x="1439" y="1623"/>
                    </a:lnTo>
                    <a:lnTo>
                      <a:pt x="1432" y="1621"/>
                    </a:lnTo>
                    <a:lnTo>
                      <a:pt x="1427" y="1623"/>
                    </a:lnTo>
                    <a:lnTo>
                      <a:pt x="1424" y="1620"/>
                    </a:lnTo>
                    <a:lnTo>
                      <a:pt x="1421" y="1618"/>
                    </a:lnTo>
                    <a:lnTo>
                      <a:pt x="1419" y="1618"/>
                    </a:lnTo>
                    <a:lnTo>
                      <a:pt x="1416" y="1623"/>
                    </a:lnTo>
                    <a:lnTo>
                      <a:pt x="1412" y="1626"/>
                    </a:lnTo>
                    <a:lnTo>
                      <a:pt x="1404" y="1634"/>
                    </a:lnTo>
                    <a:lnTo>
                      <a:pt x="1401" y="1639"/>
                    </a:lnTo>
                    <a:lnTo>
                      <a:pt x="1401" y="1643"/>
                    </a:lnTo>
                    <a:lnTo>
                      <a:pt x="1394" y="1646"/>
                    </a:lnTo>
                    <a:lnTo>
                      <a:pt x="1394" y="1651"/>
                    </a:lnTo>
                    <a:lnTo>
                      <a:pt x="1391" y="1656"/>
                    </a:lnTo>
                    <a:lnTo>
                      <a:pt x="1386" y="1663"/>
                    </a:lnTo>
                    <a:lnTo>
                      <a:pt x="1383" y="1664"/>
                    </a:lnTo>
                    <a:lnTo>
                      <a:pt x="1374" y="1671"/>
                    </a:lnTo>
                    <a:lnTo>
                      <a:pt x="1373" y="1674"/>
                    </a:lnTo>
                    <a:lnTo>
                      <a:pt x="1371" y="1676"/>
                    </a:lnTo>
                    <a:lnTo>
                      <a:pt x="1366" y="1676"/>
                    </a:lnTo>
                    <a:lnTo>
                      <a:pt x="1363" y="1676"/>
                    </a:lnTo>
                    <a:lnTo>
                      <a:pt x="1361" y="1678"/>
                    </a:lnTo>
                    <a:lnTo>
                      <a:pt x="1359" y="1678"/>
                    </a:lnTo>
                    <a:lnTo>
                      <a:pt x="1353" y="1683"/>
                    </a:lnTo>
                    <a:lnTo>
                      <a:pt x="1283" y="1681"/>
                    </a:lnTo>
                    <a:lnTo>
                      <a:pt x="1275" y="1683"/>
                    </a:lnTo>
                    <a:lnTo>
                      <a:pt x="1270" y="1686"/>
                    </a:lnTo>
                    <a:lnTo>
                      <a:pt x="1265" y="1688"/>
                    </a:lnTo>
                    <a:lnTo>
                      <a:pt x="1260" y="1691"/>
                    </a:lnTo>
                    <a:lnTo>
                      <a:pt x="1248" y="1701"/>
                    </a:lnTo>
                    <a:lnTo>
                      <a:pt x="1241" y="1703"/>
                    </a:lnTo>
                    <a:lnTo>
                      <a:pt x="1238" y="1704"/>
                    </a:lnTo>
                    <a:lnTo>
                      <a:pt x="1216" y="1719"/>
                    </a:lnTo>
                    <a:lnTo>
                      <a:pt x="1172" y="1731"/>
                    </a:lnTo>
                    <a:lnTo>
                      <a:pt x="1170" y="1741"/>
                    </a:lnTo>
                    <a:lnTo>
                      <a:pt x="1158" y="1744"/>
                    </a:lnTo>
                    <a:lnTo>
                      <a:pt x="1075" y="1764"/>
                    </a:lnTo>
                    <a:lnTo>
                      <a:pt x="1072" y="1757"/>
                    </a:lnTo>
                    <a:lnTo>
                      <a:pt x="1077" y="1752"/>
                    </a:lnTo>
                    <a:lnTo>
                      <a:pt x="1085" y="1749"/>
                    </a:lnTo>
                    <a:lnTo>
                      <a:pt x="1088" y="1744"/>
                    </a:lnTo>
                    <a:lnTo>
                      <a:pt x="1092" y="1739"/>
                    </a:lnTo>
                    <a:lnTo>
                      <a:pt x="1095" y="1734"/>
                    </a:lnTo>
                    <a:lnTo>
                      <a:pt x="1097" y="1704"/>
                    </a:lnTo>
                    <a:lnTo>
                      <a:pt x="1080" y="1638"/>
                    </a:lnTo>
                    <a:lnTo>
                      <a:pt x="1065" y="1626"/>
                    </a:lnTo>
                    <a:lnTo>
                      <a:pt x="1060" y="1620"/>
                    </a:lnTo>
                    <a:lnTo>
                      <a:pt x="962" y="1578"/>
                    </a:lnTo>
                    <a:lnTo>
                      <a:pt x="959" y="1576"/>
                    </a:lnTo>
                    <a:lnTo>
                      <a:pt x="954" y="1575"/>
                    </a:lnTo>
                    <a:lnTo>
                      <a:pt x="951" y="1573"/>
                    </a:lnTo>
                    <a:lnTo>
                      <a:pt x="939" y="1573"/>
                    </a:lnTo>
                    <a:lnTo>
                      <a:pt x="937" y="1570"/>
                    </a:lnTo>
                    <a:lnTo>
                      <a:pt x="936" y="1566"/>
                    </a:lnTo>
                    <a:lnTo>
                      <a:pt x="931" y="1570"/>
                    </a:lnTo>
                    <a:lnTo>
                      <a:pt x="922" y="1570"/>
                    </a:lnTo>
                    <a:lnTo>
                      <a:pt x="919" y="1568"/>
                    </a:lnTo>
                    <a:lnTo>
                      <a:pt x="916" y="1565"/>
                    </a:lnTo>
                    <a:lnTo>
                      <a:pt x="911" y="1563"/>
                    </a:lnTo>
                    <a:lnTo>
                      <a:pt x="902" y="1561"/>
                    </a:lnTo>
                    <a:lnTo>
                      <a:pt x="901" y="1556"/>
                    </a:lnTo>
                    <a:lnTo>
                      <a:pt x="897" y="1556"/>
                    </a:lnTo>
                    <a:lnTo>
                      <a:pt x="892" y="1551"/>
                    </a:lnTo>
                    <a:lnTo>
                      <a:pt x="888" y="1553"/>
                    </a:lnTo>
                    <a:lnTo>
                      <a:pt x="884" y="1551"/>
                    </a:lnTo>
                    <a:lnTo>
                      <a:pt x="879" y="1553"/>
                    </a:lnTo>
                    <a:lnTo>
                      <a:pt x="878" y="1553"/>
                    </a:lnTo>
                    <a:lnTo>
                      <a:pt x="874" y="1550"/>
                    </a:lnTo>
                    <a:lnTo>
                      <a:pt x="869" y="1548"/>
                    </a:lnTo>
                    <a:lnTo>
                      <a:pt x="869" y="1548"/>
                    </a:lnTo>
                    <a:lnTo>
                      <a:pt x="864" y="1546"/>
                    </a:lnTo>
                    <a:lnTo>
                      <a:pt x="863" y="1545"/>
                    </a:lnTo>
                    <a:lnTo>
                      <a:pt x="859" y="1543"/>
                    </a:lnTo>
                    <a:lnTo>
                      <a:pt x="859" y="1541"/>
                    </a:lnTo>
                    <a:lnTo>
                      <a:pt x="854" y="1536"/>
                    </a:lnTo>
                    <a:lnTo>
                      <a:pt x="849" y="1536"/>
                    </a:lnTo>
                    <a:lnTo>
                      <a:pt x="844" y="1536"/>
                    </a:lnTo>
                    <a:lnTo>
                      <a:pt x="215" y="14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7" name="Freeform 149">
                <a:extLst>
                  <a:ext uri="{FF2B5EF4-FFF2-40B4-BE49-F238E27FC236}">
                    <a16:creationId xmlns:a16="http://schemas.microsoft.com/office/drawing/2014/main" id="{1C17BC09-02D7-A44A-BAAB-8F9FEFE8EA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80005" y="2005932"/>
                <a:ext cx="497665" cy="466915"/>
              </a:xfrm>
              <a:custGeom>
                <a:avLst/>
                <a:gdLst/>
                <a:ahLst/>
                <a:cxnLst>
                  <a:cxn ang="0">
                    <a:pos x="776" y="741"/>
                  </a:cxn>
                  <a:cxn ang="0">
                    <a:pos x="924" y="173"/>
                  </a:cxn>
                  <a:cxn ang="0">
                    <a:pos x="837" y="125"/>
                  </a:cxn>
                  <a:cxn ang="0">
                    <a:pos x="769" y="92"/>
                  </a:cxn>
                  <a:cxn ang="0">
                    <a:pos x="733" y="22"/>
                  </a:cxn>
                  <a:cxn ang="0">
                    <a:pos x="718" y="7"/>
                  </a:cxn>
                  <a:cxn ang="0">
                    <a:pos x="605" y="44"/>
                  </a:cxn>
                  <a:cxn ang="0">
                    <a:pos x="435" y="82"/>
                  </a:cxn>
                  <a:cxn ang="0">
                    <a:pos x="434" y="231"/>
                  </a:cxn>
                  <a:cxn ang="0">
                    <a:pos x="410" y="260"/>
                  </a:cxn>
                  <a:cxn ang="0">
                    <a:pos x="341" y="216"/>
                  </a:cxn>
                  <a:cxn ang="0">
                    <a:pos x="289" y="281"/>
                  </a:cxn>
                  <a:cxn ang="0">
                    <a:pos x="316" y="324"/>
                  </a:cxn>
                  <a:cxn ang="0">
                    <a:pos x="346" y="368"/>
                  </a:cxn>
                  <a:cxn ang="0">
                    <a:pos x="219" y="422"/>
                  </a:cxn>
                  <a:cxn ang="0">
                    <a:pos x="168" y="494"/>
                  </a:cxn>
                  <a:cxn ang="0">
                    <a:pos x="154" y="510"/>
                  </a:cxn>
                  <a:cxn ang="0">
                    <a:pos x="201" y="560"/>
                  </a:cxn>
                  <a:cxn ang="0">
                    <a:pos x="216" y="600"/>
                  </a:cxn>
                  <a:cxn ang="0">
                    <a:pos x="291" y="615"/>
                  </a:cxn>
                  <a:cxn ang="0">
                    <a:pos x="194" y="703"/>
                  </a:cxn>
                  <a:cxn ang="0">
                    <a:pos x="78" y="758"/>
                  </a:cxn>
                  <a:cxn ang="0">
                    <a:pos x="111" y="750"/>
                  </a:cxn>
                  <a:cxn ang="0">
                    <a:pos x="174" y="743"/>
                  </a:cxn>
                  <a:cxn ang="0">
                    <a:pos x="236" y="713"/>
                  </a:cxn>
                  <a:cxn ang="0">
                    <a:pos x="317" y="672"/>
                  </a:cxn>
                  <a:cxn ang="0">
                    <a:pos x="362" y="608"/>
                  </a:cxn>
                  <a:cxn ang="0">
                    <a:pos x="473" y="547"/>
                  </a:cxn>
                  <a:cxn ang="0">
                    <a:pos x="410" y="612"/>
                  </a:cxn>
                  <a:cxn ang="0">
                    <a:pos x="445" y="625"/>
                  </a:cxn>
                  <a:cxn ang="0">
                    <a:pos x="507" y="588"/>
                  </a:cxn>
                  <a:cxn ang="0">
                    <a:pos x="553" y="580"/>
                  </a:cxn>
                  <a:cxn ang="0">
                    <a:pos x="585" y="617"/>
                  </a:cxn>
                  <a:cxn ang="0">
                    <a:pos x="663" y="662"/>
                  </a:cxn>
                  <a:cxn ang="0">
                    <a:pos x="688" y="720"/>
                  </a:cxn>
                  <a:cxn ang="0">
                    <a:pos x="726" y="720"/>
                  </a:cxn>
                  <a:cxn ang="0">
                    <a:pos x="747" y="730"/>
                  </a:cxn>
                  <a:cxn ang="0">
                    <a:pos x="756" y="798"/>
                  </a:cxn>
                  <a:cxn ang="0">
                    <a:pos x="774" y="849"/>
                  </a:cxn>
                  <a:cxn ang="0">
                    <a:pos x="799" y="861"/>
                  </a:cxn>
                  <a:cxn ang="0">
                    <a:pos x="772" y="856"/>
                  </a:cxn>
                  <a:cxn ang="0">
                    <a:pos x="719" y="874"/>
                  </a:cxn>
                  <a:cxn ang="0">
                    <a:pos x="739" y="841"/>
                  </a:cxn>
                  <a:cxn ang="0">
                    <a:pos x="738" y="876"/>
                  </a:cxn>
                  <a:cxn ang="0">
                    <a:pos x="754" y="849"/>
                  </a:cxn>
                  <a:cxn ang="0">
                    <a:pos x="749" y="804"/>
                  </a:cxn>
                  <a:cxn ang="0">
                    <a:pos x="721" y="834"/>
                  </a:cxn>
                  <a:cxn ang="0">
                    <a:pos x="706" y="813"/>
                  </a:cxn>
                  <a:cxn ang="0">
                    <a:pos x="736" y="780"/>
                  </a:cxn>
                  <a:cxn ang="0">
                    <a:pos x="734" y="760"/>
                  </a:cxn>
                  <a:cxn ang="0">
                    <a:pos x="711" y="748"/>
                  </a:cxn>
                  <a:cxn ang="0">
                    <a:pos x="248" y="401"/>
                  </a:cxn>
                  <a:cxn ang="0">
                    <a:pos x="535" y="610"/>
                  </a:cxn>
                  <a:cxn ang="0">
                    <a:pos x="502" y="618"/>
                  </a:cxn>
                  <a:cxn ang="0">
                    <a:pos x="374" y="615"/>
                  </a:cxn>
                  <a:cxn ang="0">
                    <a:pos x="362" y="677"/>
                  </a:cxn>
                  <a:cxn ang="0">
                    <a:pos x="334" y="690"/>
                  </a:cxn>
                  <a:cxn ang="0">
                    <a:pos x="327" y="708"/>
                  </a:cxn>
                  <a:cxn ang="0">
                    <a:pos x="287" y="731"/>
                  </a:cxn>
                  <a:cxn ang="0">
                    <a:pos x="143" y="776"/>
                  </a:cxn>
                  <a:cxn ang="0">
                    <a:pos x="75" y="781"/>
                  </a:cxn>
                  <a:cxn ang="0">
                    <a:pos x="25" y="768"/>
                  </a:cxn>
                </a:cxnLst>
                <a:rect l="0" t="0" r="r" b="b"/>
                <a:pathLst>
                  <a:path w="930" h="899">
                    <a:moveTo>
                      <a:pt x="801" y="861"/>
                    </a:moveTo>
                    <a:lnTo>
                      <a:pt x="801" y="859"/>
                    </a:lnTo>
                    <a:lnTo>
                      <a:pt x="801" y="856"/>
                    </a:lnTo>
                    <a:lnTo>
                      <a:pt x="802" y="854"/>
                    </a:lnTo>
                    <a:lnTo>
                      <a:pt x="802" y="853"/>
                    </a:lnTo>
                    <a:lnTo>
                      <a:pt x="804" y="851"/>
                    </a:lnTo>
                    <a:lnTo>
                      <a:pt x="802" y="849"/>
                    </a:lnTo>
                    <a:lnTo>
                      <a:pt x="799" y="848"/>
                    </a:lnTo>
                    <a:lnTo>
                      <a:pt x="799" y="843"/>
                    </a:lnTo>
                    <a:lnTo>
                      <a:pt x="797" y="839"/>
                    </a:lnTo>
                    <a:lnTo>
                      <a:pt x="792" y="836"/>
                    </a:lnTo>
                    <a:lnTo>
                      <a:pt x="789" y="833"/>
                    </a:lnTo>
                    <a:lnTo>
                      <a:pt x="787" y="831"/>
                    </a:lnTo>
                    <a:lnTo>
                      <a:pt x="782" y="824"/>
                    </a:lnTo>
                    <a:lnTo>
                      <a:pt x="779" y="824"/>
                    </a:lnTo>
                    <a:lnTo>
                      <a:pt x="776" y="824"/>
                    </a:lnTo>
                    <a:lnTo>
                      <a:pt x="776" y="823"/>
                    </a:lnTo>
                    <a:lnTo>
                      <a:pt x="777" y="819"/>
                    </a:lnTo>
                    <a:lnTo>
                      <a:pt x="776" y="816"/>
                    </a:lnTo>
                    <a:lnTo>
                      <a:pt x="774" y="814"/>
                    </a:lnTo>
                    <a:lnTo>
                      <a:pt x="774" y="813"/>
                    </a:lnTo>
                    <a:lnTo>
                      <a:pt x="776" y="811"/>
                    </a:lnTo>
                    <a:lnTo>
                      <a:pt x="777" y="809"/>
                    </a:lnTo>
                    <a:lnTo>
                      <a:pt x="777" y="808"/>
                    </a:lnTo>
                    <a:lnTo>
                      <a:pt x="774" y="806"/>
                    </a:lnTo>
                    <a:lnTo>
                      <a:pt x="772" y="806"/>
                    </a:lnTo>
                    <a:lnTo>
                      <a:pt x="772" y="803"/>
                    </a:lnTo>
                    <a:lnTo>
                      <a:pt x="776" y="801"/>
                    </a:lnTo>
                    <a:lnTo>
                      <a:pt x="774" y="784"/>
                    </a:lnTo>
                    <a:lnTo>
                      <a:pt x="776" y="770"/>
                    </a:lnTo>
                    <a:lnTo>
                      <a:pt x="777" y="756"/>
                    </a:lnTo>
                    <a:lnTo>
                      <a:pt x="776" y="753"/>
                    </a:lnTo>
                    <a:lnTo>
                      <a:pt x="774" y="750"/>
                    </a:lnTo>
                    <a:lnTo>
                      <a:pt x="777" y="745"/>
                    </a:lnTo>
                    <a:lnTo>
                      <a:pt x="776" y="741"/>
                    </a:lnTo>
                    <a:lnTo>
                      <a:pt x="774" y="738"/>
                    </a:lnTo>
                    <a:lnTo>
                      <a:pt x="772" y="730"/>
                    </a:lnTo>
                    <a:lnTo>
                      <a:pt x="767" y="725"/>
                    </a:lnTo>
                    <a:lnTo>
                      <a:pt x="766" y="716"/>
                    </a:lnTo>
                    <a:lnTo>
                      <a:pt x="767" y="713"/>
                    </a:lnTo>
                    <a:lnTo>
                      <a:pt x="762" y="700"/>
                    </a:lnTo>
                    <a:lnTo>
                      <a:pt x="764" y="696"/>
                    </a:lnTo>
                    <a:lnTo>
                      <a:pt x="767" y="691"/>
                    </a:lnTo>
                    <a:lnTo>
                      <a:pt x="766" y="688"/>
                    </a:lnTo>
                    <a:lnTo>
                      <a:pt x="766" y="683"/>
                    </a:lnTo>
                    <a:lnTo>
                      <a:pt x="761" y="680"/>
                    </a:lnTo>
                    <a:lnTo>
                      <a:pt x="752" y="680"/>
                    </a:lnTo>
                    <a:lnTo>
                      <a:pt x="744" y="683"/>
                    </a:lnTo>
                    <a:lnTo>
                      <a:pt x="743" y="683"/>
                    </a:lnTo>
                    <a:lnTo>
                      <a:pt x="734" y="686"/>
                    </a:lnTo>
                    <a:lnTo>
                      <a:pt x="729" y="691"/>
                    </a:lnTo>
                    <a:lnTo>
                      <a:pt x="723" y="700"/>
                    </a:lnTo>
                    <a:lnTo>
                      <a:pt x="716" y="703"/>
                    </a:lnTo>
                    <a:lnTo>
                      <a:pt x="708" y="705"/>
                    </a:lnTo>
                    <a:lnTo>
                      <a:pt x="699" y="705"/>
                    </a:lnTo>
                    <a:lnTo>
                      <a:pt x="698" y="706"/>
                    </a:lnTo>
                    <a:lnTo>
                      <a:pt x="698" y="703"/>
                    </a:lnTo>
                    <a:lnTo>
                      <a:pt x="701" y="696"/>
                    </a:lnTo>
                    <a:lnTo>
                      <a:pt x="699" y="691"/>
                    </a:lnTo>
                    <a:lnTo>
                      <a:pt x="693" y="667"/>
                    </a:lnTo>
                    <a:lnTo>
                      <a:pt x="688" y="655"/>
                    </a:lnTo>
                    <a:lnTo>
                      <a:pt x="686" y="648"/>
                    </a:lnTo>
                    <a:lnTo>
                      <a:pt x="691" y="640"/>
                    </a:lnTo>
                    <a:lnTo>
                      <a:pt x="679" y="638"/>
                    </a:lnTo>
                    <a:lnTo>
                      <a:pt x="669" y="643"/>
                    </a:lnTo>
                    <a:lnTo>
                      <a:pt x="664" y="640"/>
                    </a:lnTo>
                    <a:lnTo>
                      <a:pt x="649" y="640"/>
                    </a:lnTo>
                    <a:lnTo>
                      <a:pt x="930" y="177"/>
                    </a:lnTo>
                    <a:lnTo>
                      <a:pt x="929" y="175"/>
                    </a:lnTo>
                    <a:lnTo>
                      <a:pt x="924" y="173"/>
                    </a:lnTo>
                    <a:lnTo>
                      <a:pt x="920" y="175"/>
                    </a:lnTo>
                    <a:lnTo>
                      <a:pt x="917" y="172"/>
                    </a:lnTo>
                    <a:lnTo>
                      <a:pt x="915" y="163"/>
                    </a:lnTo>
                    <a:lnTo>
                      <a:pt x="914" y="158"/>
                    </a:lnTo>
                    <a:lnTo>
                      <a:pt x="910" y="157"/>
                    </a:lnTo>
                    <a:lnTo>
                      <a:pt x="909" y="152"/>
                    </a:lnTo>
                    <a:lnTo>
                      <a:pt x="905" y="147"/>
                    </a:lnTo>
                    <a:lnTo>
                      <a:pt x="904" y="145"/>
                    </a:lnTo>
                    <a:lnTo>
                      <a:pt x="895" y="145"/>
                    </a:lnTo>
                    <a:lnTo>
                      <a:pt x="894" y="145"/>
                    </a:lnTo>
                    <a:lnTo>
                      <a:pt x="887" y="145"/>
                    </a:lnTo>
                    <a:lnTo>
                      <a:pt x="880" y="147"/>
                    </a:lnTo>
                    <a:lnTo>
                      <a:pt x="877" y="145"/>
                    </a:lnTo>
                    <a:lnTo>
                      <a:pt x="875" y="145"/>
                    </a:lnTo>
                    <a:lnTo>
                      <a:pt x="874" y="143"/>
                    </a:lnTo>
                    <a:lnTo>
                      <a:pt x="872" y="145"/>
                    </a:lnTo>
                    <a:lnTo>
                      <a:pt x="869" y="145"/>
                    </a:lnTo>
                    <a:lnTo>
                      <a:pt x="869" y="143"/>
                    </a:lnTo>
                    <a:lnTo>
                      <a:pt x="870" y="143"/>
                    </a:lnTo>
                    <a:lnTo>
                      <a:pt x="872" y="142"/>
                    </a:lnTo>
                    <a:lnTo>
                      <a:pt x="867" y="138"/>
                    </a:lnTo>
                    <a:lnTo>
                      <a:pt x="864" y="140"/>
                    </a:lnTo>
                    <a:lnTo>
                      <a:pt x="862" y="138"/>
                    </a:lnTo>
                    <a:lnTo>
                      <a:pt x="862" y="137"/>
                    </a:lnTo>
                    <a:lnTo>
                      <a:pt x="864" y="135"/>
                    </a:lnTo>
                    <a:lnTo>
                      <a:pt x="862" y="133"/>
                    </a:lnTo>
                    <a:lnTo>
                      <a:pt x="859" y="135"/>
                    </a:lnTo>
                    <a:lnTo>
                      <a:pt x="855" y="133"/>
                    </a:lnTo>
                    <a:lnTo>
                      <a:pt x="855" y="132"/>
                    </a:lnTo>
                    <a:lnTo>
                      <a:pt x="852" y="128"/>
                    </a:lnTo>
                    <a:lnTo>
                      <a:pt x="845" y="123"/>
                    </a:lnTo>
                    <a:lnTo>
                      <a:pt x="844" y="123"/>
                    </a:lnTo>
                    <a:lnTo>
                      <a:pt x="842" y="123"/>
                    </a:lnTo>
                    <a:lnTo>
                      <a:pt x="841" y="123"/>
                    </a:lnTo>
                    <a:lnTo>
                      <a:pt x="837" y="125"/>
                    </a:lnTo>
                    <a:lnTo>
                      <a:pt x="839" y="123"/>
                    </a:lnTo>
                    <a:lnTo>
                      <a:pt x="837" y="122"/>
                    </a:lnTo>
                    <a:lnTo>
                      <a:pt x="834" y="120"/>
                    </a:lnTo>
                    <a:lnTo>
                      <a:pt x="831" y="123"/>
                    </a:lnTo>
                    <a:lnTo>
                      <a:pt x="829" y="122"/>
                    </a:lnTo>
                    <a:lnTo>
                      <a:pt x="829" y="120"/>
                    </a:lnTo>
                    <a:lnTo>
                      <a:pt x="831" y="118"/>
                    </a:lnTo>
                    <a:lnTo>
                      <a:pt x="829" y="117"/>
                    </a:lnTo>
                    <a:lnTo>
                      <a:pt x="826" y="115"/>
                    </a:lnTo>
                    <a:lnTo>
                      <a:pt x="822" y="115"/>
                    </a:lnTo>
                    <a:lnTo>
                      <a:pt x="824" y="113"/>
                    </a:lnTo>
                    <a:lnTo>
                      <a:pt x="822" y="112"/>
                    </a:lnTo>
                    <a:lnTo>
                      <a:pt x="819" y="110"/>
                    </a:lnTo>
                    <a:lnTo>
                      <a:pt x="816" y="107"/>
                    </a:lnTo>
                    <a:lnTo>
                      <a:pt x="816" y="105"/>
                    </a:lnTo>
                    <a:lnTo>
                      <a:pt x="816" y="103"/>
                    </a:lnTo>
                    <a:lnTo>
                      <a:pt x="812" y="102"/>
                    </a:lnTo>
                    <a:lnTo>
                      <a:pt x="809" y="103"/>
                    </a:lnTo>
                    <a:lnTo>
                      <a:pt x="801" y="112"/>
                    </a:lnTo>
                    <a:lnTo>
                      <a:pt x="791" y="117"/>
                    </a:lnTo>
                    <a:lnTo>
                      <a:pt x="799" y="112"/>
                    </a:lnTo>
                    <a:lnTo>
                      <a:pt x="804" y="103"/>
                    </a:lnTo>
                    <a:lnTo>
                      <a:pt x="811" y="98"/>
                    </a:lnTo>
                    <a:lnTo>
                      <a:pt x="811" y="93"/>
                    </a:lnTo>
                    <a:lnTo>
                      <a:pt x="807" y="92"/>
                    </a:lnTo>
                    <a:lnTo>
                      <a:pt x="802" y="87"/>
                    </a:lnTo>
                    <a:lnTo>
                      <a:pt x="796" y="87"/>
                    </a:lnTo>
                    <a:lnTo>
                      <a:pt x="789" y="90"/>
                    </a:lnTo>
                    <a:lnTo>
                      <a:pt x="786" y="90"/>
                    </a:lnTo>
                    <a:lnTo>
                      <a:pt x="784" y="90"/>
                    </a:lnTo>
                    <a:lnTo>
                      <a:pt x="777" y="92"/>
                    </a:lnTo>
                    <a:lnTo>
                      <a:pt x="771" y="98"/>
                    </a:lnTo>
                    <a:lnTo>
                      <a:pt x="764" y="102"/>
                    </a:lnTo>
                    <a:lnTo>
                      <a:pt x="769" y="97"/>
                    </a:lnTo>
                    <a:lnTo>
                      <a:pt x="769" y="92"/>
                    </a:lnTo>
                    <a:lnTo>
                      <a:pt x="769" y="87"/>
                    </a:lnTo>
                    <a:lnTo>
                      <a:pt x="769" y="84"/>
                    </a:lnTo>
                    <a:lnTo>
                      <a:pt x="762" y="79"/>
                    </a:lnTo>
                    <a:lnTo>
                      <a:pt x="762" y="77"/>
                    </a:lnTo>
                    <a:lnTo>
                      <a:pt x="766" y="75"/>
                    </a:lnTo>
                    <a:lnTo>
                      <a:pt x="771" y="75"/>
                    </a:lnTo>
                    <a:lnTo>
                      <a:pt x="769" y="74"/>
                    </a:lnTo>
                    <a:lnTo>
                      <a:pt x="757" y="67"/>
                    </a:lnTo>
                    <a:lnTo>
                      <a:pt x="757" y="65"/>
                    </a:lnTo>
                    <a:lnTo>
                      <a:pt x="759" y="62"/>
                    </a:lnTo>
                    <a:lnTo>
                      <a:pt x="766" y="59"/>
                    </a:lnTo>
                    <a:lnTo>
                      <a:pt x="769" y="55"/>
                    </a:lnTo>
                    <a:lnTo>
                      <a:pt x="767" y="52"/>
                    </a:lnTo>
                    <a:lnTo>
                      <a:pt x="764" y="49"/>
                    </a:lnTo>
                    <a:lnTo>
                      <a:pt x="762" y="49"/>
                    </a:lnTo>
                    <a:lnTo>
                      <a:pt x="759" y="49"/>
                    </a:lnTo>
                    <a:lnTo>
                      <a:pt x="757" y="45"/>
                    </a:lnTo>
                    <a:lnTo>
                      <a:pt x="754" y="44"/>
                    </a:lnTo>
                    <a:lnTo>
                      <a:pt x="749" y="45"/>
                    </a:lnTo>
                    <a:lnTo>
                      <a:pt x="744" y="42"/>
                    </a:lnTo>
                    <a:lnTo>
                      <a:pt x="741" y="42"/>
                    </a:lnTo>
                    <a:lnTo>
                      <a:pt x="738" y="44"/>
                    </a:lnTo>
                    <a:lnTo>
                      <a:pt x="733" y="44"/>
                    </a:lnTo>
                    <a:lnTo>
                      <a:pt x="729" y="47"/>
                    </a:lnTo>
                    <a:lnTo>
                      <a:pt x="729" y="49"/>
                    </a:lnTo>
                    <a:lnTo>
                      <a:pt x="726" y="45"/>
                    </a:lnTo>
                    <a:lnTo>
                      <a:pt x="728" y="42"/>
                    </a:lnTo>
                    <a:lnTo>
                      <a:pt x="731" y="40"/>
                    </a:lnTo>
                    <a:lnTo>
                      <a:pt x="729" y="37"/>
                    </a:lnTo>
                    <a:lnTo>
                      <a:pt x="731" y="34"/>
                    </a:lnTo>
                    <a:lnTo>
                      <a:pt x="734" y="32"/>
                    </a:lnTo>
                    <a:lnTo>
                      <a:pt x="734" y="29"/>
                    </a:lnTo>
                    <a:lnTo>
                      <a:pt x="736" y="24"/>
                    </a:lnTo>
                    <a:lnTo>
                      <a:pt x="734" y="22"/>
                    </a:lnTo>
                    <a:lnTo>
                      <a:pt x="733" y="22"/>
                    </a:lnTo>
                    <a:lnTo>
                      <a:pt x="728" y="27"/>
                    </a:lnTo>
                    <a:lnTo>
                      <a:pt x="726" y="30"/>
                    </a:lnTo>
                    <a:lnTo>
                      <a:pt x="724" y="30"/>
                    </a:lnTo>
                    <a:lnTo>
                      <a:pt x="721" y="29"/>
                    </a:lnTo>
                    <a:lnTo>
                      <a:pt x="716" y="30"/>
                    </a:lnTo>
                    <a:lnTo>
                      <a:pt x="716" y="32"/>
                    </a:lnTo>
                    <a:lnTo>
                      <a:pt x="716" y="37"/>
                    </a:lnTo>
                    <a:lnTo>
                      <a:pt x="714" y="40"/>
                    </a:lnTo>
                    <a:lnTo>
                      <a:pt x="711" y="40"/>
                    </a:lnTo>
                    <a:lnTo>
                      <a:pt x="709" y="39"/>
                    </a:lnTo>
                    <a:lnTo>
                      <a:pt x="708" y="44"/>
                    </a:lnTo>
                    <a:lnTo>
                      <a:pt x="708" y="49"/>
                    </a:lnTo>
                    <a:lnTo>
                      <a:pt x="706" y="44"/>
                    </a:lnTo>
                    <a:lnTo>
                      <a:pt x="706" y="39"/>
                    </a:lnTo>
                    <a:lnTo>
                      <a:pt x="708" y="35"/>
                    </a:lnTo>
                    <a:lnTo>
                      <a:pt x="706" y="35"/>
                    </a:lnTo>
                    <a:lnTo>
                      <a:pt x="703" y="37"/>
                    </a:lnTo>
                    <a:lnTo>
                      <a:pt x="701" y="40"/>
                    </a:lnTo>
                    <a:lnTo>
                      <a:pt x="698" y="42"/>
                    </a:lnTo>
                    <a:lnTo>
                      <a:pt x="699" y="35"/>
                    </a:lnTo>
                    <a:lnTo>
                      <a:pt x="698" y="30"/>
                    </a:lnTo>
                    <a:lnTo>
                      <a:pt x="693" y="32"/>
                    </a:lnTo>
                    <a:lnTo>
                      <a:pt x="694" y="29"/>
                    </a:lnTo>
                    <a:lnTo>
                      <a:pt x="699" y="25"/>
                    </a:lnTo>
                    <a:lnTo>
                      <a:pt x="704" y="24"/>
                    </a:lnTo>
                    <a:lnTo>
                      <a:pt x="709" y="27"/>
                    </a:lnTo>
                    <a:lnTo>
                      <a:pt x="716" y="25"/>
                    </a:lnTo>
                    <a:lnTo>
                      <a:pt x="721" y="24"/>
                    </a:lnTo>
                    <a:lnTo>
                      <a:pt x="726" y="19"/>
                    </a:lnTo>
                    <a:lnTo>
                      <a:pt x="726" y="17"/>
                    </a:lnTo>
                    <a:lnTo>
                      <a:pt x="728" y="15"/>
                    </a:lnTo>
                    <a:lnTo>
                      <a:pt x="726" y="14"/>
                    </a:lnTo>
                    <a:lnTo>
                      <a:pt x="721" y="10"/>
                    </a:lnTo>
                    <a:lnTo>
                      <a:pt x="719" y="12"/>
                    </a:lnTo>
                    <a:lnTo>
                      <a:pt x="718" y="7"/>
                    </a:lnTo>
                    <a:lnTo>
                      <a:pt x="716" y="5"/>
                    </a:lnTo>
                    <a:lnTo>
                      <a:pt x="714" y="5"/>
                    </a:lnTo>
                    <a:lnTo>
                      <a:pt x="716" y="4"/>
                    </a:lnTo>
                    <a:lnTo>
                      <a:pt x="718" y="2"/>
                    </a:lnTo>
                    <a:lnTo>
                      <a:pt x="719" y="0"/>
                    </a:lnTo>
                    <a:lnTo>
                      <a:pt x="716" y="0"/>
                    </a:lnTo>
                    <a:lnTo>
                      <a:pt x="708" y="5"/>
                    </a:lnTo>
                    <a:lnTo>
                      <a:pt x="706" y="7"/>
                    </a:lnTo>
                    <a:lnTo>
                      <a:pt x="699" y="7"/>
                    </a:lnTo>
                    <a:lnTo>
                      <a:pt x="694" y="10"/>
                    </a:lnTo>
                    <a:lnTo>
                      <a:pt x="684" y="17"/>
                    </a:lnTo>
                    <a:lnTo>
                      <a:pt x="678" y="19"/>
                    </a:lnTo>
                    <a:lnTo>
                      <a:pt x="666" y="19"/>
                    </a:lnTo>
                    <a:lnTo>
                      <a:pt x="659" y="15"/>
                    </a:lnTo>
                    <a:lnTo>
                      <a:pt x="658" y="14"/>
                    </a:lnTo>
                    <a:lnTo>
                      <a:pt x="658" y="15"/>
                    </a:lnTo>
                    <a:lnTo>
                      <a:pt x="653" y="15"/>
                    </a:lnTo>
                    <a:lnTo>
                      <a:pt x="648" y="12"/>
                    </a:lnTo>
                    <a:lnTo>
                      <a:pt x="645" y="14"/>
                    </a:lnTo>
                    <a:lnTo>
                      <a:pt x="643" y="17"/>
                    </a:lnTo>
                    <a:lnTo>
                      <a:pt x="641" y="17"/>
                    </a:lnTo>
                    <a:lnTo>
                      <a:pt x="640" y="14"/>
                    </a:lnTo>
                    <a:lnTo>
                      <a:pt x="641" y="12"/>
                    </a:lnTo>
                    <a:lnTo>
                      <a:pt x="645" y="10"/>
                    </a:lnTo>
                    <a:lnTo>
                      <a:pt x="643" y="9"/>
                    </a:lnTo>
                    <a:lnTo>
                      <a:pt x="636" y="10"/>
                    </a:lnTo>
                    <a:lnTo>
                      <a:pt x="628" y="14"/>
                    </a:lnTo>
                    <a:lnTo>
                      <a:pt x="621" y="17"/>
                    </a:lnTo>
                    <a:lnTo>
                      <a:pt x="618" y="22"/>
                    </a:lnTo>
                    <a:lnTo>
                      <a:pt x="620" y="25"/>
                    </a:lnTo>
                    <a:lnTo>
                      <a:pt x="626" y="27"/>
                    </a:lnTo>
                    <a:lnTo>
                      <a:pt x="623" y="29"/>
                    </a:lnTo>
                    <a:lnTo>
                      <a:pt x="616" y="29"/>
                    </a:lnTo>
                    <a:lnTo>
                      <a:pt x="610" y="34"/>
                    </a:lnTo>
                    <a:lnTo>
                      <a:pt x="605" y="44"/>
                    </a:lnTo>
                    <a:lnTo>
                      <a:pt x="603" y="52"/>
                    </a:lnTo>
                    <a:lnTo>
                      <a:pt x="600" y="52"/>
                    </a:lnTo>
                    <a:lnTo>
                      <a:pt x="600" y="50"/>
                    </a:lnTo>
                    <a:lnTo>
                      <a:pt x="601" y="42"/>
                    </a:lnTo>
                    <a:lnTo>
                      <a:pt x="608" y="32"/>
                    </a:lnTo>
                    <a:lnTo>
                      <a:pt x="608" y="30"/>
                    </a:lnTo>
                    <a:lnTo>
                      <a:pt x="606" y="30"/>
                    </a:lnTo>
                    <a:lnTo>
                      <a:pt x="593" y="34"/>
                    </a:lnTo>
                    <a:lnTo>
                      <a:pt x="588" y="34"/>
                    </a:lnTo>
                    <a:lnTo>
                      <a:pt x="585" y="34"/>
                    </a:lnTo>
                    <a:lnTo>
                      <a:pt x="581" y="29"/>
                    </a:lnTo>
                    <a:lnTo>
                      <a:pt x="576" y="27"/>
                    </a:lnTo>
                    <a:lnTo>
                      <a:pt x="573" y="27"/>
                    </a:lnTo>
                    <a:lnTo>
                      <a:pt x="573" y="29"/>
                    </a:lnTo>
                    <a:lnTo>
                      <a:pt x="580" y="32"/>
                    </a:lnTo>
                    <a:lnTo>
                      <a:pt x="583" y="35"/>
                    </a:lnTo>
                    <a:lnTo>
                      <a:pt x="581" y="35"/>
                    </a:lnTo>
                    <a:lnTo>
                      <a:pt x="573" y="34"/>
                    </a:lnTo>
                    <a:lnTo>
                      <a:pt x="565" y="34"/>
                    </a:lnTo>
                    <a:lnTo>
                      <a:pt x="555" y="37"/>
                    </a:lnTo>
                    <a:lnTo>
                      <a:pt x="543" y="47"/>
                    </a:lnTo>
                    <a:lnTo>
                      <a:pt x="530" y="54"/>
                    </a:lnTo>
                    <a:lnTo>
                      <a:pt x="520" y="60"/>
                    </a:lnTo>
                    <a:lnTo>
                      <a:pt x="510" y="69"/>
                    </a:lnTo>
                    <a:lnTo>
                      <a:pt x="497" y="79"/>
                    </a:lnTo>
                    <a:lnTo>
                      <a:pt x="488" y="80"/>
                    </a:lnTo>
                    <a:lnTo>
                      <a:pt x="485" y="82"/>
                    </a:lnTo>
                    <a:lnTo>
                      <a:pt x="478" y="85"/>
                    </a:lnTo>
                    <a:lnTo>
                      <a:pt x="473" y="85"/>
                    </a:lnTo>
                    <a:lnTo>
                      <a:pt x="465" y="90"/>
                    </a:lnTo>
                    <a:lnTo>
                      <a:pt x="457" y="90"/>
                    </a:lnTo>
                    <a:lnTo>
                      <a:pt x="453" y="87"/>
                    </a:lnTo>
                    <a:lnTo>
                      <a:pt x="447" y="87"/>
                    </a:lnTo>
                    <a:lnTo>
                      <a:pt x="440" y="84"/>
                    </a:lnTo>
                    <a:lnTo>
                      <a:pt x="435" y="82"/>
                    </a:lnTo>
                    <a:lnTo>
                      <a:pt x="427" y="79"/>
                    </a:lnTo>
                    <a:lnTo>
                      <a:pt x="425" y="79"/>
                    </a:lnTo>
                    <a:lnTo>
                      <a:pt x="419" y="84"/>
                    </a:lnTo>
                    <a:lnTo>
                      <a:pt x="410" y="92"/>
                    </a:lnTo>
                    <a:lnTo>
                      <a:pt x="409" y="97"/>
                    </a:lnTo>
                    <a:lnTo>
                      <a:pt x="404" y="100"/>
                    </a:lnTo>
                    <a:lnTo>
                      <a:pt x="400" y="107"/>
                    </a:lnTo>
                    <a:lnTo>
                      <a:pt x="397" y="105"/>
                    </a:lnTo>
                    <a:lnTo>
                      <a:pt x="394" y="103"/>
                    </a:lnTo>
                    <a:lnTo>
                      <a:pt x="392" y="105"/>
                    </a:lnTo>
                    <a:lnTo>
                      <a:pt x="395" y="115"/>
                    </a:lnTo>
                    <a:lnTo>
                      <a:pt x="402" y="133"/>
                    </a:lnTo>
                    <a:lnTo>
                      <a:pt x="407" y="148"/>
                    </a:lnTo>
                    <a:lnTo>
                      <a:pt x="410" y="162"/>
                    </a:lnTo>
                    <a:lnTo>
                      <a:pt x="409" y="175"/>
                    </a:lnTo>
                    <a:lnTo>
                      <a:pt x="404" y="183"/>
                    </a:lnTo>
                    <a:lnTo>
                      <a:pt x="399" y="188"/>
                    </a:lnTo>
                    <a:lnTo>
                      <a:pt x="399" y="191"/>
                    </a:lnTo>
                    <a:lnTo>
                      <a:pt x="409" y="201"/>
                    </a:lnTo>
                    <a:lnTo>
                      <a:pt x="414" y="203"/>
                    </a:lnTo>
                    <a:lnTo>
                      <a:pt x="414" y="198"/>
                    </a:lnTo>
                    <a:lnTo>
                      <a:pt x="415" y="200"/>
                    </a:lnTo>
                    <a:lnTo>
                      <a:pt x="419" y="198"/>
                    </a:lnTo>
                    <a:lnTo>
                      <a:pt x="424" y="198"/>
                    </a:lnTo>
                    <a:lnTo>
                      <a:pt x="419" y="201"/>
                    </a:lnTo>
                    <a:lnTo>
                      <a:pt x="419" y="203"/>
                    </a:lnTo>
                    <a:lnTo>
                      <a:pt x="430" y="213"/>
                    </a:lnTo>
                    <a:lnTo>
                      <a:pt x="429" y="215"/>
                    </a:lnTo>
                    <a:lnTo>
                      <a:pt x="424" y="213"/>
                    </a:lnTo>
                    <a:lnTo>
                      <a:pt x="422" y="216"/>
                    </a:lnTo>
                    <a:lnTo>
                      <a:pt x="420" y="228"/>
                    </a:lnTo>
                    <a:lnTo>
                      <a:pt x="422" y="233"/>
                    </a:lnTo>
                    <a:lnTo>
                      <a:pt x="424" y="235"/>
                    </a:lnTo>
                    <a:lnTo>
                      <a:pt x="427" y="231"/>
                    </a:lnTo>
                    <a:lnTo>
                      <a:pt x="434" y="231"/>
                    </a:lnTo>
                    <a:lnTo>
                      <a:pt x="437" y="233"/>
                    </a:lnTo>
                    <a:lnTo>
                      <a:pt x="439" y="235"/>
                    </a:lnTo>
                    <a:lnTo>
                      <a:pt x="445" y="233"/>
                    </a:lnTo>
                    <a:lnTo>
                      <a:pt x="452" y="235"/>
                    </a:lnTo>
                    <a:lnTo>
                      <a:pt x="458" y="238"/>
                    </a:lnTo>
                    <a:lnTo>
                      <a:pt x="452" y="241"/>
                    </a:lnTo>
                    <a:lnTo>
                      <a:pt x="453" y="246"/>
                    </a:lnTo>
                    <a:lnTo>
                      <a:pt x="452" y="251"/>
                    </a:lnTo>
                    <a:lnTo>
                      <a:pt x="444" y="251"/>
                    </a:lnTo>
                    <a:lnTo>
                      <a:pt x="445" y="248"/>
                    </a:lnTo>
                    <a:lnTo>
                      <a:pt x="440" y="246"/>
                    </a:lnTo>
                    <a:lnTo>
                      <a:pt x="437" y="248"/>
                    </a:lnTo>
                    <a:lnTo>
                      <a:pt x="430" y="246"/>
                    </a:lnTo>
                    <a:lnTo>
                      <a:pt x="429" y="245"/>
                    </a:lnTo>
                    <a:lnTo>
                      <a:pt x="425" y="238"/>
                    </a:lnTo>
                    <a:lnTo>
                      <a:pt x="422" y="236"/>
                    </a:lnTo>
                    <a:lnTo>
                      <a:pt x="419" y="238"/>
                    </a:lnTo>
                    <a:lnTo>
                      <a:pt x="414" y="233"/>
                    </a:lnTo>
                    <a:lnTo>
                      <a:pt x="414" y="226"/>
                    </a:lnTo>
                    <a:lnTo>
                      <a:pt x="420" y="213"/>
                    </a:lnTo>
                    <a:lnTo>
                      <a:pt x="419" y="210"/>
                    </a:lnTo>
                    <a:lnTo>
                      <a:pt x="417" y="210"/>
                    </a:lnTo>
                    <a:lnTo>
                      <a:pt x="412" y="213"/>
                    </a:lnTo>
                    <a:lnTo>
                      <a:pt x="412" y="226"/>
                    </a:lnTo>
                    <a:lnTo>
                      <a:pt x="410" y="235"/>
                    </a:lnTo>
                    <a:lnTo>
                      <a:pt x="405" y="240"/>
                    </a:lnTo>
                    <a:lnTo>
                      <a:pt x="405" y="243"/>
                    </a:lnTo>
                    <a:lnTo>
                      <a:pt x="409" y="238"/>
                    </a:lnTo>
                    <a:lnTo>
                      <a:pt x="412" y="238"/>
                    </a:lnTo>
                    <a:lnTo>
                      <a:pt x="414" y="240"/>
                    </a:lnTo>
                    <a:lnTo>
                      <a:pt x="420" y="240"/>
                    </a:lnTo>
                    <a:lnTo>
                      <a:pt x="422" y="245"/>
                    </a:lnTo>
                    <a:lnTo>
                      <a:pt x="422" y="253"/>
                    </a:lnTo>
                    <a:lnTo>
                      <a:pt x="417" y="258"/>
                    </a:lnTo>
                    <a:lnTo>
                      <a:pt x="410" y="260"/>
                    </a:lnTo>
                    <a:lnTo>
                      <a:pt x="417" y="253"/>
                    </a:lnTo>
                    <a:lnTo>
                      <a:pt x="417" y="250"/>
                    </a:lnTo>
                    <a:lnTo>
                      <a:pt x="414" y="250"/>
                    </a:lnTo>
                    <a:lnTo>
                      <a:pt x="412" y="248"/>
                    </a:lnTo>
                    <a:lnTo>
                      <a:pt x="409" y="250"/>
                    </a:lnTo>
                    <a:lnTo>
                      <a:pt x="400" y="255"/>
                    </a:lnTo>
                    <a:lnTo>
                      <a:pt x="400" y="258"/>
                    </a:lnTo>
                    <a:lnTo>
                      <a:pt x="397" y="260"/>
                    </a:lnTo>
                    <a:lnTo>
                      <a:pt x="392" y="261"/>
                    </a:lnTo>
                    <a:lnTo>
                      <a:pt x="390" y="258"/>
                    </a:lnTo>
                    <a:lnTo>
                      <a:pt x="389" y="256"/>
                    </a:lnTo>
                    <a:lnTo>
                      <a:pt x="382" y="258"/>
                    </a:lnTo>
                    <a:lnTo>
                      <a:pt x="379" y="256"/>
                    </a:lnTo>
                    <a:lnTo>
                      <a:pt x="379" y="251"/>
                    </a:lnTo>
                    <a:lnTo>
                      <a:pt x="375" y="251"/>
                    </a:lnTo>
                    <a:lnTo>
                      <a:pt x="372" y="251"/>
                    </a:lnTo>
                    <a:lnTo>
                      <a:pt x="369" y="251"/>
                    </a:lnTo>
                    <a:lnTo>
                      <a:pt x="369" y="248"/>
                    </a:lnTo>
                    <a:lnTo>
                      <a:pt x="365" y="246"/>
                    </a:lnTo>
                    <a:lnTo>
                      <a:pt x="362" y="248"/>
                    </a:lnTo>
                    <a:lnTo>
                      <a:pt x="359" y="248"/>
                    </a:lnTo>
                    <a:lnTo>
                      <a:pt x="359" y="243"/>
                    </a:lnTo>
                    <a:lnTo>
                      <a:pt x="357" y="240"/>
                    </a:lnTo>
                    <a:lnTo>
                      <a:pt x="357" y="236"/>
                    </a:lnTo>
                    <a:lnTo>
                      <a:pt x="362" y="235"/>
                    </a:lnTo>
                    <a:lnTo>
                      <a:pt x="367" y="228"/>
                    </a:lnTo>
                    <a:lnTo>
                      <a:pt x="369" y="228"/>
                    </a:lnTo>
                    <a:lnTo>
                      <a:pt x="372" y="225"/>
                    </a:lnTo>
                    <a:lnTo>
                      <a:pt x="372" y="221"/>
                    </a:lnTo>
                    <a:lnTo>
                      <a:pt x="365" y="216"/>
                    </a:lnTo>
                    <a:lnTo>
                      <a:pt x="362" y="215"/>
                    </a:lnTo>
                    <a:lnTo>
                      <a:pt x="357" y="215"/>
                    </a:lnTo>
                    <a:lnTo>
                      <a:pt x="350" y="218"/>
                    </a:lnTo>
                    <a:lnTo>
                      <a:pt x="346" y="218"/>
                    </a:lnTo>
                    <a:lnTo>
                      <a:pt x="341" y="216"/>
                    </a:lnTo>
                    <a:lnTo>
                      <a:pt x="337" y="216"/>
                    </a:lnTo>
                    <a:lnTo>
                      <a:pt x="322" y="221"/>
                    </a:lnTo>
                    <a:lnTo>
                      <a:pt x="322" y="223"/>
                    </a:lnTo>
                    <a:lnTo>
                      <a:pt x="324" y="226"/>
                    </a:lnTo>
                    <a:lnTo>
                      <a:pt x="329" y="230"/>
                    </a:lnTo>
                    <a:lnTo>
                      <a:pt x="329" y="231"/>
                    </a:lnTo>
                    <a:lnTo>
                      <a:pt x="324" y="231"/>
                    </a:lnTo>
                    <a:lnTo>
                      <a:pt x="321" y="231"/>
                    </a:lnTo>
                    <a:lnTo>
                      <a:pt x="319" y="228"/>
                    </a:lnTo>
                    <a:lnTo>
                      <a:pt x="314" y="228"/>
                    </a:lnTo>
                    <a:lnTo>
                      <a:pt x="306" y="226"/>
                    </a:lnTo>
                    <a:lnTo>
                      <a:pt x="296" y="228"/>
                    </a:lnTo>
                    <a:lnTo>
                      <a:pt x="292" y="230"/>
                    </a:lnTo>
                    <a:lnTo>
                      <a:pt x="292" y="231"/>
                    </a:lnTo>
                    <a:lnTo>
                      <a:pt x="287" y="231"/>
                    </a:lnTo>
                    <a:lnTo>
                      <a:pt x="287" y="231"/>
                    </a:lnTo>
                    <a:lnTo>
                      <a:pt x="282" y="231"/>
                    </a:lnTo>
                    <a:lnTo>
                      <a:pt x="276" y="235"/>
                    </a:lnTo>
                    <a:lnTo>
                      <a:pt x="276" y="236"/>
                    </a:lnTo>
                    <a:lnTo>
                      <a:pt x="272" y="238"/>
                    </a:lnTo>
                    <a:lnTo>
                      <a:pt x="266" y="241"/>
                    </a:lnTo>
                    <a:lnTo>
                      <a:pt x="261" y="245"/>
                    </a:lnTo>
                    <a:lnTo>
                      <a:pt x="257" y="245"/>
                    </a:lnTo>
                    <a:lnTo>
                      <a:pt x="259" y="243"/>
                    </a:lnTo>
                    <a:lnTo>
                      <a:pt x="259" y="240"/>
                    </a:lnTo>
                    <a:lnTo>
                      <a:pt x="256" y="241"/>
                    </a:lnTo>
                    <a:lnTo>
                      <a:pt x="252" y="246"/>
                    </a:lnTo>
                    <a:lnTo>
                      <a:pt x="251" y="248"/>
                    </a:lnTo>
                    <a:lnTo>
                      <a:pt x="257" y="256"/>
                    </a:lnTo>
                    <a:lnTo>
                      <a:pt x="264" y="265"/>
                    </a:lnTo>
                    <a:lnTo>
                      <a:pt x="271" y="266"/>
                    </a:lnTo>
                    <a:lnTo>
                      <a:pt x="276" y="273"/>
                    </a:lnTo>
                    <a:lnTo>
                      <a:pt x="282" y="275"/>
                    </a:lnTo>
                    <a:lnTo>
                      <a:pt x="284" y="280"/>
                    </a:lnTo>
                    <a:lnTo>
                      <a:pt x="289" y="281"/>
                    </a:lnTo>
                    <a:lnTo>
                      <a:pt x="294" y="285"/>
                    </a:lnTo>
                    <a:lnTo>
                      <a:pt x="292" y="286"/>
                    </a:lnTo>
                    <a:lnTo>
                      <a:pt x="284" y="286"/>
                    </a:lnTo>
                    <a:lnTo>
                      <a:pt x="284" y="281"/>
                    </a:lnTo>
                    <a:lnTo>
                      <a:pt x="277" y="278"/>
                    </a:lnTo>
                    <a:lnTo>
                      <a:pt x="274" y="275"/>
                    </a:lnTo>
                    <a:lnTo>
                      <a:pt x="272" y="276"/>
                    </a:lnTo>
                    <a:lnTo>
                      <a:pt x="267" y="281"/>
                    </a:lnTo>
                    <a:lnTo>
                      <a:pt x="264" y="281"/>
                    </a:lnTo>
                    <a:lnTo>
                      <a:pt x="261" y="276"/>
                    </a:lnTo>
                    <a:lnTo>
                      <a:pt x="264" y="273"/>
                    </a:lnTo>
                    <a:lnTo>
                      <a:pt x="264" y="271"/>
                    </a:lnTo>
                    <a:lnTo>
                      <a:pt x="261" y="271"/>
                    </a:lnTo>
                    <a:lnTo>
                      <a:pt x="257" y="276"/>
                    </a:lnTo>
                    <a:lnTo>
                      <a:pt x="257" y="285"/>
                    </a:lnTo>
                    <a:lnTo>
                      <a:pt x="259" y="286"/>
                    </a:lnTo>
                    <a:lnTo>
                      <a:pt x="259" y="289"/>
                    </a:lnTo>
                    <a:lnTo>
                      <a:pt x="254" y="293"/>
                    </a:lnTo>
                    <a:lnTo>
                      <a:pt x="251" y="299"/>
                    </a:lnTo>
                    <a:lnTo>
                      <a:pt x="249" y="304"/>
                    </a:lnTo>
                    <a:lnTo>
                      <a:pt x="251" y="311"/>
                    </a:lnTo>
                    <a:lnTo>
                      <a:pt x="259" y="319"/>
                    </a:lnTo>
                    <a:lnTo>
                      <a:pt x="267" y="323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81" y="324"/>
                    </a:lnTo>
                    <a:lnTo>
                      <a:pt x="287" y="321"/>
                    </a:lnTo>
                    <a:lnTo>
                      <a:pt x="294" y="324"/>
                    </a:lnTo>
                    <a:lnTo>
                      <a:pt x="304" y="326"/>
                    </a:lnTo>
                    <a:lnTo>
                      <a:pt x="309" y="328"/>
                    </a:lnTo>
                    <a:lnTo>
                      <a:pt x="311" y="333"/>
                    </a:lnTo>
                    <a:lnTo>
                      <a:pt x="312" y="334"/>
                    </a:lnTo>
                    <a:lnTo>
                      <a:pt x="316" y="333"/>
                    </a:lnTo>
                    <a:lnTo>
                      <a:pt x="314" y="326"/>
                    </a:lnTo>
                    <a:lnTo>
                      <a:pt x="316" y="324"/>
                    </a:lnTo>
                    <a:lnTo>
                      <a:pt x="321" y="326"/>
                    </a:lnTo>
                    <a:lnTo>
                      <a:pt x="321" y="329"/>
                    </a:lnTo>
                    <a:lnTo>
                      <a:pt x="316" y="334"/>
                    </a:lnTo>
                    <a:lnTo>
                      <a:pt x="316" y="338"/>
                    </a:lnTo>
                    <a:lnTo>
                      <a:pt x="319" y="338"/>
                    </a:lnTo>
                    <a:lnTo>
                      <a:pt x="324" y="333"/>
                    </a:lnTo>
                    <a:lnTo>
                      <a:pt x="327" y="331"/>
                    </a:lnTo>
                    <a:lnTo>
                      <a:pt x="334" y="329"/>
                    </a:lnTo>
                    <a:lnTo>
                      <a:pt x="344" y="324"/>
                    </a:lnTo>
                    <a:lnTo>
                      <a:pt x="350" y="323"/>
                    </a:lnTo>
                    <a:lnTo>
                      <a:pt x="354" y="319"/>
                    </a:lnTo>
                    <a:lnTo>
                      <a:pt x="357" y="319"/>
                    </a:lnTo>
                    <a:lnTo>
                      <a:pt x="357" y="321"/>
                    </a:lnTo>
                    <a:lnTo>
                      <a:pt x="360" y="323"/>
                    </a:lnTo>
                    <a:lnTo>
                      <a:pt x="369" y="318"/>
                    </a:lnTo>
                    <a:lnTo>
                      <a:pt x="374" y="318"/>
                    </a:lnTo>
                    <a:lnTo>
                      <a:pt x="377" y="316"/>
                    </a:lnTo>
                    <a:lnTo>
                      <a:pt x="375" y="319"/>
                    </a:lnTo>
                    <a:lnTo>
                      <a:pt x="369" y="323"/>
                    </a:lnTo>
                    <a:lnTo>
                      <a:pt x="369" y="324"/>
                    </a:lnTo>
                    <a:lnTo>
                      <a:pt x="372" y="326"/>
                    </a:lnTo>
                    <a:lnTo>
                      <a:pt x="367" y="333"/>
                    </a:lnTo>
                    <a:lnTo>
                      <a:pt x="360" y="334"/>
                    </a:lnTo>
                    <a:lnTo>
                      <a:pt x="359" y="331"/>
                    </a:lnTo>
                    <a:lnTo>
                      <a:pt x="355" y="331"/>
                    </a:lnTo>
                    <a:lnTo>
                      <a:pt x="349" y="336"/>
                    </a:lnTo>
                    <a:lnTo>
                      <a:pt x="349" y="338"/>
                    </a:lnTo>
                    <a:lnTo>
                      <a:pt x="355" y="338"/>
                    </a:lnTo>
                    <a:lnTo>
                      <a:pt x="357" y="341"/>
                    </a:lnTo>
                    <a:lnTo>
                      <a:pt x="357" y="346"/>
                    </a:lnTo>
                    <a:lnTo>
                      <a:pt x="349" y="354"/>
                    </a:lnTo>
                    <a:lnTo>
                      <a:pt x="349" y="359"/>
                    </a:lnTo>
                    <a:lnTo>
                      <a:pt x="346" y="363"/>
                    </a:lnTo>
                    <a:lnTo>
                      <a:pt x="346" y="366"/>
                    </a:lnTo>
                    <a:lnTo>
                      <a:pt x="346" y="368"/>
                    </a:lnTo>
                    <a:lnTo>
                      <a:pt x="347" y="371"/>
                    </a:lnTo>
                    <a:lnTo>
                      <a:pt x="346" y="374"/>
                    </a:lnTo>
                    <a:lnTo>
                      <a:pt x="341" y="381"/>
                    </a:lnTo>
                    <a:lnTo>
                      <a:pt x="337" y="383"/>
                    </a:lnTo>
                    <a:lnTo>
                      <a:pt x="332" y="383"/>
                    </a:lnTo>
                    <a:lnTo>
                      <a:pt x="329" y="384"/>
                    </a:lnTo>
                    <a:lnTo>
                      <a:pt x="324" y="387"/>
                    </a:lnTo>
                    <a:lnTo>
                      <a:pt x="321" y="389"/>
                    </a:lnTo>
                    <a:lnTo>
                      <a:pt x="316" y="389"/>
                    </a:lnTo>
                    <a:lnTo>
                      <a:pt x="307" y="384"/>
                    </a:lnTo>
                    <a:lnTo>
                      <a:pt x="306" y="386"/>
                    </a:lnTo>
                    <a:lnTo>
                      <a:pt x="304" y="384"/>
                    </a:lnTo>
                    <a:lnTo>
                      <a:pt x="301" y="379"/>
                    </a:lnTo>
                    <a:lnTo>
                      <a:pt x="299" y="381"/>
                    </a:lnTo>
                    <a:lnTo>
                      <a:pt x="294" y="386"/>
                    </a:lnTo>
                    <a:lnTo>
                      <a:pt x="289" y="389"/>
                    </a:lnTo>
                    <a:lnTo>
                      <a:pt x="284" y="394"/>
                    </a:lnTo>
                    <a:lnTo>
                      <a:pt x="276" y="397"/>
                    </a:lnTo>
                    <a:lnTo>
                      <a:pt x="272" y="399"/>
                    </a:lnTo>
                    <a:lnTo>
                      <a:pt x="267" y="399"/>
                    </a:lnTo>
                    <a:lnTo>
                      <a:pt x="264" y="397"/>
                    </a:lnTo>
                    <a:lnTo>
                      <a:pt x="256" y="397"/>
                    </a:lnTo>
                    <a:lnTo>
                      <a:pt x="249" y="402"/>
                    </a:lnTo>
                    <a:lnTo>
                      <a:pt x="244" y="402"/>
                    </a:lnTo>
                    <a:lnTo>
                      <a:pt x="241" y="404"/>
                    </a:lnTo>
                    <a:lnTo>
                      <a:pt x="241" y="411"/>
                    </a:lnTo>
                    <a:lnTo>
                      <a:pt x="238" y="417"/>
                    </a:lnTo>
                    <a:lnTo>
                      <a:pt x="234" y="421"/>
                    </a:lnTo>
                    <a:lnTo>
                      <a:pt x="234" y="417"/>
                    </a:lnTo>
                    <a:lnTo>
                      <a:pt x="228" y="412"/>
                    </a:lnTo>
                    <a:lnTo>
                      <a:pt x="221" y="412"/>
                    </a:lnTo>
                    <a:lnTo>
                      <a:pt x="218" y="414"/>
                    </a:lnTo>
                    <a:lnTo>
                      <a:pt x="219" y="417"/>
                    </a:lnTo>
                    <a:lnTo>
                      <a:pt x="223" y="419"/>
                    </a:lnTo>
                    <a:lnTo>
                      <a:pt x="219" y="422"/>
                    </a:lnTo>
                    <a:lnTo>
                      <a:pt x="218" y="422"/>
                    </a:lnTo>
                    <a:lnTo>
                      <a:pt x="216" y="419"/>
                    </a:lnTo>
                    <a:lnTo>
                      <a:pt x="211" y="414"/>
                    </a:lnTo>
                    <a:lnTo>
                      <a:pt x="209" y="414"/>
                    </a:lnTo>
                    <a:lnTo>
                      <a:pt x="203" y="421"/>
                    </a:lnTo>
                    <a:lnTo>
                      <a:pt x="199" y="426"/>
                    </a:lnTo>
                    <a:lnTo>
                      <a:pt x="198" y="427"/>
                    </a:lnTo>
                    <a:lnTo>
                      <a:pt x="194" y="427"/>
                    </a:lnTo>
                    <a:lnTo>
                      <a:pt x="183" y="436"/>
                    </a:lnTo>
                    <a:lnTo>
                      <a:pt x="181" y="442"/>
                    </a:lnTo>
                    <a:lnTo>
                      <a:pt x="179" y="444"/>
                    </a:lnTo>
                    <a:lnTo>
                      <a:pt x="174" y="446"/>
                    </a:lnTo>
                    <a:lnTo>
                      <a:pt x="169" y="444"/>
                    </a:lnTo>
                    <a:lnTo>
                      <a:pt x="168" y="446"/>
                    </a:lnTo>
                    <a:lnTo>
                      <a:pt x="173" y="451"/>
                    </a:lnTo>
                    <a:lnTo>
                      <a:pt x="173" y="452"/>
                    </a:lnTo>
                    <a:lnTo>
                      <a:pt x="169" y="454"/>
                    </a:lnTo>
                    <a:lnTo>
                      <a:pt x="166" y="449"/>
                    </a:lnTo>
                    <a:lnTo>
                      <a:pt x="164" y="451"/>
                    </a:lnTo>
                    <a:lnTo>
                      <a:pt x="163" y="454"/>
                    </a:lnTo>
                    <a:lnTo>
                      <a:pt x="156" y="461"/>
                    </a:lnTo>
                    <a:lnTo>
                      <a:pt x="156" y="462"/>
                    </a:lnTo>
                    <a:lnTo>
                      <a:pt x="161" y="469"/>
                    </a:lnTo>
                    <a:lnTo>
                      <a:pt x="161" y="474"/>
                    </a:lnTo>
                    <a:lnTo>
                      <a:pt x="161" y="477"/>
                    </a:lnTo>
                    <a:lnTo>
                      <a:pt x="158" y="482"/>
                    </a:lnTo>
                    <a:lnTo>
                      <a:pt x="159" y="485"/>
                    </a:lnTo>
                    <a:lnTo>
                      <a:pt x="163" y="484"/>
                    </a:lnTo>
                    <a:lnTo>
                      <a:pt x="166" y="481"/>
                    </a:lnTo>
                    <a:lnTo>
                      <a:pt x="166" y="484"/>
                    </a:lnTo>
                    <a:lnTo>
                      <a:pt x="168" y="489"/>
                    </a:lnTo>
                    <a:lnTo>
                      <a:pt x="164" y="490"/>
                    </a:lnTo>
                    <a:lnTo>
                      <a:pt x="163" y="492"/>
                    </a:lnTo>
                    <a:lnTo>
                      <a:pt x="164" y="494"/>
                    </a:lnTo>
                    <a:lnTo>
                      <a:pt x="168" y="494"/>
                    </a:lnTo>
                    <a:lnTo>
                      <a:pt x="169" y="492"/>
                    </a:lnTo>
                    <a:lnTo>
                      <a:pt x="173" y="492"/>
                    </a:lnTo>
                    <a:lnTo>
                      <a:pt x="174" y="494"/>
                    </a:lnTo>
                    <a:lnTo>
                      <a:pt x="174" y="495"/>
                    </a:lnTo>
                    <a:lnTo>
                      <a:pt x="179" y="497"/>
                    </a:lnTo>
                    <a:lnTo>
                      <a:pt x="184" y="499"/>
                    </a:lnTo>
                    <a:lnTo>
                      <a:pt x="189" y="499"/>
                    </a:lnTo>
                    <a:lnTo>
                      <a:pt x="193" y="495"/>
                    </a:lnTo>
                    <a:lnTo>
                      <a:pt x="194" y="487"/>
                    </a:lnTo>
                    <a:lnTo>
                      <a:pt x="198" y="484"/>
                    </a:lnTo>
                    <a:lnTo>
                      <a:pt x="206" y="484"/>
                    </a:lnTo>
                    <a:lnTo>
                      <a:pt x="211" y="482"/>
                    </a:lnTo>
                    <a:lnTo>
                      <a:pt x="206" y="487"/>
                    </a:lnTo>
                    <a:lnTo>
                      <a:pt x="203" y="487"/>
                    </a:lnTo>
                    <a:lnTo>
                      <a:pt x="194" y="494"/>
                    </a:lnTo>
                    <a:lnTo>
                      <a:pt x="193" y="499"/>
                    </a:lnTo>
                    <a:lnTo>
                      <a:pt x="191" y="500"/>
                    </a:lnTo>
                    <a:lnTo>
                      <a:pt x="194" y="505"/>
                    </a:lnTo>
                    <a:lnTo>
                      <a:pt x="196" y="509"/>
                    </a:lnTo>
                    <a:lnTo>
                      <a:pt x="189" y="510"/>
                    </a:lnTo>
                    <a:lnTo>
                      <a:pt x="186" y="509"/>
                    </a:lnTo>
                    <a:lnTo>
                      <a:pt x="186" y="505"/>
                    </a:lnTo>
                    <a:lnTo>
                      <a:pt x="184" y="504"/>
                    </a:lnTo>
                    <a:lnTo>
                      <a:pt x="181" y="504"/>
                    </a:lnTo>
                    <a:lnTo>
                      <a:pt x="178" y="500"/>
                    </a:lnTo>
                    <a:lnTo>
                      <a:pt x="171" y="499"/>
                    </a:lnTo>
                    <a:lnTo>
                      <a:pt x="169" y="495"/>
                    </a:lnTo>
                    <a:lnTo>
                      <a:pt x="164" y="499"/>
                    </a:lnTo>
                    <a:lnTo>
                      <a:pt x="161" y="499"/>
                    </a:lnTo>
                    <a:lnTo>
                      <a:pt x="159" y="504"/>
                    </a:lnTo>
                    <a:lnTo>
                      <a:pt x="156" y="505"/>
                    </a:lnTo>
                    <a:lnTo>
                      <a:pt x="151" y="504"/>
                    </a:lnTo>
                    <a:lnTo>
                      <a:pt x="151" y="507"/>
                    </a:lnTo>
                    <a:lnTo>
                      <a:pt x="153" y="510"/>
                    </a:lnTo>
                    <a:lnTo>
                      <a:pt x="154" y="510"/>
                    </a:lnTo>
                    <a:lnTo>
                      <a:pt x="153" y="514"/>
                    </a:lnTo>
                    <a:lnTo>
                      <a:pt x="151" y="520"/>
                    </a:lnTo>
                    <a:lnTo>
                      <a:pt x="153" y="524"/>
                    </a:lnTo>
                    <a:lnTo>
                      <a:pt x="156" y="524"/>
                    </a:lnTo>
                    <a:lnTo>
                      <a:pt x="156" y="532"/>
                    </a:lnTo>
                    <a:lnTo>
                      <a:pt x="158" y="534"/>
                    </a:lnTo>
                    <a:lnTo>
                      <a:pt x="158" y="537"/>
                    </a:lnTo>
                    <a:lnTo>
                      <a:pt x="161" y="540"/>
                    </a:lnTo>
                    <a:lnTo>
                      <a:pt x="161" y="542"/>
                    </a:lnTo>
                    <a:lnTo>
                      <a:pt x="156" y="544"/>
                    </a:lnTo>
                    <a:lnTo>
                      <a:pt x="154" y="545"/>
                    </a:lnTo>
                    <a:lnTo>
                      <a:pt x="171" y="552"/>
                    </a:lnTo>
                    <a:lnTo>
                      <a:pt x="178" y="552"/>
                    </a:lnTo>
                    <a:lnTo>
                      <a:pt x="184" y="550"/>
                    </a:lnTo>
                    <a:lnTo>
                      <a:pt x="188" y="549"/>
                    </a:lnTo>
                    <a:lnTo>
                      <a:pt x="191" y="550"/>
                    </a:lnTo>
                    <a:lnTo>
                      <a:pt x="194" y="549"/>
                    </a:lnTo>
                    <a:lnTo>
                      <a:pt x="201" y="542"/>
                    </a:lnTo>
                    <a:lnTo>
                      <a:pt x="201" y="537"/>
                    </a:lnTo>
                    <a:lnTo>
                      <a:pt x="198" y="535"/>
                    </a:lnTo>
                    <a:lnTo>
                      <a:pt x="198" y="532"/>
                    </a:lnTo>
                    <a:lnTo>
                      <a:pt x="204" y="530"/>
                    </a:lnTo>
                    <a:lnTo>
                      <a:pt x="211" y="525"/>
                    </a:lnTo>
                    <a:lnTo>
                      <a:pt x="223" y="519"/>
                    </a:lnTo>
                    <a:lnTo>
                      <a:pt x="226" y="519"/>
                    </a:lnTo>
                    <a:lnTo>
                      <a:pt x="221" y="520"/>
                    </a:lnTo>
                    <a:lnTo>
                      <a:pt x="211" y="529"/>
                    </a:lnTo>
                    <a:lnTo>
                      <a:pt x="206" y="532"/>
                    </a:lnTo>
                    <a:lnTo>
                      <a:pt x="204" y="535"/>
                    </a:lnTo>
                    <a:lnTo>
                      <a:pt x="209" y="537"/>
                    </a:lnTo>
                    <a:lnTo>
                      <a:pt x="209" y="540"/>
                    </a:lnTo>
                    <a:lnTo>
                      <a:pt x="204" y="547"/>
                    </a:lnTo>
                    <a:lnTo>
                      <a:pt x="199" y="550"/>
                    </a:lnTo>
                    <a:lnTo>
                      <a:pt x="199" y="554"/>
                    </a:lnTo>
                    <a:lnTo>
                      <a:pt x="201" y="560"/>
                    </a:lnTo>
                    <a:lnTo>
                      <a:pt x="199" y="564"/>
                    </a:lnTo>
                    <a:lnTo>
                      <a:pt x="199" y="567"/>
                    </a:lnTo>
                    <a:lnTo>
                      <a:pt x="199" y="570"/>
                    </a:lnTo>
                    <a:lnTo>
                      <a:pt x="199" y="575"/>
                    </a:lnTo>
                    <a:lnTo>
                      <a:pt x="193" y="577"/>
                    </a:lnTo>
                    <a:lnTo>
                      <a:pt x="189" y="579"/>
                    </a:lnTo>
                    <a:lnTo>
                      <a:pt x="189" y="582"/>
                    </a:lnTo>
                    <a:lnTo>
                      <a:pt x="186" y="582"/>
                    </a:lnTo>
                    <a:lnTo>
                      <a:pt x="184" y="582"/>
                    </a:lnTo>
                    <a:lnTo>
                      <a:pt x="186" y="587"/>
                    </a:lnTo>
                    <a:lnTo>
                      <a:pt x="186" y="592"/>
                    </a:lnTo>
                    <a:lnTo>
                      <a:pt x="189" y="592"/>
                    </a:lnTo>
                    <a:lnTo>
                      <a:pt x="193" y="592"/>
                    </a:lnTo>
                    <a:lnTo>
                      <a:pt x="196" y="590"/>
                    </a:lnTo>
                    <a:lnTo>
                      <a:pt x="198" y="593"/>
                    </a:lnTo>
                    <a:lnTo>
                      <a:pt x="194" y="597"/>
                    </a:lnTo>
                    <a:lnTo>
                      <a:pt x="189" y="595"/>
                    </a:lnTo>
                    <a:lnTo>
                      <a:pt x="188" y="598"/>
                    </a:lnTo>
                    <a:lnTo>
                      <a:pt x="188" y="600"/>
                    </a:lnTo>
                    <a:lnTo>
                      <a:pt x="188" y="602"/>
                    </a:lnTo>
                    <a:lnTo>
                      <a:pt x="189" y="605"/>
                    </a:lnTo>
                    <a:lnTo>
                      <a:pt x="186" y="607"/>
                    </a:lnTo>
                    <a:lnTo>
                      <a:pt x="183" y="608"/>
                    </a:lnTo>
                    <a:lnTo>
                      <a:pt x="178" y="610"/>
                    </a:lnTo>
                    <a:lnTo>
                      <a:pt x="174" y="610"/>
                    </a:lnTo>
                    <a:lnTo>
                      <a:pt x="173" y="610"/>
                    </a:lnTo>
                    <a:lnTo>
                      <a:pt x="176" y="613"/>
                    </a:lnTo>
                    <a:lnTo>
                      <a:pt x="181" y="613"/>
                    </a:lnTo>
                    <a:lnTo>
                      <a:pt x="183" y="615"/>
                    </a:lnTo>
                    <a:lnTo>
                      <a:pt x="188" y="610"/>
                    </a:lnTo>
                    <a:lnTo>
                      <a:pt x="198" y="605"/>
                    </a:lnTo>
                    <a:lnTo>
                      <a:pt x="201" y="605"/>
                    </a:lnTo>
                    <a:lnTo>
                      <a:pt x="204" y="605"/>
                    </a:lnTo>
                    <a:lnTo>
                      <a:pt x="208" y="602"/>
                    </a:lnTo>
                    <a:lnTo>
                      <a:pt x="216" y="600"/>
                    </a:lnTo>
                    <a:lnTo>
                      <a:pt x="214" y="603"/>
                    </a:lnTo>
                    <a:lnTo>
                      <a:pt x="211" y="605"/>
                    </a:lnTo>
                    <a:lnTo>
                      <a:pt x="211" y="607"/>
                    </a:lnTo>
                    <a:lnTo>
                      <a:pt x="214" y="608"/>
                    </a:lnTo>
                    <a:lnTo>
                      <a:pt x="216" y="612"/>
                    </a:lnTo>
                    <a:lnTo>
                      <a:pt x="214" y="613"/>
                    </a:lnTo>
                    <a:lnTo>
                      <a:pt x="218" y="617"/>
                    </a:lnTo>
                    <a:lnTo>
                      <a:pt x="223" y="613"/>
                    </a:lnTo>
                    <a:lnTo>
                      <a:pt x="224" y="610"/>
                    </a:lnTo>
                    <a:lnTo>
                      <a:pt x="226" y="612"/>
                    </a:lnTo>
                    <a:lnTo>
                      <a:pt x="224" y="613"/>
                    </a:lnTo>
                    <a:lnTo>
                      <a:pt x="228" y="618"/>
                    </a:lnTo>
                    <a:lnTo>
                      <a:pt x="229" y="627"/>
                    </a:lnTo>
                    <a:lnTo>
                      <a:pt x="228" y="630"/>
                    </a:lnTo>
                    <a:lnTo>
                      <a:pt x="231" y="635"/>
                    </a:lnTo>
                    <a:lnTo>
                      <a:pt x="233" y="637"/>
                    </a:lnTo>
                    <a:lnTo>
                      <a:pt x="236" y="630"/>
                    </a:lnTo>
                    <a:lnTo>
                      <a:pt x="234" y="627"/>
                    </a:lnTo>
                    <a:lnTo>
                      <a:pt x="239" y="620"/>
                    </a:lnTo>
                    <a:lnTo>
                      <a:pt x="241" y="617"/>
                    </a:lnTo>
                    <a:lnTo>
                      <a:pt x="246" y="612"/>
                    </a:lnTo>
                    <a:lnTo>
                      <a:pt x="248" y="612"/>
                    </a:lnTo>
                    <a:lnTo>
                      <a:pt x="252" y="608"/>
                    </a:lnTo>
                    <a:lnTo>
                      <a:pt x="259" y="608"/>
                    </a:lnTo>
                    <a:lnTo>
                      <a:pt x="252" y="612"/>
                    </a:lnTo>
                    <a:lnTo>
                      <a:pt x="246" y="618"/>
                    </a:lnTo>
                    <a:lnTo>
                      <a:pt x="246" y="620"/>
                    </a:lnTo>
                    <a:lnTo>
                      <a:pt x="251" y="627"/>
                    </a:lnTo>
                    <a:lnTo>
                      <a:pt x="254" y="627"/>
                    </a:lnTo>
                    <a:lnTo>
                      <a:pt x="262" y="623"/>
                    </a:lnTo>
                    <a:lnTo>
                      <a:pt x="271" y="623"/>
                    </a:lnTo>
                    <a:lnTo>
                      <a:pt x="276" y="620"/>
                    </a:lnTo>
                    <a:lnTo>
                      <a:pt x="279" y="620"/>
                    </a:lnTo>
                    <a:lnTo>
                      <a:pt x="287" y="615"/>
                    </a:lnTo>
                    <a:lnTo>
                      <a:pt x="291" y="615"/>
                    </a:lnTo>
                    <a:lnTo>
                      <a:pt x="287" y="617"/>
                    </a:lnTo>
                    <a:lnTo>
                      <a:pt x="282" y="623"/>
                    </a:lnTo>
                    <a:lnTo>
                      <a:pt x="282" y="625"/>
                    </a:lnTo>
                    <a:lnTo>
                      <a:pt x="279" y="628"/>
                    </a:lnTo>
                    <a:lnTo>
                      <a:pt x="266" y="635"/>
                    </a:lnTo>
                    <a:lnTo>
                      <a:pt x="259" y="638"/>
                    </a:lnTo>
                    <a:lnTo>
                      <a:pt x="256" y="647"/>
                    </a:lnTo>
                    <a:lnTo>
                      <a:pt x="254" y="650"/>
                    </a:lnTo>
                    <a:lnTo>
                      <a:pt x="256" y="653"/>
                    </a:lnTo>
                    <a:lnTo>
                      <a:pt x="261" y="657"/>
                    </a:lnTo>
                    <a:lnTo>
                      <a:pt x="252" y="655"/>
                    </a:lnTo>
                    <a:lnTo>
                      <a:pt x="249" y="657"/>
                    </a:lnTo>
                    <a:lnTo>
                      <a:pt x="246" y="662"/>
                    </a:lnTo>
                    <a:lnTo>
                      <a:pt x="244" y="667"/>
                    </a:lnTo>
                    <a:lnTo>
                      <a:pt x="238" y="673"/>
                    </a:lnTo>
                    <a:lnTo>
                      <a:pt x="234" y="677"/>
                    </a:lnTo>
                    <a:lnTo>
                      <a:pt x="236" y="680"/>
                    </a:lnTo>
                    <a:lnTo>
                      <a:pt x="238" y="681"/>
                    </a:lnTo>
                    <a:lnTo>
                      <a:pt x="238" y="685"/>
                    </a:lnTo>
                    <a:lnTo>
                      <a:pt x="234" y="683"/>
                    </a:lnTo>
                    <a:lnTo>
                      <a:pt x="233" y="680"/>
                    </a:lnTo>
                    <a:lnTo>
                      <a:pt x="229" y="680"/>
                    </a:lnTo>
                    <a:lnTo>
                      <a:pt x="226" y="685"/>
                    </a:lnTo>
                    <a:lnTo>
                      <a:pt x="219" y="688"/>
                    </a:lnTo>
                    <a:lnTo>
                      <a:pt x="221" y="690"/>
                    </a:lnTo>
                    <a:lnTo>
                      <a:pt x="219" y="693"/>
                    </a:lnTo>
                    <a:lnTo>
                      <a:pt x="216" y="693"/>
                    </a:lnTo>
                    <a:lnTo>
                      <a:pt x="214" y="690"/>
                    </a:lnTo>
                    <a:lnTo>
                      <a:pt x="213" y="691"/>
                    </a:lnTo>
                    <a:lnTo>
                      <a:pt x="201" y="700"/>
                    </a:lnTo>
                    <a:lnTo>
                      <a:pt x="198" y="705"/>
                    </a:lnTo>
                    <a:lnTo>
                      <a:pt x="199" y="706"/>
                    </a:lnTo>
                    <a:lnTo>
                      <a:pt x="198" y="708"/>
                    </a:lnTo>
                    <a:lnTo>
                      <a:pt x="194" y="706"/>
                    </a:lnTo>
                    <a:lnTo>
                      <a:pt x="194" y="703"/>
                    </a:lnTo>
                    <a:lnTo>
                      <a:pt x="186" y="706"/>
                    </a:lnTo>
                    <a:lnTo>
                      <a:pt x="181" y="710"/>
                    </a:lnTo>
                    <a:lnTo>
                      <a:pt x="178" y="711"/>
                    </a:lnTo>
                    <a:lnTo>
                      <a:pt x="176" y="713"/>
                    </a:lnTo>
                    <a:lnTo>
                      <a:pt x="173" y="715"/>
                    </a:lnTo>
                    <a:lnTo>
                      <a:pt x="166" y="715"/>
                    </a:lnTo>
                    <a:lnTo>
                      <a:pt x="159" y="721"/>
                    </a:lnTo>
                    <a:lnTo>
                      <a:pt x="148" y="725"/>
                    </a:lnTo>
                    <a:lnTo>
                      <a:pt x="140" y="730"/>
                    </a:lnTo>
                    <a:lnTo>
                      <a:pt x="138" y="736"/>
                    </a:lnTo>
                    <a:lnTo>
                      <a:pt x="136" y="738"/>
                    </a:lnTo>
                    <a:lnTo>
                      <a:pt x="138" y="741"/>
                    </a:lnTo>
                    <a:lnTo>
                      <a:pt x="138" y="745"/>
                    </a:lnTo>
                    <a:lnTo>
                      <a:pt x="136" y="746"/>
                    </a:lnTo>
                    <a:lnTo>
                      <a:pt x="135" y="743"/>
                    </a:lnTo>
                    <a:lnTo>
                      <a:pt x="131" y="743"/>
                    </a:lnTo>
                    <a:lnTo>
                      <a:pt x="131" y="745"/>
                    </a:lnTo>
                    <a:lnTo>
                      <a:pt x="131" y="748"/>
                    </a:lnTo>
                    <a:lnTo>
                      <a:pt x="130" y="750"/>
                    </a:lnTo>
                    <a:lnTo>
                      <a:pt x="126" y="746"/>
                    </a:lnTo>
                    <a:lnTo>
                      <a:pt x="126" y="741"/>
                    </a:lnTo>
                    <a:lnTo>
                      <a:pt x="128" y="740"/>
                    </a:lnTo>
                    <a:lnTo>
                      <a:pt x="125" y="738"/>
                    </a:lnTo>
                    <a:lnTo>
                      <a:pt x="120" y="738"/>
                    </a:lnTo>
                    <a:lnTo>
                      <a:pt x="118" y="736"/>
                    </a:lnTo>
                    <a:lnTo>
                      <a:pt x="113" y="738"/>
                    </a:lnTo>
                    <a:lnTo>
                      <a:pt x="106" y="738"/>
                    </a:lnTo>
                    <a:lnTo>
                      <a:pt x="101" y="741"/>
                    </a:lnTo>
                    <a:lnTo>
                      <a:pt x="98" y="745"/>
                    </a:lnTo>
                    <a:lnTo>
                      <a:pt x="91" y="746"/>
                    </a:lnTo>
                    <a:lnTo>
                      <a:pt x="86" y="750"/>
                    </a:lnTo>
                    <a:lnTo>
                      <a:pt x="81" y="755"/>
                    </a:lnTo>
                    <a:lnTo>
                      <a:pt x="81" y="758"/>
                    </a:lnTo>
                    <a:lnTo>
                      <a:pt x="80" y="760"/>
                    </a:lnTo>
                    <a:lnTo>
                      <a:pt x="78" y="758"/>
                    </a:lnTo>
                    <a:lnTo>
                      <a:pt x="71" y="761"/>
                    </a:lnTo>
                    <a:lnTo>
                      <a:pt x="68" y="763"/>
                    </a:lnTo>
                    <a:lnTo>
                      <a:pt x="68" y="766"/>
                    </a:lnTo>
                    <a:lnTo>
                      <a:pt x="66" y="766"/>
                    </a:lnTo>
                    <a:lnTo>
                      <a:pt x="61" y="765"/>
                    </a:lnTo>
                    <a:lnTo>
                      <a:pt x="58" y="766"/>
                    </a:lnTo>
                    <a:lnTo>
                      <a:pt x="56" y="770"/>
                    </a:lnTo>
                    <a:lnTo>
                      <a:pt x="55" y="773"/>
                    </a:lnTo>
                    <a:lnTo>
                      <a:pt x="56" y="776"/>
                    </a:lnTo>
                    <a:lnTo>
                      <a:pt x="60" y="775"/>
                    </a:lnTo>
                    <a:lnTo>
                      <a:pt x="60" y="773"/>
                    </a:lnTo>
                    <a:lnTo>
                      <a:pt x="60" y="770"/>
                    </a:lnTo>
                    <a:lnTo>
                      <a:pt x="63" y="768"/>
                    </a:lnTo>
                    <a:lnTo>
                      <a:pt x="65" y="770"/>
                    </a:lnTo>
                    <a:lnTo>
                      <a:pt x="65" y="773"/>
                    </a:lnTo>
                    <a:lnTo>
                      <a:pt x="65" y="775"/>
                    </a:lnTo>
                    <a:lnTo>
                      <a:pt x="68" y="773"/>
                    </a:lnTo>
                    <a:lnTo>
                      <a:pt x="73" y="766"/>
                    </a:lnTo>
                    <a:lnTo>
                      <a:pt x="75" y="766"/>
                    </a:lnTo>
                    <a:lnTo>
                      <a:pt x="76" y="768"/>
                    </a:lnTo>
                    <a:lnTo>
                      <a:pt x="76" y="771"/>
                    </a:lnTo>
                    <a:lnTo>
                      <a:pt x="76" y="773"/>
                    </a:lnTo>
                    <a:lnTo>
                      <a:pt x="81" y="773"/>
                    </a:lnTo>
                    <a:lnTo>
                      <a:pt x="83" y="768"/>
                    </a:lnTo>
                    <a:lnTo>
                      <a:pt x="83" y="771"/>
                    </a:lnTo>
                    <a:lnTo>
                      <a:pt x="85" y="771"/>
                    </a:lnTo>
                    <a:lnTo>
                      <a:pt x="86" y="768"/>
                    </a:lnTo>
                    <a:lnTo>
                      <a:pt x="90" y="766"/>
                    </a:lnTo>
                    <a:lnTo>
                      <a:pt x="95" y="768"/>
                    </a:lnTo>
                    <a:lnTo>
                      <a:pt x="98" y="765"/>
                    </a:lnTo>
                    <a:lnTo>
                      <a:pt x="101" y="760"/>
                    </a:lnTo>
                    <a:lnTo>
                      <a:pt x="101" y="756"/>
                    </a:lnTo>
                    <a:lnTo>
                      <a:pt x="105" y="755"/>
                    </a:lnTo>
                    <a:lnTo>
                      <a:pt x="108" y="750"/>
                    </a:lnTo>
                    <a:lnTo>
                      <a:pt x="111" y="750"/>
                    </a:lnTo>
                    <a:lnTo>
                      <a:pt x="116" y="753"/>
                    </a:lnTo>
                    <a:lnTo>
                      <a:pt x="115" y="755"/>
                    </a:lnTo>
                    <a:lnTo>
                      <a:pt x="111" y="756"/>
                    </a:lnTo>
                    <a:lnTo>
                      <a:pt x="108" y="760"/>
                    </a:lnTo>
                    <a:lnTo>
                      <a:pt x="108" y="763"/>
                    </a:lnTo>
                    <a:lnTo>
                      <a:pt x="110" y="765"/>
                    </a:lnTo>
                    <a:lnTo>
                      <a:pt x="116" y="760"/>
                    </a:lnTo>
                    <a:lnTo>
                      <a:pt x="118" y="756"/>
                    </a:lnTo>
                    <a:lnTo>
                      <a:pt x="120" y="756"/>
                    </a:lnTo>
                    <a:lnTo>
                      <a:pt x="121" y="758"/>
                    </a:lnTo>
                    <a:lnTo>
                      <a:pt x="123" y="755"/>
                    </a:lnTo>
                    <a:lnTo>
                      <a:pt x="125" y="756"/>
                    </a:lnTo>
                    <a:lnTo>
                      <a:pt x="126" y="758"/>
                    </a:lnTo>
                    <a:lnTo>
                      <a:pt x="125" y="761"/>
                    </a:lnTo>
                    <a:lnTo>
                      <a:pt x="126" y="761"/>
                    </a:lnTo>
                    <a:lnTo>
                      <a:pt x="130" y="756"/>
                    </a:lnTo>
                    <a:lnTo>
                      <a:pt x="133" y="758"/>
                    </a:lnTo>
                    <a:lnTo>
                      <a:pt x="136" y="755"/>
                    </a:lnTo>
                    <a:lnTo>
                      <a:pt x="141" y="755"/>
                    </a:lnTo>
                    <a:lnTo>
                      <a:pt x="146" y="748"/>
                    </a:lnTo>
                    <a:lnTo>
                      <a:pt x="149" y="746"/>
                    </a:lnTo>
                    <a:lnTo>
                      <a:pt x="153" y="748"/>
                    </a:lnTo>
                    <a:lnTo>
                      <a:pt x="153" y="750"/>
                    </a:lnTo>
                    <a:lnTo>
                      <a:pt x="149" y="755"/>
                    </a:lnTo>
                    <a:lnTo>
                      <a:pt x="146" y="760"/>
                    </a:lnTo>
                    <a:lnTo>
                      <a:pt x="146" y="761"/>
                    </a:lnTo>
                    <a:lnTo>
                      <a:pt x="149" y="761"/>
                    </a:lnTo>
                    <a:lnTo>
                      <a:pt x="156" y="755"/>
                    </a:lnTo>
                    <a:lnTo>
                      <a:pt x="156" y="748"/>
                    </a:lnTo>
                    <a:lnTo>
                      <a:pt x="156" y="746"/>
                    </a:lnTo>
                    <a:lnTo>
                      <a:pt x="159" y="750"/>
                    </a:lnTo>
                    <a:lnTo>
                      <a:pt x="163" y="748"/>
                    </a:lnTo>
                    <a:lnTo>
                      <a:pt x="166" y="748"/>
                    </a:lnTo>
                    <a:lnTo>
                      <a:pt x="171" y="748"/>
                    </a:lnTo>
                    <a:lnTo>
                      <a:pt x="174" y="743"/>
                    </a:lnTo>
                    <a:lnTo>
                      <a:pt x="176" y="743"/>
                    </a:lnTo>
                    <a:lnTo>
                      <a:pt x="178" y="745"/>
                    </a:lnTo>
                    <a:lnTo>
                      <a:pt x="181" y="740"/>
                    </a:lnTo>
                    <a:lnTo>
                      <a:pt x="183" y="736"/>
                    </a:lnTo>
                    <a:lnTo>
                      <a:pt x="184" y="738"/>
                    </a:lnTo>
                    <a:lnTo>
                      <a:pt x="183" y="741"/>
                    </a:lnTo>
                    <a:lnTo>
                      <a:pt x="183" y="745"/>
                    </a:lnTo>
                    <a:lnTo>
                      <a:pt x="186" y="745"/>
                    </a:lnTo>
                    <a:lnTo>
                      <a:pt x="189" y="741"/>
                    </a:lnTo>
                    <a:lnTo>
                      <a:pt x="188" y="740"/>
                    </a:lnTo>
                    <a:lnTo>
                      <a:pt x="191" y="736"/>
                    </a:lnTo>
                    <a:lnTo>
                      <a:pt x="191" y="735"/>
                    </a:lnTo>
                    <a:lnTo>
                      <a:pt x="184" y="735"/>
                    </a:lnTo>
                    <a:lnTo>
                      <a:pt x="183" y="733"/>
                    </a:lnTo>
                    <a:lnTo>
                      <a:pt x="188" y="733"/>
                    </a:lnTo>
                    <a:lnTo>
                      <a:pt x="196" y="728"/>
                    </a:lnTo>
                    <a:lnTo>
                      <a:pt x="206" y="728"/>
                    </a:lnTo>
                    <a:lnTo>
                      <a:pt x="208" y="726"/>
                    </a:lnTo>
                    <a:lnTo>
                      <a:pt x="208" y="723"/>
                    </a:lnTo>
                    <a:lnTo>
                      <a:pt x="204" y="723"/>
                    </a:lnTo>
                    <a:lnTo>
                      <a:pt x="208" y="721"/>
                    </a:lnTo>
                    <a:lnTo>
                      <a:pt x="211" y="721"/>
                    </a:lnTo>
                    <a:lnTo>
                      <a:pt x="214" y="720"/>
                    </a:lnTo>
                    <a:lnTo>
                      <a:pt x="216" y="720"/>
                    </a:lnTo>
                    <a:lnTo>
                      <a:pt x="218" y="723"/>
                    </a:lnTo>
                    <a:lnTo>
                      <a:pt x="219" y="723"/>
                    </a:lnTo>
                    <a:lnTo>
                      <a:pt x="221" y="720"/>
                    </a:lnTo>
                    <a:lnTo>
                      <a:pt x="221" y="720"/>
                    </a:lnTo>
                    <a:lnTo>
                      <a:pt x="224" y="716"/>
                    </a:lnTo>
                    <a:lnTo>
                      <a:pt x="224" y="713"/>
                    </a:lnTo>
                    <a:lnTo>
                      <a:pt x="226" y="711"/>
                    </a:lnTo>
                    <a:lnTo>
                      <a:pt x="228" y="713"/>
                    </a:lnTo>
                    <a:lnTo>
                      <a:pt x="228" y="716"/>
                    </a:lnTo>
                    <a:lnTo>
                      <a:pt x="231" y="718"/>
                    </a:lnTo>
                    <a:lnTo>
                      <a:pt x="236" y="713"/>
                    </a:lnTo>
                    <a:lnTo>
                      <a:pt x="239" y="711"/>
                    </a:lnTo>
                    <a:lnTo>
                      <a:pt x="243" y="711"/>
                    </a:lnTo>
                    <a:lnTo>
                      <a:pt x="244" y="706"/>
                    </a:lnTo>
                    <a:lnTo>
                      <a:pt x="246" y="706"/>
                    </a:lnTo>
                    <a:lnTo>
                      <a:pt x="249" y="708"/>
                    </a:lnTo>
                    <a:lnTo>
                      <a:pt x="252" y="708"/>
                    </a:lnTo>
                    <a:lnTo>
                      <a:pt x="257" y="701"/>
                    </a:lnTo>
                    <a:lnTo>
                      <a:pt x="257" y="698"/>
                    </a:lnTo>
                    <a:lnTo>
                      <a:pt x="256" y="698"/>
                    </a:lnTo>
                    <a:lnTo>
                      <a:pt x="252" y="698"/>
                    </a:lnTo>
                    <a:lnTo>
                      <a:pt x="252" y="698"/>
                    </a:lnTo>
                    <a:lnTo>
                      <a:pt x="259" y="693"/>
                    </a:lnTo>
                    <a:lnTo>
                      <a:pt x="262" y="691"/>
                    </a:lnTo>
                    <a:lnTo>
                      <a:pt x="267" y="688"/>
                    </a:lnTo>
                    <a:lnTo>
                      <a:pt x="269" y="688"/>
                    </a:lnTo>
                    <a:lnTo>
                      <a:pt x="271" y="690"/>
                    </a:lnTo>
                    <a:lnTo>
                      <a:pt x="276" y="686"/>
                    </a:lnTo>
                    <a:lnTo>
                      <a:pt x="279" y="685"/>
                    </a:lnTo>
                    <a:lnTo>
                      <a:pt x="281" y="681"/>
                    </a:lnTo>
                    <a:lnTo>
                      <a:pt x="284" y="680"/>
                    </a:lnTo>
                    <a:lnTo>
                      <a:pt x="286" y="678"/>
                    </a:lnTo>
                    <a:lnTo>
                      <a:pt x="289" y="677"/>
                    </a:lnTo>
                    <a:lnTo>
                      <a:pt x="291" y="680"/>
                    </a:lnTo>
                    <a:lnTo>
                      <a:pt x="292" y="681"/>
                    </a:lnTo>
                    <a:lnTo>
                      <a:pt x="294" y="678"/>
                    </a:lnTo>
                    <a:lnTo>
                      <a:pt x="297" y="678"/>
                    </a:lnTo>
                    <a:lnTo>
                      <a:pt x="299" y="677"/>
                    </a:lnTo>
                    <a:lnTo>
                      <a:pt x="299" y="673"/>
                    </a:lnTo>
                    <a:lnTo>
                      <a:pt x="304" y="673"/>
                    </a:lnTo>
                    <a:lnTo>
                      <a:pt x="304" y="672"/>
                    </a:lnTo>
                    <a:lnTo>
                      <a:pt x="306" y="672"/>
                    </a:lnTo>
                    <a:lnTo>
                      <a:pt x="312" y="673"/>
                    </a:lnTo>
                    <a:lnTo>
                      <a:pt x="314" y="668"/>
                    </a:lnTo>
                    <a:lnTo>
                      <a:pt x="316" y="668"/>
                    </a:lnTo>
                    <a:lnTo>
                      <a:pt x="317" y="672"/>
                    </a:lnTo>
                    <a:lnTo>
                      <a:pt x="319" y="672"/>
                    </a:lnTo>
                    <a:lnTo>
                      <a:pt x="321" y="668"/>
                    </a:lnTo>
                    <a:lnTo>
                      <a:pt x="322" y="670"/>
                    </a:lnTo>
                    <a:lnTo>
                      <a:pt x="324" y="670"/>
                    </a:lnTo>
                    <a:lnTo>
                      <a:pt x="327" y="663"/>
                    </a:lnTo>
                    <a:lnTo>
                      <a:pt x="326" y="663"/>
                    </a:lnTo>
                    <a:lnTo>
                      <a:pt x="322" y="665"/>
                    </a:lnTo>
                    <a:lnTo>
                      <a:pt x="324" y="662"/>
                    </a:lnTo>
                    <a:lnTo>
                      <a:pt x="329" y="658"/>
                    </a:lnTo>
                    <a:lnTo>
                      <a:pt x="331" y="658"/>
                    </a:lnTo>
                    <a:lnTo>
                      <a:pt x="332" y="658"/>
                    </a:lnTo>
                    <a:lnTo>
                      <a:pt x="334" y="658"/>
                    </a:lnTo>
                    <a:lnTo>
                      <a:pt x="332" y="655"/>
                    </a:lnTo>
                    <a:lnTo>
                      <a:pt x="329" y="653"/>
                    </a:lnTo>
                    <a:lnTo>
                      <a:pt x="332" y="653"/>
                    </a:lnTo>
                    <a:lnTo>
                      <a:pt x="336" y="655"/>
                    </a:lnTo>
                    <a:lnTo>
                      <a:pt x="341" y="650"/>
                    </a:lnTo>
                    <a:lnTo>
                      <a:pt x="347" y="650"/>
                    </a:lnTo>
                    <a:lnTo>
                      <a:pt x="352" y="647"/>
                    </a:lnTo>
                    <a:lnTo>
                      <a:pt x="355" y="645"/>
                    </a:lnTo>
                    <a:lnTo>
                      <a:pt x="360" y="640"/>
                    </a:lnTo>
                    <a:lnTo>
                      <a:pt x="360" y="633"/>
                    </a:lnTo>
                    <a:lnTo>
                      <a:pt x="359" y="632"/>
                    </a:lnTo>
                    <a:lnTo>
                      <a:pt x="357" y="632"/>
                    </a:lnTo>
                    <a:lnTo>
                      <a:pt x="355" y="628"/>
                    </a:lnTo>
                    <a:lnTo>
                      <a:pt x="354" y="627"/>
                    </a:lnTo>
                    <a:lnTo>
                      <a:pt x="347" y="627"/>
                    </a:lnTo>
                    <a:lnTo>
                      <a:pt x="349" y="622"/>
                    </a:lnTo>
                    <a:lnTo>
                      <a:pt x="347" y="618"/>
                    </a:lnTo>
                    <a:lnTo>
                      <a:pt x="354" y="615"/>
                    </a:lnTo>
                    <a:lnTo>
                      <a:pt x="355" y="613"/>
                    </a:lnTo>
                    <a:lnTo>
                      <a:pt x="359" y="613"/>
                    </a:lnTo>
                    <a:lnTo>
                      <a:pt x="360" y="610"/>
                    </a:lnTo>
                    <a:lnTo>
                      <a:pt x="359" y="610"/>
                    </a:lnTo>
                    <a:lnTo>
                      <a:pt x="362" y="608"/>
                    </a:lnTo>
                    <a:lnTo>
                      <a:pt x="365" y="608"/>
                    </a:lnTo>
                    <a:lnTo>
                      <a:pt x="372" y="605"/>
                    </a:lnTo>
                    <a:lnTo>
                      <a:pt x="377" y="608"/>
                    </a:lnTo>
                    <a:lnTo>
                      <a:pt x="382" y="605"/>
                    </a:lnTo>
                    <a:lnTo>
                      <a:pt x="382" y="608"/>
                    </a:lnTo>
                    <a:lnTo>
                      <a:pt x="384" y="612"/>
                    </a:lnTo>
                    <a:lnTo>
                      <a:pt x="385" y="610"/>
                    </a:lnTo>
                    <a:lnTo>
                      <a:pt x="392" y="605"/>
                    </a:lnTo>
                    <a:lnTo>
                      <a:pt x="390" y="603"/>
                    </a:lnTo>
                    <a:lnTo>
                      <a:pt x="387" y="603"/>
                    </a:lnTo>
                    <a:lnTo>
                      <a:pt x="387" y="600"/>
                    </a:lnTo>
                    <a:lnTo>
                      <a:pt x="389" y="600"/>
                    </a:lnTo>
                    <a:lnTo>
                      <a:pt x="394" y="602"/>
                    </a:lnTo>
                    <a:lnTo>
                      <a:pt x="402" y="600"/>
                    </a:lnTo>
                    <a:lnTo>
                      <a:pt x="404" y="593"/>
                    </a:lnTo>
                    <a:lnTo>
                      <a:pt x="402" y="588"/>
                    </a:lnTo>
                    <a:lnTo>
                      <a:pt x="395" y="585"/>
                    </a:lnTo>
                    <a:lnTo>
                      <a:pt x="392" y="585"/>
                    </a:lnTo>
                    <a:lnTo>
                      <a:pt x="389" y="587"/>
                    </a:lnTo>
                    <a:lnTo>
                      <a:pt x="389" y="585"/>
                    </a:lnTo>
                    <a:lnTo>
                      <a:pt x="392" y="583"/>
                    </a:lnTo>
                    <a:lnTo>
                      <a:pt x="399" y="582"/>
                    </a:lnTo>
                    <a:lnTo>
                      <a:pt x="402" y="585"/>
                    </a:lnTo>
                    <a:lnTo>
                      <a:pt x="409" y="585"/>
                    </a:lnTo>
                    <a:lnTo>
                      <a:pt x="414" y="582"/>
                    </a:lnTo>
                    <a:lnTo>
                      <a:pt x="414" y="579"/>
                    </a:lnTo>
                    <a:lnTo>
                      <a:pt x="424" y="574"/>
                    </a:lnTo>
                    <a:lnTo>
                      <a:pt x="430" y="569"/>
                    </a:lnTo>
                    <a:lnTo>
                      <a:pt x="435" y="569"/>
                    </a:lnTo>
                    <a:lnTo>
                      <a:pt x="437" y="567"/>
                    </a:lnTo>
                    <a:lnTo>
                      <a:pt x="437" y="564"/>
                    </a:lnTo>
                    <a:lnTo>
                      <a:pt x="447" y="557"/>
                    </a:lnTo>
                    <a:lnTo>
                      <a:pt x="457" y="557"/>
                    </a:lnTo>
                    <a:lnTo>
                      <a:pt x="467" y="549"/>
                    </a:lnTo>
                    <a:lnTo>
                      <a:pt x="473" y="547"/>
                    </a:lnTo>
                    <a:lnTo>
                      <a:pt x="482" y="539"/>
                    </a:lnTo>
                    <a:lnTo>
                      <a:pt x="478" y="544"/>
                    </a:lnTo>
                    <a:lnTo>
                      <a:pt x="478" y="549"/>
                    </a:lnTo>
                    <a:lnTo>
                      <a:pt x="482" y="550"/>
                    </a:lnTo>
                    <a:lnTo>
                      <a:pt x="485" y="550"/>
                    </a:lnTo>
                    <a:lnTo>
                      <a:pt x="487" y="552"/>
                    </a:lnTo>
                    <a:lnTo>
                      <a:pt x="493" y="547"/>
                    </a:lnTo>
                    <a:lnTo>
                      <a:pt x="498" y="545"/>
                    </a:lnTo>
                    <a:lnTo>
                      <a:pt x="507" y="542"/>
                    </a:lnTo>
                    <a:lnTo>
                      <a:pt x="510" y="539"/>
                    </a:lnTo>
                    <a:lnTo>
                      <a:pt x="508" y="544"/>
                    </a:lnTo>
                    <a:lnTo>
                      <a:pt x="502" y="547"/>
                    </a:lnTo>
                    <a:lnTo>
                      <a:pt x="495" y="549"/>
                    </a:lnTo>
                    <a:lnTo>
                      <a:pt x="485" y="559"/>
                    </a:lnTo>
                    <a:lnTo>
                      <a:pt x="483" y="562"/>
                    </a:lnTo>
                    <a:lnTo>
                      <a:pt x="490" y="569"/>
                    </a:lnTo>
                    <a:lnTo>
                      <a:pt x="490" y="574"/>
                    </a:lnTo>
                    <a:lnTo>
                      <a:pt x="485" y="570"/>
                    </a:lnTo>
                    <a:lnTo>
                      <a:pt x="482" y="570"/>
                    </a:lnTo>
                    <a:lnTo>
                      <a:pt x="480" y="570"/>
                    </a:lnTo>
                    <a:lnTo>
                      <a:pt x="475" y="570"/>
                    </a:lnTo>
                    <a:lnTo>
                      <a:pt x="472" y="567"/>
                    </a:lnTo>
                    <a:lnTo>
                      <a:pt x="470" y="562"/>
                    </a:lnTo>
                    <a:lnTo>
                      <a:pt x="462" y="565"/>
                    </a:lnTo>
                    <a:lnTo>
                      <a:pt x="458" y="565"/>
                    </a:lnTo>
                    <a:lnTo>
                      <a:pt x="452" y="570"/>
                    </a:lnTo>
                    <a:lnTo>
                      <a:pt x="445" y="570"/>
                    </a:lnTo>
                    <a:lnTo>
                      <a:pt x="440" y="574"/>
                    </a:lnTo>
                    <a:lnTo>
                      <a:pt x="440" y="579"/>
                    </a:lnTo>
                    <a:lnTo>
                      <a:pt x="440" y="580"/>
                    </a:lnTo>
                    <a:lnTo>
                      <a:pt x="437" y="587"/>
                    </a:lnTo>
                    <a:lnTo>
                      <a:pt x="430" y="590"/>
                    </a:lnTo>
                    <a:lnTo>
                      <a:pt x="429" y="597"/>
                    </a:lnTo>
                    <a:lnTo>
                      <a:pt x="415" y="607"/>
                    </a:lnTo>
                    <a:lnTo>
                      <a:pt x="410" y="612"/>
                    </a:lnTo>
                    <a:lnTo>
                      <a:pt x="412" y="615"/>
                    </a:lnTo>
                    <a:lnTo>
                      <a:pt x="417" y="622"/>
                    </a:lnTo>
                    <a:lnTo>
                      <a:pt x="419" y="617"/>
                    </a:lnTo>
                    <a:lnTo>
                      <a:pt x="422" y="617"/>
                    </a:lnTo>
                    <a:lnTo>
                      <a:pt x="425" y="615"/>
                    </a:lnTo>
                    <a:lnTo>
                      <a:pt x="430" y="615"/>
                    </a:lnTo>
                    <a:lnTo>
                      <a:pt x="430" y="618"/>
                    </a:lnTo>
                    <a:lnTo>
                      <a:pt x="420" y="623"/>
                    </a:lnTo>
                    <a:lnTo>
                      <a:pt x="417" y="623"/>
                    </a:lnTo>
                    <a:lnTo>
                      <a:pt x="415" y="628"/>
                    </a:lnTo>
                    <a:lnTo>
                      <a:pt x="410" y="625"/>
                    </a:lnTo>
                    <a:lnTo>
                      <a:pt x="407" y="627"/>
                    </a:lnTo>
                    <a:lnTo>
                      <a:pt x="404" y="627"/>
                    </a:lnTo>
                    <a:lnTo>
                      <a:pt x="404" y="632"/>
                    </a:lnTo>
                    <a:lnTo>
                      <a:pt x="400" y="630"/>
                    </a:lnTo>
                    <a:lnTo>
                      <a:pt x="395" y="632"/>
                    </a:lnTo>
                    <a:lnTo>
                      <a:pt x="397" y="637"/>
                    </a:lnTo>
                    <a:lnTo>
                      <a:pt x="404" y="643"/>
                    </a:lnTo>
                    <a:lnTo>
                      <a:pt x="405" y="642"/>
                    </a:lnTo>
                    <a:lnTo>
                      <a:pt x="407" y="638"/>
                    </a:lnTo>
                    <a:lnTo>
                      <a:pt x="410" y="642"/>
                    </a:lnTo>
                    <a:lnTo>
                      <a:pt x="412" y="637"/>
                    </a:lnTo>
                    <a:lnTo>
                      <a:pt x="415" y="637"/>
                    </a:lnTo>
                    <a:lnTo>
                      <a:pt x="415" y="640"/>
                    </a:lnTo>
                    <a:lnTo>
                      <a:pt x="419" y="638"/>
                    </a:lnTo>
                    <a:lnTo>
                      <a:pt x="419" y="637"/>
                    </a:lnTo>
                    <a:lnTo>
                      <a:pt x="422" y="635"/>
                    </a:lnTo>
                    <a:lnTo>
                      <a:pt x="427" y="632"/>
                    </a:lnTo>
                    <a:lnTo>
                      <a:pt x="427" y="627"/>
                    </a:lnTo>
                    <a:lnTo>
                      <a:pt x="430" y="623"/>
                    </a:lnTo>
                    <a:lnTo>
                      <a:pt x="432" y="627"/>
                    </a:lnTo>
                    <a:lnTo>
                      <a:pt x="430" y="628"/>
                    </a:lnTo>
                    <a:lnTo>
                      <a:pt x="432" y="632"/>
                    </a:lnTo>
                    <a:lnTo>
                      <a:pt x="437" y="630"/>
                    </a:lnTo>
                    <a:lnTo>
                      <a:pt x="445" y="625"/>
                    </a:lnTo>
                    <a:lnTo>
                      <a:pt x="450" y="625"/>
                    </a:lnTo>
                    <a:lnTo>
                      <a:pt x="452" y="628"/>
                    </a:lnTo>
                    <a:lnTo>
                      <a:pt x="453" y="625"/>
                    </a:lnTo>
                    <a:lnTo>
                      <a:pt x="457" y="618"/>
                    </a:lnTo>
                    <a:lnTo>
                      <a:pt x="462" y="615"/>
                    </a:lnTo>
                    <a:lnTo>
                      <a:pt x="463" y="615"/>
                    </a:lnTo>
                    <a:lnTo>
                      <a:pt x="458" y="620"/>
                    </a:lnTo>
                    <a:lnTo>
                      <a:pt x="458" y="625"/>
                    </a:lnTo>
                    <a:lnTo>
                      <a:pt x="462" y="622"/>
                    </a:lnTo>
                    <a:lnTo>
                      <a:pt x="467" y="617"/>
                    </a:lnTo>
                    <a:lnTo>
                      <a:pt x="470" y="608"/>
                    </a:lnTo>
                    <a:lnTo>
                      <a:pt x="473" y="607"/>
                    </a:lnTo>
                    <a:lnTo>
                      <a:pt x="473" y="610"/>
                    </a:lnTo>
                    <a:lnTo>
                      <a:pt x="470" y="615"/>
                    </a:lnTo>
                    <a:lnTo>
                      <a:pt x="470" y="617"/>
                    </a:lnTo>
                    <a:lnTo>
                      <a:pt x="475" y="612"/>
                    </a:lnTo>
                    <a:lnTo>
                      <a:pt x="477" y="615"/>
                    </a:lnTo>
                    <a:lnTo>
                      <a:pt x="477" y="617"/>
                    </a:lnTo>
                    <a:lnTo>
                      <a:pt x="482" y="618"/>
                    </a:lnTo>
                    <a:lnTo>
                      <a:pt x="485" y="620"/>
                    </a:lnTo>
                    <a:lnTo>
                      <a:pt x="488" y="617"/>
                    </a:lnTo>
                    <a:lnTo>
                      <a:pt x="490" y="612"/>
                    </a:lnTo>
                    <a:lnTo>
                      <a:pt x="497" y="612"/>
                    </a:lnTo>
                    <a:lnTo>
                      <a:pt x="502" y="608"/>
                    </a:lnTo>
                    <a:lnTo>
                      <a:pt x="498" y="607"/>
                    </a:lnTo>
                    <a:lnTo>
                      <a:pt x="500" y="603"/>
                    </a:lnTo>
                    <a:lnTo>
                      <a:pt x="508" y="600"/>
                    </a:lnTo>
                    <a:lnTo>
                      <a:pt x="510" y="597"/>
                    </a:lnTo>
                    <a:lnTo>
                      <a:pt x="510" y="593"/>
                    </a:lnTo>
                    <a:lnTo>
                      <a:pt x="507" y="593"/>
                    </a:lnTo>
                    <a:lnTo>
                      <a:pt x="503" y="592"/>
                    </a:lnTo>
                    <a:lnTo>
                      <a:pt x="497" y="590"/>
                    </a:lnTo>
                    <a:lnTo>
                      <a:pt x="500" y="588"/>
                    </a:lnTo>
                    <a:lnTo>
                      <a:pt x="503" y="588"/>
                    </a:lnTo>
                    <a:lnTo>
                      <a:pt x="507" y="588"/>
                    </a:lnTo>
                    <a:lnTo>
                      <a:pt x="510" y="587"/>
                    </a:lnTo>
                    <a:lnTo>
                      <a:pt x="510" y="583"/>
                    </a:lnTo>
                    <a:lnTo>
                      <a:pt x="505" y="585"/>
                    </a:lnTo>
                    <a:lnTo>
                      <a:pt x="500" y="582"/>
                    </a:lnTo>
                    <a:lnTo>
                      <a:pt x="500" y="577"/>
                    </a:lnTo>
                    <a:lnTo>
                      <a:pt x="507" y="577"/>
                    </a:lnTo>
                    <a:lnTo>
                      <a:pt x="508" y="575"/>
                    </a:lnTo>
                    <a:lnTo>
                      <a:pt x="512" y="577"/>
                    </a:lnTo>
                    <a:lnTo>
                      <a:pt x="512" y="575"/>
                    </a:lnTo>
                    <a:lnTo>
                      <a:pt x="510" y="570"/>
                    </a:lnTo>
                    <a:lnTo>
                      <a:pt x="518" y="567"/>
                    </a:lnTo>
                    <a:lnTo>
                      <a:pt x="523" y="570"/>
                    </a:lnTo>
                    <a:lnTo>
                      <a:pt x="527" y="569"/>
                    </a:lnTo>
                    <a:lnTo>
                      <a:pt x="532" y="569"/>
                    </a:lnTo>
                    <a:lnTo>
                      <a:pt x="523" y="575"/>
                    </a:lnTo>
                    <a:lnTo>
                      <a:pt x="523" y="579"/>
                    </a:lnTo>
                    <a:lnTo>
                      <a:pt x="525" y="585"/>
                    </a:lnTo>
                    <a:lnTo>
                      <a:pt x="527" y="585"/>
                    </a:lnTo>
                    <a:lnTo>
                      <a:pt x="530" y="577"/>
                    </a:lnTo>
                    <a:lnTo>
                      <a:pt x="533" y="575"/>
                    </a:lnTo>
                    <a:lnTo>
                      <a:pt x="537" y="575"/>
                    </a:lnTo>
                    <a:lnTo>
                      <a:pt x="535" y="577"/>
                    </a:lnTo>
                    <a:lnTo>
                      <a:pt x="532" y="580"/>
                    </a:lnTo>
                    <a:lnTo>
                      <a:pt x="533" y="583"/>
                    </a:lnTo>
                    <a:lnTo>
                      <a:pt x="538" y="580"/>
                    </a:lnTo>
                    <a:lnTo>
                      <a:pt x="540" y="577"/>
                    </a:lnTo>
                    <a:lnTo>
                      <a:pt x="543" y="580"/>
                    </a:lnTo>
                    <a:lnTo>
                      <a:pt x="548" y="577"/>
                    </a:lnTo>
                    <a:lnTo>
                      <a:pt x="550" y="577"/>
                    </a:lnTo>
                    <a:lnTo>
                      <a:pt x="555" y="574"/>
                    </a:lnTo>
                    <a:lnTo>
                      <a:pt x="560" y="572"/>
                    </a:lnTo>
                    <a:lnTo>
                      <a:pt x="565" y="574"/>
                    </a:lnTo>
                    <a:lnTo>
                      <a:pt x="563" y="575"/>
                    </a:lnTo>
                    <a:lnTo>
                      <a:pt x="558" y="575"/>
                    </a:lnTo>
                    <a:lnTo>
                      <a:pt x="553" y="580"/>
                    </a:lnTo>
                    <a:lnTo>
                      <a:pt x="550" y="580"/>
                    </a:lnTo>
                    <a:lnTo>
                      <a:pt x="548" y="583"/>
                    </a:lnTo>
                    <a:lnTo>
                      <a:pt x="550" y="585"/>
                    </a:lnTo>
                    <a:lnTo>
                      <a:pt x="558" y="587"/>
                    </a:lnTo>
                    <a:lnTo>
                      <a:pt x="561" y="590"/>
                    </a:lnTo>
                    <a:lnTo>
                      <a:pt x="561" y="592"/>
                    </a:lnTo>
                    <a:lnTo>
                      <a:pt x="556" y="588"/>
                    </a:lnTo>
                    <a:lnTo>
                      <a:pt x="550" y="587"/>
                    </a:lnTo>
                    <a:lnTo>
                      <a:pt x="545" y="588"/>
                    </a:lnTo>
                    <a:lnTo>
                      <a:pt x="545" y="593"/>
                    </a:lnTo>
                    <a:lnTo>
                      <a:pt x="548" y="593"/>
                    </a:lnTo>
                    <a:lnTo>
                      <a:pt x="551" y="592"/>
                    </a:lnTo>
                    <a:lnTo>
                      <a:pt x="556" y="595"/>
                    </a:lnTo>
                    <a:lnTo>
                      <a:pt x="553" y="595"/>
                    </a:lnTo>
                    <a:lnTo>
                      <a:pt x="548" y="595"/>
                    </a:lnTo>
                    <a:lnTo>
                      <a:pt x="550" y="598"/>
                    </a:lnTo>
                    <a:lnTo>
                      <a:pt x="556" y="600"/>
                    </a:lnTo>
                    <a:lnTo>
                      <a:pt x="558" y="603"/>
                    </a:lnTo>
                    <a:lnTo>
                      <a:pt x="555" y="605"/>
                    </a:lnTo>
                    <a:lnTo>
                      <a:pt x="551" y="605"/>
                    </a:lnTo>
                    <a:lnTo>
                      <a:pt x="551" y="608"/>
                    </a:lnTo>
                    <a:lnTo>
                      <a:pt x="556" y="608"/>
                    </a:lnTo>
                    <a:lnTo>
                      <a:pt x="561" y="607"/>
                    </a:lnTo>
                    <a:lnTo>
                      <a:pt x="565" y="610"/>
                    </a:lnTo>
                    <a:lnTo>
                      <a:pt x="570" y="612"/>
                    </a:lnTo>
                    <a:lnTo>
                      <a:pt x="576" y="608"/>
                    </a:lnTo>
                    <a:lnTo>
                      <a:pt x="578" y="612"/>
                    </a:lnTo>
                    <a:lnTo>
                      <a:pt x="578" y="613"/>
                    </a:lnTo>
                    <a:lnTo>
                      <a:pt x="575" y="615"/>
                    </a:lnTo>
                    <a:lnTo>
                      <a:pt x="576" y="618"/>
                    </a:lnTo>
                    <a:lnTo>
                      <a:pt x="578" y="618"/>
                    </a:lnTo>
                    <a:lnTo>
                      <a:pt x="578" y="622"/>
                    </a:lnTo>
                    <a:lnTo>
                      <a:pt x="583" y="622"/>
                    </a:lnTo>
                    <a:lnTo>
                      <a:pt x="586" y="618"/>
                    </a:lnTo>
                    <a:lnTo>
                      <a:pt x="585" y="617"/>
                    </a:lnTo>
                    <a:lnTo>
                      <a:pt x="585" y="615"/>
                    </a:lnTo>
                    <a:lnTo>
                      <a:pt x="591" y="615"/>
                    </a:lnTo>
                    <a:lnTo>
                      <a:pt x="588" y="618"/>
                    </a:lnTo>
                    <a:lnTo>
                      <a:pt x="588" y="622"/>
                    </a:lnTo>
                    <a:lnTo>
                      <a:pt x="581" y="627"/>
                    </a:lnTo>
                    <a:lnTo>
                      <a:pt x="586" y="630"/>
                    </a:lnTo>
                    <a:lnTo>
                      <a:pt x="585" y="632"/>
                    </a:lnTo>
                    <a:lnTo>
                      <a:pt x="581" y="632"/>
                    </a:lnTo>
                    <a:lnTo>
                      <a:pt x="580" y="632"/>
                    </a:lnTo>
                    <a:lnTo>
                      <a:pt x="581" y="635"/>
                    </a:lnTo>
                    <a:lnTo>
                      <a:pt x="593" y="637"/>
                    </a:lnTo>
                    <a:lnTo>
                      <a:pt x="596" y="635"/>
                    </a:lnTo>
                    <a:lnTo>
                      <a:pt x="600" y="637"/>
                    </a:lnTo>
                    <a:lnTo>
                      <a:pt x="605" y="635"/>
                    </a:lnTo>
                    <a:lnTo>
                      <a:pt x="610" y="637"/>
                    </a:lnTo>
                    <a:lnTo>
                      <a:pt x="616" y="635"/>
                    </a:lnTo>
                    <a:lnTo>
                      <a:pt x="618" y="637"/>
                    </a:lnTo>
                    <a:lnTo>
                      <a:pt x="618" y="638"/>
                    </a:lnTo>
                    <a:lnTo>
                      <a:pt x="621" y="640"/>
                    </a:lnTo>
                    <a:lnTo>
                      <a:pt x="625" y="643"/>
                    </a:lnTo>
                    <a:lnTo>
                      <a:pt x="628" y="645"/>
                    </a:lnTo>
                    <a:lnTo>
                      <a:pt x="628" y="648"/>
                    </a:lnTo>
                    <a:lnTo>
                      <a:pt x="633" y="648"/>
                    </a:lnTo>
                    <a:lnTo>
                      <a:pt x="640" y="645"/>
                    </a:lnTo>
                    <a:lnTo>
                      <a:pt x="641" y="643"/>
                    </a:lnTo>
                    <a:lnTo>
                      <a:pt x="643" y="645"/>
                    </a:lnTo>
                    <a:lnTo>
                      <a:pt x="643" y="648"/>
                    </a:lnTo>
                    <a:lnTo>
                      <a:pt x="640" y="650"/>
                    </a:lnTo>
                    <a:lnTo>
                      <a:pt x="635" y="652"/>
                    </a:lnTo>
                    <a:lnTo>
                      <a:pt x="636" y="653"/>
                    </a:lnTo>
                    <a:lnTo>
                      <a:pt x="643" y="655"/>
                    </a:lnTo>
                    <a:lnTo>
                      <a:pt x="645" y="658"/>
                    </a:lnTo>
                    <a:lnTo>
                      <a:pt x="648" y="662"/>
                    </a:lnTo>
                    <a:lnTo>
                      <a:pt x="654" y="663"/>
                    </a:lnTo>
                    <a:lnTo>
                      <a:pt x="663" y="662"/>
                    </a:lnTo>
                    <a:lnTo>
                      <a:pt x="668" y="660"/>
                    </a:lnTo>
                    <a:lnTo>
                      <a:pt x="668" y="663"/>
                    </a:lnTo>
                    <a:lnTo>
                      <a:pt x="671" y="660"/>
                    </a:lnTo>
                    <a:lnTo>
                      <a:pt x="678" y="655"/>
                    </a:lnTo>
                    <a:lnTo>
                      <a:pt x="679" y="655"/>
                    </a:lnTo>
                    <a:lnTo>
                      <a:pt x="678" y="658"/>
                    </a:lnTo>
                    <a:lnTo>
                      <a:pt x="673" y="662"/>
                    </a:lnTo>
                    <a:lnTo>
                      <a:pt x="673" y="668"/>
                    </a:lnTo>
                    <a:lnTo>
                      <a:pt x="669" y="673"/>
                    </a:lnTo>
                    <a:lnTo>
                      <a:pt x="668" y="673"/>
                    </a:lnTo>
                    <a:lnTo>
                      <a:pt x="663" y="672"/>
                    </a:lnTo>
                    <a:lnTo>
                      <a:pt x="661" y="672"/>
                    </a:lnTo>
                    <a:lnTo>
                      <a:pt x="663" y="677"/>
                    </a:lnTo>
                    <a:lnTo>
                      <a:pt x="664" y="681"/>
                    </a:lnTo>
                    <a:lnTo>
                      <a:pt x="668" y="683"/>
                    </a:lnTo>
                    <a:lnTo>
                      <a:pt x="671" y="681"/>
                    </a:lnTo>
                    <a:lnTo>
                      <a:pt x="674" y="683"/>
                    </a:lnTo>
                    <a:lnTo>
                      <a:pt x="673" y="686"/>
                    </a:lnTo>
                    <a:lnTo>
                      <a:pt x="671" y="686"/>
                    </a:lnTo>
                    <a:lnTo>
                      <a:pt x="671" y="688"/>
                    </a:lnTo>
                    <a:lnTo>
                      <a:pt x="678" y="695"/>
                    </a:lnTo>
                    <a:lnTo>
                      <a:pt x="679" y="693"/>
                    </a:lnTo>
                    <a:lnTo>
                      <a:pt x="684" y="693"/>
                    </a:lnTo>
                    <a:lnTo>
                      <a:pt x="688" y="690"/>
                    </a:lnTo>
                    <a:lnTo>
                      <a:pt x="693" y="680"/>
                    </a:lnTo>
                    <a:lnTo>
                      <a:pt x="691" y="686"/>
                    </a:lnTo>
                    <a:lnTo>
                      <a:pt x="691" y="691"/>
                    </a:lnTo>
                    <a:lnTo>
                      <a:pt x="689" y="695"/>
                    </a:lnTo>
                    <a:lnTo>
                      <a:pt x="686" y="696"/>
                    </a:lnTo>
                    <a:lnTo>
                      <a:pt x="683" y="700"/>
                    </a:lnTo>
                    <a:lnTo>
                      <a:pt x="684" y="703"/>
                    </a:lnTo>
                    <a:lnTo>
                      <a:pt x="688" y="705"/>
                    </a:lnTo>
                    <a:lnTo>
                      <a:pt x="686" y="706"/>
                    </a:lnTo>
                    <a:lnTo>
                      <a:pt x="686" y="716"/>
                    </a:lnTo>
                    <a:lnTo>
                      <a:pt x="688" y="720"/>
                    </a:lnTo>
                    <a:lnTo>
                      <a:pt x="691" y="720"/>
                    </a:lnTo>
                    <a:lnTo>
                      <a:pt x="689" y="723"/>
                    </a:lnTo>
                    <a:lnTo>
                      <a:pt x="691" y="726"/>
                    </a:lnTo>
                    <a:lnTo>
                      <a:pt x="699" y="735"/>
                    </a:lnTo>
                    <a:lnTo>
                      <a:pt x="701" y="735"/>
                    </a:lnTo>
                    <a:lnTo>
                      <a:pt x="703" y="738"/>
                    </a:lnTo>
                    <a:lnTo>
                      <a:pt x="704" y="736"/>
                    </a:lnTo>
                    <a:lnTo>
                      <a:pt x="708" y="740"/>
                    </a:lnTo>
                    <a:lnTo>
                      <a:pt x="711" y="738"/>
                    </a:lnTo>
                    <a:lnTo>
                      <a:pt x="709" y="736"/>
                    </a:lnTo>
                    <a:lnTo>
                      <a:pt x="711" y="735"/>
                    </a:lnTo>
                    <a:lnTo>
                      <a:pt x="713" y="736"/>
                    </a:lnTo>
                    <a:lnTo>
                      <a:pt x="714" y="736"/>
                    </a:lnTo>
                    <a:lnTo>
                      <a:pt x="718" y="733"/>
                    </a:lnTo>
                    <a:lnTo>
                      <a:pt x="714" y="726"/>
                    </a:lnTo>
                    <a:lnTo>
                      <a:pt x="711" y="728"/>
                    </a:lnTo>
                    <a:lnTo>
                      <a:pt x="709" y="728"/>
                    </a:lnTo>
                    <a:lnTo>
                      <a:pt x="708" y="726"/>
                    </a:lnTo>
                    <a:lnTo>
                      <a:pt x="711" y="723"/>
                    </a:lnTo>
                    <a:lnTo>
                      <a:pt x="711" y="720"/>
                    </a:lnTo>
                    <a:lnTo>
                      <a:pt x="709" y="716"/>
                    </a:lnTo>
                    <a:lnTo>
                      <a:pt x="706" y="716"/>
                    </a:lnTo>
                    <a:lnTo>
                      <a:pt x="706" y="713"/>
                    </a:lnTo>
                    <a:lnTo>
                      <a:pt x="708" y="711"/>
                    </a:lnTo>
                    <a:lnTo>
                      <a:pt x="709" y="706"/>
                    </a:lnTo>
                    <a:lnTo>
                      <a:pt x="711" y="706"/>
                    </a:lnTo>
                    <a:lnTo>
                      <a:pt x="711" y="711"/>
                    </a:lnTo>
                    <a:lnTo>
                      <a:pt x="713" y="715"/>
                    </a:lnTo>
                    <a:lnTo>
                      <a:pt x="716" y="710"/>
                    </a:lnTo>
                    <a:lnTo>
                      <a:pt x="718" y="713"/>
                    </a:lnTo>
                    <a:lnTo>
                      <a:pt x="719" y="715"/>
                    </a:lnTo>
                    <a:lnTo>
                      <a:pt x="718" y="720"/>
                    </a:lnTo>
                    <a:lnTo>
                      <a:pt x="719" y="723"/>
                    </a:lnTo>
                    <a:lnTo>
                      <a:pt x="721" y="723"/>
                    </a:lnTo>
                    <a:lnTo>
                      <a:pt x="726" y="720"/>
                    </a:lnTo>
                    <a:lnTo>
                      <a:pt x="728" y="720"/>
                    </a:lnTo>
                    <a:lnTo>
                      <a:pt x="726" y="723"/>
                    </a:lnTo>
                    <a:lnTo>
                      <a:pt x="723" y="726"/>
                    </a:lnTo>
                    <a:lnTo>
                      <a:pt x="723" y="730"/>
                    </a:lnTo>
                    <a:lnTo>
                      <a:pt x="724" y="733"/>
                    </a:lnTo>
                    <a:lnTo>
                      <a:pt x="723" y="738"/>
                    </a:lnTo>
                    <a:lnTo>
                      <a:pt x="724" y="740"/>
                    </a:lnTo>
                    <a:lnTo>
                      <a:pt x="729" y="741"/>
                    </a:lnTo>
                    <a:lnTo>
                      <a:pt x="729" y="740"/>
                    </a:lnTo>
                    <a:lnTo>
                      <a:pt x="733" y="736"/>
                    </a:lnTo>
                    <a:lnTo>
                      <a:pt x="733" y="740"/>
                    </a:lnTo>
                    <a:lnTo>
                      <a:pt x="731" y="741"/>
                    </a:lnTo>
                    <a:lnTo>
                      <a:pt x="733" y="746"/>
                    </a:lnTo>
                    <a:lnTo>
                      <a:pt x="736" y="748"/>
                    </a:lnTo>
                    <a:lnTo>
                      <a:pt x="739" y="741"/>
                    </a:lnTo>
                    <a:lnTo>
                      <a:pt x="741" y="735"/>
                    </a:lnTo>
                    <a:lnTo>
                      <a:pt x="743" y="733"/>
                    </a:lnTo>
                    <a:lnTo>
                      <a:pt x="743" y="721"/>
                    </a:lnTo>
                    <a:lnTo>
                      <a:pt x="746" y="713"/>
                    </a:lnTo>
                    <a:lnTo>
                      <a:pt x="746" y="703"/>
                    </a:lnTo>
                    <a:lnTo>
                      <a:pt x="746" y="696"/>
                    </a:lnTo>
                    <a:lnTo>
                      <a:pt x="744" y="693"/>
                    </a:lnTo>
                    <a:lnTo>
                      <a:pt x="744" y="693"/>
                    </a:lnTo>
                    <a:lnTo>
                      <a:pt x="746" y="693"/>
                    </a:lnTo>
                    <a:lnTo>
                      <a:pt x="747" y="700"/>
                    </a:lnTo>
                    <a:lnTo>
                      <a:pt x="751" y="700"/>
                    </a:lnTo>
                    <a:lnTo>
                      <a:pt x="752" y="695"/>
                    </a:lnTo>
                    <a:lnTo>
                      <a:pt x="757" y="691"/>
                    </a:lnTo>
                    <a:lnTo>
                      <a:pt x="754" y="698"/>
                    </a:lnTo>
                    <a:lnTo>
                      <a:pt x="752" y="705"/>
                    </a:lnTo>
                    <a:lnTo>
                      <a:pt x="754" y="711"/>
                    </a:lnTo>
                    <a:lnTo>
                      <a:pt x="749" y="720"/>
                    </a:lnTo>
                    <a:lnTo>
                      <a:pt x="749" y="725"/>
                    </a:lnTo>
                    <a:lnTo>
                      <a:pt x="751" y="726"/>
                    </a:lnTo>
                    <a:lnTo>
                      <a:pt x="747" y="730"/>
                    </a:lnTo>
                    <a:lnTo>
                      <a:pt x="747" y="736"/>
                    </a:lnTo>
                    <a:lnTo>
                      <a:pt x="747" y="740"/>
                    </a:lnTo>
                    <a:lnTo>
                      <a:pt x="749" y="745"/>
                    </a:lnTo>
                    <a:lnTo>
                      <a:pt x="752" y="748"/>
                    </a:lnTo>
                    <a:lnTo>
                      <a:pt x="754" y="753"/>
                    </a:lnTo>
                    <a:lnTo>
                      <a:pt x="756" y="753"/>
                    </a:lnTo>
                    <a:lnTo>
                      <a:pt x="756" y="758"/>
                    </a:lnTo>
                    <a:lnTo>
                      <a:pt x="761" y="760"/>
                    </a:lnTo>
                    <a:lnTo>
                      <a:pt x="762" y="758"/>
                    </a:lnTo>
                    <a:lnTo>
                      <a:pt x="766" y="760"/>
                    </a:lnTo>
                    <a:lnTo>
                      <a:pt x="769" y="758"/>
                    </a:lnTo>
                    <a:lnTo>
                      <a:pt x="776" y="758"/>
                    </a:lnTo>
                    <a:lnTo>
                      <a:pt x="776" y="760"/>
                    </a:lnTo>
                    <a:lnTo>
                      <a:pt x="769" y="763"/>
                    </a:lnTo>
                    <a:lnTo>
                      <a:pt x="766" y="765"/>
                    </a:lnTo>
                    <a:lnTo>
                      <a:pt x="766" y="766"/>
                    </a:lnTo>
                    <a:lnTo>
                      <a:pt x="769" y="768"/>
                    </a:lnTo>
                    <a:lnTo>
                      <a:pt x="767" y="770"/>
                    </a:lnTo>
                    <a:lnTo>
                      <a:pt x="764" y="770"/>
                    </a:lnTo>
                    <a:lnTo>
                      <a:pt x="764" y="773"/>
                    </a:lnTo>
                    <a:lnTo>
                      <a:pt x="767" y="778"/>
                    </a:lnTo>
                    <a:lnTo>
                      <a:pt x="767" y="781"/>
                    </a:lnTo>
                    <a:lnTo>
                      <a:pt x="766" y="783"/>
                    </a:lnTo>
                    <a:lnTo>
                      <a:pt x="762" y="780"/>
                    </a:lnTo>
                    <a:lnTo>
                      <a:pt x="761" y="776"/>
                    </a:lnTo>
                    <a:lnTo>
                      <a:pt x="759" y="778"/>
                    </a:lnTo>
                    <a:lnTo>
                      <a:pt x="761" y="781"/>
                    </a:lnTo>
                    <a:lnTo>
                      <a:pt x="757" y="784"/>
                    </a:lnTo>
                    <a:lnTo>
                      <a:pt x="757" y="789"/>
                    </a:lnTo>
                    <a:lnTo>
                      <a:pt x="759" y="791"/>
                    </a:lnTo>
                    <a:lnTo>
                      <a:pt x="757" y="793"/>
                    </a:lnTo>
                    <a:lnTo>
                      <a:pt x="754" y="793"/>
                    </a:lnTo>
                    <a:lnTo>
                      <a:pt x="752" y="796"/>
                    </a:lnTo>
                    <a:lnTo>
                      <a:pt x="752" y="798"/>
                    </a:lnTo>
                    <a:lnTo>
                      <a:pt x="756" y="798"/>
                    </a:lnTo>
                    <a:lnTo>
                      <a:pt x="757" y="798"/>
                    </a:lnTo>
                    <a:lnTo>
                      <a:pt x="759" y="801"/>
                    </a:lnTo>
                    <a:lnTo>
                      <a:pt x="762" y="804"/>
                    </a:lnTo>
                    <a:lnTo>
                      <a:pt x="766" y="804"/>
                    </a:lnTo>
                    <a:lnTo>
                      <a:pt x="767" y="806"/>
                    </a:lnTo>
                    <a:lnTo>
                      <a:pt x="767" y="808"/>
                    </a:lnTo>
                    <a:lnTo>
                      <a:pt x="764" y="808"/>
                    </a:lnTo>
                    <a:lnTo>
                      <a:pt x="762" y="808"/>
                    </a:lnTo>
                    <a:lnTo>
                      <a:pt x="764" y="811"/>
                    </a:lnTo>
                    <a:lnTo>
                      <a:pt x="767" y="813"/>
                    </a:lnTo>
                    <a:lnTo>
                      <a:pt x="769" y="816"/>
                    </a:lnTo>
                    <a:lnTo>
                      <a:pt x="772" y="819"/>
                    </a:lnTo>
                    <a:lnTo>
                      <a:pt x="774" y="819"/>
                    </a:lnTo>
                    <a:lnTo>
                      <a:pt x="772" y="821"/>
                    </a:lnTo>
                    <a:lnTo>
                      <a:pt x="769" y="821"/>
                    </a:lnTo>
                    <a:lnTo>
                      <a:pt x="766" y="824"/>
                    </a:lnTo>
                    <a:lnTo>
                      <a:pt x="767" y="829"/>
                    </a:lnTo>
                    <a:lnTo>
                      <a:pt x="771" y="836"/>
                    </a:lnTo>
                    <a:lnTo>
                      <a:pt x="774" y="838"/>
                    </a:lnTo>
                    <a:lnTo>
                      <a:pt x="779" y="838"/>
                    </a:lnTo>
                    <a:lnTo>
                      <a:pt x="782" y="839"/>
                    </a:lnTo>
                    <a:lnTo>
                      <a:pt x="777" y="841"/>
                    </a:lnTo>
                    <a:lnTo>
                      <a:pt x="772" y="841"/>
                    </a:lnTo>
                    <a:lnTo>
                      <a:pt x="769" y="841"/>
                    </a:lnTo>
                    <a:lnTo>
                      <a:pt x="766" y="846"/>
                    </a:lnTo>
                    <a:lnTo>
                      <a:pt x="759" y="854"/>
                    </a:lnTo>
                    <a:lnTo>
                      <a:pt x="752" y="858"/>
                    </a:lnTo>
                    <a:lnTo>
                      <a:pt x="752" y="863"/>
                    </a:lnTo>
                    <a:lnTo>
                      <a:pt x="756" y="866"/>
                    </a:lnTo>
                    <a:lnTo>
                      <a:pt x="761" y="863"/>
                    </a:lnTo>
                    <a:lnTo>
                      <a:pt x="764" y="856"/>
                    </a:lnTo>
                    <a:lnTo>
                      <a:pt x="764" y="854"/>
                    </a:lnTo>
                    <a:lnTo>
                      <a:pt x="767" y="853"/>
                    </a:lnTo>
                    <a:lnTo>
                      <a:pt x="772" y="848"/>
                    </a:lnTo>
                    <a:lnTo>
                      <a:pt x="774" y="849"/>
                    </a:lnTo>
                    <a:lnTo>
                      <a:pt x="777" y="849"/>
                    </a:lnTo>
                    <a:lnTo>
                      <a:pt x="784" y="849"/>
                    </a:lnTo>
                    <a:lnTo>
                      <a:pt x="781" y="853"/>
                    </a:lnTo>
                    <a:lnTo>
                      <a:pt x="781" y="854"/>
                    </a:lnTo>
                    <a:lnTo>
                      <a:pt x="786" y="854"/>
                    </a:lnTo>
                    <a:lnTo>
                      <a:pt x="786" y="856"/>
                    </a:lnTo>
                    <a:lnTo>
                      <a:pt x="781" y="861"/>
                    </a:lnTo>
                    <a:lnTo>
                      <a:pt x="781" y="864"/>
                    </a:lnTo>
                    <a:lnTo>
                      <a:pt x="782" y="868"/>
                    </a:lnTo>
                    <a:lnTo>
                      <a:pt x="779" y="873"/>
                    </a:lnTo>
                    <a:lnTo>
                      <a:pt x="777" y="876"/>
                    </a:lnTo>
                    <a:lnTo>
                      <a:pt x="779" y="878"/>
                    </a:lnTo>
                    <a:lnTo>
                      <a:pt x="779" y="879"/>
                    </a:lnTo>
                    <a:lnTo>
                      <a:pt x="776" y="879"/>
                    </a:lnTo>
                    <a:lnTo>
                      <a:pt x="772" y="879"/>
                    </a:lnTo>
                    <a:lnTo>
                      <a:pt x="769" y="882"/>
                    </a:lnTo>
                    <a:lnTo>
                      <a:pt x="769" y="884"/>
                    </a:lnTo>
                    <a:lnTo>
                      <a:pt x="772" y="886"/>
                    </a:lnTo>
                    <a:lnTo>
                      <a:pt x="774" y="884"/>
                    </a:lnTo>
                    <a:lnTo>
                      <a:pt x="779" y="884"/>
                    </a:lnTo>
                    <a:lnTo>
                      <a:pt x="779" y="886"/>
                    </a:lnTo>
                    <a:lnTo>
                      <a:pt x="776" y="889"/>
                    </a:lnTo>
                    <a:lnTo>
                      <a:pt x="772" y="887"/>
                    </a:lnTo>
                    <a:lnTo>
                      <a:pt x="771" y="887"/>
                    </a:lnTo>
                    <a:lnTo>
                      <a:pt x="767" y="891"/>
                    </a:lnTo>
                    <a:lnTo>
                      <a:pt x="766" y="896"/>
                    </a:lnTo>
                    <a:lnTo>
                      <a:pt x="769" y="899"/>
                    </a:lnTo>
                    <a:lnTo>
                      <a:pt x="772" y="897"/>
                    </a:lnTo>
                    <a:lnTo>
                      <a:pt x="772" y="896"/>
                    </a:lnTo>
                    <a:lnTo>
                      <a:pt x="776" y="896"/>
                    </a:lnTo>
                    <a:lnTo>
                      <a:pt x="781" y="894"/>
                    </a:lnTo>
                    <a:lnTo>
                      <a:pt x="786" y="887"/>
                    </a:lnTo>
                    <a:lnTo>
                      <a:pt x="791" y="881"/>
                    </a:lnTo>
                    <a:lnTo>
                      <a:pt x="792" y="873"/>
                    </a:lnTo>
                    <a:lnTo>
                      <a:pt x="799" y="861"/>
                    </a:lnTo>
                    <a:lnTo>
                      <a:pt x="801" y="861"/>
                    </a:lnTo>
                    <a:lnTo>
                      <a:pt x="801" y="861"/>
                    </a:lnTo>
                    <a:lnTo>
                      <a:pt x="801" y="861"/>
                    </a:lnTo>
                    <a:close/>
                    <a:moveTo>
                      <a:pt x="729" y="884"/>
                    </a:moveTo>
                    <a:lnTo>
                      <a:pt x="728" y="882"/>
                    </a:lnTo>
                    <a:lnTo>
                      <a:pt x="729" y="879"/>
                    </a:lnTo>
                    <a:lnTo>
                      <a:pt x="731" y="882"/>
                    </a:lnTo>
                    <a:lnTo>
                      <a:pt x="729" y="884"/>
                    </a:lnTo>
                    <a:lnTo>
                      <a:pt x="729" y="884"/>
                    </a:lnTo>
                    <a:close/>
                    <a:moveTo>
                      <a:pt x="756" y="892"/>
                    </a:moveTo>
                    <a:lnTo>
                      <a:pt x="759" y="889"/>
                    </a:lnTo>
                    <a:lnTo>
                      <a:pt x="762" y="891"/>
                    </a:lnTo>
                    <a:lnTo>
                      <a:pt x="759" y="894"/>
                    </a:lnTo>
                    <a:lnTo>
                      <a:pt x="756" y="892"/>
                    </a:lnTo>
                    <a:lnTo>
                      <a:pt x="756" y="892"/>
                    </a:lnTo>
                    <a:close/>
                    <a:moveTo>
                      <a:pt x="757" y="881"/>
                    </a:moveTo>
                    <a:lnTo>
                      <a:pt x="761" y="879"/>
                    </a:lnTo>
                    <a:lnTo>
                      <a:pt x="764" y="884"/>
                    </a:lnTo>
                    <a:lnTo>
                      <a:pt x="759" y="887"/>
                    </a:lnTo>
                    <a:lnTo>
                      <a:pt x="756" y="886"/>
                    </a:lnTo>
                    <a:lnTo>
                      <a:pt x="757" y="882"/>
                    </a:lnTo>
                    <a:lnTo>
                      <a:pt x="757" y="881"/>
                    </a:lnTo>
                    <a:lnTo>
                      <a:pt x="757" y="881"/>
                    </a:lnTo>
                    <a:close/>
                    <a:moveTo>
                      <a:pt x="756" y="871"/>
                    </a:moveTo>
                    <a:lnTo>
                      <a:pt x="759" y="876"/>
                    </a:lnTo>
                    <a:lnTo>
                      <a:pt x="756" y="879"/>
                    </a:lnTo>
                    <a:lnTo>
                      <a:pt x="756" y="874"/>
                    </a:lnTo>
                    <a:lnTo>
                      <a:pt x="754" y="873"/>
                    </a:lnTo>
                    <a:lnTo>
                      <a:pt x="756" y="871"/>
                    </a:lnTo>
                    <a:lnTo>
                      <a:pt x="756" y="871"/>
                    </a:lnTo>
                    <a:close/>
                    <a:moveTo>
                      <a:pt x="761" y="869"/>
                    </a:moveTo>
                    <a:lnTo>
                      <a:pt x="764" y="866"/>
                    </a:lnTo>
                    <a:lnTo>
                      <a:pt x="764" y="864"/>
                    </a:lnTo>
                    <a:lnTo>
                      <a:pt x="767" y="858"/>
                    </a:lnTo>
                    <a:lnTo>
                      <a:pt x="772" y="856"/>
                    </a:lnTo>
                    <a:lnTo>
                      <a:pt x="772" y="854"/>
                    </a:lnTo>
                    <a:lnTo>
                      <a:pt x="777" y="854"/>
                    </a:lnTo>
                    <a:lnTo>
                      <a:pt x="779" y="858"/>
                    </a:lnTo>
                    <a:lnTo>
                      <a:pt x="777" y="863"/>
                    </a:lnTo>
                    <a:lnTo>
                      <a:pt x="779" y="868"/>
                    </a:lnTo>
                    <a:lnTo>
                      <a:pt x="772" y="876"/>
                    </a:lnTo>
                    <a:lnTo>
                      <a:pt x="766" y="881"/>
                    </a:lnTo>
                    <a:lnTo>
                      <a:pt x="762" y="878"/>
                    </a:lnTo>
                    <a:lnTo>
                      <a:pt x="766" y="874"/>
                    </a:lnTo>
                    <a:lnTo>
                      <a:pt x="771" y="871"/>
                    </a:lnTo>
                    <a:lnTo>
                      <a:pt x="771" y="868"/>
                    </a:lnTo>
                    <a:lnTo>
                      <a:pt x="762" y="873"/>
                    </a:lnTo>
                    <a:lnTo>
                      <a:pt x="761" y="869"/>
                    </a:lnTo>
                    <a:lnTo>
                      <a:pt x="761" y="869"/>
                    </a:lnTo>
                    <a:close/>
                    <a:moveTo>
                      <a:pt x="718" y="884"/>
                    </a:moveTo>
                    <a:lnTo>
                      <a:pt x="719" y="882"/>
                    </a:lnTo>
                    <a:lnTo>
                      <a:pt x="723" y="884"/>
                    </a:lnTo>
                    <a:lnTo>
                      <a:pt x="723" y="887"/>
                    </a:lnTo>
                    <a:lnTo>
                      <a:pt x="726" y="892"/>
                    </a:lnTo>
                    <a:lnTo>
                      <a:pt x="723" y="897"/>
                    </a:lnTo>
                    <a:lnTo>
                      <a:pt x="721" y="896"/>
                    </a:lnTo>
                    <a:lnTo>
                      <a:pt x="721" y="892"/>
                    </a:lnTo>
                    <a:lnTo>
                      <a:pt x="716" y="886"/>
                    </a:lnTo>
                    <a:lnTo>
                      <a:pt x="718" y="884"/>
                    </a:lnTo>
                    <a:lnTo>
                      <a:pt x="718" y="884"/>
                    </a:lnTo>
                    <a:close/>
                    <a:moveTo>
                      <a:pt x="719" y="878"/>
                    </a:moveTo>
                    <a:lnTo>
                      <a:pt x="721" y="876"/>
                    </a:lnTo>
                    <a:lnTo>
                      <a:pt x="723" y="878"/>
                    </a:lnTo>
                    <a:lnTo>
                      <a:pt x="724" y="881"/>
                    </a:lnTo>
                    <a:lnTo>
                      <a:pt x="721" y="881"/>
                    </a:lnTo>
                    <a:lnTo>
                      <a:pt x="719" y="878"/>
                    </a:lnTo>
                    <a:lnTo>
                      <a:pt x="719" y="878"/>
                    </a:lnTo>
                    <a:close/>
                    <a:moveTo>
                      <a:pt x="716" y="873"/>
                    </a:moveTo>
                    <a:lnTo>
                      <a:pt x="719" y="869"/>
                    </a:lnTo>
                    <a:lnTo>
                      <a:pt x="719" y="874"/>
                    </a:lnTo>
                    <a:lnTo>
                      <a:pt x="716" y="873"/>
                    </a:lnTo>
                    <a:lnTo>
                      <a:pt x="716" y="873"/>
                    </a:lnTo>
                    <a:close/>
                    <a:moveTo>
                      <a:pt x="713" y="866"/>
                    </a:moveTo>
                    <a:lnTo>
                      <a:pt x="716" y="868"/>
                    </a:lnTo>
                    <a:lnTo>
                      <a:pt x="713" y="873"/>
                    </a:lnTo>
                    <a:lnTo>
                      <a:pt x="713" y="866"/>
                    </a:lnTo>
                    <a:lnTo>
                      <a:pt x="713" y="866"/>
                    </a:lnTo>
                    <a:close/>
                    <a:moveTo>
                      <a:pt x="711" y="846"/>
                    </a:moveTo>
                    <a:lnTo>
                      <a:pt x="709" y="843"/>
                    </a:lnTo>
                    <a:lnTo>
                      <a:pt x="713" y="844"/>
                    </a:lnTo>
                    <a:lnTo>
                      <a:pt x="711" y="846"/>
                    </a:lnTo>
                    <a:lnTo>
                      <a:pt x="711" y="846"/>
                    </a:lnTo>
                    <a:close/>
                    <a:moveTo>
                      <a:pt x="723" y="851"/>
                    </a:moveTo>
                    <a:lnTo>
                      <a:pt x="726" y="849"/>
                    </a:lnTo>
                    <a:lnTo>
                      <a:pt x="728" y="853"/>
                    </a:lnTo>
                    <a:lnTo>
                      <a:pt x="726" y="854"/>
                    </a:lnTo>
                    <a:lnTo>
                      <a:pt x="723" y="851"/>
                    </a:lnTo>
                    <a:lnTo>
                      <a:pt x="723" y="851"/>
                    </a:lnTo>
                    <a:close/>
                    <a:moveTo>
                      <a:pt x="724" y="844"/>
                    </a:moveTo>
                    <a:lnTo>
                      <a:pt x="728" y="839"/>
                    </a:lnTo>
                    <a:lnTo>
                      <a:pt x="733" y="838"/>
                    </a:lnTo>
                    <a:lnTo>
                      <a:pt x="736" y="841"/>
                    </a:lnTo>
                    <a:lnTo>
                      <a:pt x="733" y="843"/>
                    </a:lnTo>
                    <a:lnTo>
                      <a:pt x="729" y="843"/>
                    </a:lnTo>
                    <a:lnTo>
                      <a:pt x="726" y="846"/>
                    </a:lnTo>
                    <a:lnTo>
                      <a:pt x="724" y="844"/>
                    </a:lnTo>
                    <a:lnTo>
                      <a:pt x="724" y="844"/>
                    </a:lnTo>
                    <a:close/>
                    <a:moveTo>
                      <a:pt x="736" y="848"/>
                    </a:moveTo>
                    <a:lnTo>
                      <a:pt x="738" y="841"/>
                    </a:lnTo>
                    <a:lnTo>
                      <a:pt x="736" y="838"/>
                    </a:lnTo>
                    <a:lnTo>
                      <a:pt x="733" y="834"/>
                    </a:lnTo>
                    <a:lnTo>
                      <a:pt x="736" y="831"/>
                    </a:lnTo>
                    <a:lnTo>
                      <a:pt x="739" y="833"/>
                    </a:lnTo>
                    <a:lnTo>
                      <a:pt x="743" y="838"/>
                    </a:lnTo>
                    <a:lnTo>
                      <a:pt x="739" y="841"/>
                    </a:lnTo>
                    <a:lnTo>
                      <a:pt x="739" y="844"/>
                    </a:lnTo>
                    <a:lnTo>
                      <a:pt x="741" y="846"/>
                    </a:lnTo>
                    <a:lnTo>
                      <a:pt x="743" y="846"/>
                    </a:lnTo>
                    <a:lnTo>
                      <a:pt x="747" y="849"/>
                    </a:lnTo>
                    <a:lnTo>
                      <a:pt x="747" y="854"/>
                    </a:lnTo>
                    <a:lnTo>
                      <a:pt x="744" y="856"/>
                    </a:lnTo>
                    <a:lnTo>
                      <a:pt x="749" y="859"/>
                    </a:lnTo>
                    <a:lnTo>
                      <a:pt x="749" y="863"/>
                    </a:lnTo>
                    <a:lnTo>
                      <a:pt x="746" y="863"/>
                    </a:lnTo>
                    <a:lnTo>
                      <a:pt x="744" y="861"/>
                    </a:lnTo>
                    <a:lnTo>
                      <a:pt x="743" y="866"/>
                    </a:lnTo>
                    <a:lnTo>
                      <a:pt x="747" y="869"/>
                    </a:lnTo>
                    <a:lnTo>
                      <a:pt x="751" y="873"/>
                    </a:lnTo>
                    <a:lnTo>
                      <a:pt x="746" y="876"/>
                    </a:lnTo>
                    <a:lnTo>
                      <a:pt x="744" y="878"/>
                    </a:lnTo>
                    <a:lnTo>
                      <a:pt x="747" y="878"/>
                    </a:lnTo>
                    <a:lnTo>
                      <a:pt x="749" y="878"/>
                    </a:lnTo>
                    <a:lnTo>
                      <a:pt x="749" y="881"/>
                    </a:lnTo>
                    <a:lnTo>
                      <a:pt x="746" y="884"/>
                    </a:lnTo>
                    <a:lnTo>
                      <a:pt x="743" y="884"/>
                    </a:lnTo>
                    <a:lnTo>
                      <a:pt x="741" y="887"/>
                    </a:lnTo>
                    <a:lnTo>
                      <a:pt x="743" y="887"/>
                    </a:lnTo>
                    <a:lnTo>
                      <a:pt x="744" y="889"/>
                    </a:lnTo>
                    <a:lnTo>
                      <a:pt x="743" y="892"/>
                    </a:lnTo>
                    <a:lnTo>
                      <a:pt x="744" y="894"/>
                    </a:lnTo>
                    <a:lnTo>
                      <a:pt x="743" y="897"/>
                    </a:lnTo>
                    <a:lnTo>
                      <a:pt x="738" y="897"/>
                    </a:lnTo>
                    <a:lnTo>
                      <a:pt x="736" y="896"/>
                    </a:lnTo>
                    <a:lnTo>
                      <a:pt x="738" y="892"/>
                    </a:lnTo>
                    <a:lnTo>
                      <a:pt x="733" y="889"/>
                    </a:lnTo>
                    <a:lnTo>
                      <a:pt x="733" y="886"/>
                    </a:lnTo>
                    <a:lnTo>
                      <a:pt x="736" y="882"/>
                    </a:lnTo>
                    <a:lnTo>
                      <a:pt x="734" y="879"/>
                    </a:lnTo>
                    <a:lnTo>
                      <a:pt x="734" y="878"/>
                    </a:lnTo>
                    <a:lnTo>
                      <a:pt x="738" y="876"/>
                    </a:lnTo>
                    <a:lnTo>
                      <a:pt x="736" y="874"/>
                    </a:lnTo>
                    <a:lnTo>
                      <a:pt x="733" y="874"/>
                    </a:lnTo>
                    <a:lnTo>
                      <a:pt x="731" y="876"/>
                    </a:lnTo>
                    <a:lnTo>
                      <a:pt x="729" y="874"/>
                    </a:lnTo>
                    <a:lnTo>
                      <a:pt x="726" y="874"/>
                    </a:lnTo>
                    <a:lnTo>
                      <a:pt x="724" y="873"/>
                    </a:lnTo>
                    <a:lnTo>
                      <a:pt x="726" y="869"/>
                    </a:lnTo>
                    <a:lnTo>
                      <a:pt x="729" y="869"/>
                    </a:lnTo>
                    <a:lnTo>
                      <a:pt x="731" y="868"/>
                    </a:lnTo>
                    <a:lnTo>
                      <a:pt x="731" y="864"/>
                    </a:lnTo>
                    <a:lnTo>
                      <a:pt x="736" y="861"/>
                    </a:lnTo>
                    <a:lnTo>
                      <a:pt x="736" y="859"/>
                    </a:lnTo>
                    <a:lnTo>
                      <a:pt x="733" y="859"/>
                    </a:lnTo>
                    <a:lnTo>
                      <a:pt x="729" y="859"/>
                    </a:lnTo>
                    <a:lnTo>
                      <a:pt x="728" y="858"/>
                    </a:lnTo>
                    <a:lnTo>
                      <a:pt x="729" y="856"/>
                    </a:lnTo>
                    <a:lnTo>
                      <a:pt x="734" y="854"/>
                    </a:lnTo>
                    <a:lnTo>
                      <a:pt x="736" y="851"/>
                    </a:lnTo>
                    <a:lnTo>
                      <a:pt x="736" y="848"/>
                    </a:lnTo>
                    <a:lnTo>
                      <a:pt x="736" y="848"/>
                    </a:lnTo>
                    <a:close/>
                    <a:moveTo>
                      <a:pt x="764" y="844"/>
                    </a:moveTo>
                    <a:lnTo>
                      <a:pt x="761" y="841"/>
                    </a:lnTo>
                    <a:lnTo>
                      <a:pt x="764" y="838"/>
                    </a:lnTo>
                    <a:lnTo>
                      <a:pt x="766" y="834"/>
                    </a:lnTo>
                    <a:lnTo>
                      <a:pt x="767" y="836"/>
                    </a:lnTo>
                    <a:lnTo>
                      <a:pt x="767" y="841"/>
                    </a:lnTo>
                    <a:lnTo>
                      <a:pt x="764" y="844"/>
                    </a:lnTo>
                    <a:lnTo>
                      <a:pt x="764" y="844"/>
                    </a:lnTo>
                    <a:close/>
                    <a:moveTo>
                      <a:pt x="754" y="849"/>
                    </a:moveTo>
                    <a:lnTo>
                      <a:pt x="757" y="843"/>
                    </a:lnTo>
                    <a:lnTo>
                      <a:pt x="761" y="843"/>
                    </a:lnTo>
                    <a:lnTo>
                      <a:pt x="761" y="848"/>
                    </a:lnTo>
                    <a:lnTo>
                      <a:pt x="757" y="849"/>
                    </a:lnTo>
                    <a:lnTo>
                      <a:pt x="754" y="849"/>
                    </a:lnTo>
                    <a:lnTo>
                      <a:pt x="754" y="849"/>
                    </a:lnTo>
                    <a:close/>
                    <a:moveTo>
                      <a:pt x="751" y="844"/>
                    </a:moveTo>
                    <a:lnTo>
                      <a:pt x="752" y="841"/>
                    </a:lnTo>
                    <a:lnTo>
                      <a:pt x="759" y="836"/>
                    </a:lnTo>
                    <a:lnTo>
                      <a:pt x="759" y="839"/>
                    </a:lnTo>
                    <a:lnTo>
                      <a:pt x="757" y="841"/>
                    </a:lnTo>
                    <a:lnTo>
                      <a:pt x="754" y="844"/>
                    </a:lnTo>
                    <a:lnTo>
                      <a:pt x="751" y="844"/>
                    </a:lnTo>
                    <a:lnTo>
                      <a:pt x="751" y="844"/>
                    </a:lnTo>
                    <a:close/>
                    <a:moveTo>
                      <a:pt x="746" y="833"/>
                    </a:moveTo>
                    <a:lnTo>
                      <a:pt x="751" y="829"/>
                    </a:lnTo>
                    <a:lnTo>
                      <a:pt x="757" y="829"/>
                    </a:lnTo>
                    <a:lnTo>
                      <a:pt x="757" y="833"/>
                    </a:lnTo>
                    <a:lnTo>
                      <a:pt x="752" y="838"/>
                    </a:lnTo>
                    <a:lnTo>
                      <a:pt x="749" y="836"/>
                    </a:lnTo>
                    <a:lnTo>
                      <a:pt x="746" y="833"/>
                    </a:lnTo>
                    <a:lnTo>
                      <a:pt x="746" y="833"/>
                    </a:lnTo>
                    <a:close/>
                    <a:moveTo>
                      <a:pt x="752" y="823"/>
                    </a:moveTo>
                    <a:lnTo>
                      <a:pt x="757" y="816"/>
                    </a:lnTo>
                    <a:lnTo>
                      <a:pt x="761" y="814"/>
                    </a:lnTo>
                    <a:lnTo>
                      <a:pt x="764" y="821"/>
                    </a:lnTo>
                    <a:lnTo>
                      <a:pt x="761" y="826"/>
                    </a:lnTo>
                    <a:lnTo>
                      <a:pt x="754" y="828"/>
                    </a:lnTo>
                    <a:lnTo>
                      <a:pt x="752" y="824"/>
                    </a:lnTo>
                    <a:lnTo>
                      <a:pt x="752" y="823"/>
                    </a:lnTo>
                    <a:lnTo>
                      <a:pt x="752" y="823"/>
                    </a:lnTo>
                    <a:close/>
                    <a:moveTo>
                      <a:pt x="738" y="828"/>
                    </a:moveTo>
                    <a:lnTo>
                      <a:pt x="738" y="823"/>
                    </a:lnTo>
                    <a:lnTo>
                      <a:pt x="741" y="813"/>
                    </a:lnTo>
                    <a:lnTo>
                      <a:pt x="743" y="809"/>
                    </a:lnTo>
                    <a:lnTo>
                      <a:pt x="738" y="808"/>
                    </a:lnTo>
                    <a:lnTo>
                      <a:pt x="739" y="804"/>
                    </a:lnTo>
                    <a:lnTo>
                      <a:pt x="738" y="803"/>
                    </a:lnTo>
                    <a:lnTo>
                      <a:pt x="738" y="799"/>
                    </a:lnTo>
                    <a:lnTo>
                      <a:pt x="744" y="799"/>
                    </a:lnTo>
                    <a:lnTo>
                      <a:pt x="749" y="804"/>
                    </a:lnTo>
                    <a:lnTo>
                      <a:pt x="752" y="804"/>
                    </a:lnTo>
                    <a:lnTo>
                      <a:pt x="756" y="808"/>
                    </a:lnTo>
                    <a:lnTo>
                      <a:pt x="756" y="814"/>
                    </a:lnTo>
                    <a:lnTo>
                      <a:pt x="752" y="819"/>
                    </a:lnTo>
                    <a:lnTo>
                      <a:pt x="751" y="819"/>
                    </a:lnTo>
                    <a:lnTo>
                      <a:pt x="751" y="814"/>
                    </a:lnTo>
                    <a:lnTo>
                      <a:pt x="747" y="814"/>
                    </a:lnTo>
                    <a:lnTo>
                      <a:pt x="747" y="819"/>
                    </a:lnTo>
                    <a:lnTo>
                      <a:pt x="746" y="821"/>
                    </a:lnTo>
                    <a:lnTo>
                      <a:pt x="747" y="826"/>
                    </a:lnTo>
                    <a:lnTo>
                      <a:pt x="744" y="828"/>
                    </a:lnTo>
                    <a:lnTo>
                      <a:pt x="743" y="826"/>
                    </a:lnTo>
                    <a:lnTo>
                      <a:pt x="741" y="829"/>
                    </a:lnTo>
                    <a:lnTo>
                      <a:pt x="738" y="828"/>
                    </a:lnTo>
                    <a:lnTo>
                      <a:pt x="738" y="828"/>
                    </a:lnTo>
                    <a:close/>
                    <a:moveTo>
                      <a:pt x="724" y="823"/>
                    </a:moveTo>
                    <a:lnTo>
                      <a:pt x="721" y="819"/>
                    </a:lnTo>
                    <a:lnTo>
                      <a:pt x="724" y="814"/>
                    </a:lnTo>
                    <a:lnTo>
                      <a:pt x="723" y="813"/>
                    </a:lnTo>
                    <a:lnTo>
                      <a:pt x="723" y="809"/>
                    </a:lnTo>
                    <a:lnTo>
                      <a:pt x="724" y="806"/>
                    </a:lnTo>
                    <a:lnTo>
                      <a:pt x="729" y="808"/>
                    </a:lnTo>
                    <a:lnTo>
                      <a:pt x="729" y="803"/>
                    </a:lnTo>
                    <a:lnTo>
                      <a:pt x="731" y="803"/>
                    </a:lnTo>
                    <a:lnTo>
                      <a:pt x="734" y="808"/>
                    </a:lnTo>
                    <a:lnTo>
                      <a:pt x="733" y="811"/>
                    </a:lnTo>
                    <a:lnTo>
                      <a:pt x="734" y="814"/>
                    </a:lnTo>
                    <a:lnTo>
                      <a:pt x="736" y="813"/>
                    </a:lnTo>
                    <a:lnTo>
                      <a:pt x="738" y="814"/>
                    </a:lnTo>
                    <a:lnTo>
                      <a:pt x="734" y="823"/>
                    </a:lnTo>
                    <a:lnTo>
                      <a:pt x="728" y="829"/>
                    </a:lnTo>
                    <a:lnTo>
                      <a:pt x="728" y="833"/>
                    </a:lnTo>
                    <a:lnTo>
                      <a:pt x="724" y="836"/>
                    </a:lnTo>
                    <a:lnTo>
                      <a:pt x="719" y="838"/>
                    </a:lnTo>
                    <a:lnTo>
                      <a:pt x="721" y="834"/>
                    </a:lnTo>
                    <a:lnTo>
                      <a:pt x="719" y="831"/>
                    </a:lnTo>
                    <a:lnTo>
                      <a:pt x="718" y="839"/>
                    </a:lnTo>
                    <a:lnTo>
                      <a:pt x="716" y="838"/>
                    </a:lnTo>
                    <a:lnTo>
                      <a:pt x="716" y="834"/>
                    </a:lnTo>
                    <a:lnTo>
                      <a:pt x="718" y="831"/>
                    </a:lnTo>
                    <a:lnTo>
                      <a:pt x="718" y="828"/>
                    </a:lnTo>
                    <a:lnTo>
                      <a:pt x="719" y="824"/>
                    </a:lnTo>
                    <a:lnTo>
                      <a:pt x="723" y="828"/>
                    </a:lnTo>
                    <a:lnTo>
                      <a:pt x="724" y="824"/>
                    </a:lnTo>
                    <a:lnTo>
                      <a:pt x="724" y="823"/>
                    </a:lnTo>
                    <a:lnTo>
                      <a:pt x="724" y="823"/>
                    </a:lnTo>
                    <a:close/>
                    <a:moveTo>
                      <a:pt x="721" y="784"/>
                    </a:moveTo>
                    <a:lnTo>
                      <a:pt x="726" y="784"/>
                    </a:lnTo>
                    <a:lnTo>
                      <a:pt x="724" y="788"/>
                    </a:lnTo>
                    <a:lnTo>
                      <a:pt x="721" y="784"/>
                    </a:lnTo>
                    <a:lnTo>
                      <a:pt x="721" y="784"/>
                    </a:lnTo>
                    <a:close/>
                    <a:moveTo>
                      <a:pt x="709" y="784"/>
                    </a:moveTo>
                    <a:lnTo>
                      <a:pt x="714" y="783"/>
                    </a:lnTo>
                    <a:lnTo>
                      <a:pt x="716" y="781"/>
                    </a:lnTo>
                    <a:lnTo>
                      <a:pt x="719" y="783"/>
                    </a:lnTo>
                    <a:lnTo>
                      <a:pt x="721" y="788"/>
                    </a:lnTo>
                    <a:lnTo>
                      <a:pt x="721" y="796"/>
                    </a:lnTo>
                    <a:lnTo>
                      <a:pt x="721" y="803"/>
                    </a:lnTo>
                    <a:lnTo>
                      <a:pt x="718" y="804"/>
                    </a:lnTo>
                    <a:lnTo>
                      <a:pt x="716" y="813"/>
                    </a:lnTo>
                    <a:lnTo>
                      <a:pt x="714" y="814"/>
                    </a:lnTo>
                    <a:lnTo>
                      <a:pt x="713" y="821"/>
                    </a:lnTo>
                    <a:lnTo>
                      <a:pt x="711" y="826"/>
                    </a:lnTo>
                    <a:lnTo>
                      <a:pt x="709" y="829"/>
                    </a:lnTo>
                    <a:lnTo>
                      <a:pt x="708" y="831"/>
                    </a:lnTo>
                    <a:lnTo>
                      <a:pt x="708" y="828"/>
                    </a:lnTo>
                    <a:lnTo>
                      <a:pt x="708" y="824"/>
                    </a:lnTo>
                    <a:lnTo>
                      <a:pt x="706" y="823"/>
                    </a:lnTo>
                    <a:lnTo>
                      <a:pt x="704" y="816"/>
                    </a:lnTo>
                    <a:lnTo>
                      <a:pt x="706" y="813"/>
                    </a:lnTo>
                    <a:lnTo>
                      <a:pt x="709" y="813"/>
                    </a:lnTo>
                    <a:lnTo>
                      <a:pt x="713" y="811"/>
                    </a:lnTo>
                    <a:lnTo>
                      <a:pt x="711" y="809"/>
                    </a:lnTo>
                    <a:lnTo>
                      <a:pt x="709" y="811"/>
                    </a:lnTo>
                    <a:lnTo>
                      <a:pt x="706" y="811"/>
                    </a:lnTo>
                    <a:lnTo>
                      <a:pt x="706" y="808"/>
                    </a:lnTo>
                    <a:lnTo>
                      <a:pt x="708" y="806"/>
                    </a:lnTo>
                    <a:lnTo>
                      <a:pt x="709" y="804"/>
                    </a:lnTo>
                    <a:lnTo>
                      <a:pt x="704" y="803"/>
                    </a:lnTo>
                    <a:lnTo>
                      <a:pt x="704" y="801"/>
                    </a:lnTo>
                    <a:lnTo>
                      <a:pt x="709" y="801"/>
                    </a:lnTo>
                    <a:lnTo>
                      <a:pt x="711" y="798"/>
                    </a:lnTo>
                    <a:lnTo>
                      <a:pt x="711" y="793"/>
                    </a:lnTo>
                    <a:lnTo>
                      <a:pt x="714" y="791"/>
                    </a:lnTo>
                    <a:lnTo>
                      <a:pt x="711" y="788"/>
                    </a:lnTo>
                    <a:lnTo>
                      <a:pt x="709" y="784"/>
                    </a:lnTo>
                    <a:lnTo>
                      <a:pt x="709" y="784"/>
                    </a:lnTo>
                    <a:close/>
                    <a:moveTo>
                      <a:pt x="701" y="786"/>
                    </a:moveTo>
                    <a:lnTo>
                      <a:pt x="704" y="784"/>
                    </a:lnTo>
                    <a:lnTo>
                      <a:pt x="706" y="786"/>
                    </a:lnTo>
                    <a:lnTo>
                      <a:pt x="704" y="789"/>
                    </a:lnTo>
                    <a:lnTo>
                      <a:pt x="704" y="794"/>
                    </a:lnTo>
                    <a:lnTo>
                      <a:pt x="699" y="796"/>
                    </a:lnTo>
                    <a:lnTo>
                      <a:pt x="699" y="793"/>
                    </a:lnTo>
                    <a:lnTo>
                      <a:pt x="701" y="791"/>
                    </a:lnTo>
                    <a:lnTo>
                      <a:pt x="701" y="789"/>
                    </a:lnTo>
                    <a:lnTo>
                      <a:pt x="701" y="786"/>
                    </a:lnTo>
                    <a:lnTo>
                      <a:pt x="701" y="786"/>
                    </a:lnTo>
                    <a:close/>
                    <a:moveTo>
                      <a:pt x="724" y="796"/>
                    </a:moveTo>
                    <a:lnTo>
                      <a:pt x="728" y="791"/>
                    </a:lnTo>
                    <a:lnTo>
                      <a:pt x="728" y="786"/>
                    </a:lnTo>
                    <a:lnTo>
                      <a:pt x="731" y="784"/>
                    </a:lnTo>
                    <a:lnTo>
                      <a:pt x="736" y="784"/>
                    </a:lnTo>
                    <a:lnTo>
                      <a:pt x="734" y="781"/>
                    </a:lnTo>
                    <a:lnTo>
                      <a:pt x="736" y="780"/>
                    </a:lnTo>
                    <a:lnTo>
                      <a:pt x="733" y="776"/>
                    </a:lnTo>
                    <a:lnTo>
                      <a:pt x="733" y="770"/>
                    </a:lnTo>
                    <a:lnTo>
                      <a:pt x="738" y="765"/>
                    </a:lnTo>
                    <a:lnTo>
                      <a:pt x="739" y="750"/>
                    </a:lnTo>
                    <a:lnTo>
                      <a:pt x="743" y="745"/>
                    </a:lnTo>
                    <a:lnTo>
                      <a:pt x="744" y="746"/>
                    </a:lnTo>
                    <a:lnTo>
                      <a:pt x="744" y="751"/>
                    </a:lnTo>
                    <a:lnTo>
                      <a:pt x="751" y="755"/>
                    </a:lnTo>
                    <a:lnTo>
                      <a:pt x="752" y="758"/>
                    </a:lnTo>
                    <a:lnTo>
                      <a:pt x="754" y="775"/>
                    </a:lnTo>
                    <a:lnTo>
                      <a:pt x="751" y="780"/>
                    </a:lnTo>
                    <a:lnTo>
                      <a:pt x="749" y="780"/>
                    </a:lnTo>
                    <a:lnTo>
                      <a:pt x="751" y="770"/>
                    </a:lnTo>
                    <a:lnTo>
                      <a:pt x="749" y="760"/>
                    </a:lnTo>
                    <a:lnTo>
                      <a:pt x="747" y="765"/>
                    </a:lnTo>
                    <a:lnTo>
                      <a:pt x="747" y="780"/>
                    </a:lnTo>
                    <a:lnTo>
                      <a:pt x="746" y="781"/>
                    </a:lnTo>
                    <a:lnTo>
                      <a:pt x="744" y="786"/>
                    </a:lnTo>
                    <a:lnTo>
                      <a:pt x="743" y="788"/>
                    </a:lnTo>
                    <a:lnTo>
                      <a:pt x="739" y="786"/>
                    </a:lnTo>
                    <a:lnTo>
                      <a:pt x="738" y="793"/>
                    </a:lnTo>
                    <a:lnTo>
                      <a:pt x="731" y="796"/>
                    </a:lnTo>
                    <a:lnTo>
                      <a:pt x="726" y="799"/>
                    </a:lnTo>
                    <a:lnTo>
                      <a:pt x="724" y="796"/>
                    </a:lnTo>
                    <a:lnTo>
                      <a:pt x="724" y="796"/>
                    </a:lnTo>
                    <a:close/>
                    <a:moveTo>
                      <a:pt x="713" y="746"/>
                    </a:moveTo>
                    <a:lnTo>
                      <a:pt x="719" y="745"/>
                    </a:lnTo>
                    <a:lnTo>
                      <a:pt x="724" y="748"/>
                    </a:lnTo>
                    <a:lnTo>
                      <a:pt x="724" y="751"/>
                    </a:lnTo>
                    <a:lnTo>
                      <a:pt x="721" y="753"/>
                    </a:lnTo>
                    <a:lnTo>
                      <a:pt x="723" y="756"/>
                    </a:lnTo>
                    <a:lnTo>
                      <a:pt x="724" y="755"/>
                    </a:lnTo>
                    <a:lnTo>
                      <a:pt x="729" y="753"/>
                    </a:lnTo>
                    <a:lnTo>
                      <a:pt x="734" y="756"/>
                    </a:lnTo>
                    <a:lnTo>
                      <a:pt x="734" y="760"/>
                    </a:lnTo>
                    <a:lnTo>
                      <a:pt x="729" y="761"/>
                    </a:lnTo>
                    <a:lnTo>
                      <a:pt x="731" y="763"/>
                    </a:lnTo>
                    <a:lnTo>
                      <a:pt x="728" y="766"/>
                    </a:lnTo>
                    <a:lnTo>
                      <a:pt x="724" y="765"/>
                    </a:lnTo>
                    <a:lnTo>
                      <a:pt x="721" y="760"/>
                    </a:lnTo>
                    <a:lnTo>
                      <a:pt x="716" y="755"/>
                    </a:lnTo>
                    <a:lnTo>
                      <a:pt x="716" y="756"/>
                    </a:lnTo>
                    <a:lnTo>
                      <a:pt x="721" y="765"/>
                    </a:lnTo>
                    <a:lnTo>
                      <a:pt x="721" y="768"/>
                    </a:lnTo>
                    <a:lnTo>
                      <a:pt x="726" y="770"/>
                    </a:lnTo>
                    <a:lnTo>
                      <a:pt x="729" y="773"/>
                    </a:lnTo>
                    <a:lnTo>
                      <a:pt x="726" y="775"/>
                    </a:lnTo>
                    <a:lnTo>
                      <a:pt x="726" y="781"/>
                    </a:lnTo>
                    <a:lnTo>
                      <a:pt x="723" y="781"/>
                    </a:lnTo>
                    <a:lnTo>
                      <a:pt x="718" y="776"/>
                    </a:lnTo>
                    <a:lnTo>
                      <a:pt x="718" y="773"/>
                    </a:lnTo>
                    <a:lnTo>
                      <a:pt x="713" y="763"/>
                    </a:lnTo>
                    <a:lnTo>
                      <a:pt x="711" y="768"/>
                    </a:lnTo>
                    <a:lnTo>
                      <a:pt x="714" y="773"/>
                    </a:lnTo>
                    <a:lnTo>
                      <a:pt x="714" y="778"/>
                    </a:lnTo>
                    <a:lnTo>
                      <a:pt x="711" y="781"/>
                    </a:lnTo>
                    <a:lnTo>
                      <a:pt x="708" y="781"/>
                    </a:lnTo>
                    <a:lnTo>
                      <a:pt x="703" y="776"/>
                    </a:lnTo>
                    <a:lnTo>
                      <a:pt x="706" y="773"/>
                    </a:lnTo>
                    <a:lnTo>
                      <a:pt x="703" y="771"/>
                    </a:lnTo>
                    <a:lnTo>
                      <a:pt x="704" y="766"/>
                    </a:lnTo>
                    <a:lnTo>
                      <a:pt x="701" y="761"/>
                    </a:lnTo>
                    <a:lnTo>
                      <a:pt x="704" y="758"/>
                    </a:lnTo>
                    <a:lnTo>
                      <a:pt x="706" y="760"/>
                    </a:lnTo>
                    <a:lnTo>
                      <a:pt x="708" y="756"/>
                    </a:lnTo>
                    <a:lnTo>
                      <a:pt x="706" y="755"/>
                    </a:lnTo>
                    <a:lnTo>
                      <a:pt x="704" y="750"/>
                    </a:lnTo>
                    <a:lnTo>
                      <a:pt x="708" y="745"/>
                    </a:lnTo>
                    <a:lnTo>
                      <a:pt x="709" y="750"/>
                    </a:lnTo>
                    <a:lnTo>
                      <a:pt x="711" y="748"/>
                    </a:lnTo>
                    <a:lnTo>
                      <a:pt x="713" y="746"/>
                    </a:lnTo>
                    <a:lnTo>
                      <a:pt x="713" y="746"/>
                    </a:lnTo>
                    <a:close/>
                    <a:moveTo>
                      <a:pt x="713" y="741"/>
                    </a:moveTo>
                    <a:lnTo>
                      <a:pt x="718" y="738"/>
                    </a:lnTo>
                    <a:lnTo>
                      <a:pt x="719" y="741"/>
                    </a:lnTo>
                    <a:lnTo>
                      <a:pt x="716" y="743"/>
                    </a:lnTo>
                    <a:lnTo>
                      <a:pt x="713" y="741"/>
                    </a:lnTo>
                    <a:lnTo>
                      <a:pt x="713" y="741"/>
                    </a:lnTo>
                    <a:close/>
                    <a:moveTo>
                      <a:pt x="239" y="401"/>
                    </a:moveTo>
                    <a:lnTo>
                      <a:pt x="238" y="406"/>
                    </a:lnTo>
                    <a:lnTo>
                      <a:pt x="236" y="414"/>
                    </a:lnTo>
                    <a:lnTo>
                      <a:pt x="233" y="412"/>
                    </a:lnTo>
                    <a:lnTo>
                      <a:pt x="233" y="411"/>
                    </a:lnTo>
                    <a:lnTo>
                      <a:pt x="229" y="407"/>
                    </a:lnTo>
                    <a:lnTo>
                      <a:pt x="224" y="409"/>
                    </a:lnTo>
                    <a:lnTo>
                      <a:pt x="219" y="407"/>
                    </a:lnTo>
                    <a:lnTo>
                      <a:pt x="219" y="404"/>
                    </a:lnTo>
                    <a:lnTo>
                      <a:pt x="233" y="392"/>
                    </a:lnTo>
                    <a:lnTo>
                      <a:pt x="238" y="389"/>
                    </a:lnTo>
                    <a:lnTo>
                      <a:pt x="239" y="391"/>
                    </a:lnTo>
                    <a:lnTo>
                      <a:pt x="239" y="401"/>
                    </a:lnTo>
                    <a:lnTo>
                      <a:pt x="239" y="401"/>
                    </a:lnTo>
                    <a:close/>
                    <a:moveTo>
                      <a:pt x="244" y="401"/>
                    </a:moveTo>
                    <a:lnTo>
                      <a:pt x="244" y="401"/>
                    </a:lnTo>
                    <a:lnTo>
                      <a:pt x="246" y="397"/>
                    </a:lnTo>
                    <a:lnTo>
                      <a:pt x="246" y="396"/>
                    </a:lnTo>
                    <a:lnTo>
                      <a:pt x="244" y="392"/>
                    </a:lnTo>
                    <a:lnTo>
                      <a:pt x="244" y="389"/>
                    </a:lnTo>
                    <a:lnTo>
                      <a:pt x="241" y="386"/>
                    </a:lnTo>
                    <a:lnTo>
                      <a:pt x="244" y="384"/>
                    </a:lnTo>
                    <a:lnTo>
                      <a:pt x="252" y="383"/>
                    </a:lnTo>
                    <a:lnTo>
                      <a:pt x="261" y="387"/>
                    </a:lnTo>
                    <a:lnTo>
                      <a:pt x="262" y="391"/>
                    </a:lnTo>
                    <a:lnTo>
                      <a:pt x="257" y="392"/>
                    </a:lnTo>
                    <a:lnTo>
                      <a:pt x="248" y="401"/>
                    </a:lnTo>
                    <a:lnTo>
                      <a:pt x="244" y="401"/>
                    </a:lnTo>
                    <a:lnTo>
                      <a:pt x="244" y="401"/>
                    </a:lnTo>
                    <a:close/>
                    <a:moveTo>
                      <a:pt x="291" y="373"/>
                    </a:moveTo>
                    <a:lnTo>
                      <a:pt x="292" y="371"/>
                    </a:lnTo>
                    <a:lnTo>
                      <a:pt x="297" y="371"/>
                    </a:lnTo>
                    <a:lnTo>
                      <a:pt x="301" y="374"/>
                    </a:lnTo>
                    <a:lnTo>
                      <a:pt x="299" y="378"/>
                    </a:lnTo>
                    <a:lnTo>
                      <a:pt x="296" y="378"/>
                    </a:lnTo>
                    <a:lnTo>
                      <a:pt x="291" y="373"/>
                    </a:lnTo>
                    <a:lnTo>
                      <a:pt x="291" y="373"/>
                    </a:lnTo>
                    <a:close/>
                    <a:moveTo>
                      <a:pt x="537" y="583"/>
                    </a:moveTo>
                    <a:lnTo>
                      <a:pt x="540" y="582"/>
                    </a:lnTo>
                    <a:lnTo>
                      <a:pt x="543" y="582"/>
                    </a:lnTo>
                    <a:lnTo>
                      <a:pt x="542" y="585"/>
                    </a:lnTo>
                    <a:lnTo>
                      <a:pt x="537" y="583"/>
                    </a:lnTo>
                    <a:lnTo>
                      <a:pt x="537" y="583"/>
                    </a:lnTo>
                    <a:close/>
                    <a:moveTo>
                      <a:pt x="513" y="648"/>
                    </a:moveTo>
                    <a:lnTo>
                      <a:pt x="518" y="647"/>
                    </a:lnTo>
                    <a:lnTo>
                      <a:pt x="522" y="648"/>
                    </a:lnTo>
                    <a:lnTo>
                      <a:pt x="513" y="648"/>
                    </a:lnTo>
                    <a:lnTo>
                      <a:pt x="513" y="648"/>
                    </a:lnTo>
                    <a:close/>
                    <a:moveTo>
                      <a:pt x="566" y="637"/>
                    </a:moveTo>
                    <a:lnTo>
                      <a:pt x="573" y="635"/>
                    </a:lnTo>
                    <a:lnTo>
                      <a:pt x="576" y="635"/>
                    </a:lnTo>
                    <a:lnTo>
                      <a:pt x="571" y="640"/>
                    </a:lnTo>
                    <a:lnTo>
                      <a:pt x="566" y="642"/>
                    </a:lnTo>
                    <a:lnTo>
                      <a:pt x="566" y="637"/>
                    </a:lnTo>
                    <a:lnTo>
                      <a:pt x="566" y="637"/>
                    </a:lnTo>
                    <a:close/>
                    <a:moveTo>
                      <a:pt x="528" y="592"/>
                    </a:moveTo>
                    <a:lnTo>
                      <a:pt x="528" y="590"/>
                    </a:lnTo>
                    <a:lnTo>
                      <a:pt x="532" y="590"/>
                    </a:lnTo>
                    <a:lnTo>
                      <a:pt x="533" y="593"/>
                    </a:lnTo>
                    <a:lnTo>
                      <a:pt x="528" y="592"/>
                    </a:lnTo>
                    <a:lnTo>
                      <a:pt x="528" y="592"/>
                    </a:lnTo>
                    <a:close/>
                    <a:moveTo>
                      <a:pt x="535" y="610"/>
                    </a:moveTo>
                    <a:lnTo>
                      <a:pt x="535" y="603"/>
                    </a:lnTo>
                    <a:lnTo>
                      <a:pt x="538" y="602"/>
                    </a:lnTo>
                    <a:lnTo>
                      <a:pt x="540" y="602"/>
                    </a:lnTo>
                    <a:lnTo>
                      <a:pt x="542" y="607"/>
                    </a:lnTo>
                    <a:lnTo>
                      <a:pt x="543" y="607"/>
                    </a:lnTo>
                    <a:lnTo>
                      <a:pt x="545" y="608"/>
                    </a:lnTo>
                    <a:lnTo>
                      <a:pt x="542" y="612"/>
                    </a:lnTo>
                    <a:lnTo>
                      <a:pt x="535" y="610"/>
                    </a:lnTo>
                    <a:lnTo>
                      <a:pt x="535" y="610"/>
                    </a:lnTo>
                    <a:close/>
                    <a:moveTo>
                      <a:pt x="495" y="628"/>
                    </a:moveTo>
                    <a:lnTo>
                      <a:pt x="500" y="627"/>
                    </a:lnTo>
                    <a:lnTo>
                      <a:pt x="502" y="625"/>
                    </a:lnTo>
                    <a:lnTo>
                      <a:pt x="502" y="623"/>
                    </a:lnTo>
                    <a:lnTo>
                      <a:pt x="510" y="617"/>
                    </a:lnTo>
                    <a:lnTo>
                      <a:pt x="515" y="615"/>
                    </a:lnTo>
                    <a:lnTo>
                      <a:pt x="520" y="610"/>
                    </a:lnTo>
                    <a:lnTo>
                      <a:pt x="522" y="610"/>
                    </a:lnTo>
                    <a:lnTo>
                      <a:pt x="527" y="605"/>
                    </a:lnTo>
                    <a:lnTo>
                      <a:pt x="528" y="607"/>
                    </a:lnTo>
                    <a:lnTo>
                      <a:pt x="527" y="610"/>
                    </a:lnTo>
                    <a:lnTo>
                      <a:pt x="528" y="612"/>
                    </a:lnTo>
                    <a:lnTo>
                      <a:pt x="527" y="613"/>
                    </a:lnTo>
                    <a:lnTo>
                      <a:pt x="520" y="615"/>
                    </a:lnTo>
                    <a:lnTo>
                      <a:pt x="513" y="623"/>
                    </a:lnTo>
                    <a:lnTo>
                      <a:pt x="508" y="623"/>
                    </a:lnTo>
                    <a:lnTo>
                      <a:pt x="510" y="627"/>
                    </a:lnTo>
                    <a:lnTo>
                      <a:pt x="508" y="628"/>
                    </a:lnTo>
                    <a:lnTo>
                      <a:pt x="503" y="628"/>
                    </a:lnTo>
                    <a:lnTo>
                      <a:pt x="500" y="630"/>
                    </a:lnTo>
                    <a:lnTo>
                      <a:pt x="495" y="630"/>
                    </a:lnTo>
                    <a:lnTo>
                      <a:pt x="495" y="628"/>
                    </a:lnTo>
                    <a:lnTo>
                      <a:pt x="495" y="628"/>
                    </a:lnTo>
                    <a:close/>
                    <a:moveTo>
                      <a:pt x="495" y="620"/>
                    </a:moveTo>
                    <a:lnTo>
                      <a:pt x="502" y="615"/>
                    </a:lnTo>
                    <a:lnTo>
                      <a:pt x="502" y="618"/>
                    </a:lnTo>
                    <a:lnTo>
                      <a:pt x="497" y="620"/>
                    </a:lnTo>
                    <a:lnTo>
                      <a:pt x="497" y="620"/>
                    </a:lnTo>
                    <a:lnTo>
                      <a:pt x="495" y="620"/>
                    </a:lnTo>
                    <a:lnTo>
                      <a:pt x="495" y="620"/>
                    </a:lnTo>
                    <a:close/>
                    <a:moveTo>
                      <a:pt x="507" y="608"/>
                    </a:moveTo>
                    <a:lnTo>
                      <a:pt x="513" y="603"/>
                    </a:lnTo>
                    <a:lnTo>
                      <a:pt x="513" y="600"/>
                    </a:lnTo>
                    <a:lnTo>
                      <a:pt x="517" y="597"/>
                    </a:lnTo>
                    <a:lnTo>
                      <a:pt x="520" y="597"/>
                    </a:lnTo>
                    <a:lnTo>
                      <a:pt x="522" y="598"/>
                    </a:lnTo>
                    <a:lnTo>
                      <a:pt x="518" y="602"/>
                    </a:lnTo>
                    <a:lnTo>
                      <a:pt x="515" y="605"/>
                    </a:lnTo>
                    <a:lnTo>
                      <a:pt x="512" y="608"/>
                    </a:lnTo>
                    <a:lnTo>
                      <a:pt x="510" y="612"/>
                    </a:lnTo>
                    <a:lnTo>
                      <a:pt x="508" y="612"/>
                    </a:lnTo>
                    <a:lnTo>
                      <a:pt x="507" y="608"/>
                    </a:lnTo>
                    <a:lnTo>
                      <a:pt x="507" y="608"/>
                    </a:lnTo>
                    <a:close/>
                    <a:moveTo>
                      <a:pt x="513" y="580"/>
                    </a:moveTo>
                    <a:lnTo>
                      <a:pt x="517" y="577"/>
                    </a:lnTo>
                    <a:lnTo>
                      <a:pt x="520" y="579"/>
                    </a:lnTo>
                    <a:lnTo>
                      <a:pt x="518" y="582"/>
                    </a:lnTo>
                    <a:lnTo>
                      <a:pt x="520" y="583"/>
                    </a:lnTo>
                    <a:lnTo>
                      <a:pt x="518" y="585"/>
                    </a:lnTo>
                    <a:lnTo>
                      <a:pt x="513" y="580"/>
                    </a:lnTo>
                    <a:lnTo>
                      <a:pt x="513" y="580"/>
                    </a:lnTo>
                    <a:close/>
                    <a:moveTo>
                      <a:pt x="417" y="583"/>
                    </a:moveTo>
                    <a:lnTo>
                      <a:pt x="424" y="577"/>
                    </a:lnTo>
                    <a:lnTo>
                      <a:pt x="427" y="577"/>
                    </a:lnTo>
                    <a:lnTo>
                      <a:pt x="429" y="580"/>
                    </a:lnTo>
                    <a:lnTo>
                      <a:pt x="422" y="583"/>
                    </a:lnTo>
                    <a:lnTo>
                      <a:pt x="417" y="583"/>
                    </a:lnTo>
                    <a:lnTo>
                      <a:pt x="417" y="583"/>
                    </a:lnTo>
                    <a:close/>
                    <a:moveTo>
                      <a:pt x="367" y="615"/>
                    </a:moveTo>
                    <a:lnTo>
                      <a:pt x="370" y="613"/>
                    </a:lnTo>
                    <a:lnTo>
                      <a:pt x="374" y="615"/>
                    </a:lnTo>
                    <a:lnTo>
                      <a:pt x="370" y="617"/>
                    </a:lnTo>
                    <a:lnTo>
                      <a:pt x="367" y="615"/>
                    </a:lnTo>
                    <a:lnTo>
                      <a:pt x="367" y="615"/>
                    </a:lnTo>
                    <a:close/>
                    <a:moveTo>
                      <a:pt x="367" y="652"/>
                    </a:moveTo>
                    <a:lnTo>
                      <a:pt x="369" y="652"/>
                    </a:lnTo>
                    <a:lnTo>
                      <a:pt x="372" y="652"/>
                    </a:lnTo>
                    <a:lnTo>
                      <a:pt x="372" y="655"/>
                    </a:lnTo>
                    <a:lnTo>
                      <a:pt x="369" y="658"/>
                    </a:lnTo>
                    <a:lnTo>
                      <a:pt x="365" y="655"/>
                    </a:lnTo>
                    <a:lnTo>
                      <a:pt x="367" y="652"/>
                    </a:lnTo>
                    <a:lnTo>
                      <a:pt x="367" y="652"/>
                    </a:lnTo>
                    <a:close/>
                    <a:moveTo>
                      <a:pt x="347" y="673"/>
                    </a:moveTo>
                    <a:lnTo>
                      <a:pt x="346" y="672"/>
                    </a:lnTo>
                    <a:lnTo>
                      <a:pt x="349" y="670"/>
                    </a:lnTo>
                    <a:lnTo>
                      <a:pt x="350" y="670"/>
                    </a:lnTo>
                    <a:lnTo>
                      <a:pt x="354" y="668"/>
                    </a:lnTo>
                    <a:lnTo>
                      <a:pt x="355" y="670"/>
                    </a:lnTo>
                    <a:lnTo>
                      <a:pt x="359" y="667"/>
                    </a:lnTo>
                    <a:lnTo>
                      <a:pt x="357" y="663"/>
                    </a:lnTo>
                    <a:lnTo>
                      <a:pt x="359" y="662"/>
                    </a:lnTo>
                    <a:lnTo>
                      <a:pt x="364" y="660"/>
                    </a:lnTo>
                    <a:lnTo>
                      <a:pt x="365" y="662"/>
                    </a:lnTo>
                    <a:lnTo>
                      <a:pt x="365" y="665"/>
                    </a:lnTo>
                    <a:lnTo>
                      <a:pt x="367" y="665"/>
                    </a:lnTo>
                    <a:lnTo>
                      <a:pt x="369" y="663"/>
                    </a:lnTo>
                    <a:lnTo>
                      <a:pt x="372" y="662"/>
                    </a:lnTo>
                    <a:lnTo>
                      <a:pt x="374" y="665"/>
                    </a:lnTo>
                    <a:lnTo>
                      <a:pt x="370" y="668"/>
                    </a:lnTo>
                    <a:lnTo>
                      <a:pt x="369" y="672"/>
                    </a:lnTo>
                    <a:lnTo>
                      <a:pt x="372" y="672"/>
                    </a:lnTo>
                    <a:lnTo>
                      <a:pt x="374" y="675"/>
                    </a:lnTo>
                    <a:lnTo>
                      <a:pt x="370" y="675"/>
                    </a:lnTo>
                    <a:lnTo>
                      <a:pt x="367" y="673"/>
                    </a:lnTo>
                    <a:lnTo>
                      <a:pt x="364" y="677"/>
                    </a:lnTo>
                    <a:lnTo>
                      <a:pt x="362" y="677"/>
                    </a:lnTo>
                    <a:lnTo>
                      <a:pt x="360" y="675"/>
                    </a:lnTo>
                    <a:lnTo>
                      <a:pt x="355" y="678"/>
                    </a:lnTo>
                    <a:lnTo>
                      <a:pt x="352" y="678"/>
                    </a:lnTo>
                    <a:lnTo>
                      <a:pt x="347" y="673"/>
                    </a:lnTo>
                    <a:lnTo>
                      <a:pt x="347" y="673"/>
                    </a:lnTo>
                    <a:close/>
                    <a:moveTo>
                      <a:pt x="296" y="718"/>
                    </a:moveTo>
                    <a:lnTo>
                      <a:pt x="296" y="721"/>
                    </a:lnTo>
                    <a:lnTo>
                      <a:pt x="292" y="721"/>
                    </a:lnTo>
                    <a:lnTo>
                      <a:pt x="289" y="720"/>
                    </a:lnTo>
                    <a:lnTo>
                      <a:pt x="289" y="716"/>
                    </a:lnTo>
                    <a:lnTo>
                      <a:pt x="291" y="713"/>
                    </a:lnTo>
                    <a:lnTo>
                      <a:pt x="292" y="708"/>
                    </a:lnTo>
                    <a:lnTo>
                      <a:pt x="292" y="703"/>
                    </a:lnTo>
                    <a:lnTo>
                      <a:pt x="291" y="701"/>
                    </a:lnTo>
                    <a:lnTo>
                      <a:pt x="292" y="698"/>
                    </a:lnTo>
                    <a:lnTo>
                      <a:pt x="297" y="695"/>
                    </a:lnTo>
                    <a:lnTo>
                      <a:pt x="309" y="690"/>
                    </a:lnTo>
                    <a:lnTo>
                      <a:pt x="316" y="688"/>
                    </a:lnTo>
                    <a:lnTo>
                      <a:pt x="317" y="690"/>
                    </a:lnTo>
                    <a:lnTo>
                      <a:pt x="317" y="698"/>
                    </a:lnTo>
                    <a:lnTo>
                      <a:pt x="319" y="700"/>
                    </a:lnTo>
                    <a:lnTo>
                      <a:pt x="322" y="695"/>
                    </a:lnTo>
                    <a:lnTo>
                      <a:pt x="321" y="690"/>
                    </a:lnTo>
                    <a:lnTo>
                      <a:pt x="322" y="690"/>
                    </a:lnTo>
                    <a:lnTo>
                      <a:pt x="326" y="691"/>
                    </a:lnTo>
                    <a:lnTo>
                      <a:pt x="327" y="688"/>
                    </a:lnTo>
                    <a:lnTo>
                      <a:pt x="322" y="685"/>
                    </a:lnTo>
                    <a:lnTo>
                      <a:pt x="322" y="683"/>
                    </a:lnTo>
                    <a:lnTo>
                      <a:pt x="326" y="680"/>
                    </a:lnTo>
                    <a:lnTo>
                      <a:pt x="329" y="678"/>
                    </a:lnTo>
                    <a:lnTo>
                      <a:pt x="332" y="681"/>
                    </a:lnTo>
                    <a:lnTo>
                      <a:pt x="332" y="685"/>
                    </a:lnTo>
                    <a:lnTo>
                      <a:pt x="331" y="688"/>
                    </a:lnTo>
                    <a:lnTo>
                      <a:pt x="331" y="690"/>
                    </a:lnTo>
                    <a:lnTo>
                      <a:pt x="334" y="690"/>
                    </a:lnTo>
                    <a:lnTo>
                      <a:pt x="336" y="686"/>
                    </a:lnTo>
                    <a:lnTo>
                      <a:pt x="337" y="685"/>
                    </a:lnTo>
                    <a:lnTo>
                      <a:pt x="341" y="686"/>
                    </a:lnTo>
                    <a:lnTo>
                      <a:pt x="341" y="683"/>
                    </a:lnTo>
                    <a:lnTo>
                      <a:pt x="339" y="680"/>
                    </a:lnTo>
                    <a:lnTo>
                      <a:pt x="342" y="678"/>
                    </a:lnTo>
                    <a:lnTo>
                      <a:pt x="346" y="681"/>
                    </a:lnTo>
                    <a:lnTo>
                      <a:pt x="346" y="685"/>
                    </a:lnTo>
                    <a:lnTo>
                      <a:pt x="344" y="686"/>
                    </a:lnTo>
                    <a:lnTo>
                      <a:pt x="344" y="688"/>
                    </a:lnTo>
                    <a:lnTo>
                      <a:pt x="347" y="688"/>
                    </a:lnTo>
                    <a:lnTo>
                      <a:pt x="350" y="683"/>
                    </a:lnTo>
                    <a:lnTo>
                      <a:pt x="355" y="683"/>
                    </a:lnTo>
                    <a:lnTo>
                      <a:pt x="359" y="683"/>
                    </a:lnTo>
                    <a:lnTo>
                      <a:pt x="360" y="688"/>
                    </a:lnTo>
                    <a:lnTo>
                      <a:pt x="355" y="690"/>
                    </a:lnTo>
                    <a:lnTo>
                      <a:pt x="352" y="690"/>
                    </a:lnTo>
                    <a:lnTo>
                      <a:pt x="352" y="691"/>
                    </a:lnTo>
                    <a:lnTo>
                      <a:pt x="354" y="693"/>
                    </a:lnTo>
                    <a:lnTo>
                      <a:pt x="355" y="696"/>
                    </a:lnTo>
                    <a:lnTo>
                      <a:pt x="352" y="701"/>
                    </a:lnTo>
                    <a:lnTo>
                      <a:pt x="349" y="700"/>
                    </a:lnTo>
                    <a:lnTo>
                      <a:pt x="347" y="698"/>
                    </a:lnTo>
                    <a:lnTo>
                      <a:pt x="344" y="700"/>
                    </a:lnTo>
                    <a:lnTo>
                      <a:pt x="341" y="698"/>
                    </a:lnTo>
                    <a:lnTo>
                      <a:pt x="337" y="698"/>
                    </a:lnTo>
                    <a:lnTo>
                      <a:pt x="336" y="700"/>
                    </a:lnTo>
                    <a:lnTo>
                      <a:pt x="341" y="701"/>
                    </a:lnTo>
                    <a:lnTo>
                      <a:pt x="342" y="706"/>
                    </a:lnTo>
                    <a:lnTo>
                      <a:pt x="339" y="710"/>
                    </a:lnTo>
                    <a:lnTo>
                      <a:pt x="336" y="710"/>
                    </a:lnTo>
                    <a:lnTo>
                      <a:pt x="332" y="705"/>
                    </a:lnTo>
                    <a:lnTo>
                      <a:pt x="327" y="705"/>
                    </a:lnTo>
                    <a:lnTo>
                      <a:pt x="322" y="706"/>
                    </a:lnTo>
                    <a:lnTo>
                      <a:pt x="327" y="708"/>
                    </a:lnTo>
                    <a:lnTo>
                      <a:pt x="329" y="710"/>
                    </a:lnTo>
                    <a:lnTo>
                      <a:pt x="327" y="713"/>
                    </a:lnTo>
                    <a:lnTo>
                      <a:pt x="322" y="711"/>
                    </a:lnTo>
                    <a:lnTo>
                      <a:pt x="319" y="713"/>
                    </a:lnTo>
                    <a:lnTo>
                      <a:pt x="316" y="711"/>
                    </a:lnTo>
                    <a:lnTo>
                      <a:pt x="314" y="716"/>
                    </a:lnTo>
                    <a:lnTo>
                      <a:pt x="311" y="716"/>
                    </a:lnTo>
                    <a:lnTo>
                      <a:pt x="309" y="718"/>
                    </a:lnTo>
                    <a:lnTo>
                      <a:pt x="311" y="721"/>
                    </a:lnTo>
                    <a:lnTo>
                      <a:pt x="304" y="723"/>
                    </a:lnTo>
                    <a:lnTo>
                      <a:pt x="304" y="726"/>
                    </a:lnTo>
                    <a:lnTo>
                      <a:pt x="301" y="728"/>
                    </a:lnTo>
                    <a:lnTo>
                      <a:pt x="299" y="731"/>
                    </a:lnTo>
                    <a:lnTo>
                      <a:pt x="294" y="730"/>
                    </a:lnTo>
                    <a:lnTo>
                      <a:pt x="296" y="728"/>
                    </a:lnTo>
                    <a:lnTo>
                      <a:pt x="304" y="721"/>
                    </a:lnTo>
                    <a:lnTo>
                      <a:pt x="304" y="720"/>
                    </a:lnTo>
                    <a:lnTo>
                      <a:pt x="307" y="716"/>
                    </a:lnTo>
                    <a:lnTo>
                      <a:pt x="304" y="716"/>
                    </a:lnTo>
                    <a:lnTo>
                      <a:pt x="301" y="718"/>
                    </a:lnTo>
                    <a:lnTo>
                      <a:pt x="299" y="716"/>
                    </a:lnTo>
                    <a:lnTo>
                      <a:pt x="301" y="715"/>
                    </a:lnTo>
                    <a:lnTo>
                      <a:pt x="296" y="715"/>
                    </a:lnTo>
                    <a:lnTo>
                      <a:pt x="292" y="716"/>
                    </a:lnTo>
                    <a:lnTo>
                      <a:pt x="296" y="716"/>
                    </a:lnTo>
                    <a:lnTo>
                      <a:pt x="296" y="718"/>
                    </a:lnTo>
                    <a:lnTo>
                      <a:pt x="296" y="718"/>
                    </a:lnTo>
                    <a:close/>
                    <a:moveTo>
                      <a:pt x="287" y="736"/>
                    </a:moveTo>
                    <a:lnTo>
                      <a:pt x="291" y="735"/>
                    </a:lnTo>
                    <a:lnTo>
                      <a:pt x="289" y="738"/>
                    </a:lnTo>
                    <a:lnTo>
                      <a:pt x="287" y="736"/>
                    </a:lnTo>
                    <a:lnTo>
                      <a:pt x="287" y="736"/>
                    </a:lnTo>
                    <a:close/>
                    <a:moveTo>
                      <a:pt x="272" y="741"/>
                    </a:moveTo>
                    <a:lnTo>
                      <a:pt x="277" y="735"/>
                    </a:lnTo>
                    <a:lnTo>
                      <a:pt x="287" y="731"/>
                    </a:lnTo>
                    <a:lnTo>
                      <a:pt x="277" y="740"/>
                    </a:lnTo>
                    <a:lnTo>
                      <a:pt x="272" y="741"/>
                    </a:lnTo>
                    <a:lnTo>
                      <a:pt x="272" y="741"/>
                    </a:lnTo>
                    <a:close/>
                    <a:moveTo>
                      <a:pt x="241" y="765"/>
                    </a:moveTo>
                    <a:lnTo>
                      <a:pt x="238" y="765"/>
                    </a:lnTo>
                    <a:lnTo>
                      <a:pt x="239" y="763"/>
                    </a:lnTo>
                    <a:lnTo>
                      <a:pt x="244" y="761"/>
                    </a:lnTo>
                    <a:lnTo>
                      <a:pt x="243" y="765"/>
                    </a:lnTo>
                    <a:lnTo>
                      <a:pt x="241" y="765"/>
                    </a:lnTo>
                    <a:lnTo>
                      <a:pt x="241" y="765"/>
                    </a:lnTo>
                    <a:close/>
                    <a:moveTo>
                      <a:pt x="223" y="726"/>
                    </a:moveTo>
                    <a:lnTo>
                      <a:pt x="228" y="726"/>
                    </a:lnTo>
                    <a:lnTo>
                      <a:pt x="229" y="728"/>
                    </a:lnTo>
                    <a:lnTo>
                      <a:pt x="226" y="730"/>
                    </a:lnTo>
                    <a:lnTo>
                      <a:pt x="223" y="726"/>
                    </a:lnTo>
                    <a:lnTo>
                      <a:pt x="223" y="726"/>
                    </a:lnTo>
                    <a:close/>
                    <a:moveTo>
                      <a:pt x="128" y="765"/>
                    </a:moveTo>
                    <a:lnTo>
                      <a:pt x="128" y="765"/>
                    </a:lnTo>
                    <a:lnTo>
                      <a:pt x="130" y="763"/>
                    </a:lnTo>
                    <a:lnTo>
                      <a:pt x="131" y="766"/>
                    </a:lnTo>
                    <a:lnTo>
                      <a:pt x="128" y="765"/>
                    </a:lnTo>
                    <a:lnTo>
                      <a:pt x="128" y="765"/>
                    </a:lnTo>
                    <a:close/>
                    <a:moveTo>
                      <a:pt x="123" y="766"/>
                    </a:moveTo>
                    <a:lnTo>
                      <a:pt x="126" y="768"/>
                    </a:lnTo>
                    <a:lnTo>
                      <a:pt x="123" y="770"/>
                    </a:lnTo>
                    <a:lnTo>
                      <a:pt x="123" y="766"/>
                    </a:lnTo>
                    <a:lnTo>
                      <a:pt x="123" y="766"/>
                    </a:lnTo>
                    <a:close/>
                    <a:moveTo>
                      <a:pt x="145" y="783"/>
                    </a:moveTo>
                    <a:lnTo>
                      <a:pt x="145" y="786"/>
                    </a:lnTo>
                    <a:lnTo>
                      <a:pt x="143" y="788"/>
                    </a:lnTo>
                    <a:lnTo>
                      <a:pt x="141" y="784"/>
                    </a:lnTo>
                    <a:lnTo>
                      <a:pt x="145" y="783"/>
                    </a:lnTo>
                    <a:lnTo>
                      <a:pt x="145" y="783"/>
                    </a:lnTo>
                    <a:close/>
                    <a:moveTo>
                      <a:pt x="140" y="781"/>
                    </a:moveTo>
                    <a:lnTo>
                      <a:pt x="143" y="776"/>
                    </a:lnTo>
                    <a:lnTo>
                      <a:pt x="143" y="780"/>
                    </a:lnTo>
                    <a:lnTo>
                      <a:pt x="143" y="780"/>
                    </a:lnTo>
                    <a:lnTo>
                      <a:pt x="140" y="781"/>
                    </a:lnTo>
                    <a:lnTo>
                      <a:pt x="140" y="781"/>
                    </a:lnTo>
                    <a:close/>
                    <a:moveTo>
                      <a:pt x="120" y="786"/>
                    </a:moveTo>
                    <a:lnTo>
                      <a:pt x="123" y="781"/>
                    </a:lnTo>
                    <a:lnTo>
                      <a:pt x="128" y="776"/>
                    </a:lnTo>
                    <a:lnTo>
                      <a:pt x="128" y="775"/>
                    </a:lnTo>
                    <a:lnTo>
                      <a:pt x="135" y="775"/>
                    </a:lnTo>
                    <a:lnTo>
                      <a:pt x="131" y="778"/>
                    </a:lnTo>
                    <a:lnTo>
                      <a:pt x="130" y="780"/>
                    </a:lnTo>
                    <a:lnTo>
                      <a:pt x="123" y="783"/>
                    </a:lnTo>
                    <a:lnTo>
                      <a:pt x="120" y="786"/>
                    </a:lnTo>
                    <a:lnTo>
                      <a:pt x="120" y="786"/>
                    </a:lnTo>
                    <a:close/>
                    <a:moveTo>
                      <a:pt x="115" y="773"/>
                    </a:moveTo>
                    <a:lnTo>
                      <a:pt x="111" y="770"/>
                    </a:lnTo>
                    <a:lnTo>
                      <a:pt x="113" y="766"/>
                    </a:lnTo>
                    <a:lnTo>
                      <a:pt x="116" y="765"/>
                    </a:lnTo>
                    <a:lnTo>
                      <a:pt x="120" y="766"/>
                    </a:lnTo>
                    <a:lnTo>
                      <a:pt x="118" y="770"/>
                    </a:lnTo>
                    <a:lnTo>
                      <a:pt x="116" y="773"/>
                    </a:lnTo>
                    <a:lnTo>
                      <a:pt x="115" y="773"/>
                    </a:lnTo>
                    <a:lnTo>
                      <a:pt x="115" y="773"/>
                    </a:lnTo>
                    <a:close/>
                    <a:moveTo>
                      <a:pt x="90" y="770"/>
                    </a:moveTo>
                    <a:lnTo>
                      <a:pt x="93" y="770"/>
                    </a:lnTo>
                    <a:lnTo>
                      <a:pt x="95" y="773"/>
                    </a:lnTo>
                    <a:lnTo>
                      <a:pt x="91" y="775"/>
                    </a:lnTo>
                    <a:lnTo>
                      <a:pt x="90" y="770"/>
                    </a:lnTo>
                    <a:lnTo>
                      <a:pt x="90" y="770"/>
                    </a:lnTo>
                    <a:close/>
                    <a:moveTo>
                      <a:pt x="75" y="781"/>
                    </a:moveTo>
                    <a:lnTo>
                      <a:pt x="71" y="778"/>
                    </a:lnTo>
                    <a:lnTo>
                      <a:pt x="76" y="775"/>
                    </a:lnTo>
                    <a:lnTo>
                      <a:pt x="78" y="778"/>
                    </a:lnTo>
                    <a:lnTo>
                      <a:pt x="75" y="781"/>
                    </a:lnTo>
                    <a:lnTo>
                      <a:pt x="75" y="781"/>
                    </a:lnTo>
                    <a:close/>
                    <a:moveTo>
                      <a:pt x="56" y="791"/>
                    </a:moveTo>
                    <a:lnTo>
                      <a:pt x="61" y="796"/>
                    </a:lnTo>
                    <a:lnTo>
                      <a:pt x="58" y="798"/>
                    </a:lnTo>
                    <a:lnTo>
                      <a:pt x="55" y="794"/>
                    </a:lnTo>
                    <a:lnTo>
                      <a:pt x="56" y="791"/>
                    </a:lnTo>
                    <a:lnTo>
                      <a:pt x="56" y="791"/>
                    </a:lnTo>
                    <a:close/>
                    <a:moveTo>
                      <a:pt x="0" y="801"/>
                    </a:moveTo>
                    <a:lnTo>
                      <a:pt x="0" y="799"/>
                    </a:lnTo>
                    <a:lnTo>
                      <a:pt x="3" y="799"/>
                    </a:lnTo>
                    <a:lnTo>
                      <a:pt x="5" y="801"/>
                    </a:lnTo>
                    <a:lnTo>
                      <a:pt x="0" y="803"/>
                    </a:lnTo>
                    <a:lnTo>
                      <a:pt x="0" y="801"/>
                    </a:lnTo>
                    <a:lnTo>
                      <a:pt x="0" y="801"/>
                    </a:lnTo>
                    <a:close/>
                    <a:moveTo>
                      <a:pt x="204" y="617"/>
                    </a:moveTo>
                    <a:lnTo>
                      <a:pt x="203" y="615"/>
                    </a:lnTo>
                    <a:lnTo>
                      <a:pt x="208" y="613"/>
                    </a:lnTo>
                    <a:lnTo>
                      <a:pt x="206" y="615"/>
                    </a:lnTo>
                    <a:lnTo>
                      <a:pt x="204" y="617"/>
                    </a:lnTo>
                    <a:lnTo>
                      <a:pt x="204" y="617"/>
                    </a:lnTo>
                    <a:close/>
                    <a:moveTo>
                      <a:pt x="194" y="618"/>
                    </a:moveTo>
                    <a:lnTo>
                      <a:pt x="193" y="617"/>
                    </a:lnTo>
                    <a:lnTo>
                      <a:pt x="193" y="613"/>
                    </a:lnTo>
                    <a:lnTo>
                      <a:pt x="199" y="610"/>
                    </a:lnTo>
                    <a:lnTo>
                      <a:pt x="203" y="608"/>
                    </a:lnTo>
                    <a:lnTo>
                      <a:pt x="203" y="610"/>
                    </a:lnTo>
                    <a:lnTo>
                      <a:pt x="198" y="617"/>
                    </a:lnTo>
                    <a:lnTo>
                      <a:pt x="194" y="618"/>
                    </a:lnTo>
                    <a:lnTo>
                      <a:pt x="194" y="618"/>
                    </a:lnTo>
                    <a:close/>
                    <a:moveTo>
                      <a:pt x="10" y="784"/>
                    </a:moveTo>
                    <a:lnTo>
                      <a:pt x="10" y="780"/>
                    </a:lnTo>
                    <a:lnTo>
                      <a:pt x="13" y="778"/>
                    </a:lnTo>
                    <a:lnTo>
                      <a:pt x="15" y="780"/>
                    </a:lnTo>
                    <a:lnTo>
                      <a:pt x="20" y="776"/>
                    </a:lnTo>
                    <a:lnTo>
                      <a:pt x="22" y="775"/>
                    </a:lnTo>
                    <a:lnTo>
                      <a:pt x="25" y="768"/>
                    </a:lnTo>
                    <a:lnTo>
                      <a:pt x="27" y="768"/>
                    </a:lnTo>
                    <a:lnTo>
                      <a:pt x="32" y="771"/>
                    </a:lnTo>
                    <a:lnTo>
                      <a:pt x="33" y="770"/>
                    </a:lnTo>
                    <a:lnTo>
                      <a:pt x="38" y="770"/>
                    </a:lnTo>
                    <a:lnTo>
                      <a:pt x="42" y="768"/>
                    </a:lnTo>
                    <a:lnTo>
                      <a:pt x="43" y="766"/>
                    </a:lnTo>
                    <a:lnTo>
                      <a:pt x="50" y="768"/>
                    </a:lnTo>
                    <a:lnTo>
                      <a:pt x="53" y="771"/>
                    </a:lnTo>
                    <a:lnTo>
                      <a:pt x="50" y="775"/>
                    </a:lnTo>
                    <a:lnTo>
                      <a:pt x="56" y="781"/>
                    </a:lnTo>
                    <a:lnTo>
                      <a:pt x="56" y="783"/>
                    </a:lnTo>
                    <a:lnTo>
                      <a:pt x="50" y="781"/>
                    </a:lnTo>
                    <a:lnTo>
                      <a:pt x="47" y="784"/>
                    </a:lnTo>
                    <a:lnTo>
                      <a:pt x="40" y="784"/>
                    </a:lnTo>
                    <a:lnTo>
                      <a:pt x="35" y="784"/>
                    </a:lnTo>
                    <a:lnTo>
                      <a:pt x="27" y="784"/>
                    </a:lnTo>
                    <a:lnTo>
                      <a:pt x="20" y="789"/>
                    </a:lnTo>
                    <a:lnTo>
                      <a:pt x="18" y="788"/>
                    </a:lnTo>
                    <a:lnTo>
                      <a:pt x="15" y="789"/>
                    </a:lnTo>
                    <a:lnTo>
                      <a:pt x="10" y="788"/>
                    </a:lnTo>
                    <a:lnTo>
                      <a:pt x="10" y="78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8" name="Freeform 150">
                <a:extLst>
                  <a:ext uri="{FF2B5EF4-FFF2-40B4-BE49-F238E27FC236}">
                    <a16:creationId xmlns:a16="http://schemas.microsoft.com/office/drawing/2014/main" id="{FDD74796-B0EF-C24F-9140-FE9E75C0F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6873" y="3043520"/>
                <a:ext cx="3210" cy="20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5" y="4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9" name="Freeform 151">
                <a:extLst>
                  <a:ext uri="{FF2B5EF4-FFF2-40B4-BE49-F238E27FC236}">
                    <a16:creationId xmlns:a16="http://schemas.microsoft.com/office/drawing/2014/main" id="{ED6DED2A-8117-8C42-B135-81E4FCD09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5402" y="3053896"/>
                <a:ext cx="28896" cy="10376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4" y="2"/>
                  </a:cxn>
                  <a:cxn ang="0">
                    <a:pos x="22" y="0"/>
                  </a:cxn>
                  <a:cxn ang="0">
                    <a:pos x="40" y="0"/>
                  </a:cxn>
                  <a:cxn ang="0">
                    <a:pos x="45" y="7"/>
                  </a:cxn>
                  <a:cxn ang="0">
                    <a:pos x="52" y="9"/>
                  </a:cxn>
                  <a:cxn ang="0">
                    <a:pos x="55" y="12"/>
                  </a:cxn>
                  <a:cxn ang="0">
                    <a:pos x="55" y="14"/>
                  </a:cxn>
                  <a:cxn ang="0">
                    <a:pos x="47" y="14"/>
                  </a:cxn>
                  <a:cxn ang="0">
                    <a:pos x="44" y="14"/>
                  </a:cxn>
                  <a:cxn ang="0">
                    <a:pos x="42" y="17"/>
                  </a:cxn>
                  <a:cxn ang="0">
                    <a:pos x="39" y="17"/>
                  </a:cxn>
                  <a:cxn ang="0">
                    <a:pos x="37" y="15"/>
                  </a:cxn>
                  <a:cxn ang="0">
                    <a:pos x="34" y="15"/>
                  </a:cxn>
                  <a:cxn ang="0">
                    <a:pos x="34" y="20"/>
                  </a:cxn>
                  <a:cxn ang="0">
                    <a:pos x="27" y="20"/>
                  </a:cxn>
                  <a:cxn ang="0">
                    <a:pos x="24" y="17"/>
                  </a:cxn>
                  <a:cxn ang="0">
                    <a:pos x="17" y="17"/>
                  </a:cxn>
                  <a:cxn ang="0">
                    <a:pos x="14" y="15"/>
                  </a:cxn>
                  <a:cxn ang="0">
                    <a:pos x="12" y="9"/>
                  </a:cxn>
                  <a:cxn ang="0">
                    <a:pos x="9" y="7"/>
                  </a:cxn>
                  <a:cxn ang="0">
                    <a:pos x="5" y="9"/>
                  </a:cxn>
                  <a:cxn ang="0">
                    <a:pos x="0" y="5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55" h="20">
                    <a:moveTo>
                      <a:pt x="7" y="0"/>
                    </a:moveTo>
                    <a:lnTo>
                      <a:pt x="14" y="2"/>
                    </a:lnTo>
                    <a:lnTo>
                      <a:pt x="22" y="0"/>
                    </a:lnTo>
                    <a:lnTo>
                      <a:pt x="40" y="0"/>
                    </a:lnTo>
                    <a:lnTo>
                      <a:pt x="45" y="7"/>
                    </a:lnTo>
                    <a:lnTo>
                      <a:pt x="52" y="9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47" y="14"/>
                    </a:lnTo>
                    <a:lnTo>
                      <a:pt x="44" y="14"/>
                    </a:lnTo>
                    <a:lnTo>
                      <a:pt x="42" y="17"/>
                    </a:lnTo>
                    <a:lnTo>
                      <a:pt x="39" y="17"/>
                    </a:lnTo>
                    <a:lnTo>
                      <a:pt x="37" y="15"/>
                    </a:lnTo>
                    <a:lnTo>
                      <a:pt x="34" y="15"/>
                    </a:lnTo>
                    <a:lnTo>
                      <a:pt x="34" y="20"/>
                    </a:lnTo>
                    <a:lnTo>
                      <a:pt x="27" y="20"/>
                    </a:lnTo>
                    <a:lnTo>
                      <a:pt x="24" y="17"/>
                    </a:lnTo>
                    <a:lnTo>
                      <a:pt x="17" y="17"/>
                    </a:lnTo>
                    <a:lnTo>
                      <a:pt x="14" y="15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5" y="9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0" name="Freeform 152">
                <a:extLst>
                  <a:ext uri="{FF2B5EF4-FFF2-40B4-BE49-F238E27FC236}">
                    <a16:creationId xmlns:a16="http://schemas.microsoft.com/office/drawing/2014/main" id="{E7484F7A-A2D8-D140-B992-C88932BFD1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6774" y="3033144"/>
                <a:ext cx="36388" cy="26977"/>
              </a:xfrm>
              <a:custGeom>
                <a:avLst/>
                <a:gdLst/>
                <a:ahLst/>
                <a:cxnLst>
                  <a:cxn ang="0">
                    <a:pos x="56" y="47"/>
                  </a:cxn>
                  <a:cxn ang="0">
                    <a:pos x="63" y="39"/>
                  </a:cxn>
                  <a:cxn ang="0">
                    <a:pos x="61" y="30"/>
                  </a:cxn>
                  <a:cxn ang="0">
                    <a:pos x="66" y="27"/>
                  </a:cxn>
                  <a:cxn ang="0">
                    <a:pos x="65" y="19"/>
                  </a:cxn>
                  <a:cxn ang="0">
                    <a:pos x="66" y="12"/>
                  </a:cxn>
                  <a:cxn ang="0">
                    <a:pos x="63" y="12"/>
                  </a:cxn>
                  <a:cxn ang="0">
                    <a:pos x="55" y="9"/>
                  </a:cxn>
                  <a:cxn ang="0">
                    <a:pos x="41" y="9"/>
                  </a:cxn>
                  <a:cxn ang="0">
                    <a:pos x="28" y="7"/>
                  </a:cxn>
                  <a:cxn ang="0">
                    <a:pos x="26" y="10"/>
                  </a:cxn>
                  <a:cxn ang="0">
                    <a:pos x="45" y="17"/>
                  </a:cxn>
                  <a:cxn ang="0">
                    <a:pos x="45" y="22"/>
                  </a:cxn>
                  <a:cxn ang="0">
                    <a:pos x="45" y="32"/>
                  </a:cxn>
                  <a:cxn ang="0">
                    <a:pos x="55" y="37"/>
                  </a:cxn>
                  <a:cxn ang="0">
                    <a:pos x="43" y="39"/>
                  </a:cxn>
                  <a:cxn ang="0">
                    <a:pos x="38" y="39"/>
                  </a:cxn>
                  <a:cxn ang="0">
                    <a:pos x="26" y="39"/>
                  </a:cxn>
                  <a:cxn ang="0">
                    <a:pos x="20" y="39"/>
                  </a:cxn>
                  <a:cxn ang="0">
                    <a:pos x="11" y="39"/>
                  </a:cxn>
                  <a:cxn ang="0">
                    <a:pos x="1" y="39"/>
                  </a:cxn>
                  <a:cxn ang="0">
                    <a:pos x="1" y="44"/>
                  </a:cxn>
                  <a:cxn ang="0">
                    <a:pos x="13" y="50"/>
                  </a:cxn>
                  <a:cxn ang="0">
                    <a:pos x="16" y="49"/>
                  </a:cxn>
                  <a:cxn ang="0">
                    <a:pos x="30" y="45"/>
                  </a:cxn>
                  <a:cxn ang="0">
                    <a:pos x="48" y="49"/>
                  </a:cxn>
                  <a:cxn ang="0">
                    <a:pos x="53" y="49"/>
                  </a:cxn>
                  <a:cxn ang="0">
                    <a:pos x="58" y="49"/>
                  </a:cxn>
                  <a:cxn ang="0">
                    <a:pos x="43" y="0"/>
                  </a:cxn>
                  <a:cxn ang="0">
                    <a:pos x="43" y="5"/>
                  </a:cxn>
                  <a:cxn ang="0">
                    <a:pos x="38" y="2"/>
                  </a:cxn>
                  <a:cxn ang="0">
                    <a:pos x="33" y="29"/>
                  </a:cxn>
                  <a:cxn ang="0">
                    <a:pos x="40" y="34"/>
                  </a:cxn>
                  <a:cxn ang="0">
                    <a:pos x="30" y="30"/>
                  </a:cxn>
                </a:cxnLst>
                <a:rect l="0" t="0" r="r" b="b"/>
                <a:pathLst>
                  <a:path w="68" h="52">
                    <a:moveTo>
                      <a:pt x="58" y="49"/>
                    </a:moveTo>
                    <a:lnTo>
                      <a:pt x="56" y="47"/>
                    </a:lnTo>
                    <a:lnTo>
                      <a:pt x="63" y="42"/>
                    </a:lnTo>
                    <a:lnTo>
                      <a:pt x="63" y="39"/>
                    </a:lnTo>
                    <a:lnTo>
                      <a:pt x="63" y="35"/>
                    </a:lnTo>
                    <a:lnTo>
                      <a:pt x="61" y="30"/>
                    </a:lnTo>
                    <a:lnTo>
                      <a:pt x="61" y="29"/>
                    </a:lnTo>
                    <a:lnTo>
                      <a:pt x="66" y="27"/>
                    </a:lnTo>
                    <a:lnTo>
                      <a:pt x="66" y="22"/>
                    </a:lnTo>
                    <a:lnTo>
                      <a:pt x="65" y="19"/>
                    </a:lnTo>
                    <a:lnTo>
                      <a:pt x="68" y="14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3" y="12"/>
                    </a:lnTo>
                    <a:lnTo>
                      <a:pt x="58" y="12"/>
                    </a:lnTo>
                    <a:lnTo>
                      <a:pt x="55" y="9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6" y="7"/>
                    </a:lnTo>
                    <a:lnTo>
                      <a:pt x="28" y="7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1" y="12"/>
                    </a:lnTo>
                    <a:lnTo>
                      <a:pt x="45" y="17"/>
                    </a:lnTo>
                    <a:lnTo>
                      <a:pt x="43" y="19"/>
                    </a:lnTo>
                    <a:lnTo>
                      <a:pt x="45" y="22"/>
                    </a:lnTo>
                    <a:lnTo>
                      <a:pt x="43" y="27"/>
                    </a:lnTo>
                    <a:lnTo>
                      <a:pt x="45" y="32"/>
                    </a:lnTo>
                    <a:lnTo>
                      <a:pt x="50" y="32"/>
                    </a:lnTo>
                    <a:lnTo>
                      <a:pt x="55" y="37"/>
                    </a:lnTo>
                    <a:lnTo>
                      <a:pt x="53" y="40"/>
                    </a:lnTo>
                    <a:lnTo>
                      <a:pt x="43" y="39"/>
                    </a:lnTo>
                    <a:lnTo>
                      <a:pt x="41" y="40"/>
                    </a:lnTo>
                    <a:lnTo>
                      <a:pt x="38" y="39"/>
                    </a:lnTo>
                    <a:lnTo>
                      <a:pt x="31" y="40"/>
                    </a:lnTo>
                    <a:lnTo>
                      <a:pt x="26" y="39"/>
                    </a:lnTo>
                    <a:lnTo>
                      <a:pt x="21" y="40"/>
                    </a:lnTo>
                    <a:lnTo>
                      <a:pt x="20" y="39"/>
                    </a:lnTo>
                    <a:lnTo>
                      <a:pt x="18" y="37"/>
                    </a:lnTo>
                    <a:lnTo>
                      <a:pt x="11" y="39"/>
                    </a:lnTo>
                    <a:lnTo>
                      <a:pt x="6" y="35"/>
                    </a:lnTo>
                    <a:lnTo>
                      <a:pt x="1" y="39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6" y="45"/>
                    </a:lnTo>
                    <a:lnTo>
                      <a:pt x="13" y="50"/>
                    </a:lnTo>
                    <a:lnTo>
                      <a:pt x="16" y="52"/>
                    </a:lnTo>
                    <a:lnTo>
                      <a:pt x="16" y="49"/>
                    </a:lnTo>
                    <a:lnTo>
                      <a:pt x="18" y="45"/>
                    </a:lnTo>
                    <a:lnTo>
                      <a:pt x="30" y="45"/>
                    </a:lnTo>
                    <a:lnTo>
                      <a:pt x="35" y="49"/>
                    </a:lnTo>
                    <a:lnTo>
                      <a:pt x="48" y="49"/>
                    </a:lnTo>
                    <a:lnTo>
                      <a:pt x="50" y="47"/>
                    </a:lnTo>
                    <a:lnTo>
                      <a:pt x="53" y="49"/>
                    </a:lnTo>
                    <a:lnTo>
                      <a:pt x="58" y="49"/>
                    </a:lnTo>
                    <a:lnTo>
                      <a:pt x="58" y="49"/>
                    </a:lnTo>
                    <a:close/>
                    <a:moveTo>
                      <a:pt x="38" y="2"/>
                    </a:moveTo>
                    <a:lnTo>
                      <a:pt x="43" y="0"/>
                    </a:lnTo>
                    <a:lnTo>
                      <a:pt x="51" y="5"/>
                    </a:lnTo>
                    <a:lnTo>
                      <a:pt x="43" y="5"/>
                    </a:lnTo>
                    <a:lnTo>
                      <a:pt x="38" y="2"/>
                    </a:lnTo>
                    <a:lnTo>
                      <a:pt x="38" y="2"/>
                    </a:lnTo>
                    <a:close/>
                    <a:moveTo>
                      <a:pt x="30" y="30"/>
                    </a:moveTo>
                    <a:lnTo>
                      <a:pt x="33" y="29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33" y="32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1" name="Freeform 153">
                <a:extLst>
                  <a:ext uri="{FF2B5EF4-FFF2-40B4-BE49-F238E27FC236}">
                    <a16:creationId xmlns:a16="http://schemas.microsoft.com/office/drawing/2014/main" id="{F9C109E8-FCFF-4D46-9992-CAF6BCA8D3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2993" y="2995791"/>
                <a:ext cx="138062" cy="42541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51" y="42"/>
                  </a:cxn>
                  <a:cxn ang="0">
                    <a:pos x="48" y="40"/>
                  </a:cxn>
                  <a:cxn ang="0">
                    <a:pos x="49" y="37"/>
                  </a:cxn>
                  <a:cxn ang="0">
                    <a:pos x="15" y="24"/>
                  </a:cxn>
                  <a:cxn ang="0">
                    <a:pos x="11" y="27"/>
                  </a:cxn>
                  <a:cxn ang="0">
                    <a:pos x="0" y="34"/>
                  </a:cxn>
                  <a:cxn ang="0">
                    <a:pos x="11" y="32"/>
                  </a:cxn>
                  <a:cxn ang="0">
                    <a:pos x="21" y="32"/>
                  </a:cxn>
                  <a:cxn ang="0">
                    <a:pos x="35" y="24"/>
                  </a:cxn>
                  <a:cxn ang="0">
                    <a:pos x="49" y="17"/>
                  </a:cxn>
                  <a:cxn ang="0">
                    <a:pos x="64" y="14"/>
                  </a:cxn>
                  <a:cxn ang="0">
                    <a:pos x="83" y="17"/>
                  </a:cxn>
                  <a:cxn ang="0">
                    <a:pos x="69" y="22"/>
                  </a:cxn>
                  <a:cxn ang="0">
                    <a:pos x="91" y="25"/>
                  </a:cxn>
                  <a:cxn ang="0">
                    <a:pos x="106" y="29"/>
                  </a:cxn>
                  <a:cxn ang="0">
                    <a:pos x="114" y="29"/>
                  </a:cxn>
                  <a:cxn ang="0">
                    <a:pos x="129" y="37"/>
                  </a:cxn>
                  <a:cxn ang="0">
                    <a:pos x="141" y="39"/>
                  </a:cxn>
                  <a:cxn ang="0">
                    <a:pos x="154" y="39"/>
                  </a:cxn>
                  <a:cxn ang="0">
                    <a:pos x="169" y="60"/>
                  </a:cxn>
                  <a:cxn ang="0">
                    <a:pos x="186" y="62"/>
                  </a:cxn>
                  <a:cxn ang="0">
                    <a:pos x="189" y="70"/>
                  </a:cxn>
                  <a:cxn ang="0">
                    <a:pos x="176" y="82"/>
                  </a:cxn>
                  <a:cxn ang="0">
                    <a:pos x="194" y="82"/>
                  </a:cxn>
                  <a:cxn ang="0">
                    <a:pos x="221" y="83"/>
                  </a:cxn>
                  <a:cxn ang="0">
                    <a:pos x="237" y="78"/>
                  </a:cxn>
                  <a:cxn ang="0">
                    <a:pos x="255" y="77"/>
                  </a:cxn>
                  <a:cxn ang="0">
                    <a:pos x="250" y="68"/>
                  </a:cxn>
                  <a:cxn ang="0">
                    <a:pos x="226" y="58"/>
                  </a:cxn>
                  <a:cxn ang="0">
                    <a:pos x="226" y="50"/>
                  </a:cxn>
                  <a:cxn ang="0">
                    <a:pos x="214" y="50"/>
                  </a:cxn>
                  <a:cxn ang="0">
                    <a:pos x="199" y="44"/>
                  </a:cxn>
                  <a:cxn ang="0">
                    <a:pos x="187" y="40"/>
                  </a:cxn>
                  <a:cxn ang="0">
                    <a:pos x="184" y="40"/>
                  </a:cxn>
                  <a:cxn ang="0">
                    <a:pos x="166" y="30"/>
                  </a:cxn>
                  <a:cxn ang="0">
                    <a:pos x="141" y="22"/>
                  </a:cxn>
                  <a:cxn ang="0">
                    <a:pos x="129" y="10"/>
                  </a:cxn>
                  <a:cxn ang="0">
                    <a:pos x="104" y="5"/>
                  </a:cxn>
                  <a:cxn ang="0">
                    <a:pos x="86" y="2"/>
                  </a:cxn>
                  <a:cxn ang="0">
                    <a:pos x="61" y="4"/>
                  </a:cxn>
                  <a:cxn ang="0">
                    <a:pos x="33" y="10"/>
                  </a:cxn>
                  <a:cxn ang="0">
                    <a:pos x="15" y="19"/>
                  </a:cxn>
                </a:cxnLst>
                <a:rect l="0" t="0" r="r" b="b"/>
                <a:pathLst>
                  <a:path w="257" h="83">
                    <a:moveTo>
                      <a:pt x="48" y="34"/>
                    </a:moveTo>
                    <a:lnTo>
                      <a:pt x="49" y="32"/>
                    </a:lnTo>
                    <a:lnTo>
                      <a:pt x="54" y="32"/>
                    </a:lnTo>
                    <a:lnTo>
                      <a:pt x="59" y="37"/>
                    </a:lnTo>
                    <a:lnTo>
                      <a:pt x="58" y="40"/>
                    </a:lnTo>
                    <a:lnTo>
                      <a:pt x="51" y="42"/>
                    </a:lnTo>
                    <a:lnTo>
                      <a:pt x="46" y="40"/>
                    </a:lnTo>
                    <a:lnTo>
                      <a:pt x="44" y="39"/>
                    </a:lnTo>
                    <a:lnTo>
                      <a:pt x="48" y="40"/>
                    </a:lnTo>
                    <a:lnTo>
                      <a:pt x="49" y="40"/>
                    </a:lnTo>
                    <a:lnTo>
                      <a:pt x="53" y="39"/>
                    </a:lnTo>
                    <a:lnTo>
                      <a:pt x="49" y="37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  <a:moveTo>
                      <a:pt x="15" y="24"/>
                    </a:moveTo>
                    <a:lnTo>
                      <a:pt x="18" y="27"/>
                    </a:lnTo>
                    <a:lnTo>
                      <a:pt x="16" y="29"/>
                    </a:lnTo>
                    <a:lnTo>
                      <a:pt x="11" y="27"/>
                    </a:lnTo>
                    <a:lnTo>
                      <a:pt x="3" y="32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5" y="35"/>
                    </a:lnTo>
                    <a:lnTo>
                      <a:pt x="10" y="30"/>
                    </a:lnTo>
                    <a:lnTo>
                      <a:pt x="11" y="32"/>
                    </a:lnTo>
                    <a:lnTo>
                      <a:pt x="11" y="35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25"/>
                    </a:lnTo>
                    <a:lnTo>
                      <a:pt x="33" y="25"/>
                    </a:lnTo>
                    <a:lnTo>
                      <a:pt x="35" y="24"/>
                    </a:lnTo>
                    <a:lnTo>
                      <a:pt x="38" y="25"/>
                    </a:lnTo>
                    <a:lnTo>
                      <a:pt x="43" y="25"/>
                    </a:lnTo>
                    <a:lnTo>
                      <a:pt x="49" y="17"/>
                    </a:lnTo>
                    <a:lnTo>
                      <a:pt x="54" y="17"/>
                    </a:lnTo>
                    <a:lnTo>
                      <a:pt x="58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9" y="15"/>
                    </a:lnTo>
                    <a:lnTo>
                      <a:pt x="83" y="17"/>
                    </a:lnTo>
                    <a:lnTo>
                      <a:pt x="79" y="20"/>
                    </a:lnTo>
                    <a:lnTo>
                      <a:pt x="74" y="19"/>
                    </a:lnTo>
                    <a:lnTo>
                      <a:pt x="69" y="22"/>
                    </a:lnTo>
                    <a:lnTo>
                      <a:pt x="74" y="24"/>
                    </a:lnTo>
                    <a:lnTo>
                      <a:pt x="88" y="27"/>
                    </a:lnTo>
                    <a:lnTo>
                      <a:pt x="91" y="25"/>
                    </a:lnTo>
                    <a:lnTo>
                      <a:pt x="96" y="25"/>
                    </a:lnTo>
                    <a:lnTo>
                      <a:pt x="99" y="29"/>
                    </a:lnTo>
                    <a:lnTo>
                      <a:pt x="106" y="29"/>
                    </a:lnTo>
                    <a:lnTo>
                      <a:pt x="109" y="29"/>
                    </a:lnTo>
                    <a:lnTo>
                      <a:pt x="111" y="27"/>
                    </a:lnTo>
                    <a:lnTo>
                      <a:pt x="114" y="29"/>
                    </a:lnTo>
                    <a:lnTo>
                      <a:pt x="114" y="32"/>
                    </a:lnTo>
                    <a:lnTo>
                      <a:pt x="123" y="37"/>
                    </a:lnTo>
                    <a:lnTo>
                      <a:pt x="129" y="37"/>
                    </a:lnTo>
                    <a:lnTo>
                      <a:pt x="131" y="35"/>
                    </a:lnTo>
                    <a:lnTo>
                      <a:pt x="136" y="39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51" y="39"/>
                    </a:lnTo>
                    <a:lnTo>
                      <a:pt x="154" y="39"/>
                    </a:lnTo>
                    <a:lnTo>
                      <a:pt x="157" y="52"/>
                    </a:lnTo>
                    <a:lnTo>
                      <a:pt x="166" y="60"/>
                    </a:lnTo>
                    <a:lnTo>
                      <a:pt x="169" y="60"/>
                    </a:lnTo>
                    <a:lnTo>
                      <a:pt x="171" y="58"/>
                    </a:lnTo>
                    <a:lnTo>
                      <a:pt x="176" y="62"/>
                    </a:lnTo>
                    <a:lnTo>
                      <a:pt x="186" y="62"/>
                    </a:lnTo>
                    <a:lnTo>
                      <a:pt x="186" y="65"/>
                    </a:lnTo>
                    <a:lnTo>
                      <a:pt x="191" y="65"/>
                    </a:lnTo>
                    <a:lnTo>
                      <a:pt x="189" y="70"/>
                    </a:lnTo>
                    <a:lnTo>
                      <a:pt x="184" y="72"/>
                    </a:lnTo>
                    <a:lnTo>
                      <a:pt x="176" y="78"/>
                    </a:lnTo>
                    <a:lnTo>
                      <a:pt x="176" y="82"/>
                    </a:lnTo>
                    <a:lnTo>
                      <a:pt x="184" y="83"/>
                    </a:lnTo>
                    <a:lnTo>
                      <a:pt x="189" y="80"/>
                    </a:lnTo>
                    <a:lnTo>
                      <a:pt x="194" y="82"/>
                    </a:lnTo>
                    <a:lnTo>
                      <a:pt x="206" y="80"/>
                    </a:lnTo>
                    <a:lnTo>
                      <a:pt x="212" y="80"/>
                    </a:lnTo>
                    <a:lnTo>
                      <a:pt x="221" y="83"/>
                    </a:lnTo>
                    <a:lnTo>
                      <a:pt x="232" y="82"/>
                    </a:lnTo>
                    <a:lnTo>
                      <a:pt x="234" y="78"/>
                    </a:lnTo>
                    <a:lnTo>
                      <a:pt x="237" y="78"/>
                    </a:lnTo>
                    <a:lnTo>
                      <a:pt x="241" y="77"/>
                    </a:lnTo>
                    <a:lnTo>
                      <a:pt x="249" y="77"/>
                    </a:lnTo>
                    <a:lnTo>
                      <a:pt x="255" y="77"/>
                    </a:lnTo>
                    <a:lnTo>
                      <a:pt x="257" y="72"/>
                    </a:lnTo>
                    <a:lnTo>
                      <a:pt x="255" y="70"/>
                    </a:lnTo>
                    <a:lnTo>
                      <a:pt x="250" y="68"/>
                    </a:lnTo>
                    <a:lnTo>
                      <a:pt x="249" y="63"/>
                    </a:lnTo>
                    <a:lnTo>
                      <a:pt x="237" y="58"/>
                    </a:lnTo>
                    <a:lnTo>
                      <a:pt x="226" y="58"/>
                    </a:lnTo>
                    <a:lnTo>
                      <a:pt x="222" y="58"/>
                    </a:lnTo>
                    <a:lnTo>
                      <a:pt x="224" y="55"/>
                    </a:lnTo>
                    <a:lnTo>
                      <a:pt x="226" y="50"/>
                    </a:lnTo>
                    <a:lnTo>
                      <a:pt x="224" y="50"/>
                    </a:lnTo>
                    <a:lnTo>
                      <a:pt x="219" y="52"/>
                    </a:lnTo>
                    <a:lnTo>
                      <a:pt x="214" y="50"/>
                    </a:lnTo>
                    <a:lnTo>
                      <a:pt x="206" y="45"/>
                    </a:lnTo>
                    <a:lnTo>
                      <a:pt x="204" y="47"/>
                    </a:lnTo>
                    <a:lnTo>
                      <a:pt x="199" y="44"/>
                    </a:lnTo>
                    <a:lnTo>
                      <a:pt x="192" y="39"/>
                    </a:lnTo>
                    <a:lnTo>
                      <a:pt x="189" y="44"/>
                    </a:lnTo>
                    <a:lnTo>
                      <a:pt x="187" y="40"/>
                    </a:lnTo>
                    <a:lnTo>
                      <a:pt x="189" y="39"/>
                    </a:lnTo>
                    <a:lnTo>
                      <a:pt x="186" y="37"/>
                    </a:lnTo>
                    <a:lnTo>
                      <a:pt x="184" y="40"/>
                    </a:lnTo>
                    <a:lnTo>
                      <a:pt x="181" y="37"/>
                    </a:lnTo>
                    <a:lnTo>
                      <a:pt x="172" y="35"/>
                    </a:lnTo>
                    <a:lnTo>
                      <a:pt x="166" y="30"/>
                    </a:lnTo>
                    <a:lnTo>
                      <a:pt x="161" y="27"/>
                    </a:lnTo>
                    <a:lnTo>
                      <a:pt x="154" y="24"/>
                    </a:lnTo>
                    <a:lnTo>
                      <a:pt x="141" y="22"/>
                    </a:lnTo>
                    <a:lnTo>
                      <a:pt x="136" y="20"/>
                    </a:lnTo>
                    <a:lnTo>
                      <a:pt x="134" y="15"/>
                    </a:lnTo>
                    <a:lnTo>
                      <a:pt x="129" y="10"/>
                    </a:lnTo>
                    <a:lnTo>
                      <a:pt x="124" y="10"/>
                    </a:lnTo>
                    <a:lnTo>
                      <a:pt x="123" y="9"/>
                    </a:lnTo>
                    <a:lnTo>
                      <a:pt x="104" y="5"/>
                    </a:lnTo>
                    <a:lnTo>
                      <a:pt x="98" y="9"/>
                    </a:lnTo>
                    <a:lnTo>
                      <a:pt x="91" y="7"/>
                    </a:lnTo>
                    <a:lnTo>
                      <a:pt x="86" y="2"/>
                    </a:lnTo>
                    <a:lnTo>
                      <a:pt x="74" y="0"/>
                    </a:lnTo>
                    <a:lnTo>
                      <a:pt x="64" y="0"/>
                    </a:lnTo>
                    <a:lnTo>
                      <a:pt x="61" y="4"/>
                    </a:lnTo>
                    <a:lnTo>
                      <a:pt x="48" y="5"/>
                    </a:lnTo>
                    <a:lnTo>
                      <a:pt x="36" y="7"/>
                    </a:lnTo>
                    <a:lnTo>
                      <a:pt x="33" y="10"/>
                    </a:lnTo>
                    <a:lnTo>
                      <a:pt x="23" y="12"/>
                    </a:lnTo>
                    <a:lnTo>
                      <a:pt x="20" y="17"/>
                    </a:lnTo>
                    <a:lnTo>
                      <a:pt x="15" y="19"/>
                    </a:lnTo>
                    <a:lnTo>
                      <a:pt x="15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2" name="Freeform 154">
                <a:extLst>
                  <a:ext uri="{FF2B5EF4-FFF2-40B4-BE49-F238E27FC236}">
                    <a16:creationId xmlns:a16="http://schemas.microsoft.com/office/drawing/2014/main" id="{57E09B8D-EBCF-2D4C-AD26-7033449497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78137" y="2592169"/>
                <a:ext cx="734190" cy="378720"/>
              </a:xfrm>
              <a:custGeom>
                <a:avLst/>
                <a:gdLst/>
                <a:ahLst/>
                <a:cxnLst>
                  <a:cxn ang="0">
                    <a:pos x="797" y="71"/>
                  </a:cxn>
                  <a:cxn ang="0">
                    <a:pos x="965" y="140"/>
                  </a:cxn>
                  <a:cxn ang="0">
                    <a:pos x="1146" y="223"/>
                  </a:cxn>
                  <a:cxn ang="0">
                    <a:pos x="1291" y="183"/>
                  </a:cxn>
                  <a:cxn ang="0">
                    <a:pos x="1356" y="149"/>
                  </a:cxn>
                  <a:cxn ang="0">
                    <a:pos x="1366" y="218"/>
                  </a:cxn>
                  <a:cxn ang="0">
                    <a:pos x="1319" y="228"/>
                  </a:cxn>
                  <a:cxn ang="0">
                    <a:pos x="1283" y="247"/>
                  </a:cxn>
                  <a:cxn ang="0">
                    <a:pos x="1276" y="289"/>
                  </a:cxn>
                  <a:cxn ang="0">
                    <a:pos x="1246" y="311"/>
                  </a:cxn>
                  <a:cxn ang="0">
                    <a:pos x="1178" y="336"/>
                  </a:cxn>
                  <a:cxn ang="0">
                    <a:pos x="1151" y="375"/>
                  </a:cxn>
                  <a:cxn ang="0">
                    <a:pos x="1145" y="384"/>
                  </a:cxn>
                  <a:cxn ang="0">
                    <a:pos x="1121" y="410"/>
                  </a:cxn>
                  <a:cxn ang="0">
                    <a:pos x="1116" y="367"/>
                  </a:cxn>
                  <a:cxn ang="0">
                    <a:pos x="1110" y="399"/>
                  </a:cxn>
                  <a:cxn ang="0">
                    <a:pos x="1110" y="412"/>
                  </a:cxn>
                  <a:cxn ang="0">
                    <a:pos x="1096" y="425"/>
                  </a:cxn>
                  <a:cxn ang="0">
                    <a:pos x="1101" y="455"/>
                  </a:cxn>
                  <a:cxn ang="0">
                    <a:pos x="1116" y="468"/>
                  </a:cxn>
                  <a:cxn ang="0">
                    <a:pos x="1095" y="482"/>
                  </a:cxn>
                  <a:cxn ang="0">
                    <a:pos x="1053" y="513"/>
                  </a:cxn>
                  <a:cxn ang="0">
                    <a:pos x="997" y="545"/>
                  </a:cxn>
                  <a:cxn ang="0">
                    <a:pos x="964" y="603"/>
                  </a:cxn>
                  <a:cxn ang="0">
                    <a:pos x="980" y="699"/>
                  </a:cxn>
                  <a:cxn ang="0">
                    <a:pos x="942" y="713"/>
                  </a:cxn>
                  <a:cxn ang="0">
                    <a:pos x="924" y="681"/>
                  </a:cxn>
                  <a:cxn ang="0">
                    <a:pos x="919" y="631"/>
                  </a:cxn>
                  <a:cxn ang="0">
                    <a:pos x="877" y="616"/>
                  </a:cxn>
                  <a:cxn ang="0">
                    <a:pos x="854" y="603"/>
                  </a:cxn>
                  <a:cxn ang="0">
                    <a:pos x="812" y="598"/>
                  </a:cxn>
                  <a:cxn ang="0">
                    <a:pos x="758" y="611"/>
                  </a:cxn>
                  <a:cxn ang="0">
                    <a:pos x="763" y="631"/>
                  </a:cxn>
                  <a:cxn ang="0">
                    <a:pos x="721" y="626"/>
                  </a:cxn>
                  <a:cxn ang="0">
                    <a:pos x="683" y="616"/>
                  </a:cxn>
                  <a:cxn ang="0">
                    <a:pos x="635" y="618"/>
                  </a:cxn>
                  <a:cxn ang="0">
                    <a:pos x="590" y="644"/>
                  </a:cxn>
                  <a:cxn ang="0">
                    <a:pos x="565" y="706"/>
                  </a:cxn>
                  <a:cxn ang="0">
                    <a:pos x="522" y="674"/>
                  </a:cxn>
                  <a:cxn ang="0">
                    <a:pos x="494" y="616"/>
                  </a:cxn>
                  <a:cxn ang="0">
                    <a:pos x="450" y="616"/>
                  </a:cxn>
                  <a:cxn ang="0">
                    <a:pos x="417" y="615"/>
                  </a:cxn>
                  <a:cxn ang="0">
                    <a:pos x="399" y="588"/>
                  </a:cxn>
                  <a:cxn ang="0">
                    <a:pos x="367" y="551"/>
                  </a:cxn>
                  <a:cxn ang="0">
                    <a:pos x="97" y="483"/>
                  </a:cxn>
                  <a:cxn ang="0">
                    <a:pos x="50" y="448"/>
                  </a:cxn>
                  <a:cxn ang="0">
                    <a:pos x="33" y="392"/>
                  </a:cxn>
                  <a:cxn ang="0">
                    <a:pos x="32" y="362"/>
                  </a:cxn>
                  <a:cxn ang="0">
                    <a:pos x="23" y="362"/>
                  </a:cxn>
                  <a:cxn ang="0">
                    <a:pos x="5" y="286"/>
                  </a:cxn>
                  <a:cxn ang="0">
                    <a:pos x="17" y="211"/>
                  </a:cxn>
                  <a:cxn ang="0">
                    <a:pos x="60" y="105"/>
                  </a:cxn>
                  <a:cxn ang="0">
                    <a:pos x="63" y="90"/>
                  </a:cxn>
                  <a:cxn ang="0">
                    <a:pos x="70" y="40"/>
                  </a:cxn>
                  <a:cxn ang="0">
                    <a:pos x="101" y="45"/>
                  </a:cxn>
                  <a:cxn ang="0">
                    <a:pos x="105" y="63"/>
                  </a:cxn>
                  <a:cxn ang="0">
                    <a:pos x="126" y="13"/>
                  </a:cxn>
                  <a:cxn ang="0">
                    <a:pos x="1183" y="331"/>
                  </a:cxn>
                  <a:cxn ang="0">
                    <a:pos x="1223" y="317"/>
                  </a:cxn>
                  <a:cxn ang="0">
                    <a:pos x="120" y="37"/>
                  </a:cxn>
                  <a:cxn ang="0">
                    <a:pos x="578" y="663"/>
                  </a:cxn>
                </a:cxnLst>
                <a:rect l="0" t="0" r="r" b="b"/>
                <a:pathLst>
                  <a:path w="1372" h="731">
                    <a:moveTo>
                      <a:pt x="120" y="0"/>
                    </a:moveTo>
                    <a:lnTo>
                      <a:pt x="749" y="56"/>
                    </a:lnTo>
                    <a:lnTo>
                      <a:pt x="754" y="56"/>
                    </a:lnTo>
                    <a:lnTo>
                      <a:pt x="759" y="56"/>
                    </a:lnTo>
                    <a:lnTo>
                      <a:pt x="764" y="61"/>
                    </a:lnTo>
                    <a:lnTo>
                      <a:pt x="764" y="63"/>
                    </a:lnTo>
                    <a:lnTo>
                      <a:pt x="768" y="65"/>
                    </a:lnTo>
                    <a:lnTo>
                      <a:pt x="769" y="66"/>
                    </a:lnTo>
                    <a:lnTo>
                      <a:pt x="774" y="68"/>
                    </a:lnTo>
                    <a:lnTo>
                      <a:pt x="774" y="68"/>
                    </a:lnTo>
                    <a:lnTo>
                      <a:pt x="779" y="70"/>
                    </a:lnTo>
                    <a:lnTo>
                      <a:pt x="783" y="73"/>
                    </a:lnTo>
                    <a:lnTo>
                      <a:pt x="784" y="73"/>
                    </a:lnTo>
                    <a:lnTo>
                      <a:pt x="789" y="71"/>
                    </a:lnTo>
                    <a:lnTo>
                      <a:pt x="793" y="73"/>
                    </a:lnTo>
                    <a:lnTo>
                      <a:pt x="797" y="71"/>
                    </a:lnTo>
                    <a:lnTo>
                      <a:pt x="802" y="76"/>
                    </a:lnTo>
                    <a:lnTo>
                      <a:pt x="806" y="76"/>
                    </a:lnTo>
                    <a:lnTo>
                      <a:pt x="807" y="81"/>
                    </a:lnTo>
                    <a:lnTo>
                      <a:pt x="816" y="83"/>
                    </a:lnTo>
                    <a:lnTo>
                      <a:pt x="821" y="85"/>
                    </a:lnTo>
                    <a:lnTo>
                      <a:pt x="824" y="88"/>
                    </a:lnTo>
                    <a:lnTo>
                      <a:pt x="827" y="90"/>
                    </a:lnTo>
                    <a:lnTo>
                      <a:pt x="836" y="90"/>
                    </a:lnTo>
                    <a:lnTo>
                      <a:pt x="841" y="86"/>
                    </a:lnTo>
                    <a:lnTo>
                      <a:pt x="842" y="90"/>
                    </a:lnTo>
                    <a:lnTo>
                      <a:pt x="844" y="93"/>
                    </a:lnTo>
                    <a:lnTo>
                      <a:pt x="856" y="93"/>
                    </a:lnTo>
                    <a:lnTo>
                      <a:pt x="859" y="95"/>
                    </a:lnTo>
                    <a:lnTo>
                      <a:pt x="864" y="96"/>
                    </a:lnTo>
                    <a:lnTo>
                      <a:pt x="867" y="98"/>
                    </a:lnTo>
                    <a:lnTo>
                      <a:pt x="965" y="140"/>
                    </a:lnTo>
                    <a:lnTo>
                      <a:pt x="970" y="146"/>
                    </a:lnTo>
                    <a:lnTo>
                      <a:pt x="985" y="158"/>
                    </a:lnTo>
                    <a:lnTo>
                      <a:pt x="1002" y="224"/>
                    </a:lnTo>
                    <a:lnTo>
                      <a:pt x="1000" y="254"/>
                    </a:lnTo>
                    <a:lnTo>
                      <a:pt x="997" y="259"/>
                    </a:lnTo>
                    <a:lnTo>
                      <a:pt x="993" y="264"/>
                    </a:lnTo>
                    <a:lnTo>
                      <a:pt x="990" y="269"/>
                    </a:lnTo>
                    <a:lnTo>
                      <a:pt x="982" y="272"/>
                    </a:lnTo>
                    <a:lnTo>
                      <a:pt x="977" y="277"/>
                    </a:lnTo>
                    <a:lnTo>
                      <a:pt x="980" y="284"/>
                    </a:lnTo>
                    <a:lnTo>
                      <a:pt x="1063" y="264"/>
                    </a:lnTo>
                    <a:lnTo>
                      <a:pt x="1075" y="261"/>
                    </a:lnTo>
                    <a:lnTo>
                      <a:pt x="1077" y="251"/>
                    </a:lnTo>
                    <a:lnTo>
                      <a:pt x="1121" y="239"/>
                    </a:lnTo>
                    <a:lnTo>
                      <a:pt x="1143" y="224"/>
                    </a:lnTo>
                    <a:lnTo>
                      <a:pt x="1146" y="223"/>
                    </a:lnTo>
                    <a:lnTo>
                      <a:pt x="1153" y="221"/>
                    </a:lnTo>
                    <a:lnTo>
                      <a:pt x="1165" y="211"/>
                    </a:lnTo>
                    <a:lnTo>
                      <a:pt x="1170" y="208"/>
                    </a:lnTo>
                    <a:lnTo>
                      <a:pt x="1175" y="206"/>
                    </a:lnTo>
                    <a:lnTo>
                      <a:pt x="1180" y="203"/>
                    </a:lnTo>
                    <a:lnTo>
                      <a:pt x="1188" y="201"/>
                    </a:lnTo>
                    <a:lnTo>
                      <a:pt x="1258" y="203"/>
                    </a:lnTo>
                    <a:lnTo>
                      <a:pt x="1264" y="198"/>
                    </a:lnTo>
                    <a:lnTo>
                      <a:pt x="1266" y="198"/>
                    </a:lnTo>
                    <a:lnTo>
                      <a:pt x="1268" y="196"/>
                    </a:lnTo>
                    <a:lnTo>
                      <a:pt x="1271" y="196"/>
                    </a:lnTo>
                    <a:lnTo>
                      <a:pt x="1276" y="196"/>
                    </a:lnTo>
                    <a:lnTo>
                      <a:pt x="1278" y="194"/>
                    </a:lnTo>
                    <a:lnTo>
                      <a:pt x="1279" y="191"/>
                    </a:lnTo>
                    <a:lnTo>
                      <a:pt x="1288" y="184"/>
                    </a:lnTo>
                    <a:lnTo>
                      <a:pt x="1291" y="183"/>
                    </a:lnTo>
                    <a:lnTo>
                      <a:pt x="1296" y="176"/>
                    </a:lnTo>
                    <a:lnTo>
                      <a:pt x="1299" y="171"/>
                    </a:lnTo>
                    <a:lnTo>
                      <a:pt x="1299" y="166"/>
                    </a:lnTo>
                    <a:lnTo>
                      <a:pt x="1306" y="163"/>
                    </a:lnTo>
                    <a:lnTo>
                      <a:pt x="1306" y="159"/>
                    </a:lnTo>
                    <a:lnTo>
                      <a:pt x="1309" y="154"/>
                    </a:lnTo>
                    <a:lnTo>
                      <a:pt x="1317" y="146"/>
                    </a:lnTo>
                    <a:lnTo>
                      <a:pt x="1321" y="143"/>
                    </a:lnTo>
                    <a:lnTo>
                      <a:pt x="1324" y="138"/>
                    </a:lnTo>
                    <a:lnTo>
                      <a:pt x="1326" y="138"/>
                    </a:lnTo>
                    <a:lnTo>
                      <a:pt x="1329" y="140"/>
                    </a:lnTo>
                    <a:lnTo>
                      <a:pt x="1332" y="143"/>
                    </a:lnTo>
                    <a:lnTo>
                      <a:pt x="1337" y="141"/>
                    </a:lnTo>
                    <a:lnTo>
                      <a:pt x="1344" y="143"/>
                    </a:lnTo>
                    <a:lnTo>
                      <a:pt x="1346" y="141"/>
                    </a:lnTo>
                    <a:lnTo>
                      <a:pt x="1356" y="149"/>
                    </a:lnTo>
                    <a:lnTo>
                      <a:pt x="1356" y="156"/>
                    </a:lnTo>
                    <a:lnTo>
                      <a:pt x="1351" y="184"/>
                    </a:lnTo>
                    <a:lnTo>
                      <a:pt x="1349" y="188"/>
                    </a:lnTo>
                    <a:lnTo>
                      <a:pt x="1351" y="188"/>
                    </a:lnTo>
                    <a:lnTo>
                      <a:pt x="1352" y="191"/>
                    </a:lnTo>
                    <a:lnTo>
                      <a:pt x="1354" y="193"/>
                    </a:lnTo>
                    <a:lnTo>
                      <a:pt x="1354" y="196"/>
                    </a:lnTo>
                    <a:lnTo>
                      <a:pt x="1354" y="199"/>
                    </a:lnTo>
                    <a:lnTo>
                      <a:pt x="1354" y="201"/>
                    </a:lnTo>
                    <a:lnTo>
                      <a:pt x="1354" y="203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54" y="204"/>
                    </a:lnTo>
                    <a:lnTo>
                      <a:pt x="1364" y="209"/>
                    </a:lnTo>
                    <a:lnTo>
                      <a:pt x="1362" y="214"/>
                    </a:lnTo>
                    <a:lnTo>
                      <a:pt x="1366" y="218"/>
                    </a:lnTo>
                    <a:lnTo>
                      <a:pt x="1367" y="214"/>
                    </a:lnTo>
                    <a:lnTo>
                      <a:pt x="1372" y="216"/>
                    </a:lnTo>
                    <a:lnTo>
                      <a:pt x="1369" y="221"/>
                    </a:lnTo>
                    <a:lnTo>
                      <a:pt x="1364" y="221"/>
                    </a:lnTo>
                    <a:lnTo>
                      <a:pt x="1362" y="218"/>
                    </a:lnTo>
                    <a:lnTo>
                      <a:pt x="1357" y="221"/>
                    </a:lnTo>
                    <a:lnTo>
                      <a:pt x="1354" y="221"/>
                    </a:lnTo>
                    <a:lnTo>
                      <a:pt x="1349" y="224"/>
                    </a:lnTo>
                    <a:lnTo>
                      <a:pt x="1346" y="224"/>
                    </a:lnTo>
                    <a:lnTo>
                      <a:pt x="1342" y="224"/>
                    </a:lnTo>
                    <a:lnTo>
                      <a:pt x="1339" y="228"/>
                    </a:lnTo>
                    <a:lnTo>
                      <a:pt x="1336" y="228"/>
                    </a:lnTo>
                    <a:lnTo>
                      <a:pt x="1334" y="224"/>
                    </a:lnTo>
                    <a:lnTo>
                      <a:pt x="1329" y="224"/>
                    </a:lnTo>
                    <a:lnTo>
                      <a:pt x="1324" y="228"/>
                    </a:lnTo>
                    <a:lnTo>
                      <a:pt x="1319" y="228"/>
                    </a:lnTo>
                    <a:lnTo>
                      <a:pt x="1319" y="224"/>
                    </a:lnTo>
                    <a:lnTo>
                      <a:pt x="1321" y="221"/>
                    </a:lnTo>
                    <a:lnTo>
                      <a:pt x="1314" y="228"/>
                    </a:lnTo>
                    <a:lnTo>
                      <a:pt x="1309" y="234"/>
                    </a:lnTo>
                    <a:lnTo>
                      <a:pt x="1306" y="236"/>
                    </a:lnTo>
                    <a:lnTo>
                      <a:pt x="1306" y="234"/>
                    </a:lnTo>
                    <a:lnTo>
                      <a:pt x="1302" y="239"/>
                    </a:lnTo>
                    <a:lnTo>
                      <a:pt x="1299" y="239"/>
                    </a:lnTo>
                    <a:lnTo>
                      <a:pt x="1299" y="234"/>
                    </a:lnTo>
                    <a:lnTo>
                      <a:pt x="1296" y="239"/>
                    </a:lnTo>
                    <a:lnTo>
                      <a:pt x="1294" y="241"/>
                    </a:lnTo>
                    <a:lnTo>
                      <a:pt x="1291" y="241"/>
                    </a:lnTo>
                    <a:lnTo>
                      <a:pt x="1291" y="238"/>
                    </a:lnTo>
                    <a:lnTo>
                      <a:pt x="1288" y="241"/>
                    </a:lnTo>
                    <a:lnTo>
                      <a:pt x="1284" y="241"/>
                    </a:lnTo>
                    <a:lnTo>
                      <a:pt x="1283" y="247"/>
                    </a:lnTo>
                    <a:lnTo>
                      <a:pt x="1273" y="254"/>
                    </a:lnTo>
                    <a:lnTo>
                      <a:pt x="1269" y="261"/>
                    </a:lnTo>
                    <a:lnTo>
                      <a:pt x="1268" y="264"/>
                    </a:lnTo>
                    <a:lnTo>
                      <a:pt x="1266" y="267"/>
                    </a:lnTo>
                    <a:lnTo>
                      <a:pt x="1263" y="269"/>
                    </a:lnTo>
                    <a:lnTo>
                      <a:pt x="1263" y="272"/>
                    </a:lnTo>
                    <a:lnTo>
                      <a:pt x="1266" y="272"/>
                    </a:lnTo>
                    <a:lnTo>
                      <a:pt x="1266" y="276"/>
                    </a:lnTo>
                    <a:lnTo>
                      <a:pt x="1258" y="282"/>
                    </a:lnTo>
                    <a:lnTo>
                      <a:pt x="1258" y="284"/>
                    </a:lnTo>
                    <a:lnTo>
                      <a:pt x="1264" y="287"/>
                    </a:lnTo>
                    <a:lnTo>
                      <a:pt x="1266" y="296"/>
                    </a:lnTo>
                    <a:lnTo>
                      <a:pt x="1268" y="299"/>
                    </a:lnTo>
                    <a:lnTo>
                      <a:pt x="1274" y="299"/>
                    </a:lnTo>
                    <a:lnTo>
                      <a:pt x="1276" y="294"/>
                    </a:lnTo>
                    <a:lnTo>
                      <a:pt x="1276" y="289"/>
                    </a:lnTo>
                    <a:lnTo>
                      <a:pt x="1278" y="289"/>
                    </a:lnTo>
                    <a:lnTo>
                      <a:pt x="1281" y="296"/>
                    </a:lnTo>
                    <a:lnTo>
                      <a:pt x="1278" y="301"/>
                    </a:lnTo>
                    <a:lnTo>
                      <a:pt x="1266" y="306"/>
                    </a:lnTo>
                    <a:lnTo>
                      <a:pt x="1263" y="306"/>
                    </a:lnTo>
                    <a:lnTo>
                      <a:pt x="1263" y="302"/>
                    </a:lnTo>
                    <a:lnTo>
                      <a:pt x="1261" y="297"/>
                    </a:lnTo>
                    <a:lnTo>
                      <a:pt x="1256" y="306"/>
                    </a:lnTo>
                    <a:lnTo>
                      <a:pt x="1251" y="309"/>
                    </a:lnTo>
                    <a:lnTo>
                      <a:pt x="1249" y="309"/>
                    </a:lnTo>
                    <a:lnTo>
                      <a:pt x="1249" y="306"/>
                    </a:lnTo>
                    <a:lnTo>
                      <a:pt x="1249" y="302"/>
                    </a:lnTo>
                    <a:lnTo>
                      <a:pt x="1244" y="297"/>
                    </a:lnTo>
                    <a:lnTo>
                      <a:pt x="1244" y="302"/>
                    </a:lnTo>
                    <a:lnTo>
                      <a:pt x="1244" y="309"/>
                    </a:lnTo>
                    <a:lnTo>
                      <a:pt x="1246" y="311"/>
                    </a:lnTo>
                    <a:lnTo>
                      <a:pt x="1243" y="311"/>
                    </a:lnTo>
                    <a:lnTo>
                      <a:pt x="1233" y="312"/>
                    </a:lnTo>
                    <a:lnTo>
                      <a:pt x="1226" y="312"/>
                    </a:lnTo>
                    <a:lnTo>
                      <a:pt x="1223" y="312"/>
                    </a:lnTo>
                    <a:lnTo>
                      <a:pt x="1213" y="312"/>
                    </a:lnTo>
                    <a:lnTo>
                      <a:pt x="1211" y="311"/>
                    </a:lnTo>
                    <a:lnTo>
                      <a:pt x="1208" y="311"/>
                    </a:lnTo>
                    <a:lnTo>
                      <a:pt x="1199" y="316"/>
                    </a:lnTo>
                    <a:lnTo>
                      <a:pt x="1194" y="316"/>
                    </a:lnTo>
                    <a:lnTo>
                      <a:pt x="1188" y="321"/>
                    </a:lnTo>
                    <a:lnTo>
                      <a:pt x="1183" y="321"/>
                    </a:lnTo>
                    <a:lnTo>
                      <a:pt x="1180" y="324"/>
                    </a:lnTo>
                    <a:lnTo>
                      <a:pt x="1180" y="327"/>
                    </a:lnTo>
                    <a:lnTo>
                      <a:pt x="1173" y="331"/>
                    </a:lnTo>
                    <a:lnTo>
                      <a:pt x="1175" y="334"/>
                    </a:lnTo>
                    <a:lnTo>
                      <a:pt x="1178" y="336"/>
                    </a:lnTo>
                    <a:lnTo>
                      <a:pt x="1178" y="339"/>
                    </a:lnTo>
                    <a:lnTo>
                      <a:pt x="1176" y="342"/>
                    </a:lnTo>
                    <a:lnTo>
                      <a:pt x="1176" y="344"/>
                    </a:lnTo>
                    <a:lnTo>
                      <a:pt x="1173" y="347"/>
                    </a:lnTo>
                    <a:lnTo>
                      <a:pt x="1175" y="349"/>
                    </a:lnTo>
                    <a:lnTo>
                      <a:pt x="1173" y="352"/>
                    </a:lnTo>
                    <a:lnTo>
                      <a:pt x="1171" y="357"/>
                    </a:lnTo>
                    <a:lnTo>
                      <a:pt x="1168" y="357"/>
                    </a:lnTo>
                    <a:lnTo>
                      <a:pt x="1166" y="359"/>
                    </a:lnTo>
                    <a:lnTo>
                      <a:pt x="1165" y="365"/>
                    </a:lnTo>
                    <a:lnTo>
                      <a:pt x="1161" y="367"/>
                    </a:lnTo>
                    <a:lnTo>
                      <a:pt x="1158" y="369"/>
                    </a:lnTo>
                    <a:lnTo>
                      <a:pt x="1156" y="369"/>
                    </a:lnTo>
                    <a:lnTo>
                      <a:pt x="1156" y="372"/>
                    </a:lnTo>
                    <a:lnTo>
                      <a:pt x="1153" y="375"/>
                    </a:lnTo>
                    <a:lnTo>
                      <a:pt x="1151" y="375"/>
                    </a:lnTo>
                    <a:lnTo>
                      <a:pt x="1148" y="377"/>
                    </a:lnTo>
                    <a:lnTo>
                      <a:pt x="1151" y="372"/>
                    </a:lnTo>
                    <a:lnTo>
                      <a:pt x="1150" y="369"/>
                    </a:lnTo>
                    <a:lnTo>
                      <a:pt x="1145" y="370"/>
                    </a:lnTo>
                    <a:lnTo>
                      <a:pt x="1140" y="365"/>
                    </a:lnTo>
                    <a:lnTo>
                      <a:pt x="1138" y="362"/>
                    </a:lnTo>
                    <a:lnTo>
                      <a:pt x="1140" y="359"/>
                    </a:lnTo>
                    <a:lnTo>
                      <a:pt x="1146" y="350"/>
                    </a:lnTo>
                    <a:lnTo>
                      <a:pt x="1141" y="354"/>
                    </a:lnTo>
                    <a:lnTo>
                      <a:pt x="1138" y="357"/>
                    </a:lnTo>
                    <a:lnTo>
                      <a:pt x="1135" y="360"/>
                    </a:lnTo>
                    <a:lnTo>
                      <a:pt x="1136" y="365"/>
                    </a:lnTo>
                    <a:lnTo>
                      <a:pt x="1138" y="367"/>
                    </a:lnTo>
                    <a:lnTo>
                      <a:pt x="1138" y="374"/>
                    </a:lnTo>
                    <a:lnTo>
                      <a:pt x="1141" y="375"/>
                    </a:lnTo>
                    <a:lnTo>
                      <a:pt x="1145" y="384"/>
                    </a:lnTo>
                    <a:lnTo>
                      <a:pt x="1145" y="389"/>
                    </a:lnTo>
                    <a:lnTo>
                      <a:pt x="1140" y="397"/>
                    </a:lnTo>
                    <a:lnTo>
                      <a:pt x="1135" y="400"/>
                    </a:lnTo>
                    <a:lnTo>
                      <a:pt x="1131" y="409"/>
                    </a:lnTo>
                    <a:lnTo>
                      <a:pt x="1128" y="414"/>
                    </a:lnTo>
                    <a:lnTo>
                      <a:pt x="1128" y="415"/>
                    </a:lnTo>
                    <a:lnTo>
                      <a:pt x="1126" y="417"/>
                    </a:lnTo>
                    <a:lnTo>
                      <a:pt x="1126" y="415"/>
                    </a:lnTo>
                    <a:lnTo>
                      <a:pt x="1126" y="414"/>
                    </a:lnTo>
                    <a:lnTo>
                      <a:pt x="1121" y="422"/>
                    </a:lnTo>
                    <a:lnTo>
                      <a:pt x="1120" y="424"/>
                    </a:lnTo>
                    <a:lnTo>
                      <a:pt x="1120" y="425"/>
                    </a:lnTo>
                    <a:lnTo>
                      <a:pt x="1118" y="422"/>
                    </a:lnTo>
                    <a:lnTo>
                      <a:pt x="1120" y="417"/>
                    </a:lnTo>
                    <a:lnTo>
                      <a:pt x="1123" y="412"/>
                    </a:lnTo>
                    <a:lnTo>
                      <a:pt x="1121" y="410"/>
                    </a:lnTo>
                    <a:lnTo>
                      <a:pt x="1125" y="407"/>
                    </a:lnTo>
                    <a:lnTo>
                      <a:pt x="1125" y="405"/>
                    </a:lnTo>
                    <a:lnTo>
                      <a:pt x="1128" y="404"/>
                    </a:lnTo>
                    <a:lnTo>
                      <a:pt x="1123" y="404"/>
                    </a:lnTo>
                    <a:lnTo>
                      <a:pt x="1121" y="400"/>
                    </a:lnTo>
                    <a:lnTo>
                      <a:pt x="1121" y="399"/>
                    </a:lnTo>
                    <a:lnTo>
                      <a:pt x="1121" y="397"/>
                    </a:lnTo>
                    <a:lnTo>
                      <a:pt x="1120" y="397"/>
                    </a:lnTo>
                    <a:lnTo>
                      <a:pt x="1120" y="395"/>
                    </a:lnTo>
                    <a:lnTo>
                      <a:pt x="1118" y="397"/>
                    </a:lnTo>
                    <a:lnTo>
                      <a:pt x="1113" y="392"/>
                    </a:lnTo>
                    <a:lnTo>
                      <a:pt x="1113" y="389"/>
                    </a:lnTo>
                    <a:lnTo>
                      <a:pt x="1116" y="384"/>
                    </a:lnTo>
                    <a:lnTo>
                      <a:pt x="1118" y="377"/>
                    </a:lnTo>
                    <a:lnTo>
                      <a:pt x="1115" y="372"/>
                    </a:lnTo>
                    <a:lnTo>
                      <a:pt x="1116" y="367"/>
                    </a:lnTo>
                    <a:lnTo>
                      <a:pt x="1121" y="365"/>
                    </a:lnTo>
                    <a:lnTo>
                      <a:pt x="1120" y="364"/>
                    </a:lnTo>
                    <a:lnTo>
                      <a:pt x="1121" y="359"/>
                    </a:lnTo>
                    <a:lnTo>
                      <a:pt x="1120" y="357"/>
                    </a:lnTo>
                    <a:lnTo>
                      <a:pt x="1120" y="359"/>
                    </a:lnTo>
                    <a:lnTo>
                      <a:pt x="1118" y="364"/>
                    </a:lnTo>
                    <a:lnTo>
                      <a:pt x="1113" y="367"/>
                    </a:lnTo>
                    <a:lnTo>
                      <a:pt x="1110" y="369"/>
                    </a:lnTo>
                    <a:lnTo>
                      <a:pt x="1108" y="369"/>
                    </a:lnTo>
                    <a:lnTo>
                      <a:pt x="1111" y="372"/>
                    </a:lnTo>
                    <a:lnTo>
                      <a:pt x="1110" y="374"/>
                    </a:lnTo>
                    <a:lnTo>
                      <a:pt x="1110" y="380"/>
                    </a:lnTo>
                    <a:lnTo>
                      <a:pt x="1110" y="384"/>
                    </a:lnTo>
                    <a:lnTo>
                      <a:pt x="1110" y="385"/>
                    </a:lnTo>
                    <a:lnTo>
                      <a:pt x="1110" y="390"/>
                    </a:lnTo>
                    <a:lnTo>
                      <a:pt x="1110" y="399"/>
                    </a:lnTo>
                    <a:lnTo>
                      <a:pt x="1108" y="399"/>
                    </a:lnTo>
                    <a:lnTo>
                      <a:pt x="1101" y="394"/>
                    </a:lnTo>
                    <a:lnTo>
                      <a:pt x="1098" y="392"/>
                    </a:lnTo>
                    <a:lnTo>
                      <a:pt x="1095" y="387"/>
                    </a:lnTo>
                    <a:lnTo>
                      <a:pt x="1092" y="387"/>
                    </a:lnTo>
                    <a:lnTo>
                      <a:pt x="1092" y="385"/>
                    </a:lnTo>
                    <a:lnTo>
                      <a:pt x="1093" y="380"/>
                    </a:lnTo>
                    <a:lnTo>
                      <a:pt x="1090" y="385"/>
                    </a:lnTo>
                    <a:lnTo>
                      <a:pt x="1090" y="389"/>
                    </a:lnTo>
                    <a:lnTo>
                      <a:pt x="1093" y="390"/>
                    </a:lnTo>
                    <a:lnTo>
                      <a:pt x="1096" y="394"/>
                    </a:lnTo>
                    <a:lnTo>
                      <a:pt x="1101" y="395"/>
                    </a:lnTo>
                    <a:lnTo>
                      <a:pt x="1106" y="402"/>
                    </a:lnTo>
                    <a:lnTo>
                      <a:pt x="1111" y="404"/>
                    </a:lnTo>
                    <a:lnTo>
                      <a:pt x="1111" y="407"/>
                    </a:lnTo>
                    <a:lnTo>
                      <a:pt x="1110" y="412"/>
                    </a:lnTo>
                    <a:lnTo>
                      <a:pt x="1106" y="412"/>
                    </a:lnTo>
                    <a:lnTo>
                      <a:pt x="1105" y="409"/>
                    </a:lnTo>
                    <a:lnTo>
                      <a:pt x="1103" y="407"/>
                    </a:lnTo>
                    <a:lnTo>
                      <a:pt x="1105" y="412"/>
                    </a:lnTo>
                    <a:lnTo>
                      <a:pt x="1110" y="415"/>
                    </a:lnTo>
                    <a:lnTo>
                      <a:pt x="1111" y="419"/>
                    </a:lnTo>
                    <a:lnTo>
                      <a:pt x="1110" y="420"/>
                    </a:lnTo>
                    <a:lnTo>
                      <a:pt x="1110" y="422"/>
                    </a:lnTo>
                    <a:lnTo>
                      <a:pt x="1105" y="420"/>
                    </a:lnTo>
                    <a:lnTo>
                      <a:pt x="1110" y="425"/>
                    </a:lnTo>
                    <a:lnTo>
                      <a:pt x="1108" y="429"/>
                    </a:lnTo>
                    <a:lnTo>
                      <a:pt x="1105" y="427"/>
                    </a:lnTo>
                    <a:lnTo>
                      <a:pt x="1103" y="424"/>
                    </a:lnTo>
                    <a:lnTo>
                      <a:pt x="1096" y="424"/>
                    </a:lnTo>
                    <a:lnTo>
                      <a:pt x="1093" y="422"/>
                    </a:lnTo>
                    <a:lnTo>
                      <a:pt x="1096" y="425"/>
                    </a:lnTo>
                    <a:lnTo>
                      <a:pt x="1100" y="427"/>
                    </a:lnTo>
                    <a:lnTo>
                      <a:pt x="1103" y="427"/>
                    </a:lnTo>
                    <a:lnTo>
                      <a:pt x="1105" y="432"/>
                    </a:lnTo>
                    <a:lnTo>
                      <a:pt x="1110" y="434"/>
                    </a:lnTo>
                    <a:lnTo>
                      <a:pt x="1113" y="432"/>
                    </a:lnTo>
                    <a:lnTo>
                      <a:pt x="1115" y="434"/>
                    </a:lnTo>
                    <a:lnTo>
                      <a:pt x="1116" y="438"/>
                    </a:lnTo>
                    <a:lnTo>
                      <a:pt x="1115" y="442"/>
                    </a:lnTo>
                    <a:lnTo>
                      <a:pt x="1111" y="440"/>
                    </a:lnTo>
                    <a:lnTo>
                      <a:pt x="1111" y="443"/>
                    </a:lnTo>
                    <a:lnTo>
                      <a:pt x="1113" y="445"/>
                    </a:lnTo>
                    <a:lnTo>
                      <a:pt x="1115" y="450"/>
                    </a:lnTo>
                    <a:lnTo>
                      <a:pt x="1113" y="452"/>
                    </a:lnTo>
                    <a:lnTo>
                      <a:pt x="1110" y="452"/>
                    </a:lnTo>
                    <a:lnTo>
                      <a:pt x="1108" y="453"/>
                    </a:lnTo>
                    <a:lnTo>
                      <a:pt x="1101" y="455"/>
                    </a:lnTo>
                    <a:lnTo>
                      <a:pt x="1100" y="457"/>
                    </a:lnTo>
                    <a:lnTo>
                      <a:pt x="1096" y="455"/>
                    </a:lnTo>
                    <a:lnTo>
                      <a:pt x="1095" y="452"/>
                    </a:lnTo>
                    <a:lnTo>
                      <a:pt x="1093" y="452"/>
                    </a:lnTo>
                    <a:lnTo>
                      <a:pt x="1093" y="458"/>
                    </a:lnTo>
                    <a:lnTo>
                      <a:pt x="1092" y="462"/>
                    </a:lnTo>
                    <a:lnTo>
                      <a:pt x="1096" y="460"/>
                    </a:lnTo>
                    <a:lnTo>
                      <a:pt x="1106" y="458"/>
                    </a:lnTo>
                    <a:lnTo>
                      <a:pt x="1108" y="460"/>
                    </a:lnTo>
                    <a:lnTo>
                      <a:pt x="1108" y="465"/>
                    </a:lnTo>
                    <a:lnTo>
                      <a:pt x="1111" y="467"/>
                    </a:lnTo>
                    <a:lnTo>
                      <a:pt x="1111" y="463"/>
                    </a:lnTo>
                    <a:lnTo>
                      <a:pt x="1115" y="460"/>
                    </a:lnTo>
                    <a:lnTo>
                      <a:pt x="1115" y="460"/>
                    </a:lnTo>
                    <a:lnTo>
                      <a:pt x="1116" y="463"/>
                    </a:lnTo>
                    <a:lnTo>
                      <a:pt x="1116" y="468"/>
                    </a:lnTo>
                    <a:lnTo>
                      <a:pt x="1115" y="468"/>
                    </a:lnTo>
                    <a:lnTo>
                      <a:pt x="1110" y="472"/>
                    </a:lnTo>
                    <a:lnTo>
                      <a:pt x="1108" y="475"/>
                    </a:lnTo>
                    <a:lnTo>
                      <a:pt x="1105" y="477"/>
                    </a:lnTo>
                    <a:lnTo>
                      <a:pt x="1101" y="475"/>
                    </a:lnTo>
                    <a:lnTo>
                      <a:pt x="1098" y="475"/>
                    </a:lnTo>
                    <a:lnTo>
                      <a:pt x="1096" y="470"/>
                    </a:lnTo>
                    <a:lnTo>
                      <a:pt x="1096" y="473"/>
                    </a:lnTo>
                    <a:lnTo>
                      <a:pt x="1093" y="475"/>
                    </a:lnTo>
                    <a:lnTo>
                      <a:pt x="1090" y="473"/>
                    </a:lnTo>
                    <a:lnTo>
                      <a:pt x="1087" y="473"/>
                    </a:lnTo>
                    <a:lnTo>
                      <a:pt x="1090" y="475"/>
                    </a:lnTo>
                    <a:lnTo>
                      <a:pt x="1095" y="477"/>
                    </a:lnTo>
                    <a:lnTo>
                      <a:pt x="1096" y="478"/>
                    </a:lnTo>
                    <a:lnTo>
                      <a:pt x="1095" y="482"/>
                    </a:lnTo>
                    <a:lnTo>
                      <a:pt x="1095" y="482"/>
                    </a:lnTo>
                    <a:lnTo>
                      <a:pt x="1088" y="485"/>
                    </a:lnTo>
                    <a:lnTo>
                      <a:pt x="1085" y="483"/>
                    </a:lnTo>
                    <a:lnTo>
                      <a:pt x="1088" y="487"/>
                    </a:lnTo>
                    <a:lnTo>
                      <a:pt x="1095" y="487"/>
                    </a:lnTo>
                    <a:lnTo>
                      <a:pt x="1098" y="483"/>
                    </a:lnTo>
                    <a:lnTo>
                      <a:pt x="1100" y="485"/>
                    </a:lnTo>
                    <a:lnTo>
                      <a:pt x="1101" y="485"/>
                    </a:lnTo>
                    <a:lnTo>
                      <a:pt x="1096" y="490"/>
                    </a:lnTo>
                    <a:lnTo>
                      <a:pt x="1093" y="490"/>
                    </a:lnTo>
                    <a:lnTo>
                      <a:pt x="1092" y="488"/>
                    </a:lnTo>
                    <a:lnTo>
                      <a:pt x="1088" y="490"/>
                    </a:lnTo>
                    <a:lnTo>
                      <a:pt x="1088" y="490"/>
                    </a:lnTo>
                    <a:lnTo>
                      <a:pt x="1082" y="492"/>
                    </a:lnTo>
                    <a:lnTo>
                      <a:pt x="1070" y="497"/>
                    </a:lnTo>
                    <a:lnTo>
                      <a:pt x="1058" y="507"/>
                    </a:lnTo>
                    <a:lnTo>
                      <a:pt x="1053" y="513"/>
                    </a:lnTo>
                    <a:lnTo>
                      <a:pt x="1052" y="513"/>
                    </a:lnTo>
                    <a:lnTo>
                      <a:pt x="1050" y="512"/>
                    </a:lnTo>
                    <a:lnTo>
                      <a:pt x="1042" y="513"/>
                    </a:lnTo>
                    <a:lnTo>
                      <a:pt x="1038" y="517"/>
                    </a:lnTo>
                    <a:lnTo>
                      <a:pt x="1028" y="527"/>
                    </a:lnTo>
                    <a:lnTo>
                      <a:pt x="1028" y="530"/>
                    </a:lnTo>
                    <a:lnTo>
                      <a:pt x="1025" y="533"/>
                    </a:lnTo>
                    <a:lnTo>
                      <a:pt x="1022" y="533"/>
                    </a:lnTo>
                    <a:lnTo>
                      <a:pt x="1022" y="535"/>
                    </a:lnTo>
                    <a:lnTo>
                      <a:pt x="1018" y="540"/>
                    </a:lnTo>
                    <a:lnTo>
                      <a:pt x="1015" y="538"/>
                    </a:lnTo>
                    <a:lnTo>
                      <a:pt x="1012" y="540"/>
                    </a:lnTo>
                    <a:lnTo>
                      <a:pt x="1012" y="541"/>
                    </a:lnTo>
                    <a:lnTo>
                      <a:pt x="1007" y="541"/>
                    </a:lnTo>
                    <a:lnTo>
                      <a:pt x="1003" y="545"/>
                    </a:lnTo>
                    <a:lnTo>
                      <a:pt x="997" y="545"/>
                    </a:lnTo>
                    <a:lnTo>
                      <a:pt x="995" y="546"/>
                    </a:lnTo>
                    <a:lnTo>
                      <a:pt x="990" y="546"/>
                    </a:lnTo>
                    <a:lnTo>
                      <a:pt x="989" y="550"/>
                    </a:lnTo>
                    <a:lnTo>
                      <a:pt x="984" y="550"/>
                    </a:lnTo>
                    <a:lnTo>
                      <a:pt x="982" y="550"/>
                    </a:lnTo>
                    <a:lnTo>
                      <a:pt x="984" y="551"/>
                    </a:lnTo>
                    <a:lnTo>
                      <a:pt x="984" y="555"/>
                    </a:lnTo>
                    <a:lnTo>
                      <a:pt x="980" y="560"/>
                    </a:lnTo>
                    <a:lnTo>
                      <a:pt x="979" y="560"/>
                    </a:lnTo>
                    <a:lnTo>
                      <a:pt x="975" y="563"/>
                    </a:lnTo>
                    <a:lnTo>
                      <a:pt x="972" y="563"/>
                    </a:lnTo>
                    <a:lnTo>
                      <a:pt x="967" y="570"/>
                    </a:lnTo>
                    <a:lnTo>
                      <a:pt x="964" y="576"/>
                    </a:lnTo>
                    <a:lnTo>
                      <a:pt x="964" y="583"/>
                    </a:lnTo>
                    <a:lnTo>
                      <a:pt x="964" y="596"/>
                    </a:lnTo>
                    <a:lnTo>
                      <a:pt x="964" y="603"/>
                    </a:lnTo>
                    <a:lnTo>
                      <a:pt x="962" y="613"/>
                    </a:lnTo>
                    <a:lnTo>
                      <a:pt x="965" y="618"/>
                    </a:lnTo>
                    <a:lnTo>
                      <a:pt x="965" y="628"/>
                    </a:lnTo>
                    <a:lnTo>
                      <a:pt x="969" y="633"/>
                    </a:lnTo>
                    <a:lnTo>
                      <a:pt x="970" y="643"/>
                    </a:lnTo>
                    <a:lnTo>
                      <a:pt x="974" y="646"/>
                    </a:lnTo>
                    <a:lnTo>
                      <a:pt x="975" y="651"/>
                    </a:lnTo>
                    <a:lnTo>
                      <a:pt x="974" y="656"/>
                    </a:lnTo>
                    <a:lnTo>
                      <a:pt x="972" y="663"/>
                    </a:lnTo>
                    <a:lnTo>
                      <a:pt x="974" y="664"/>
                    </a:lnTo>
                    <a:lnTo>
                      <a:pt x="977" y="678"/>
                    </a:lnTo>
                    <a:lnTo>
                      <a:pt x="982" y="681"/>
                    </a:lnTo>
                    <a:lnTo>
                      <a:pt x="984" y="688"/>
                    </a:lnTo>
                    <a:lnTo>
                      <a:pt x="980" y="689"/>
                    </a:lnTo>
                    <a:lnTo>
                      <a:pt x="982" y="691"/>
                    </a:lnTo>
                    <a:lnTo>
                      <a:pt x="980" y="699"/>
                    </a:lnTo>
                    <a:lnTo>
                      <a:pt x="980" y="701"/>
                    </a:lnTo>
                    <a:lnTo>
                      <a:pt x="980" y="706"/>
                    </a:lnTo>
                    <a:lnTo>
                      <a:pt x="975" y="713"/>
                    </a:lnTo>
                    <a:lnTo>
                      <a:pt x="974" y="718"/>
                    </a:lnTo>
                    <a:lnTo>
                      <a:pt x="970" y="723"/>
                    </a:lnTo>
                    <a:lnTo>
                      <a:pt x="970" y="728"/>
                    </a:lnTo>
                    <a:lnTo>
                      <a:pt x="967" y="729"/>
                    </a:lnTo>
                    <a:lnTo>
                      <a:pt x="962" y="731"/>
                    </a:lnTo>
                    <a:lnTo>
                      <a:pt x="957" y="729"/>
                    </a:lnTo>
                    <a:lnTo>
                      <a:pt x="955" y="726"/>
                    </a:lnTo>
                    <a:lnTo>
                      <a:pt x="950" y="726"/>
                    </a:lnTo>
                    <a:lnTo>
                      <a:pt x="952" y="724"/>
                    </a:lnTo>
                    <a:lnTo>
                      <a:pt x="947" y="719"/>
                    </a:lnTo>
                    <a:lnTo>
                      <a:pt x="947" y="716"/>
                    </a:lnTo>
                    <a:lnTo>
                      <a:pt x="945" y="713"/>
                    </a:lnTo>
                    <a:lnTo>
                      <a:pt x="942" y="713"/>
                    </a:lnTo>
                    <a:lnTo>
                      <a:pt x="940" y="711"/>
                    </a:lnTo>
                    <a:lnTo>
                      <a:pt x="940" y="706"/>
                    </a:lnTo>
                    <a:lnTo>
                      <a:pt x="939" y="701"/>
                    </a:lnTo>
                    <a:lnTo>
                      <a:pt x="934" y="698"/>
                    </a:lnTo>
                    <a:lnTo>
                      <a:pt x="932" y="694"/>
                    </a:lnTo>
                    <a:lnTo>
                      <a:pt x="935" y="693"/>
                    </a:lnTo>
                    <a:lnTo>
                      <a:pt x="935" y="689"/>
                    </a:lnTo>
                    <a:lnTo>
                      <a:pt x="939" y="686"/>
                    </a:lnTo>
                    <a:lnTo>
                      <a:pt x="935" y="688"/>
                    </a:lnTo>
                    <a:lnTo>
                      <a:pt x="932" y="686"/>
                    </a:lnTo>
                    <a:lnTo>
                      <a:pt x="932" y="688"/>
                    </a:lnTo>
                    <a:lnTo>
                      <a:pt x="930" y="689"/>
                    </a:lnTo>
                    <a:lnTo>
                      <a:pt x="930" y="686"/>
                    </a:lnTo>
                    <a:lnTo>
                      <a:pt x="929" y="686"/>
                    </a:lnTo>
                    <a:lnTo>
                      <a:pt x="927" y="684"/>
                    </a:lnTo>
                    <a:lnTo>
                      <a:pt x="924" y="681"/>
                    </a:lnTo>
                    <a:lnTo>
                      <a:pt x="924" y="676"/>
                    </a:lnTo>
                    <a:lnTo>
                      <a:pt x="922" y="674"/>
                    </a:lnTo>
                    <a:lnTo>
                      <a:pt x="929" y="666"/>
                    </a:lnTo>
                    <a:lnTo>
                      <a:pt x="929" y="663"/>
                    </a:lnTo>
                    <a:lnTo>
                      <a:pt x="925" y="661"/>
                    </a:lnTo>
                    <a:lnTo>
                      <a:pt x="922" y="663"/>
                    </a:lnTo>
                    <a:lnTo>
                      <a:pt x="924" y="664"/>
                    </a:lnTo>
                    <a:lnTo>
                      <a:pt x="920" y="668"/>
                    </a:lnTo>
                    <a:lnTo>
                      <a:pt x="919" y="668"/>
                    </a:lnTo>
                    <a:lnTo>
                      <a:pt x="917" y="664"/>
                    </a:lnTo>
                    <a:lnTo>
                      <a:pt x="917" y="661"/>
                    </a:lnTo>
                    <a:lnTo>
                      <a:pt x="922" y="653"/>
                    </a:lnTo>
                    <a:lnTo>
                      <a:pt x="925" y="643"/>
                    </a:lnTo>
                    <a:lnTo>
                      <a:pt x="925" y="638"/>
                    </a:lnTo>
                    <a:lnTo>
                      <a:pt x="922" y="633"/>
                    </a:lnTo>
                    <a:lnTo>
                      <a:pt x="919" y="631"/>
                    </a:lnTo>
                    <a:lnTo>
                      <a:pt x="915" y="628"/>
                    </a:lnTo>
                    <a:lnTo>
                      <a:pt x="917" y="626"/>
                    </a:lnTo>
                    <a:lnTo>
                      <a:pt x="914" y="626"/>
                    </a:lnTo>
                    <a:lnTo>
                      <a:pt x="910" y="625"/>
                    </a:lnTo>
                    <a:lnTo>
                      <a:pt x="910" y="620"/>
                    </a:lnTo>
                    <a:lnTo>
                      <a:pt x="909" y="620"/>
                    </a:lnTo>
                    <a:lnTo>
                      <a:pt x="905" y="618"/>
                    </a:lnTo>
                    <a:lnTo>
                      <a:pt x="904" y="610"/>
                    </a:lnTo>
                    <a:lnTo>
                      <a:pt x="899" y="608"/>
                    </a:lnTo>
                    <a:lnTo>
                      <a:pt x="895" y="606"/>
                    </a:lnTo>
                    <a:lnTo>
                      <a:pt x="891" y="606"/>
                    </a:lnTo>
                    <a:lnTo>
                      <a:pt x="887" y="610"/>
                    </a:lnTo>
                    <a:lnTo>
                      <a:pt x="887" y="610"/>
                    </a:lnTo>
                    <a:lnTo>
                      <a:pt x="886" y="611"/>
                    </a:lnTo>
                    <a:lnTo>
                      <a:pt x="884" y="610"/>
                    </a:lnTo>
                    <a:lnTo>
                      <a:pt x="877" y="616"/>
                    </a:lnTo>
                    <a:lnTo>
                      <a:pt x="874" y="616"/>
                    </a:lnTo>
                    <a:lnTo>
                      <a:pt x="866" y="618"/>
                    </a:lnTo>
                    <a:lnTo>
                      <a:pt x="866" y="616"/>
                    </a:lnTo>
                    <a:lnTo>
                      <a:pt x="866" y="615"/>
                    </a:lnTo>
                    <a:lnTo>
                      <a:pt x="867" y="615"/>
                    </a:lnTo>
                    <a:lnTo>
                      <a:pt x="867" y="615"/>
                    </a:lnTo>
                    <a:lnTo>
                      <a:pt x="867" y="613"/>
                    </a:lnTo>
                    <a:lnTo>
                      <a:pt x="864" y="610"/>
                    </a:lnTo>
                    <a:lnTo>
                      <a:pt x="859" y="606"/>
                    </a:lnTo>
                    <a:lnTo>
                      <a:pt x="859" y="606"/>
                    </a:lnTo>
                    <a:lnTo>
                      <a:pt x="862" y="608"/>
                    </a:lnTo>
                    <a:lnTo>
                      <a:pt x="862" y="606"/>
                    </a:lnTo>
                    <a:lnTo>
                      <a:pt x="859" y="603"/>
                    </a:lnTo>
                    <a:lnTo>
                      <a:pt x="857" y="601"/>
                    </a:lnTo>
                    <a:lnTo>
                      <a:pt x="856" y="600"/>
                    </a:lnTo>
                    <a:lnTo>
                      <a:pt x="854" y="603"/>
                    </a:lnTo>
                    <a:lnTo>
                      <a:pt x="857" y="605"/>
                    </a:lnTo>
                    <a:lnTo>
                      <a:pt x="854" y="603"/>
                    </a:lnTo>
                    <a:lnTo>
                      <a:pt x="849" y="600"/>
                    </a:lnTo>
                    <a:lnTo>
                      <a:pt x="844" y="600"/>
                    </a:lnTo>
                    <a:lnTo>
                      <a:pt x="837" y="600"/>
                    </a:lnTo>
                    <a:lnTo>
                      <a:pt x="837" y="598"/>
                    </a:lnTo>
                    <a:lnTo>
                      <a:pt x="844" y="598"/>
                    </a:lnTo>
                    <a:lnTo>
                      <a:pt x="847" y="598"/>
                    </a:lnTo>
                    <a:lnTo>
                      <a:pt x="846" y="596"/>
                    </a:lnTo>
                    <a:lnTo>
                      <a:pt x="841" y="596"/>
                    </a:lnTo>
                    <a:lnTo>
                      <a:pt x="836" y="600"/>
                    </a:lnTo>
                    <a:lnTo>
                      <a:pt x="832" y="598"/>
                    </a:lnTo>
                    <a:lnTo>
                      <a:pt x="826" y="600"/>
                    </a:lnTo>
                    <a:lnTo>
                      <a:pt x="822" y="598"/>
                    </a:lnTo>
                    <a:lnTo>
                      <a:pt x="819" y="600"/>
                    </a:lnTo>
                    <a:lnTo>
                      <a:pt x="812" y="598"/>
                    </a:lnTo>
                    <a:lnTo>
                      <a:pt x="809" y="600"/>
                    </a:lnTo>
                    <a:lnTo>
                      <a:pt x="804" y="596"/>
                    </a:lnTo>
                    <a:lnTo>
                      <a:pt x="804" y="595"/>
                    </a:lnTo>
                    <a:lnTo>
                      <a:pt x="804" y="591"/>
                    </a:lnTo>
                    <a:lnTo>
                      <a:pt x="801" y="591"/>
                    </a:lnTo>
                    <a:lnTo>
                      <a:pt x="799" y="595"/>
                    </a:lnTo>
                    <a:lnTo>
                      <a:pt x="797" y="598"/>
                    </a:lnTo>
                    <a:lnTo>
                      <a:pt x="794" y="598"/>
                    </a:lnTo>
                    <a:lnTo>
                      <a:pt x="791" y="598"/>
                    </a:lnTo>
                    <a:lnTo>
                      <a:pt x="786" y="598"/>
                    </a:lnTo>
                    <a:lnTo>
                      <a:pt x="771" y="600"/>
                    </a:lnTo>
                    <a:lnTo>
                      <a:pt x="768" y="603"/>
                    </a:lnTo>
                    <a:lnTo>
                      <a:pt x="759" y="606"/>
                    </a:lnTo>
                    <a:lnTo>
                      <a:pt x="754" y="610"/>
                    </a:lnTo>
                    <a:lnTo>
                      <a:pt x="754" y="613"/>
                    </a:lnTo>
                    <a:lnTo>
                      <a:pt x="758" y="611"/>
                    </a:lnTo>
                    <a:lnTo>
                      <a:pt x="761" y="610"/>
                    </a:lnTo>
                    <a:lnTo>
                      <a:pt x="763" y="610"/>
                    </a:lnTo>
                    <a:lnTo>
                      <a:pt x="764" y="611"/>
                    </a:lnTo>
                    <a:lnTo>
                      <a:pt x="768" y="613"/>
                    </a:lnTo>
                    <a:lnTo>
                      <a:pt x="766" y="615"/>
                    </a:lnTo>
                    <a:lnTo>
                      <a:pt x="759" y="618"/>
                    </a:lnTo>
                    <a:lnTo>
                      <a:pt x="759" y="621"/>
                    </a:lnTo>
                    <a:lnTo>
                      <a:pt x="761" y="625"/>
                    </a:lnTo>
                    <a:lnTo>
                      <a:pt x="768" y="626"/>
                    </a:lnTo>
                    <a:lnTo>
                      <a:pt x="774" y="631"/>
                    </a:lnTo>
                    <a:lnTo>
                      <a:pt x="773" y="633"/>
                    </a:lnTo>
                    <a:lnTo>
                      <a:pt x="769" y="633"/>
                    </a:lnTo>
                    <a:lnTo>
                      <a:pt x="768" y="636"/>
                    </a:lnTo>
                    <a:lnTo>
                      <a:pt x="768" y="631"/>
                    </a:lnTo>
                    <a:lnTo>
                      <a:pt x="766" y="630"/>
                    </a:lnTo>
                    <a:lnTo>
                      <a:pt x="763" y="631"/>
                    </a:lnTo>
                    <a:lnTo>
                      <a:pt x="761" y="628"/>
                    </a:lnTo>
                    <a:lnTo>
                      <a:pt x="756" y="626"/>
                    </a:lnTo>
                    <a:lnTo>
                      <a:pt x="753" y="621"/>
                    </a:lnTo>
                    <a:lnTo>
                      <a:pt x="749" y="621"/>
                    </a:lnTo>
                    <a:lnTo>
                      <a:pt x="751" y="626"/>
                    </a:lnTo>
                    <a:lnTo>
                      <a:pt x="751" y="631"/>
                    </a:lnTo>
                    <a:lnTo>
                      <a:pt x="748" y="633"/>
                    </a:lnTo>
                    <a:lnTo>
                      <a:pt x="746" y="630"/>
                    </a:lnTo>
                    <a:lnTo>
                      <a:pt x="741" y="628"/>
                    </a:lnTo>
                    <a:lnTo>
                      <a:pt x="738" y="630"/>
                    </a:lnTo>
                    <a:lnTo>
                      <a:pt x="734" y="633"/>
                    </a:lnTo>
                    <a:lnTo>
                      <a:pt x="729" y="631"/>
                    </a:lnTo>
                    <a:lnTo>
                      <a:pt x="726" y="630"/>
                    </a:lnTo>
                    <a:lnTo>
                      <a:pt x="721" y="630"/>
                    </a:lnTo>
                    <a:lnTo>
                      <a:pt x="719" y="628"/>
                    </a:lnTo>
                    <a:lnTo>
                      <a:pt x="721" y="626"/>
                    </a:lnTo>
                    <a:lnTo>
                      <a:pt x="724" y="625"/>
                    </a:lnTo>
                    <a:lnTo>
                      <a:pt x="723" y="621"/>
                    </a:lnTo>
                    <a:lnTo>
                      <a:pt x="718" y="623"/>
                    </a:lnTo>
                    <a:lnTo>
                      <a:pt x="716" y="621"/>
                    </a:lnTo>
                    <a:lnTo>
                      <a:pt x="716" y="618"/>
                    </a:lnTo>
                    <a:lnTo>
                      <a:pt x="714" y="616"/>
                    </a:lnTo>
                    <a:lnTo>
                      <a:pt x="711" y="616"/>
                    </a:lnTo>
                    <a:lnTo>
                      <a:pt x="709" y="616"/>
                    </a:lnTo>
                    <a:lnTo>
                      <a:pt x="711" y="613"/>
                    </a:lnTo>
                    <a:lnTo>
                      <a:pt x="708" y="613"/>
                    </a:lnTo>
                    <a:lnTo>
                      <a:pt x="703" y="615"/>
                    </a:lnTo>
                    <a:lnTo>
                      <a:pt x="703" y="616"/>
                    </a:lnTo>
                    <a:lnTo>
                      <a:pt x="703" y="620"/>
                    </a:lnTo>
                    <a:lnTo>
                      <a:pt x="699" y="620"/>
                    </a:lnTo>
                    <a:lnTo>
                      <a:pt x="685" y="618"/>
                    </a:lnTo>
                    <a:lnTo>
                      <a:pt x="683" y="616"/>
                    </a:lnTo>
                    <a:lnTo>
                      <a:pt x="671" y="613"/>
                    </a:lnTo>
                    <a:lnTo>
                      <a:pt x="666" y="613"/>
                    </a:lnTo>
                    <a:lnTo>
                      <a:pt x="658" y="615"/>
                    </a:lnTo>
                    <a:lnTo>
                      <a:pt x="655" y="618"/>
                    </a:lnTo>
                    <a:lnTo>
                      <a:pt x="651" y="618"/>
                    </a:lnTo>
                    <a:lnTo>
                      <a:pt x="646" y="623"/>
                    </a:lnTo>
                    <a:lnTo>
                      <a:pt x="641" y="623"/>
                    </a:lnTo>
                    <a:lnTo>
                      <a:pt x="643" y="620"/>
                    </a:lnTo>
                    <a:lnTo>
                      <a:pt x="641" y="616"/>
                    </a:lnTo>
                    <a:lnTo>
                      <a:pt x="643" y="613"/>
                    </a:lnTo>
                    <a:lnTo>
                      <a:pt x="641" y="608"/>
                    </a:lnTo>
                    <a:lnTo>
                      <a:pt x="641" y="611"/>
                    </a:lnTo>
                    <a:lnTo>
                      <a:pt x="636" y="615"/>
                    </a:lnTo>
                    <a:lnTo>
                      <a:pt x="635" y="615"/>
                    </a:lnTo>
                    <a:lnTo>
                      <a:pt x="631" y="611"/>
                    </a:lnTo>
                    <a:lnTo>
                      <a:pt x="635" y="618"/>
                    </a:lnTo>
                    <a:lnTo>
                      <a:pt x="635" y="623"/>
                    </a:lnTo>
                    <a:lnTo>
                      <a:pt x="636" y="626"/>
                    </a:lnTo>
                    <a:lnTo>
                      <a:pt x="633" y="630"/>
                    </a:lnTo>
                    <a:lnTo>
                      <a:pt x="630" y="630"/>
                    </a:lnTo>
                    <a:lnTo>
                      <a:pt x="621" y="634"/>
                    </a:lnTo>
                    <a:lnTo>
                      <a:pt x="611" y="639"/>
                    </a:lnTo>
                    <a:lnTo>
                      <a:pt x="608" y="639"/>
                    </a:lnTo>
                    <a:lnTo>
                      <a:pt x="603" y="643"/>
                    </a:lnTo>
                    <a:lnTo>
                      <a:pt x="600" y="643"/>
                    </a:lnTo>
                    <a:lnTo>
                      <a:pt x="605" y="639"/>
                    </a:lnTo>
                    <a:lnTo>
                      <a:pt x="601" y="638"/>
                    </a:lnTo>
                    <a:lnTo>
                      <a:pt x="598" y="639"/>
                    </a:lnTo>
                    <a:lnTo>
                      <a:pt x="596" y="638"/>
                    </a:lnTo>
                    <a:lnTo>
                      <a:pt x="592" y="639"/>
                    </a:lnTo>
                    <a:lnTo>
                      <a:pt x="595" y="643"/>
                    </a:lnTo>
                    <a:lnTo>
                      <a:pt x="590" y="644"/>
                    </a:lnTo>
                    <a:lnTo>
                      <a:pt x="587" y="643"/>
                    </a:lnTo>
                    <a:lnTo>
                      <a:pt x="588" y="648"/>
                    </a:lnTo>
                    <a:lnTo>
                      <a:pt x="583" y="649"/>
                    </a:lnTo>
                    <a:lnTo>
                      <a:pt x="582" y="648"/>
                    </a:lnTo>
                    <a:lnTo>
                      <a:pt x="577" y="653"/>
                    </a:lnTo>
                    <a:lnTo>
                      <a:pt x="580" y="656"/>
                    </a:lnTo>
                    <a:lnTo>
                      <a:pt x="575" y="659"/>
                    </a:lnTo>
                    <a:lnTo>
                      <a:pt x="572" y="661"/>
                    </a:lnTo>
                    <a:lnTo>
                      <a:pt x="573" y="669"/>
                    </a:lnTo>
                    <a:lnTo>
                      <a:pt x="570" y="673"/>
                    </a:lnTo>
                    <a:lnTo>
                      <a:pt x="567" y="679"/>
                    </a:lnTo>
                    <a:lnTo>
                      <a:pt x="565" y="684"/>
                    </a:lnTo>
                    <a:lnTo>
                      <a:pt x="567" y="688"/>
                    </a:lnTo>
                    <a:lnTo>
                      <a:pt x="567" y="698"/>
                    </a:lnTo>
                    <a:lnTo>
                      <a:pt x="567" y="701"/>
                    </a:lnTo>
                    <a:lnTo>
                      <a:pt x="565" y="706"/>
                    </a:lnTo>
                    <a:lnTo>
                      <a:pt x="563" y="713"/>
                    </a:lnTo>
                    <a:lnTo>
                      <a:pt x="562" y="711"/>
                    </a:lnTo>
                    <a:lnTo>
                      <a:pt x="560" y="708"/>
                    </a:lnTo>
                    <a:lnTo>
                      <a:pt x="555" y="708"/>
                    </a:lnTo>
                    <a:lnTo>
                      <a:pt x="550" y="706"/>
                    </a:lnTo>
                    <a:lnTo>
                      <a:pt x="542" y="703"/>
                    </a:lnTo>
                    <a:lnTo>
                      <a:pt x="538" y="699"/>
                    </a:lnTo>
                    <a:lnTo>
                      <a:pt x="535" y="698"/>
                    </a:lnTo>
                    <a:lnTo>
                      <a:pt x="532" y="698"/>
                    </a:lnTo>
                    <a:lnTo>
                      <a:pt x="530" y="698"/>
                    </a:lnTo>
                    <a:lnTo>
                      <a:pt x="528" y="696"/>
                    </a:lnTo>
                    <a:lnTo>
                      <a:pt x="527" y="694"/>
                    </a:lnTo>
                    <a:lnTo>
                      <a:pt x="527" y="689"/>
                    </a:lnTo>
                    <a:lnTo>
                      <a:pt x="522" y="676"/>
                    </a:lnTo>
                    <a:lnTo>
                      <a:pt x="522" y="674"/>
                    </a:lnTo>
                    <a:lnTo>
                      <a:pt x="522" y="674"/>
                    </a:lnTo>
                    <a:lnTo>
                      <a:pt x="522" y="669"/>
                    </a:lnTo>
                    <a:lnTo>
                      <a:pt x="523" y="666"/>
                    </a:lnTo>
                    <a:lnTo>
                      <a:pt x="518" y="661"/>
                    </a:lnTo>
                    <a:lnTo>
                      <a:pt x="517" y="658"/>
                    </a:lnTo>
                    <a:lnTo>
                      <a:pt x="515" y="654"/>
                    </a:lnTo>
                    <a:lnTo>
                      <a:pt x="512" y="653"/>
                    </a:lnTo>
                    <a:lnTo>
                      <a:pt x="510" y="649"/>
                    </a:lnTo>
                    <a:lnTo>
                      <a:pt x="508" y="648"/>
                    </a:lnTo>
                    <a:lnTo>
                      <a:pt x="505" y="639"/>
                    </a:lnTo>
                    <a:lnTo>
                      <a:pt x="503" y="638"/>
                    </a:lnTo>
                    <a:lnTo>
                      <a:pt x="502" y="636"/>
                    </a:lnTo>
                    <a:lnTo>
                      <a:pt x="502" y="631"/>
                    </a:lnTo>
                    <a:lnTo>
                      <a:pt x="500" y="628"/>
                    </a:lnTo>
                    <a:lnTo>
                      <a:pt x="500" y="626"/>
                    </a:lnTo>
                    <a:lnTo>
                      <a:pt x="497" y="621"/>
                    </a:lnTo>
                    <a:lnTo>
                      <a:pt x="494" y="616"/>
                    </a:lnTo>
                    <a:lnTo>
                      <a:pt x="489" y="613"/>
                    </a:lnTo>
                    <a:lnTo>
                      <a:pt x="487" y="610"/>
                    </a:lnTo>
                    <a:lnTo>
                      <a:pt x="484" y="608"/>
                    </a:lnTo>
                    <a:lnTo>
                      <a:pt x="480" y="608"/>
                    </a:lnTo>
                    <a:lnTo>
                      <a:pt x="480" y="606"/>
                    </a:lnTo>
                    <a:lnTo>
                      <a:pt x="477" y="606"/>
                    </a:lnTo>
                    <a:lnTo>
                      <a:pt x="474" y="606"/>
                    </a:lnTo>
                    <a:lnTo>
                      <a:pt x="469" y="606"/>
                    </a:lnTo>
                    <a:lnTo>
                      <a:pt x="465" y="606"/>
                    </a:lnTo>
                    <a:lnTo>
                      <a:pt x="464" y="608"/>
                    </a:lnTo>
                    <a:lnTo>
                      <a:pt x="462" y="608"/>
                    </a:lnTo>
                    <a:lnTo>
                      <a:pt x="460" y="608"/>
                    </a:lnTo>
                    <a:lnTo>
                      <a:pt x="459" y="608"/>
                    </a:lnTo>
                    <a:lnTo>
                      <a:pt x="457" y="608"/>
                    </a:lnTo>
                    <a:lnTo>
                      <a:pt x="454" y="611"/>
                    </a:lnTo>
                    <a:lnTo>
                      <a:pt x="450" y="616"/>
                    </a:lnTo>
                    <a:lnTo>
                      <a:pt x="449" y="620"/>
                    </a:lnTo>
                    <a:lnTo>
                      <a:pt x="449" y="620"/>
                    </a:lnTo>
                    <a:lnTo>
                      <a:pt x="449" y="623"/>
                    </a:lnTo>
                    <a:lnTo>
                      <a:pt x="445" y="623"/>
                    </a:lnTo>
                    <a:lnTo>
                      <a:pt x="442" y="625"/>
                    </a:lnTo>
                    <a:lnTo>
                      <a:pt x="442" y="626"/>
                    </a:lnTo>
                    <a:lnTo>
                      <a:pt x="439" y="628"/>
                    </a:lnTo>
                    <a:lnTo>
                      <a:pt x="437" y="626"/>
                    </a:lnTo>
                    <a:lnTo>
                      <a:pt x="435" y="626"/>
                    </a:lnTo>
                    <a:lnTo>
                      <a:pt x="430" y="623"/>
                    </a:lnTo>
                    <a:lnTo>
                      <a:pt x="427" y="623"/>
                    </a:lnTo>
                    <a:lnTo>
                      <a:pt x="427" y="621"/>
                    </a:lnTo>
                    <a:lnTo>
                      <a:pt x="422" y="618"/>
                    </a:lnTo>
                    <a:lnTo>
                      <a:pt x="419" y="618"/>
                    </a:lnTo>
                    <a:lnTo>
                      <a:pt x="417" y="616"/>
                    </a:lnTo>
                    <a:lnTo>
                      <a:pt x="417" y="615"/>
                    </a:lnTo>
                    <a:lnTo>
                      <a:pt x="415" y="615"/>
                    </a:lnTo>
                    <a:lnTo>
                      <a:pt x="414" y="613"/>
                    </a:lnTo>
                    <a:lnTo>
                      <a:pt x="412" y="613"/>
                    </a:lnTo>
                    <a:lnTo>
                      <a:pt x="410" y="611"/>
                    </a:lnTo>
                    <a:lnTo>
                      <a:pt x="409" y="611"/>
                    </a:lnTo>
                    <a:lnTo>
                      <a:pt x="409" y="610"/>
                    </a:lnTo>
                    <a:lnTo>
                      <a:pt x="407" y="606"/>
                    </a:lnTo>
                    <a:lnTo>
                      <a:pt x="404" y="603"/>
                    </a:lnTo>
                    <a:lnTo>
                      <a:pt x="400" y="600"/>
                    </a:lnTo>
                    <a:lnTo>
                      <a:pt x="400" y="598"/>
                    </a:lnTo>
                    <a:lnTo>
                      <a:pt x="402" y="596"/>
                    </a:lnTo>
                    <a:lnTo>
                      <a:pt x="404" y="596"/>
                    </a:lnTo>
                    <a:lnTo>
                      <a:pt x="404" y="593"/>
                    </a:lnTo>
                    <a:lnTo>
                      <a:pt x="400" y="590"/>
                    </a:lnTo>
                    <a:lnTo>
                      <a:pt x="400" y="588"/>
                    </a:lnTo>
                    <a:lnTo>
                      <a:pt x="399" y="588"/>
                    </a:lnTo>
                    <a:lnTo>
                      <a:pt x="397" y="586"/>
                    </a:lnTo>
                    <a:lnTo>
                      <a:pt x="397" y="581"/>
                    </a:lnTo>
                    <a:lnTo>
                      <a:pt x="396" y="578"/>
                    </a:lnTo>
                    <a:lnTo>
                      <a:pt x="392" y="576"/>
                    </a:lnTo>
                    <a:lnTo>
                      <a:pt x="389" y="576"/>
                    </a:lnTo>
                    <a:lnTo>
                      <a:pt x="389" y="573"/>
                    </a:lnTo>
                    <a:lnTo>
                      <a:pt x="391" y="571"/>
                    </a:lnTo>
                    <a:lnTo>
                      <a:pt x="386" y="570"/>
                    </a:lnTo>
                    <a:lnTo>
                      <a:pt x="382" y="568"/>
                    </a:lnTo>
                    <a:lnTo>
                      <a:pt x="384" y="566"/>
                    </a:lnTo>
                    <a:lnTo>
                      <a:pt x="381" y="563"/>
                    </a:lnTo>
                    <a:lnTo>
                      <a:pt x="379" y="563"/>
                    </a:lnTo>
                    <a:lnTo>
                      <a:pt x="379" y="561"/>
                    </a:lnTo>
                    <a:lnTo>
                      <a:pt x="376" y="558"/>
                    </a:lnTo>
                    <a:lnTo>
                      <a:pt x="372" y="553"/>
                    </a:lnTo>
                    <a:lnTo>
                      <a:pt x="367" y="551"/>
                    </a:lnTo>
                    <a:lnTo>
                      <a:pt x="329" y="550"/>
                    </a:lnTo>
                    <a:lnTo>
                      <a:pt x="327" y="558"/>
                    </a:lnTo>
                    <a:lnTo>
                      <a:pt x="259" y="556"/>
                    </a:lnTo>
                    <a:lnTo>
                      <a:pt x="176" y="522"/>
                    </a:lnTo>
                    <a:lnTo>
                      <a:pt x="178" y="520"/>
                    </a:lnTo>
                    <a:lnTo>
                      <a:pt x="176" y="518"/>
                    </a:lnTo>
                    <a:lnTo>
                      <a:pt x="118" y="520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8" y="503"/>
                    </a:lnTo>
                    <a:lnTo>
                      <a:pt x="110" y="492"/>
                    </a:lnTo>
                    <a:lnTo>
                      <a:pt x="103" y="487"/>
                    </a:lnTo>
                    <a:lnTo>
                      <a:pt x="101" y="488"/>
                    </a:lnTo>
                    <a:lnTo>
                      <a:pt x="98" y="488"/>
                    </a:lnTo>
                    <a:lnTo>
                      <a:pt x="97" y="487"/>
                    </a:lnTo>
                    <a:lnTo>
                      <a:pt x="97" y="483"/>
                    </a:lnTo>
                    <a:lnTo>
                      <a:pt x="97" y="482"/>
                    </a:lnTo>
                    <a:lnTo>
                      <a:pt x="90" y="480"/>
                    </a:lnTo>
                    <a:lnTo>
                      <a:pt x="87" y="478"/>
                    </a:lnTo>
                    <a:lnTo>
                      <a:pt x="80" y="477"/>
                    </a:lnTo>
                    <a:lnTo>
                      <a:pt x="80" y="472"/>
                    </a:lnTo>
                    <a:lnTo>
                      <a:pt x="77" y="470"/>
                    </a:lnTo>
                    <a:lnTo>
                      <a:pt x="70" y="470"/>
                    </a:lnTo>
                    <a:lnTo>
                      <a:pt x="67" y="468"/>
                    </a:lnTo>
                    <a:lnTo>
                      <a:pt x="63" y="467"/>
                    </a:lnTo>
                    <a:lnTo>
                      <a:pt x="58" y="465"/>
                    </a:lnTo>
                    <a:lnTo>
                      <a:pt x="50" y="465"/>
                    </a:lnTo>
                    <a:lnTo>
                      <a:pt x="47" y="463"/>
                    </a:lnTo>
                    <a:lnTo>
                      <a:pt x="45" y="460"/>
                    </a:lnTo>
                    <a:lnTo>
                      <a:pt x="47" y="460"/>
                    </a:lnTo>
                    <a:lnTo>
                      <a:pt x="48" y="455"/>
                    </a:lnTo>
                    <a:lnTo>
                      <a:pt x="50" y="448"/>
                    </a:lnTo>
                    <a:lnTo>
                      <a:pt x="48" y="445"/>
                    </a:lnTo>
                    <a:lnTo>
                      <a:pt x="45" y="440"/>
                    </a:lnTo>
                    <a:lnTo>
                      <a:pt x="43" y="440"/>
                    </a:lnTo>
                    <a:lnTo>
                      <a:pt x="45" y="438"/>
                    </a:lnTo>
                    <a:lnTo>
                      <a:pt x="43" y="437"/>
                    </a:lnTo>
                    <a:lnTo>
                      <a:pt x="38" y="432"/>
                    </a:lnTo>
                    <a:lnTo>
                      <a:pt x="33" y="422"/>
                    </a:lnTo>
                    <a:lnTo>
                      <a:pt x="33" y="415"/>
                    </a:lnTo>
                    <a:lnTo>
                      <a:pt x="28" y="412"/>
                    </a:lnTo>
                    <a:lnTo>
                      <a:pt x="28" y="410"/>
                    </a:lnTo>
                    <a:lnTo>
                      <a:pt x="28" y="405"/>
                    </a:lnTo>
                    <a:lnTo>
                      <a:pt x="28" y="400"/>
                    </a:lnTo>
                    <a:lnTo>
                      <a:pt x="28" y="399"/>
                    </a:lnTo>
                    <a:lnTo>
                      <a:pt x="30" y="399"/>
                    </a:lnTo>
                    <a:lnTo>
                      <a:pt x="33" y="395"/>
                    </a:lnTo>
                    <a:lnTo>
                      <a:pt x="33" y="392"/>
                    </a:lnTo>
                    <a:lnTo>
                      <a:pt x="30" y="390"/>
                    </a:lnTo>
                    <a:lnTo>
                      <a:pt x="27" y="389"/>
                    </a:lnTo>
                    <a:lnTo>
                      <a:pt x="25" y="384"/>
                    </a:lnTo>
                    <a:lnTo>
                      <a:pt x="23" y="382"/>
                    </a:lnTo>
                    <a:lnTo>
                      <a:pt x="23" y="379"/>
                    </a:lnTo>
                    <a:lnTo>
                      <a:pt x="23" y="375"/>
                    </a:lnTo>
                    <a:lnTo>
                      <a:pt x="23" y="374"/>
                    </a:lnTo>
                    <a:lnTo>
                      <a:pt x="25" y="372"/>
                    </a:lnTo>
                    <a:lnTo>
                      <a:pt x="25" y="369"/>
                    </a:lnTo>
                    <a:lnTo>
                      <a:pt x="27" y="367"/>
                    </a:lnTo>
                    <a:lnTo>
                      <a:pt x="28" y="367"/>
                    </a:lnTo>
                    <a:lnTo>
                      <a:pt x="32" y="372"/>
                    </a:lnTo>
                    <a:lnTo>
                      <a:pt x="35" y="374"/>
                    </a:lnTo>
                    <a:lnTo>
                      <a:pt x="33" y="372"/>
                    </a:lnTo>
                    <a:lnTo>
                      <a:pt x="32" y="369"/>
                    </a:lnTo>
                    <a:lnTo>
                      <a:pt x="32" y="362"/>
                    </a:lnTo>
                    <a:lnTo>
                      <a:pt x="30" y="362"/>
                    </a:lnTo>
                    <a:lnTo>
                      <a:pt x="30" y="359"/>
                    </a:lnTo>
                    <a:lnTo>
                      <a:pt x="32" y="359"/>
                    </a:lnTo>
                    <a:lnTo>
                      <a:pt x="33" y="360"/>
                    </a:lnTo>
                    <a:lnTo>
                      <a:pt x="38" y="359"/>
                    </a:lnTo>
                    <a:lnTo>
                      <a:pt x="42" y="357"/>
                    </a:lnTo>
                    <a:lnTo>
                      <a:pt x="37" y="357"/>
                    </a:lnTo>
                    <a:lnTo>
                      <a:pt x="35" y="355"/>
                    </a:lnTo>
                    <a:lnTo>
                      <a:pt x="32" y="355"/>
                    </a:lnTo>
                    <a:lnTo>
                      <a:pt x="30" y="354"/>
                    </a:lnTo>
                    <a:lnTo>
                      <a:pt x="28" y="354"/>
                    </a:lnTo>
                    <a:lnTo>
                      <a:pt x="27" y="352"/>
                    </a:lnTo>
                    <a:lnTo>
                      <a:pt x="25" y="357"/>
                    </a:lnTo>
                    <a:lnTo>
                      <a:pt x="25" y="362"/>
                    </a:lnTo>
                    <a:lnTo>
                      <a:pt x="25" y="362"/>
                    </a:lnTo>
                    <a:lnTo>
                      <a:pt x="23" y="362"/>
                    </a:lnTo>
                    <a:lnTo>
                      <a:pt x="22" y="360"/>
                    </a:lnTo>
                    <a:lnTo>
                      <a:pt x="17" y="355"/>
                    </a:lnTo>
                    <a:lnTo>
                      <a:pt x="15" y="352"/>
                    </a:lnTo>
                    <a:lnTo>
                      <a:pt x="17" y="349"/>
                    </a:lnTo>
                    <a:lnTo>
                      <a:pt x="15" y="345"/>
                    </a:lnTo>
                    <a:lnTo>
                      <a:pt x="5" y="331"/>
                    </a:lnTo>
                    <a:lnTo>
                      <a:pt x="5" y="329"/>
                    </a:lnTo>
                    <a:lnTo>
                      <a:pt x="5" y="326"/>
                    </a:lnTo>
                    <a:lnTo>
                      <a:pt x="7" y="322"/>
                    </a:lnTo>
                    <a:lnTo>
                      <a:pt x="7" y="317"/>
                    </a:lnTo>
                    <a:lnTo>
                      <a:pt x="5" y="314"/>
                    </a:lnTo>
                    <a:lnTo>
                      <a:pt x="5" y="312"/>
                    </a:lnTo>
                    <a:lnTo>
                      <a:pt x="8" y="307"/>
                    </a:lnTo>
                    <a:lnTo>
                      <a:pt x="8" y="302"/>
                    </a:lnTo>
                    <a:lnTo>
                      <a:pt x="8" y="294"/>
                    </a:lnTo>
                    <a:lnTo>
                      <a:pt x="5" y="286"/>
                    </a:lnTo>
                    <a:lnTo>
                      <a:pt x="0" y="281"/>
                    </a:lnTo>
                    <a:lnTo>
                      <a:pt x="0" y="276"/>
                    </a:lnTo>
                    <a:lnTo>
                      <a:pt x="3" y="271"/>
                    </a:lnTo>
                    <a:lnTo>
                      <a:pt x="10" y="267"/>
                    </a:lnTo>
                    <a:lnTo>
                      <a:pt x="12" y="261"/>
                    </a:lnTo>
                    <a:lnTo>
                      <a:pt x="10" y="259"/>
                    </a:lnTo>
                    <a:lnTo>
                      <a:pt x="10" y="257"/>
                    </a:lnTo>
                    <a:lnTo>
                      <a:pt x="13" y="254"/>
                    </a:lnTo>
                    <a:lnTo>
                      <a:pt x="15" y="249"/>
                    </a:lnTo>
                    <a:lnTo>
                      <a:pt x="17" y="241"/>
                    </a:lnTo>
                    <a:lnTo>
                      <a:pt x="15" y="236"/>
                    </a:lnTo>
                    <a:lnTo>
                      <a:pt x="15" y="233"/>
                    </a:lnTo>
                    <a:lnTo>
                      <a:pt x="17" y="229"/>
                    </a:lnTo>
                    <a:lnTo>
                      <a:pt x="13" y="224"/>
                    </a:lnTo>
                    <a:lnTo>
                      <a:pt x="13" y="219"/>
                    </a:lnTo>
                    <a:lnTo>
                      <a:pt x="17" y="211"/>
                    </a:lnTo>
                    <a:lnTo>
                      <a:pt x="15" y="203"/>
                    </a:lnTo>
                    <a:lnTo>
                      <a:pt x="17" y="198"/>
                    </a:lnTo>
                    <a:lnTo>
                      <a:pt x="23" y="191"/>
                    </a:lnTo>
                    <a:lnTo>
                      <a:pt x="25" y="186"/>
                    </a:lnTo>
                    <a:lnTo>
                      <a:pt x="28" y="184"/>
                    </a:lnTo>
                    <a:lnTo>
                      <a:pt x="30" y="178"/>
                    </a:lnTo>
                    <a:lnTo>
                      <a:pt x="35" y="173"/>
                    </a:lnTo>
                    <a:lnTo>
                      <a:pt x="38" y="166"/>
                    </a:lnTo>
                    <a:lnTo>
                      <a:pt x="40" y="154"/>
                    </a:lnTo>
                    <a:lnTo>
                      <a:pt x="45" y="144"/>
                    </a:lnTo>
                    <a:lnTo>
                      <a:pt x="47" y="135"/>
                    </a:lnTo>
                    <a:lnTo>
                      <a:pt x="53" y="121"/>
                    </a:lnTo>
                    <a:lnTo>
                      <a:pt x="57" y="116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60" y="105"/>
                    </a:lnTo>
                    <a:lnTo>
                      <a:pt x="63" y="98"/>
                    </a:lnTo>
                    <a:lnTo>
                      <a:pt x="63" y="95"/>
                    </a:lnTo>
                    <a:lnTo>
                      <a:pt x="65" y="95"/>
                    </a:lnTo>
                    <a:lnTo>
                      <a:pt x="68" y="96"/>
                    </a:lnTo>
                    <a:lnTo>
                      <a:pt x="77" y="96"/>
                    </a:lnTo>
                    <a:lnTo>
                      <a:pt x="80" y="98"/>
                    </a:lnTo>
                    <a:lnTo>
                      <a:pt x="83" y="98"/>
                    </a:lnTo>
                    <a:lnTo>
                      <a:pt x="87" y="101"/>
                    </a:lnTo>
                    <a:lnTo>
                      <a:pt x="90" y="105"/>
                    </a:lnTo>
                    <a:lnTo>
                      <a:pt x="88" y="100"/>
                    </a:lnTo>
                    <a:lnTo>
                      <a:pt x="87" y="98"/>
                    </a:lnTo>
                    <a:lnTo>
                      <a:pt x="82" y="96"/>
                    </a:lnTo>
                    <a:lnTo>
                      <a:pt x="77" y="93"/>
                    </a:lnTo>
                    <a:lnTo>
                      <a:pt x="70" y="93"/>
                    </a:lnTo>
                    <a:lnTo>
                      <a:pt x="63" y="91"/>
                    </a:lnTo>
                    <a:lnTo>
                      <a:pt x="63" y="90"/>
                    </a:lnTo>
                    <a:lnTo>
                      <a:pt x="65" y="88"/>
                    </a:lnTo>
                    <a:lnTo>
                      <a:pt x="67" y="88"/>
                    </a:lnTo>
                    <a:lnTo>
                      <a:pt x="70" y="85"/>
                    </a:lnTo>
                    <a:lnTo>
                      <a:pt x="70" y="81"/>
                    </a:lnTo>
                    <a:lnTo>
                      <a:pt x="72" y="78"/>
                    </a:lnTo>
                    <a:lnTo>
                      <a:pt x="67" y="76"/>
                    </a:lnTo>
                    <a:lnTo>
                      <a:pt x="65" y="75"/>
                    </a:lnTo>
                    <a:lnTo>
                      <a:pt x="67" y="70"/>
                    </a:lnTo>
                    <a:lnTo>
                      <a:pt x="70" y="70"/>
                    </a:lnTo>
                    <a:lnTo>
                      <a:pt x="72" y="68"/>
                    </a:lnTo>
                    <a:lnTo>
                      <a:pt x="70" y="66"/>
                    </a:lnTo>
                    <a:lnTo>
                      <a:pt x="68" y="66"/>
                    </a:lnTo>
                    <a:lnTo>
                      <a:pt x="67" y="63"/>
                    </a:lnTo>
                    <a:lnTo>
                      <a:pt x="68" y="58"/>
                    </a:lnTo>
                    <a:lnTo>
                      <a:pt x="67" y="51"/>
                    </a:lnTo>
                    <a:lnTo>
                      <a:pt x="70" y="40"/>
                    </a:lnTo>
                    <a:lnTo>
                      <a:pt x="67" y="32"/>
                    </a:lnTo>
                    <a:lnTo>
                      <a:pt x="67" y="28"/>
                    </a:lnTo>
                    <a:lnTo>
                      <a:pt x="70" y="20"/>
                    </a:lnTo>
                    <a:lnTo>
                      <a:pt x="72" y="17"/>
                    </a:lnTo>
                    <a:lnTo>
                      <a:pt x="73" y="15"/>
                    </a:lnTo>
                    <a:lnTo>
                      <a:pt x="85" y="25"/>
                    </a:lnTo>
                    <a:lnTo>
                      <a:pt x="90" y="28"/>
                    </a:lnTo>
                    <a:lnTo>
                      <a:pt x="101" y="28"/>
                    </a:lnTo>
                    <a:lnTo>
                      <a:pt x="105" y="30"/>
                    </a:lnTo>
                    <a:lnTo>
                      <a:pt x="106" y="35"/>
                    </a:lnTo>
                    <a:lnTo>
                      <a:pt x="110" y="33"/>
                    </a:lnTo>
                    <a:lnTo>
                      <a:pt x="111" y="33"/>
                    </a:lnTo>
                    <a:lnTo>
                      <a:pt x="113" y="37"/>
                    </a:lnTo>
                    <a:lnTo>
                      <a:pt x="111" y="38"/>
                    </a:lnTo>
                    <a:lnTo>
                      <a:pt x="106" y="40"/>
                    </a:lnTo>
                    <a:lnTo>
                      <a:pt x="101" y="45"/>
                    </a:lnTo>
                    <a:lnTo>
                      <a:pt x="101" y="46"/>
                    </a:lnTo>
                    <a:lnTo>
                      <a:pt x="106" y="46"/>
                    </a:lnTo>
                    <a:lnTo>
                      <a:pt x="108" y="43"/>
                    </a:lnTo>
                    <a:lnTo>
                      <a:pt x="113" y="40"/>
                    </a:lnTo>
                    <a:lnTo>
                      <a:pt x="115" y="40"/>
                    </a:lnTo>
                    <a:lnTo>
                      <a:pt x="115" y="43"/>
                    </a:lnTo>
                    <a:lnTo>
                      <a:pt x="111" y="46"/>
                    </a:lnTo>
                    <a:lnTo>
                      <a:pt x="110" y="51"/>
                    </a:lnTo>
                    <a:lnTo>
                      <a:pt x="108" y="56"/>
                    </a:lnTo>
                    <a:lnTo>
                      <a:pt x="108" y="58"/>
                    </a:lnTo>
                    <a:lnTo>
                      <a:pt x="106" y="55"/>
                    </a:lnTo>
                    <a:lnTo>
                      <a:pt x="103" y="56"/>
                    </a:lnTo>
                    <a:lnTo>
                      <a:pt x="103" y="55"/>
                    </a:lnTo>
                    <a:lnTo>
                      <a:pt x="98" y="60"/>
                    </a:lnTo>
                    <a:lnTo>
                      <a:pt x="100" y="61"/>
                    </a:lnTo>
                    <a:lnTo>
                      <a:pt x="105" y="63"/>
                    </a:lnTo>
                    <a:lnTo>
                      <a:pt x="110" y="60"/>
                    </a:lnTo>
                    <a:lnTo>
                      <a:pt x="111" y="56"/>
                    </a:lnTo>
                    <a:lnTo>
                      <a:pt x="113" y="53"/>
                    </a:lnTo>
                    <a:lnTo>
                      <a:pt x="115" y="48"/>
                    </a:lnTo>
                    <a:lnTo>
                      <a:pt x="116" y="46"/>
                    </a:lnTo>
                    <a:lnTo>
                      <a:pt x="118" y="42"/>
                    </a:lnTo>
                    <a:lnTo>
                      <a:pt x="121" y="38"/>
                    </a:lnTo>
                    <a:lnTo>
                      <a:pt x="126" y="35"/>
                    </a:lnTo>
                    <a:lnTo>
                      <a:pt x="125" y="32"/>
                    </a:lnTo>
                    <a:lnTo>
                      <a:pt x="123" y="28"/>
                    </a:lnTo>
                    <a:lnTo>
                      <a:pt x="121" y="28"/>
                    </a:lnTo>
                    <a:lnTo>
                      <a:pt x="125" y="25"/>
                    </a:lnTo>
                    <a:lnTo>
                      <a:pt x="126" y="23"/>
                    </a:lnTo>
                    <a:lnTo>
                      <a:pt x="123" y="20"/>
                    </a:lnTo>
                    <a:lnTo>
                      <a:pt x="121" y="17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1" y="7"/>
                    </a:lnTo>
                    <a:lnTo>
                      <a:pt x="120" y="0"/>
                    </a:lnTo>
                    <a:lnTo>
                      <a:pt x="120" y="0"/>
                    </a:lnTo>
                    <a:close/>
                    <a:moveTo>
                      <a:pt x="1259" y="311"/>
                    </a:moveTo>
                    <a:lnTo>
                      <a:pt x="1259" y="312"/>
                    </a:lnTo>
                    <a:lnTo>
                      <a:pt x="1263" y="312"/>
                    </a:lnTo>
                    <a:lnTo>
                      <a:pt x="1264" y="311"/>
                    </a:lnTo>
                    <a:lnTo>
                      <a:pt x="1268" y="311"/>
                    </a:lnTo>
                    <a:lnTo>
                      <a:pt x="1266" y="309"/>
                    </a:lnTo>
                    <a:lnTo>
                      <a:pt x="1261" y="309"/>
                    </a:lnTo>
                    <a:lnTo>
                      <a:pt x="1261" y="309"/>
                    </a:lnTo>
                    <a:lnTo>
                      <a:pt x="1259" y="311"/>
                    </a:lnTo>
                    <a:lnTo>
                      <a:pt x="1259" y="311"/>
                    </a:lnTo>
                    <a:close/>
                    <a:moveTo>
                      <a:pt x="1185" y="329"/>
                    </a:moveTo>
                    <a:lnTo>
                      <a:pt x="1183" y="331"/>
                    </a:lnTo>
                    <a:lnTo>
                      <a:pt x="1186" y="329"/>
                    </a:lnTo>
                    <a:lnTo>
                      <a:pt x="1188" y="329"/>
                    </a:lnTo>
                    <a:lnTo>
                      <a:pt x="1193" y="327"/>
                    </a:lnTo>
                    <a:lnTo>
                      <a:pt x="1198" y="327"/>
                    </a:lnTo>
                    <a:lnTo>
                      <a:pt x="1206" y="326"/>
                    </a:lnTo>
                    <a:lnTo>
                      <a:pt x="1209" y="324"/>
                    </a:lnTo>
                    <a:lnTo>
                      <a:pt x="1218" y="324"/>
                    </a:lnTo>
                    <a:lnTo>
                      <a:pt x="1219" y="324"/>
                    </a:lnTo>
                    <a:lnTo>
                      <a:pt x="1221" y="324"/>
                    </a:lnTo>
                    <a:lnTo>
                      <a:pt x="1228" y="322"/>
                    </a:lnTo>
                    <a:lnTo>
                      <a:pt x="1229" y="319"/>
                    </a:lnTo>
                    <a:lnTo>
                      <a:pt x="1226" y="321"/>
                    </a:lnTo>
                    <a:lnTo>
                      <a:pt x="1223" y="319"/>
                    </a:lnTo>
                    <a:lnTo>
                      <a:pt x="1218" y="322"/>
                    </a:lnTo>
                    <a:lnTo>
                      <a:pt x="1221" y="319"/>
                    </a:lnTo>
                    <a:lnTo>
                      <a:pt x="1223" y="317"/>
                    </a:lnTo>
                    <a:lnTo>
                      <a:pt x="1223" y="316"/>
                    </a:lnTo>
                    <a:lnTo>
                      <a:pt x="1214" y="319"/>
                    </a:lnTo>
                    <a:lnTo>
                      <a:pt x="1208" y="319"/>
                    </a:lnTo>
                    <a:lnTo>
                      <a:pt x="1201" y="322"/>
                    </a:lnTo>
                    <a:lnTo>
                      <a:pt x="1196" y="321"/>
                    </a:lnTo>
                    <a:lnTo>
                      <a:pt x="1190" y="322"/>
                    </a:lnTo>
                    <a:lnTo>
                      <a:pt x="1185" y="324"/>
                    </a:lnTo>
                    <a:lnTo>
                      <a:pt x="1181" y="327"/>
                    </a:lnTo>
                    <a:lnTo>
                      <a:pt x="1181" y="329"/>
                    </a:lnTo>
                    <a:lnTo>
                      <a:pt x="1185" y="329"/>
                    </a:lnTo>
                    <a:lnTo>
                      <a:pt x="1185" y="329"/>
                    </a:lnTo>
                    <a:close/>
                    <a:moveTo>
                      <a:pt x="120" y="22"/>
                    </a:moveTo>
                    <a:lnTo>
                      <a:pt x="115" y="25"/>
                    </a:lnTo>
                    <a:lnTo>
                      <a:pt x="115" y="32"/>
                    </a:lnTo>
                    <a:lnTo>
                      <a:pt x="118" y="38"/>
                    </a:lnTo>
                    <a:lnTo>
                      <a:pt x="120" y="37"/>
                    </a:lnTo>
                    <a:lnTo>
                      <a:pt x="118" y="28"/>
                    </a:lnTo>
                    <a:lnTo>
                      <a:pt x="118" y="25"/>
                    </a:lnTo>
                    <a:lnTo>
                      <a:pt x="121" y="23"/>
                    </a:lnTo>
                    <a:lnTo>
                      <a:pt x="120" y="22"/>
                    </a:lnTo>
                    <a:lnTo>
                      <a:pt x="120" y="22"/>
                    </a:lnTo>
                    <a:close/>
                    <a:moveTo>
                      <a:pt x="580" y="661"/>
                    </a:moveTo>
                    <a:lnTo>
                      <a:pt x="582" y="659"/>
                    </a:lnTo>
                    <a:lnTo>
                      <a:pt x="587" y="653"/>
                    </a:lnTo>
                    <a:lnTo>
                      <a:pt x="590" y="649"/>
                    </a:lnTo>
                    <a:lnTo>
                      <a:pt x="585" y="653"/>
                    </a:lnTo>
                    <a:lnTo>
                      <a:pt x="580" y="661"/>
                    </a:lnTo>
                    <a:lnTo>
                      <a:pt x="580" y="661"/>
                    </a:lnTo>
                    <a:close/>
                    <a:moveTo>
                      <a:pt x="573" y="671"/>
                    </a:moveTo>
                    <a:lnTo>
                      <a:pt x="575" y="671"/>
                    </a:lnTo>
                    <a:lnTo>
                      <a:pt x="578" y="666"/>
                    </a:lnTo>
                    <a:lnTo>
                      <a:pt x="578" y="663"/>
                    </a:lnTo>
                    <a:lnTo>
                      <a:pt x="573" y="671"/>
                    </a:lnTo>
                    <a:lnTo>
                      <a:pt x="573" y="671"/>
                    </a:lnTo>
                    <a:close/>
                    <a:moveTo>
                      <a:pt x="572" y="701"/>
                    </a:moveTo>
                    <a:lnTo>
                      <a:pt x="570" y="694"/>
                    </a:lnTo>
                    <a:lnTo>
                      <a:pt x="570" y="684"/>
                    </a:lnTo>
                    <a:lnTo>
                      <a:pt x="573" y="674"/>
                    </a:lnTo>
                    <a:lnTo>
                      <a:pt x="568" y="684"/>
                    </a:lnTo>
                    <a:lnTo>
                      <a:pt x="568" y="694"/>
                    </a:lnTo>
                    <a:lnTo>
                      <a:pt x="568" y="694"/>
                    </a:lnTo>
                    <a:lnTo>
                      <a:pt x="572" y="701"/>
                    </a:lnTo>
                    <a:lnTo>
                      <a:pt x="572" y="7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3" name="Freeform 158">
                <a:extLst>
                  <a:ext uri="{FF2B5EF4-FFF2-40B4-BE49-F238E27FC236}">
                    <a16:creationId xmlns:a16="http://schemas.microsoft.com/office/drawing/2014/main" id="{626073FB-6F2C-4643-885E-B4F52E0E2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6637" y="3082949"/>
                <a:ext cx="86690" cy="36316"/>
              </a:xfrm>
              <a:custGeom>
                <a:avLst/>
                <a:gdLst/>
                <a:ahLst/>
                <a:cxnLst>
                  <a:cxn ang="0">
                    <a:pos x="60" y="70"/>
                  </a:cxn>
                  <a:cxn ang="0">
                    <a:pos x="68" y="67"/>
                  </a:cxn>
                  <a:cxn ang="0">
                    <a:pos x="68" y="58"/>
                  </a:cxn>
                  <a:cxn ang="0">
                    <a:pos x="76" y="53"/>
                  </a:cxn>
                  <a:cxn ang="0">
                    <a:pos x="90" y="50"/>
                  </a:cxn>
                  <a:cxn ang="0">
                    <a:pos x="95" y="52"/>
                  </a:cxn>
                  <a:cxn ang="0">
                    <a:pos x="100" y="50"/>
                  </a:cxn>
                  <a:cxn ang="0">
                    <a:pos x="110" y="45"/>
                  </a:cxn>
                  <a:cxn ang="0">
                    <a:pos x="113" y="42"/>
                  </a:cxn>
                  <a:cxn ang="0">
                    <a:pos x="121" y="35"/>
                  </a:cxn>
                  <a:cxn ang="0">
                    <a:pos x="123" y="32"/>
                  </a:cxn>
                  <a:cxn ang="0">
                    <a:pos x="128" y="35"/>
                  </a:cxn>
                  <a:cxn ang="0">
                    <a:pos x="135" y="37"/>
                  </a:cxn>
                  <a:cxn ang="0">
                    <a:pos x="140" y="33"/>
                  </a:cxn>
                  <a:cxn ang="0">
                    <a:pos x="148" y="28"/>
                  </a:cxn>
                  <a:cxn ang="0">
                    <a:pos x="151" y="25"/>
                  </a:cxn>
                  <a:cxn ang="0">
                    <a:pos x="155" y="27"/>
                  </a:cxn>
                  <a:cxn ang="0">
                    <a:pos x="161" y="25"/>
                  </a:cxn>
                  <a:cxn ang="0">
                    <a:pos x="161" y="22"/>
                  </a:cxn>
                  <a:cxn ang="0">
                    <a:pos x="150" y="17"/>
                  </a:cxn>
                  <a:cxn ang="0">
                    <a:pos x="151" y="20"/>
                  </a:cxn>
                  <a:cxn ang="0">
                    <a:pos x="140" y="20"/>
                  </a:cxn>
                  <a:cxn ang="0">
                    <a:pos x="133" y="17"/>
                  </a:cxn>
                  <a:cxn ang="0">
                    <a:pos x="130" y="15"/>
                  </a:cxn>
                  <a:cxn ang="0">
                    <a:pos x="133" y="13"/>
                  </a:cxn>
                  <a:cxn ang="0">
                    <a:pos x="140" y="13"/>
                  </a:cxn>
                  <a:cxn ang="0">
                    <a:pos x="146" y="15"/>
                  </a:cxn>
                  <a:cxn ang="0">
                    <a:pos x="136" y="8"/>
                  </a:cxn>
                  <a:cxn ang="0">
                    <a:pos x="128" y="8"/>
                  </a:cxn>
                  <a:cxn ang="0">
                    <a:pos x="125" y="10"/>
                  </a:cxn>
                  <a:cxn ang="0">
                    <a:pos x="110" y="7"/>
                  </a:cxn>
                  <a:cxn ang="0">
                    <a:pos x="95" y="2"/>
                  </a:cxn>
                  <a:cxn ang="0">
                    <a:pos x="88" y="3"/>
                  </a:cxn>
                  <a:cxn ang="0">
                    <a:pos x="86" y="5"/>
                  </a:cxn>
                  <a:cxn ang="0">
                    <a:pos x="80" y="5"/>
                  </a:cxn>
                  <a:cxn ang="0">
                    <a:pos x="62" y="7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3" y="17"/>
                  </a:cxn>
                  <a:cxn ang="0">
                    <a:pos x="22" y="20"/>
                  </a:cxn>
                  <a:cxn ang="0">
                    <a:pos x="12" y="28"/>
                  </a:cxn>
                  <a:cxn ang="0">
                    <a:pos x="10" y="38"/>
                  </a:cxn>
                  <a:cxn ang="0">
                    <a:pos x="3" y="43"/>
                  </a:cxn>
                  <a:cxn ang="0">
                    <a:pos x="3" y="45"/>
                  </a:cxn>
                  <a:cxn ang="0">
                    <a:pos x="5" y="62"/>
                  </a:cxn>
                  <a:cxn ang="0">
                    <a:pos x="15" y="65"/>
                  </a:cxn>
                  <a:cxn ang="0">
                    <a:pos x="23" y="67"/>
                  </a:cxn>
                  <a:cxn ang="0">
                    <a:pos x="22" y="65"/>
                  </a:cxn>
                  <a:cxn ang="0">
                    <a:pos x="30" y="68"/>
                  </a:cxn>
                  <a:cxn ang="0">
                    <a:pos x="43" y="72"/>
                  </a:cxn>
                  <a:cxn ang="0">
                    <a:pos x="45" y="65"/>
                  </a:cxn>
                  <a:cxn ang="0">
                    <a:pos x="50" y="65"/>
                  </a:cxn>
                  <a:cxn ang="0">
                    <a:pos x="53" y="67"/>
                  </a:cxn>
                  <a:cxn ang="0">
                    <a:pos x="55" y="67"/>
                  </a:cxn>
                  <a:cxn ang="0">
                    <a:pos x="57" y="72"/>
                  </a:cxn>
                </a:cxnLst>
                <a:rect l="0" t="0" r="r" b="b"/>
                <a:pathLst>
                  <a:path w="163" h="72">
                    <a:moveTo>
                      <a:pt x="57" y="72"/>
                    </a:moveTo>
                    <a:lnTo>
                      <a:pt x="60" y="70"/>
                    </a:lnTo>
                    <a:lnTo>
                      <a:pt x="67" y="70"/>
                    </a:lnTo>
                    <a:lnTo>
                      <a:pt x="68" y="67"/>
                    </a:lnTo>
                    <a:lnTo>
                      <a:pt x="68" y="62"/>
                    </a:lnTo>
                    <a:lnTo>
                      <a:pt x="68" y="58"/>
                    </a:lnTo>
                    <a:lnTo>
                      <a:pt x="68" y="53"/>
                    </a:lnTo>
                    <a:lnTo>
                      <a:pt x="76" y="53"/>
                    </a:lnTo>
                    <a:lnTo>
                      <a:pt x="85" y="48"/>
                    </a:lnTo>
                    <a:lnTo>
                      <a:pt x="90" y="50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8" y="53"/>
                    </a:lnTo>
                    <a:lnTo>
                      <a:pt x="100" y="50"/>
                    </a:lnTo>
                    <a:lnTo>
                      <a:pt x="105" y="48"/>
                    </a:lnTo>
                    <a:lnTo>
                      <a:pt x="110" y="45"/>
                    </a:lnTo>
                    <a:lnTo>
                      <a:pt x="111" y="43"/>
                    </a:lnTo>
                    <a:lnTo>
                      <a:pt x="113" y="42"/>
                    </a:lnTo>
                    <a:lnTo>
                      <a:pt x="116" y="35"/>
                    </a:lnTo>
                    <a:lnTo>
                      <a:pt x="121" y="35"/>
                    </a:lnTo>
                    <a:lnTo>
                      <a:pt x="121" y="32"/>
                    </a:lnTo>
                    <a:lnTo>
                      <a:pt x="123" y="32"/>
                    </a:lnTo>
                    <a:lnTo>
                      <a:pt x="126" y="33"/>
                    </a:lnTo>
                    <a:lnTo>
                      <a:pt x="128" y="35"/>
                    </a:lnTo>
                    <a:lnTo>
                      <a:pt x="133" y="35"/>
                    </a:lnTo>
                    <a:lnTo>
                      <a:pt x="135" y="37"/>
                    </a:lnTo>
                    <a:lnTo>
                      <a:pt x="136" y="33"/>
                    </a:lnTo>
                    <a:lnTo>
                      <a:pt x="140" y="33"/>
                    </a:lnTo>
                    <a:lnTo>
                      <a:pt x="145" y="30"/>
                    </a:lnTo>
                    <a:lnTo>
                      <a:pt x="148" y="28"/>
                    </a:lnTo>
                    <a:lnTo>
                      <a:pt x="150" y="25"/>
                    </a:lnTo>
                    <a:lnTo>
                      <a:pt x="151" y="25"/>
                    </a:lnTo>
                    <a:lnTo>
                      <a:pt x="153" y="25"/>
                    </a:lnTo>
                    <a:lnTo>
                      <a:pt x="155" y="27"/>
                    </a:lnTo>
                    <a:lnTo>
                      <a:pt x="158" y="27"/>
                    </a:lnTo>
                    <a:lnTo>
                      <a:pt x="161" y="25"/>
                    </a:lnTo>
                    <a:lnTo>
                      <a:pt x="163" y="25"/>
                    </a:lnTo>
                    <a:lnTo>
                      <a:pt x="161" y="22"/>
                    </a:lnTo>
                    <a:lnTo>
                      <a:pt x="155" y="18"/>
                    </a:lnTo>
                    <a:lnTo>
                      <a:pt x="150" y="17"/>
                    </a:lnTo>
                    <a:lnTo>
                      <a:pt x="150" y="17"/>
                    </a:lnTo>
                    <a:lnTo>
                      <a:pt x="151" y="20"/>
                    </a:lnTo>
                    <a:lnTo>
                      <a:pt x="146" y="20"/>
                    </a:lnTo>
                    <a:lnTo>
                      <a:pt x="140" y="20"/>
                    </a:lnTo>
                    <a:lnTo>
                      <a:pt x="138" y="18"/>
                    </a:lnTo>
                    <a:lnTo>
                      <a:pt x="133" y="17"/>
                    </a:lnTo>
                    <a:lnTo>
                      <a:pt x="130" y="17"/>
                    </a:lnTo>
                    <a:lnTo>
                      <a:pt x="130" y="15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5" y="12"/>
                    </a:lnTo>
                    <a:lnTo>
                      <a:pt x="140" y="13"/>
                    </a:lnTo>
                    <a:lnTo>
                      <a:pt x="146" y="15"/>
                    </a:lnTo>
                    <a:lnTo>
                      <a:pt x="146" y="15"/>
                    </a:lnTo>
                    <a:lnTo>
                      <a:pt x="141" y="12"/>
                    </a:lnTo>
                    <a:lnTo>
                      <a:pt x="136" y="8"/>
                    </a:lnTo>
                    <a:lnTo>
                      <a:pt x="131" y="8"/>
                    </a:lnTo>
                    <a:lnTo>
                      <a:pt x="128" y="8"/>
                    </a:lnTo>
                    <a:lnTo>
                      <a:pt x="125" y="7"/>
                    </a:lnTo>
                    <a:lnTo>
                      <a:pt x="125" y="10"/>
                    </a:lnTo>
                    <a:lnTo>
                      <a:pt x="121" y="8"/>
                    </a:lnTo>
                    <a:lnTo>
                      <a:pt x="110" y="7"/>
                    </a:lnTo>
                    <a:lnTo>
                      <a:pt x="100" y="7"/>
                    </a:lnTo>
                    <a:lnTo>
                      <a:pt x="95" y="2"/>
                    </a:lnTo>
                    <a:lnTo>
                      <a:pt x="90" y="0"/>
                    </a:lnTo>
                    <a:lnTo>
                      <a:pt x="88" y="3"/>
                    </a:lnTo>
                    <a:lnTo>
                      <a:pt x="90" y="3"/>
                    </a:lnTo>
                    <a:lnTo>
                      <a:pt x="86" y="5"/>
                    </a:lnTo>
                    <a:lnTo>
                      <a:pt x="85" y="7"/>
                    </a:lnTo>
                    <a:lnTo>
                      <a:pt x="80" y="5"/>
                    </a:lnTo>
                    <a:lnTo>
                      <a:pt x="71" y="8"/>
                    </a:lnTo>
                    <a:lnTo>
                      <a:pt x="62" y="7"/>
                    </a:lnTo>
                    <a:lnTo>
                      <a:pt x="48" y="7"/>
                    </a:lnTo>
                    <a:lnTo>
                      <a:pt x="42" y="10"/>
                    </a:lnTo>
                    <a:lnTo>
                      <a:pt x="38" y="8"/>
                    </a:lnTo>
                    <a:lnTo>
                      <a:pt x="37" y="10"/>
                    </a:lnTo>
                    <a:lnTo>
                      <a:pt x="35" y="12"/>
                    </a:lnTo>
                    <a:lnTo>
                      <a:pt x="33" y="17"/>
                    </a:lnTo>
                    <a:lnTo>
                      <a:pt x="27" y="20"/>
                    </a:lnTo>
                    <a:lnTo>
                      <a:pt x="22" y="20"/>
                    </a:lnTo>
                    <a:lnTo>
                      <a:pt x="17" y="25"/>
                    </a:lnTo>
                    <a:lnTo>
                      <a:pt x="12" y="28"/>
                    </a:lnTo>
                    <a:lnTo>
                      <a:pt x="13" y="33"/>
                    </a:lnTo>
                    <a:lnTo>
                      <a:pt x="10" y="38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0" y="57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15" y="65"/>
                    </a:lnTo>
                    <a:lnTo>
                      <a:pt x="22" y="68"/>
                    </a:lnTo>
                    <a:lnTo>
                      <a:pt x="23" y="67"/>
                    </a:lnTo>
                    <a:lnTo>
                      <a:pt x="20" y="65"/>
                    </a:lnTo>
                    <a:lnTo>
                      <a:pt x="22" y="65"/>
                    </a:lnTo>
                    <a:lnTo>
                      <a:pt x="27" y="65"/>
                    </a:lnTo>
                    <a:lnTo>
                      <a:pt x="30" y="68"/>
                    </a:lnTo>
                    <a:lnTo>
                      <a:pt x="32" y="72"/>
                    </a:lnTo>
                    <a:lnTo>
                      <a:pt x="43" y="72"/>
                    </a:lnTo>
                    <a:lnTo>
                      <a:pt x="47" y="67"/>
                    </a:lnTo>
                    <a:lnTo>
                      <a:pt x="45" y="65"/>
                    </a:lnTo>
                    <a:lnTo>
                      <a:pt x="47" y="63"/>
                    </a:lnTo>
                    <a:lnTo>
                      <a:pt x="50" y="65"/>
                    </a:lnTo>
                    <a:lnTo>
                      <a:pt x="50" y="67"/>
                    </a:lnTo>
                    <a:lnTo>
                      <a:pt x="53" y="67"/>
                    </a:lnTo>
                    <a:lnTo>
                      <a:pt x="53" y="65"/>
                    </a:lnTo>
                    <a:lnTo>
                      <a:pt x="55" y="67"/>
                    </a:lnTo>
                    <a:lnTo>
                      <a:pt x="55" y="68"/>
                    </a:lnTo>
                    <a:lnTo>
                      <a:pt x="57" y="72"/>
                    </a:lnTo>
                    <a:lnTo>
                      <a:pt x="57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4" name="Freeform 160">
                <a:extLst>
                  <a:ext uri="{FF2B5EF4-FFF2-40B4-BE49-F238E27FC236}">
                    <a16:creationId xmlns:a16="http://schemas.microsoft.com/office/drawing/2014/main" id="{2A56E3EE-0E7E-7C4D-B4CA-E2B514756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199" y="3055971"/>
                <a:ext cx="14983" cy="29052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3" y="10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3" y="5"/>
                  </a:cxn>
                  <a:cxn ang="0">
                    <a:pos x="15" y="1"/>
                  </a:cxn>
                  <a:cxn ang="0">
                    <a:pos x="15" y="0"/>
                  </a:cxn>
                  <a:cxn ang="0">
                    <a:pos x="18" y="0"/>
                  </a:cxn>
                  <a:cxn ang="0">
                    <a:pos x="20" y="0"/>
                  </a:cxn>
                  <a:cxn ang="0">
                    <a:pos x="22" y="1"/>
                  </a:cxn>
                  <a:cxn ang="0">
                    <a:pos x="23" y="0"/>
                  </a:cxn>
                  <a:cxn ang="0">
                    <a:pos x="27" y="0"/>
                  </a:cxn>
                  <a:cxn ang="0">
                    <a:pos x="28" y="1"/>
                  </a:cxn>
                  <a:cxn ang="0">
                    <a:pos x="27" y="5"/>
                  </a:cxn>
                  <a:cxn ang="0">
                    <a:pos x="27" y="15"/>
                  </a:cxn>
                  <a:cxn ang="0">
                    <a:pos x="23" y="18"/>
                  </a:cxn>
                  <a:cxn ang="0">
                    <a:pos x="23" y="25"/>
                  </a:cxn>
                  <a:cxn ang="0">
                    <a:pos x="25" y="28"/>
                  </a:cxn>
                  <a:cxn ang="0">
                    <a:pos x="25" y="34"/>
                  </a:cxn>
                  <a:cxn ang="0">
                    <a:pos x="23" y="41"/>
                  </a:cxn>
                  <a:cxn ang="0">
                    <a:pos x="17" y="49"/>
                  </a:cxn>
                  <a:cxn ang="0">
                    <a:pos x="13" y="48"/>
                  </a:cxn>
                  <a:cxn ang="0">
                    <a:pos x="8" y="51"/>
                  </a:cxn>
                  <a:cxn ang="0">
                    <a:pos x="7" y="54"/>
                  </a:cxn>
                  <a:cxn ang="0">
                    <a:pos x="7" y="54"/>
                  </a:cxn>
                  <a:cxn ang="0">
                    <a:pos x="5" y="56"/>
                  </a:cxn>
                  <a:cxn ang="0">
                    <a:pos x="3" y="54"/>
                  </a:cxn>
                  <a:cxn ang="0">
                    <a:pos x="0" y="54"/>
                  </a:cxn>
                  <a:cxn ang="0">
                    <a:pos x="0" y="15"/>
                  </a:cxn>
                  <a:cxn ang="0">
                    <a:pos x="0" y="13"/>
                  </a:cxn>
                </a:cxnLst>
                <a:rect l="0" t="0" r="r" b="b"/>
                <a:pathLst>
                  <a:path w="28" h="56">
                    <a:moveTo>
                      <a:pt x="0" y="13"/>
                    </a:moveTo>
                    <a:lnTo>
                      <a:pt x="0" y="13"/>
                    </a:lnTo>
                    <a:lnTo>
                      <a:pt x="0" y="11"/>
                    </a:lnTo>
                    <a:lnTo>
                      <a:pt x="3" y="10"/>
                    </a:lnTo>
                    <a:lnTo>
                      <a:pt x="7" y="10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3" y="5"/>
                    </a:lnTo>
                    <a:lnTo>
                      <a:pt x="15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27" y="5"/>
                    </a:lnTo>
                    <a:lnTo>
                      <a:pt x="27" y="15"/>
                    </a:lnTo>
                    <a:lnTo>
                      <a:pt x="23" y="18"/>
                    </a:lnTo>
                    <a:lnTo>
                      <a:pt x="23" y="25"/>
                    </a:lnTo>
                    <a:lnTo>
                      <a:pt x="25" y="28"/>
                    </a:lnTo>
                    <a:lnTo>
                      <a:pt x="25" y="34"/>
                    </a:lnTo>
                    <a:lnTo>
                      <a:pt x="23" y="41"/>
                    </a:lnTo>
                    <a:lnTo>
                      <a:pt x="17" y="49"/>
                    </a:lnTo>
                    <a:lnTo>
                      <a:pt x="13" y="48"/>
                    </a:lnTo>
                    <a:lnTo>
                      <a:pt x="8" y="51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5" y="56"/>
                    </a:lnTo>
                    <a:lnTo>
                      <a:pt x="3" y="54"/>
                    </a:lnTo>
                    <a:lnTo>
                      <a:pt x="0" y="54"/>
                    </a:lnTo>
                    <a:lnTo>
                      <a:pt x="0" y="15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5" name="Freeform 161">
                <a:extLst>
                  <a:ext uri="{FF2B5EF4-FFF2-40B4-BE49-F238E27FC236}">
                    <a16:creationId xmlns:a16="http://schemas.microsoft.com/office/drawing/2014/main" id="{110838E2-BE71-2B43-B922-451421AC16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3460" y="3062197"/>
                <a:ext cx="53512" cy="49804"/>
              </a:xfrm>
              <a:custGeom>
                <a:avLst/>
                <a:gdLst/>
                <a:ahLst/>
                <a:cxnLst>
                  <a:cxn ang="0">
                    <a:pos x="48" y="95"/>
                  </a:cxn>
                  <a:cxn ang="0">
                    <a:pos x="49" y="93"/>
                  </a:cxn>
                  <a:cxn ang="0">
                    <a:pos x="49" y="90"/>
                  </a:cxn>
                  <a:cxn ang="0">
                    <a:pos x="54" y="86"/>
                  </a:cxn>
                  <a:cxn ang="0">
                    <a:pos x="61" y="85"/>
                  </a:cxn>
                  <a:cxn ang="0">
                    <a:pos x="64" y="83"/>
                  </a:cxn>
                  <a:cxn ang="0">
                    <a:pos x="64" y="81"/>
                  </a:cxn>
                  <a:cxn ang="0">
                    <a:pos x="71" y="76"/>
                  </a:cxn>
                  <a:cxn ang="0">
                    <a:pos x="74" y="71"/>
                  </a:cxn>
                  <a:cxn ang="0">
                    <a:pos x="73" y="66"/>
                  </a:cxn>
                  <a:cxn ang="0">
                    <a:pos x="78" y="63"/>
                  </a:cxn>
                  <a:cxn ang="0">
                    <a:pos x="83" y="58"/>
                  </a:cxn>
                  <a:cxn ang="0">
                    <a:pos x="88" y="58"/>
                  </a:cxn>
                  <a:cxn ang="0">
                    <a:pos x="94" y="55"/>
                  </a:cxn>
                  <a:cxn ang="0">
                    <a:pos x="96" y="50"/>
                  </a:cxn>
                  <a:cxn ang="0">
                    <a:pos x="98" y="48"/>
                  </a:cxn>
                  <a:cxn ang="0">
                    <a:pos x="99" y="46"/>
                  </a:cxn>
                  <a:cxn ang="0">
                    <a:pos x="98" y="45"/>
                  </a:cxn>
                  <a:cxn ang="0">
                    <a:pos x="93" y="45"/>
                  </a:cxn>
                  <a:cxn ang="0">
                    <a:pos x="91" y="46"/>
                  </a:cxn>
                  <a:cxn ang="0">
                    <a:pos x="88" y="45"/>
                  </a:cxn>
                  <a:cxn ang="0">
                    <a:pos x="84" y="45"/>
                  </a:cxn>
                  <a:cxn ang="0">
                    <a:pos x="83" y="41"/>
                  </a:cxn>
                  <a:cxn ang="0">
                    <a:pos x="81" y="43"/>
                  </a:cxn>
                  <a:cxn ang="0">
                    <a:pos x="79" y="41"/>
                  </a:cxn>
                  <a:cxn ang="0">
                    <a:pos x="76" y="41"/>
                  </a:cxn>
                  <a:cxn ang="0">
                    <a:pos x="76" y="2"/>
                  </a:cxn>
                  <a:cxn ang="0">
                    <a:pos x="76" y="0"/>
                  </a:cxn>
                  <a:cxn ang="0">
                    <a:pos x="34" y="0"/>
                  </a:cxn>
                  <a:cxn ang="0">
                    <a:pos x="33" y="12"/>
                  </a:cxn>
                  <a:cxn ang="0">
                    <a:pos x="23" y="13"/>
                  </a:cxn>
                  <a:cxn ang="0">
                    <a:pos x="26" y="15"/>
                  </a:cxn>
                  <a:cxn ang="0">
                    <a:pos x="28" y="17"/>
                  </a:cxn>
                  <a:cxn ang="0">
                    <a:pos x="31" y="21"/>
                  </a:cxn>
                  <a:cxn ang="0">
                    <a:pos x="36" y="25"/>
                  </a:cxn>
                  <a:cxn ang="0">
                    <a:pos x="38" y="25"/>
                  </a:cxn>
                  <a:cxn ang="0">
                    <a:pos x="39" y="26"/>
                  </a:cxn>
                  <a:cxn ang="0">
                    <a:pos x="41" y="30"/>
                  </a:cxn>
                  <a:cxn ang="0">
                    <a:pos x="43" y="31"/>
                  </a:cxn>
                  <a:cxn ang="0">
                    <a:pos x="46" y="31"/>
                  </a:cxn>
                  <a:cxn ang="0">
                    <a:pos x="49" y="33"/>
                  </a:cxn>
                  <a:cxn ang="0">
                    <a:pos x="49" y="36"/>
                  </a:cxn>
                  <a:cxn ang="0">
                    <a:pos x="46" y="38"/>
                  </a:cxn>
                  <a:cxn ang="0">
                    <a:pos x="16" y="38"/>
                  </a:cxn>
                  <a:cxn ang="0">
                    <a:pos x="1" y="60"/>
                  </a:cxn>
                  <a:cxn ang="0">
                    <a:pos x="1" y="63"/>
                  </a:cxn>
                  <a:cxn ang="0">
                    <a:pos x="1" y="65"/>
                  </a:cxn>
                  <a:cxn ang="0">
                    <a:pos x="1" y="66"/>
                  </a:cxn>
                  <a:cxn ang="0">
                    <a:pos x="3" y="68"/>
                  </a:cxn>
                  <a:cxn ang="0">
                    <a:pos x="3" y="68"/>
                  </a:cxn>
                  <a:cxn ang="0">
                    <a:pos x="3" y="71"/>
                  </a:cxn>
                  <a:cxn ang="0">
                    <a:pos x="1" y="73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3" y="80"/>
                  </a:cxn>
                  <a:cxn ang="0">
                    <a:pos x="6" y="85"/>
                  </a:cxn>
                  <a:cxn ang="0">
                    <a:pos x="10" y="85"/>
                  </a:cxn>
                  <a:cxn ang="0">
                    <a:pos x="13" y="88"/>
                  </a:cxn>
                  <a:cxn ang="0">
                    <a:pos x="26" y="93"/>
                  </a:cxn>
                  <a:cxn ang="0">
                    <a:pos x="33" y="93"/>
                  </a:cxn>
                  <a:cxn ang="0">
                    <a:pos x="39" y="91"/>
                  </a:cxn>
                  <a:cxn ang="0">
                    <a:pos x="48" y="95"/>
                  </a:cxn>
                </a:cxnLst>
                <a:rect l="0" t="0" r="r" b="b"/>
                <a:pathLst>
                  <a:path w="99" h="95">
                    <a:moveTo>
                      <a:pt x="48" y="95"/>
                    </a:moveTo>
                    <a:lnTo>
                      <a:pt x="49" y="93"/>
                    </a:lnTo>
                    <a:lnTo>
                      <a:pt x="49" y="90"/>
                    </a:lnTo>
                    <a:lnTo>
                      <a:pt x="54" y="86"/>
                    </a:lnTo>
                    <a:lnTo>
                      <a:pt x="61" y="85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71" y="76"/>
                    </a:lnTo>
                    <a:lnTo>
                      <a:pt x="74" y="71"/>
                    </a:lnTo>
                    <a:lnTo>
                      <a:pt x="73" y="66"/>
                    </a:lnTo>
                    <a:lnTo>
                      <a:pt x="78" y="63"/>
                    </a:lnTo>
                    <a:lnTo>
                      <a:pt x="83" y="58"/>
                    </a:lnTo>
                    <a:lnTo>
                      <a:pt x="88" y="58"/>
                    </a:lnTo>
                    <a:lnTo>
                      <a:pt x="94" y="55"/>
                    </a:lnTo>
                    <a:lnTo>
                      <a:pt x="96" y="50"/>
                    </a:lnTo>
                    <a:lnTo>
                      <a:pt x="98" y="48"/>
                    </a:lnTo>
                    <a:lnTo>
                      <a:pt x="99" y="46"/>
                    </a:lnTo>
                    <a:lnTo>
                      <a:pt x="98" y="45"/>
                    </a:lnTo>
                    <a:lnTo>
                      <a:pt x="93" y="45"/>
                    </a:lnTo>
                    <a:lnTo>
                      <a:pt x="91" y="46"/>
                    </a:lnTo>
                    <a:lnTo>
                      <a:pt x="88" y="45"/>
                    </a:lnTo>
                    <a:lnTo>
                      <a:pt x="84" y="45"/>
                    </a:lnTo>
                    <a:lnTo>
                      <a:pt x="83" y="41"/>
                    </a:lnTo>
                    <a:lnTo>
                      <a:pt x="81" y="43"/>
                    </a:lnTo>
                    <a:lnTo>
                      <a:pt x="79" y="41"/>
                    </a:lnTo>
                    <a:lnTo>
                      <a:pt x="76" y="41"/>
                    </a:lnTo>
                    <a:lnTo>
                      <a:pt x="76" y="2"/>
                    </a:lnTo>
                    <a:lnTo>
                      <a:pt x="76" y="0"/>
                    </a:lnTo>
                    <a:lnTo>
                      <a:pt x="34" y="0"/>
                    </a:lnTo>
                    <a:lnTo>
                      <a:pt x="33" y="12"/>
                    </a:lnTo>
                    <a:lnTo>
                      <a:pt x="23" y="13"/>
                    </a:lnTo>
                    <a:lnTo>
                      <a:pt x="26" y="15"/>
                    </a:lnTo>
                    <a:lnTo>
                      <a:pt x="28" y="17"/>
                    </a:lnTo>
                    <a:lnTo>
                      <a:pt x="31" y="21"/>
                    </a:lnTo>
                    <a:lnTo>
                      <a:pt x="36" y="25"/>
                    </a:lnTo>
                    <a:lnTo>
                      <a:pt x="38" y="25"/>
                    </a:lnTo>
                    <a:lnTo>
                      <a:pt x="39" y="26"/>
                    </a:lnTo>
                    <a:lnTo>
                      <a:pt x="41" y="30"/>
                    </a:lnTo>
                    <a:lnTo>
                      <a:pt x="43" y="31"/>
                    </a:lnTo>
                    <a:lnTo>
                      <a:pt x="46" y="31"/>
                    </a:lnTo>
                    <a:lnTo>
                      <a:pt x="49" y="33"/>
                    </a:lnTo>
                    <a:lnTo>
                      <a:pt x="49" y="36"/>
                    </a:lnTo>
                    <a:lnTo>
                      <a:pt x="46" y="38"/>
                    </a:lnTo>
                    <a:lnTo>
                      <a:pt x="16" y="38"/>
                    </a:lnTo>
                    <a:lnTo>
                      <a:pt x="1" y="60"/>
                    </a:lnTo>
                    <a:lnTo>
                      <a:pt x="1" y="63"/>
                    </a:lnTo>
                    <a:lnTo>
                      <a:pt x="1" y="65"/>
                    </a:lnTo>
                    <a:lnTo>
                      <a:pt x="1" y="66"/>
                    </a:lnTo>
                    <a:lnTo>
                      <a:pt x="3" y="68"/>
                    </a:lnTo>
                    <a:lnTo>
                      <a:pt x="3" y="68"/>
                    </a:lnTo>
                    <a:lnTo>
                      <a:pt x="3" y="71"/>
                    </a:lnTo>
                    <a:lnTo>
                      <a:pt x="1" y="73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3" y="80"/>
                    </a:lnTo>
                    <a:lnTo>
                      <a:pt x="6" y="85"/>
                    </a:lnTo>
                    <a:lnTo>
                      <a:pt x="10" y="85"/>
                    </a:lnTo>
                    <a:lnTo>
                      <a:pt x="13" y="88"/>
                    </a:lnTo>
                    <a:lnTo>
                      <a:pt x="26" y="93"/>
                    </a:lnTo>
                    <a:lnTo>
                      <a:pt x="33" y="93"/>
                    </a:lnTo>
                    <a:lnTo>
                      <a:pt x="39" y="91"/>
                    </a:lnTo>
                    <a:lnTo>
                      <a:pt x="4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106" name="Freeform 162">
                <a:extLst>
                  <a:ext uri="{FF2B5EF4-FFF2-40B4-BE49-F238E27FC236}">
                    <a16:creationId xmlns:a16="http://schemas.microsoft.com/office/drawing/2014/main" id="{0731319F-0B95-9243-B9A2-42C73A0B6E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1282" y="2860905"/>
                <a:ext cx="370306" cy="240720"/>
              </a:xfrm>
              <a:custGeom>
                <a:avLst/>
                <a:gdLst/>
                <a:ahLst/>
                <a:cxnLst>
                  <a:cxn ang="0">
                    <a:pos x="261" y="43"/>
                  </a:cxn>
                  <a:cxn ang="0">
                    <a:pos x="279" y="63"/>
                  </a:cxn>
                  <a:cxn ang="0">
                    <a:pos x="289" y="88"/>
                  </a:cxn>
                  <a:cxn ang="0">
                    <a:pos x="309" y="103"/>
                  </a:cxn>
                  <a:cxn ang="0">
                    <a:pos x="331" y="102"/>
                  </a:cxn>
                  <a:cxn ang="0">
                    <a:pos x="359" y="88"/>
                  </a:cxn>
                  <a:cxn ang="0">
                    <a:pos x="384" y="118"/>
                  </a:cxn>
                  <a:cxn ang="0">
                    <a:pos x="404" y="156"/>
                  </a:cxn>
                  <a:cxn ang="0">
                    <a:pos x="432" y="188"/>
                  </a:cxn>
                  <a:cxn ang="0">
                    <a:pos x="449" y="196"/>
                  </a:cxn>
                  <a:cxn ang="0">
                    <a:pos x="437" y="216"/>
                  </a:cxn>
                  <a:cxn ang="0">
                    <a:pos x="429" y="274"/>
                  </a:cxn>
                  <a:cxn ang="0">
                    <a:pos x="435" y="309"/>
                  </a:cxn>
                  <a:cxn ang="0">
                    <a:pos x="474" y="366"/>
                  </a:cxn>
                  <a:cxn ang="0">
                    <a:pos x="527" y="372"/>
                  </a:cxn>
                  <a:cxn ang="0">
                    <a:pos x="568" y="379"/>
                  </a:cxn>
                  <a:cxn ang="0">
                    <a:pos x="591" y="344"/>
                  </a:cxn>
                  <a:cxn ang="0">
                    <a:pos x="653" y="303"/>
                  </a:cxn>
                  <a:cxn ang="0">
                    <a:pos x="684" y="322"/>
                  </a:cxn>
                  <a:cxn ang="0">
                    <a:pos x="668" y="357"/>
                  </a:cxn>
                  <a:cxn ang="0">
                    <a:pos x="656" y="366"/>
                  </a:cxn>
                  <a:cxn ang="0">
                    <a:pos x="631" y="386"/>
                  </a:cxn>
                  <a:cxn ang="0">
                    <a:pos x="575" y="406"/>
                  </a:cxn>
                  <a:cxn ang="0">
                    <a:pos x="563" y="427"/>
                  </a:cxn>
                  <a:cxn ang="0">
                    <a:pos x="542" y="460"/>
                  </a:cxn>
                  <a:cxn ang="0">
                    <a:pos x="495" y="425"/>
                  </a:cxn>
                  <a:cxn ang="0">
                    <a:pos x="492" y="425"/>
                  </a:cxn>
                  <a:cxn ang="0">
                    <a:pos x="485" y="429"/>
                  </a:cxn>
                  <a:cxn ang="0">
                    <a:pos x="404" y="425"/>
                  </a:cxn>
                  <a:cxn ang="0">
                    <a:pos x="351" y="407"/>
                  </a:cxn>
                  <a:cxn ang="0">
                    <a:pos x="291" y="381"/>
                  </a:cxn>
                  <a:cxn ang="0">
                    <a:pos x="251" y="356"/>
                  </a:cxn>
                  <a:cxn ang="0">
                    <a:pos x="239" y="322"/>
                  </a:cxn>
                  <a:cxn ang="0">
                    <a:pos x="236" y="278"/>
                  </a:cxn>
                  <a:cxn ang="0">
                    <a:pos x="186" y="219"/>
                  </a:cxn>
                  <a:cxn ang="0">
                    <a:pos x="160" y="193"/>
                  </a:cxn>
                  <a:cxn ang="0">
                    <a:pos x="163" y="171"/>
                  </a:cxn>
                  <a:cxn ang="0">
                    <a:pos x="136" y="138"/>
                  </a:cxn>
                  <a:cxn ang="0">
                    <a:pos x="111" y="115"/>
                  </a:cxn>
                  <a:cxn ang="0">
                    <a:pos x="93" y="77"/>
                  </a:cxn>
                  <a:cxn ang="0">
                    <a:pos x="80" y="38"/>
                  </a:cxn>
                  <a:cxn ang="0">
                    <a:pos x="50" y="43"/>
                  </a:cxn>
                  <a:cxn ang="0">
                    <a:pos x="68" y="100"/>
                  </a:cxn>
                  <a:cxn ang="0">
                    <a:pos x="91" y="136"/>
                  </a:cxn>
                  <a:cxn ang="0">
                    <a:pos x="108" y="160"/>
                  </a:cxn>
                  <a:cxn ang="0">
                    <a:pos x="120" y="201"/>
                  </a:cxn>
                  <a:cxn ang="0">
                    <a:pos x="131" y="226"/>
                  </a:cxn>
                  <a:cxn ang="0">
                    <a:pos x="138" y="261"/>
                  </a:cxn>
                  <a:cxn ang="0">
                    <a:pos x="103" y="223"/>
                  </a:cxn>
                  <a:cxn ang="0">
                    <a:pos x="86" y="175"/>
                  </a:cxn>
                  <a:cxn ang="0">
                    <a:pos x="58" y="156"/>
                  </a:cxn>
                  <a:cxn ang="0">
                    <a:pos x="38" y="131"/>
                  </a:cxn>
                  <a:cxn ang="0">
                    <a:pos x="53" y="121"/>
                  </a:cxn>
                  <a:cxn ang="0">
                    <a:pos x="25" y="82"/>
                  </a:cxn>
                  <a:cxn ang="0">
                    <a:pos x="15" y="42"/>
                  </a:cxn>
                  <a:cxn ang="0">
                    <a:pos x="128" y="210"/>
                  </a:cxn>
                  <a:cxn ang="0">
                    <a:pos x="130" y="221"/>
                  </a:cxn>
                  <a:cxn ang="0">
                    <a:pos x="439" y="216"/>
                  </a:cxn>
                </a:cxnLst>
                <a:rect l="0" t="0" r="r" b="b"/>
                <a:pathLst>
                  <a:path w="693" h="464">
                    <a:moveTo>
                      <a:pt x="0" y="2"/>
                    </a:moveTo>
                    <a:lnTo>
                      <a:pt x="58" y="0"/>
                    </a:lnTo>
                    <a:lnTo>
                      <a:pt x="60" y="2"/>
                    </a:lnTo>
                    <a:lnTo>
                      <a:pt x="58" y="4"/>
                    </a:lnTo>
                    <a:lnTo>
                      <a:pt x="141" y="38"/>
                    </a:lnTo>
                    <a:lnTo>
                      <a:pt x="209" y="40"/>
                    </a:lnTo>
                    <a:lnTo>
                      <a:pt x="211" y="32"/>
                    </a:lnTo>
                    <a:lnTo>
                      <a:pt x="249" y="33"/>
                    </a:lnTo>
                    <a:lnTo>
                      <a:pt x="254" y="35"/>
                    </a:lnTo>
                    <a:lnTo>
                      <a:pt x="258" y="40"/>
                    </a:lnTo>
                    <a:lnTo>
                      <a:pt x="261" y="43"/>
                    </a:lnTo>
                    <a:lnTo>
                      <a:pt x="261" y="45"/>
                    </a:lnTo>
                    <a:lnTo>
                      <a:pt x="263" y="45"/>
                    </a:lnTo>
                    <a:lnTo>
                      <a:pt x="266" y="48"/>
                    </a:lnTo>
                    <a:lnTo>
                      <a:pt x="264" y="50"/>
                    </a:lnTo>
                    <a:lnTo>
                      <a:pt x="268" y="52"/>
                    </a:lnTo>
                    <a:lnTo>
                      <a:pt x="273" y="53"/>
                    </a:lnTo>
                    <a:lnTo>
                      <a:pt x="271" y="55"/>
                    </a:lnTo>
                    <a:lnTo>
                      <a:pt x="271" y="58"/>
                    </a:lnTo>
                    <a:lnTo>
                      <a:pt x="274" y="58"/>
                    </a:lnTo>
                    <a:lnTo>
                      <a:pt x="278" y="60"/>
                    </a:lnTo>
                    <a:lnTo>
                      <a:pt x="279" y="63"/>
                    </a:lnTo>
                    <a:lnTo>
                      <a:pt x="279" y="68"/>
                    </a:lnTo>
                    <a:lnTo>
                      <a:pt x="281" y="70"/>
                    </a:lnTo>
                    <a:lnTo>
                      <a:pt x="282" y="70"/>
                    </a:lnTo>
                    <a:lnTo>
                      <a:pt x="282" y="72"/>
                    </a:lnTo>
                    <a:lnTo>
                      <a:pt x="286" y="75"/>
                    </a:lnTo>
                    <a:lnTo>
                      <a:pt x="286" y="78"/>
                    </a:lnTo>
                    <a:lnTo>
                      <a:pt x="284" y="78"/>
                    </a:lnTo>
                    <a:lnTo>
                      <a:pt x="282" y="80"/>
                    </a:lnTo>
                    <a:lnTo>
                      <a:pt x="282" y="82"/>
                    </a:lnTo>
                    <a:lnTo>
                      <a:pt x="286" y="85"/>
                    </a:lnTo>
                    <a:lnTo>
                      <a:pt x="289" y="88"/>
                    </a:lnTo>
                    <a:lnTo>
                      <a:pt x="291" y="92"/>
                    </a:lnTo>
                    <a:lnTo>
                      <a:pt x="291" y="93"/>
                    </a:lnTo>
                    <a:lnTo>
                      <a:pt x="292" y="93"/>
                    </a:lnTo>
                    <a:lnTo>
                      <a:pt x="294" y="95"/>
                    </a:lnTo>
                    <a:lnTo>
                      <a:pt x="296" y="95"/>
                    </a:lnTo>
                    <a:lnTo>
                      <a:pt x="297" y="97"/>
                    </a:lnTo>
                    <a:lnTo>
                      <a:pt x="299" y="97"/>
                    </a:lnTo>
                    <a:lnTo>
                      <a:pt x="299" y="98"/>
                    </a:lnTo>
                    <a:lnTo>
                      <a:pt x="301" y="100"/>
                    </a:lnTo>
                    <a:lnTo>
                      <a:pt x="304" y="100"/>
                    </a:lnTo>
                    <a:lnTo>
                      <a:pt x="309" y="103"/>
                    </a:lnTo>
                    <a:lnTo>
                      <a:pt x="309" y="105"/>
                    </a:lnTo>
                    <a:lnTo>
                      <a:pt x="312" y="105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10"/>
                    </a:lnTo>
                    <a:lnTo>
                      <a:pt x="324" y="108"/>
                    </a:lnTo>
                    <a:lnTo>
                      <a:pt x="324" y="107"/>
                    </a:lnTo>
                    <a:lnTo>
                      <a:pt x="327" y="105"/>
                    </a:lnTo>
                    <a:lnTo>
                      <a:pt x="331" y="105"/>
                    </a:lnTo>
                    <a:lnTo>
                      <a:pt x="331" y="102"/>
                    </a:lnTo>
                    <a:lnTo>
                      <a:pt x="331" y="102"/>
                    </a:lnTo>
                    <a:lnTo>
                      <a:pt x="332" y="98"/>
                    </a:lnTo>
                    <a:lnTo>
                      <a:pt x="336" y="93"/>
                    </a:lnTo>
                    <a:lnTo>
                      <a:pt x="339" y="90"/>
                    </a:lnTo>
                    <a:lnTo>
                      <a:pt x="341" y="90"/>
                    </a:lnTo>
                    <a:lnTo>
                      <a:pt x="342" y="90"/>
                    </a:lnTo>
                    <a:lnTo>
                      <a:pt x="344" y="90"/>
                    </a:lnTo>
                    <a:lnTo>
                      <a:pt x="346" y="90"/>
                    </a:lnTo>
                    <a:lnTo>
                      <a:pt x="347" y="88"/>
                    </a:lnTo>
                    <a:lnTo>
                      <a:pt x="351" y="88"/>
                    </a:lnTo>
                    <a:lnTo>
                      <a:pt x="356" y="88"/>
                    </a:lnTo>
                    <a:lnTo>
                      <a:pt x="359" y="88"/>
                    </a:lnTo>
                    <a:lnTo>
                      <a:pt x="362" y="88"/>
                    </a:lnTo>
                    <a:lnTo>
                      <a:pt x="362" y="90"/>
                    </a:lnTo>
                    <a:lnTo>
                      <a:pt x="366" y="90"/>
                    </a:lnTo>
                    <a:lnTo>
                      <a:pt x="369" y="92"/>
                    </a:lnTo>
                    <a:lnTo>
                      <a:pt x="371" y="95"/>
                    </a:lnTo>
                    <a:lnTo>
                      <a:pt x="376" y="98"/>
                    </a:lnTo>
                    <a:lnTo>
                      <a:pt x="379" y="103"/>
                    </a:lnTo>
                    <a:lnTo>
                      <a:pt x="382" y="108"/>
                    </a:lnTo>
                    <a:lnTo>
                      <a:pt x="382" y="110"/>
                    </a:lnTo>
                    <a:lnTo>
                      <a:pt x="384" y="113"/>
                    </a:lnTo>
                    <a:lnTo>
                      <a:pt x="384" y="118"/>
                    </a:lnTo>
                    <a:lnTo>
                      <a:pt x="385" y="120"/>
                    </a:lnTo>
                    <a:lnTo>
                      <a:pt x="387" y="121"/>
                    </a:lnTo>
                    <a:lnTo>
                      <a:pt x="390" y="130"/>
                    </a:lnTo>
                    <a:lnTo>
                      <a:pt x="392" y="131"/>
                    </a:lnTo>
                    <a:lnTo>
                      <a:pt x="394" y="135"/>
                    </a:lnTo>
                    <a:lnTo>
                      <a:pt x="397" y="136"/>
                    </a:lnTo>
                    <a:lnTo>
                      <a:pt x="399" y="140"/>
                    </a:lnTo>
                    <a:lnTo>
                      <a:pt x="400" y="143"/>
                    </a:lnTo>
                    <a:lnTo>
                      <a:pt x="405" y="148"/>
                    </a:lnTo>
                    <a:lnTo>
                      <a:pt x="404" y="151"/>
                    </a:lnTo>
                    <a:lnTo>
                      <a:pt x="404" y="156"/>
                    </a:lnTo>
                    <a:lnTo>
                      <a:pt x="404" y="156"/>
                    </a:lnTo>
                    <a:lnTo>
                      <a:pt x="404" y="158"/>
                    </a:lnTo>
                    <a:lnTo>
                      <a:pt x="409" y="171"/>
                    </a:lnTo>
                    <a:lnTo>
                      <a:pt x="409" y="176"/>
                    </a:lnTo>
                    <a:lnTo>
                      <a:pt x="410" y="178"/>
                    </a:lnTo>
                    <a:lnTo>
                      <a:pt x="412" y="180"/>
                    </a:lnTo>
                    <a:lnTo>
                      <a:pt x="414" y="180"/>
                    </a:lnTo>
                    <a:lnTo>
                      <a:pt x="417" y="180"/>
                    </a:lnTo>
                    <a:lnTo>
                      <a:pt x="420" y="181"/>
                    </a:lnTo>
                    <a:lnTo>
                      <a:pt x="424" y="185"/>
                    </a:lnTo>
                    <a:lnTo>
                      <a:pt x="432" y="188"/>
                    </a:lnTo>
                    <a:lnTo>
                      <a:pt x="437" y="190"/>
                    </a:lnTo>
                    <a:lnTo>
                      <a:pt x="442" y="190"/>
                    </a:lnTo>
                    <a:lnTo>
                      <a:pt x="444" y="193"/>
                    </a:lnTo>
                    <a:lnTo>
                      <a:pt x="445" y="195"/>
                    </a:lnTo>
                    <a:lnTo>
                      <a:pt x="444" y="198"/>
                    </a:lnTo>
                    <a:lnTo>
                      <a:pt x="449" y="195"/>
                    </a:lnTo>
                    <a:lnTo>
                      <a:pt x="449" y="188"/>
                    </a:lnTo>
                    <a:lnTo>
                      <a:pt x="452" y="186"/>
                    </a:lnTo>
                    <a:lnTo>
                      <a:pt x="452" y="188"/>
                    </a:lnTo>
                    <a:lnTo>
                      <a:pt x="452" y="193"/>
                    </a:lnTo>
                    <a:lnTo>
                      <a:pt x="449" y="196"/>
                    </a:lnTo>
                    <a:lnTo>
                      <a:pt x="449" y="201"/>
                    </a:lnTo>
                    <a:lnTo>
                      <a:pt x="444" y="205"/>
                    </a:lnTo>
                    <a:lnTo>
                      <a:pt x="444" y="210"/>
                    </a:lnTo>
                    <a:lnTo>
                      <a:pt x="440" y="210"/>
                    </a:lnTo>
                    <a:lnTo>
                      <a:pt x="442" y="208"/>
                    </a:lnTo>
                    <a:lnTo>
                      <a:pt x="442" y="203"/>
                    </a:lnTo>
                    <a:lnTo>
                      <a:pt x="439" y="203"/>
                    </a:lnTo>
                    <a:lnTo>
                      <a:pt x="439" y="210"/>
                    </a:lnTo>
                    <a:lnTo>
                      <a:pt x="435" y="213"/>
                    </a:lnTo>
                    <a:lnTo>
                      <a:pt x="439" y="214"/>
                    </a:lnTo>
                    <a:lnTo>
                      <a:pt x="437" y="216"/>
                    </a:lnTo>
                    <a:lnTo>
                      <a:pt x="435" y="223"/>
                    </a:lnTo>
                    <a:lnTo>
                      <a:pt x="434" y="224"/>
                    </a:lnTo>
                    <a:lnTo>
                      <a:pt x="434" y="229"/>
                    </a:lnTo>
                    <a:lnTo>
                      <a:pt x="435" y="233"/>
                    </a:lnTo>
                    <a:lnTo>
                      <a:pt x="434" y="234"/>
                    </a:lnTo>
                    <a:lnTo>
                      <a:pt x="434" y="238"/>
                    </a:lnTo>
                    <a:lnTo>
                      <a:pt x="430" y="249"/>
                    </a:lnTo>
                    <a:lnTo>
                      <a:pt x="432" y="256"/>
                    </a:lnTo>
                    <a:lnTo>
                      <a:pt x="430" y="266"/>
                    </a:lnTo>
                    <a:lnTo>
                      <a:pt x="427" y="271"/>
                    </a:lnTo>
                    <a:lnTo>
                      <a:pt x="429" y="274"/>
                    </a:lnTo>
                    <a:lnTo>
                      <a:pt x="430" y="283"/>
                    </a:lnTo>
                    <a:lnTo>
                      <a:pt x="429" y="288"/>
                    </a:lnTo>
                    <a:lnTo>
                      <a:pt x="435" y="296"/>
                    </a:lnTo>
                    <a:lnTo>
                      <a:pt x="435" y="303"/>
                    </a:lnTo>
                    <a:lnTo>
                      <a:pt x="434" y="304"/>
                    </a:lnTo>
                    <a:lnTo>
                      <a:pt x="434" y="296"/>
                    </a:lnTo>
                    <a:lnTo>
                      <a:pt x="429" y="289"/>
                    </a:lnTo>
                    <a:lnTo>
                      <a:pt x="427" y="294"/>
                    </a:lnTo>
                    <a:lnTo>
                      <a:pt x="430" y="298"/>
                    </a:lnTo>
                    <a:lnTo>
                      <a:pt x="434" y="308"/>
                    </a:lnTo>
                    <a:lnTo>
                      <a:pt x="435" y="309"/>
                    </a:lnTo>
                    <a:lnTo>
                      <a:pt x="434" y="312"/>
                    </a:lnTo>
                    <a:lnTo>
                      <a:pt x="435" y="316"/>
                    </a:lnTo>
                    <a:lnTo>
                      <a:pt x="437" y="321"/>
                    </a:lnTo>
                    <a:lnTo>
                      <a:pt x="450" y="334"/>
                    </a:lnTo>
                    <a:lnTo>
                      <a:pt x="452" y="339"/>
                    </a:lnTo>
                    <a:lnTo>
                      <a:pt x="457" y="344"/>
                    </a:lnTo>
                    <a:lnTo>
                      <a:pt x="457" y="347"/>
                    </a:lnTo>
                    <a:lnTo>
                      <a:pt x="459" y="351"/>
                    </a:lnTo>
                    <a:lnTo>
                      <a:pt x="469" y="362"/>
                    </a:lnTo>
                    <a:lnTo>
                      <a:pt x="472" y="366"/>
                    </a:lnTo>
                    <a:lnTo>
                      <a:pt x="474" y="366"/>
                    </a:lnTo>
                    <a:lnTo>
                      <a:pt x="480" y="366"/>
                    </a:lnTo>
                    <a:lnTo>
                      <a:pt x="482" y="367"/>
                    </a:lnTo>
                    <a:lnTo>
                      <a:pt x="488" y="369"/>
                    </a:lnTo>
                    <a:lnTo>
                      <a:pt x="493" y="376"/>
                    </a:lnTo>
                    <a:lnTo>
                      <a:pt x="497" y="382"/>
                    </a:lnTo>
                    <a:lnTo>
                      <a:pt x="502" y="379"/>
                    </a:lnTo>
                    <a:lnTo>
                      <a:pt x="510" y="377"/>
                    </a:lnTo>
                    <a:lnTo>
                      <a:pt x="512" y="381"/>
                    </a:lnTo>
                    <a:lnTo>
                      <a:pt x="515" y="381"/>
                    </a:lnTo>
                    <a:lnTo>
                      <a:pt x="525" y="376"/>
                    </a:lnTo>
                    <a:lnTo>
                      <a:pt x="527" y="372"/>
                    </a:lnTo>
                    <a:lnTo>
                      <a:pt x="535" y="372"/>
                    </a:lnTo>
                    <a:lnTo>
                      <a:pt x="540" y="372"/>
                    </a:lnTo>
                    <a:lnTo>
                      <a:pt x="545" y="369"/>
                    </a:lnTo>
                    <a:lnTo>
                      <a:pt x="552" y="369"/>
                    </a:lnTo>
                    <a:lnTo>
                      <a:pt x="557" y="371"/>
                    </a:lnTo>
                    <a:lnTo>
                      <a:pt x="558" y="367"/>
                    </a:lnTo>
                    <a:lnTo>
                      <a:pt x="565" y="369"/>
                    </a:lnTo>
                    <a:lnTo>
                      <a:pt x="562" y="372"/>
                    </a:lnTo>
                    <a:lnTo>
                      <a:pt x="560" y="374"/>
                    </a:lnTo>
                    <a:lnTo>
                      <a:pt x="565" y="376"/>
                    </a:lnTo>
                    <a:lnTo>
                      <a:pt x="568" y="379"/>
                    </a:lnTo>
                    <a:lnTo>
                      <a:pt x="570" y="377"/>
                    </a:lnTo>
                    <a:lnTo>
                      <a:pt x="572" y="376"/>
                    </a:lnTo>
                    <a:lnTo>
                      <a:pt x="577" y="371"/>
                    </a:lnTo>
                    <a:lnTo>
                      <a:pt x="577" y="366"/>
                    </a:lnTo>
                    <a:lnTo>
                      <a:pt x="578" y="361"/>
                    </a:lnTo>
                    <a:lnTo>
                      <a:pt x="573" y="364"/>
                    </a:lnTo>
                    <a:lnTo>
                      <a:pt x="573" y="364"/>
                    </a:lnTo>
                    <a:lnTo>
                      <a:pt x="583" y="357"/>
                    </a:lnTo>
                    <a:lnTo>
                      <a:pt x="586" y="357"/>
                    </a:lnTo>
                    <a:lnTo>
                      <a:pt x="591" y="352"/>
                    </a:lnTo>
                    <a:lnTo>
                      <a:pt x="591" y="344"/>
                    </a:lnTo>
                    <a:lnTo>
                      <a:pt x="600" y="336"/>
                    </a:lnTo>
                    <a:lnTo>
                      <a:pt x="600" y="334"/>
                    </a:lnTo>
                    <a:lnTo>
                      <a:pt x="600" y="321"/>
                    </a:lnTo>
                    <a:lnTo>
                      <a:pt x="610" y="312"/>
                    </a:lnTo>
                    <a:lnTo>
                      <a:pt x="605" y="311"/>
                    </a:lnTo>
                    <a:lnTo>
                      <a:pt x="605" y="308"/>
                    </a:lnTo>
                    <a:lnTo>
                      <a:pt x="621" y="304"/>
                    </a:lnTo>
                    <a:lnTo>
                      <a:pt x="641" y="306"/>
                    </a:lnTo>
                    <a:lnTo>
                      <a:pt x="645" y="301"/>
                    </a:lnTo>
                    <a:lnTo>
                      <a:pt x="651" y="301"/>
                    </a:lnTo>
                    <a:lnTo>
                      <a:pt x="653" y="303"/>
                    </a:lnTo>
                    <a:lnTo>
                      <a:pt x="660" y="299"/>
                    </a:lnTo>
                    <a:lnTo>
                      <a:pt x="660" y="298"/>
                    </a:lnTo>
                    <a:lnTo>
                      <a:pt x="668" y="298"/>
                    </a:lnTo>
                    <a:lnTo>
                      <a:pt x="679" y="299"/>
                    </a:lnTo>
                    <a:lnTo>
                      <a:pt x="683" y="299"/>
                    </a:lnTo>
                    <a:lnTo>
                      <a:pt x="681" y="296"/>
                    </a:lnTo>
                    <a:lnTo>
                      <a:pt x="686" y="296"/>
                    </a:lnTo>
                    <a:lnTo>
                      <a:pt x="693" y="304"/>
                    </a:lnTo>
                    <a:lnTo>
                      <a:pt x="693" y="309"/>
                    </a:lnTo>
                    <a:lnTo>
                      <a:pt x="689" y="314"/>
                    </a:lnTo>
                    <a:lnTo>
                      <a:pt x="684" y="322"/>
                    </a:lnTo>
                    <a:lnTo>
                      <a:pt x="673" y="331"/>
                    </a:lnTo>
                    <a:lnTo>
                      <a:pt x="671" y="334"/>
                    </a:lnTo>
                    <a:lnTo>
                      <a:pt x="671" y="341"/>
                    </a:lnTo>
                    <a:lnTo>
                      <a:pt x="666" y="342"/>
                    </a:lnTo>
                    <a:lnTo>
                      <a:pt x="665" y="344"/>
                    </a:lnTo>
                    <a:lnTo>
                      <a:pt x="668" y="347"/>
                    </a:lnTo>
                    <a:lnTo>
                      <a:pt x="671" y="347"/>
                    </a:lnTo>
                    <a:lnTo>
                      <a:pt x="671" y="349"/>
                    </a:lnTo>
                    <a:lnTo>
                      <a:pt x="666" y="356"/>
                    </a:lnTo>
                    <a:lnTo>
                      <a:pt x="666" y="357"/>
                    </a:lnTo>
                    <a:lnTo>
                      <a:pt x="668" y="357"/>
                    </a:lnTo>
                    <a:lnTo>
                      <a:pt x="670" y="356"/>
                    </a:lnTo>
                    <a:lnTo>
                      <a:pt x="673" y="356"/>
                    </a:lnTo>
                    <a:lnTo>
                      <a:pt x="670" y="359"/>
                    </a:lnTo>
                    <a:lnTo>
                      <a:pt x="666" y="372"/>
                    </a:lnTo>
                    <a:lnTo>
                      <a:pt x="661" y="379"/>
                    </a:lnTo>
                    <a:lnTo>
                      <a:pt x="660" y="381"/>
                    </a:lnTo>
                    <a:lnTo>
                      <a:pt x="658" y="376"/>
                    </a:lnTo>
                    <a:lnTo>
                      <a:pt x="653" y="374"/>
                    </a:lnTo>
                    <a:lnTo>
                      <a:pt x="653" y="372"/>
                    </a:lnTo>
                    <a:lnTo>
                      <a:pt x="655" y="371"/>
                    </a:lnTo>
                    <a:lnTo>
                      <a:pt x="656" y="366"/>
                    </a:lnTo>
                    <a:lnTo>
                      <a:pt x="653" y="366"/>
                    </a:lnTo>
                    <a:lnTo>
                      <a:pt x="648" y="372"/>
                    </a:lnTo>
                    <a:lnTo>
                      <a:pt x="643" y="376"/>
                    </a:lnTo>
                    <a:lnTo>
                      <a:pt x="643" y="376"/>
                    </a:lnTo>
                    <a:lnTo>
                      <a:pt x="641" y="376"/>
                    </a:lnTo>
                    <a:lnTo>
                      <a:pt x="638" y="376"/>
                    </a:lnTo>
                    <a:lnTo>
                      <a:pt x="638" y="377"/>
                    </a:lnTo>
                    <a:lnTo>
                      <a:pt x="636" y="381"/>
                    </a:lnTo>
                    <a:lnTo>
                      <a:pt x="633" y="386"/>
                    </a:lnTo>
                    <a:lnTo>
                      <a:pt x="633" y="386"/>
                    </a:lnTo>
                    <a:lnTo>
                      <a:pt x="631" y="386"/>
                    </a:lnTo>
                    <a:lnTo>
                      <a:pt x="631" y="387"/>
                    </a:lnTo>
                    <a:lnTo>
                      <a:pt x="630" y="387"/>
                    </a:lnTo>
                    <a:lnTo>
                      <a:pt x="630" y="386"/>
                    </a:lnTo>
                    <a:lnTo>
                      <a:pt x="626" y="386"/>
                    </a:lnTo>
                    <a:lnTo>
                      <a:pt x="623" y="387"/>
                    </a:lnTo>
                    <a:lnTo>
                      <a:pt x="623" y="389"/>
                    </a:lnTo>
                    <a:lnTo>
                      <a:pt x="581" y="389"/>
                    </a:lnTo>
                    <a:lnTo>
                      <a:pt x="580" y="401"/>
                    </a:lnTo>
                    <a:lnTo>
                      <a:pt x="570" y="402"/>
                    </a:lnTo>
                    <a:lnTo>
                      <a:pt x="573" y="404"/>
                    </a:lnTo>
                    <a:lnTo>
                      <a:pt x="575" y="406"/>
                    </a:lnTo>
                    <a:lnTo>
                      <a:pt x="578" y="410"/>
                    </a:lnTo>
                    <a:lnTo>
                      <a:pt x="583" y="414"/>
                    </a:lnTo>
                    <a:lnTo>
                      <a:pt x="585" y="414"/>
                    </a:lnTo>
                    <a:lnTo>
                      <a:pt x="586" y="415"/>
                    </a:lnTo>
                    <a:lnTo>
                      <a:pt x="588" y="419"/>
                    </a:lnTo>
                    <a:lnTo>
                      <a:pt x="590" y="420"/>
                    </a:lnTo>
                    <a:lnTo>
                      <a:pt x="593" y="420"/>
                    </a:lnTo>
                    <a:lnTo>
                      <a:pt x="596" y="422"/>
                    </a:lnTo>
                    <a:lnTo>
                      <a:pt x="596" y="425"/>
                    </a:lnTo>
                    <a:lnTo>
                      <a:pt x="593" y="427"/>
                    </a:lnTo>
                    <a:lnTo>
                      <a:pt x="563" y="427"/>
                    </a:lnTo>
                    <a:lnTo>
                      <a:pt x="548" y="449"/>
                    </a:lnTo>
                    <a:lnTo>
                      <a:pt x="548" y="452"/>
                    </a:lnTo>
                    <a:lnTo>
                      <a:pt x="548" y="454"/>
                    </a:lnTo>
                    <a:lnTo>
                      <a:pt x="548" y="455"/>
                    </a:lnTo>
                    <a:lnTo>
                      <a:pt x="550" y="457"/>
                    </a:lnTo>
                    <a:lnTo>
                      <a:pt x="550" y="457"/>
                    </a:lnTo>
                    <a:lnTo>
                      <a:pt x="550" y="460"/>
                    </a:lnTo>
                    <a:lnTo>
                      <a:pt x="548" y="462"/>
                    </a:lnTo>
                    <a:lnTo>
                      <a:pt x="547" y="464"/>
                    </a:lnTo>
                    <a:lnTo>
                      <a:pt x="547" y="464"/>
                    </a:lnTo>
                    <a:lnTo>
                      <a:pt x="542" y="460"/>
                    </a:lnTo>
                    <a:lnTo>
                      <a:pt x="535" y="455"/>
                    </a:lnTo>
                    <a:lnTo>
                      <a:pt x="535" y="452"/>
                    </a:lnTo>
                    <a:lnTo>
                      <a:pt x="530" y="452"/>
                    </a:lnTo>
                    <a:lnTo>
                      <a:pt x="513" y="439"/>
                    </a:lnTo>
                    <a:lnTo>
                      <a:pt x="510" y="435"/>
                    </a:lnTo>
                    <a:lnTo>
                      <a:pt x="510" y="434"/>
                    </a:lnTo>
                    <a:lnTo>
                      <a:pt x="507" y="429"/>
                    </a:lnTo>
                    <a:lnTo>
                      <a:pt x="502" y="425"/>
                    </a:lnTo>
                    <a:lnTo>
                      <a:pt x="497" y="425"/>
                    </a:lnTo>
                    <a:lnTo>
                      <a:pt x="497" y="425"/>
                    </a:lnTo>
                    <a:lnTo>
                      <a:pt x="495" y="425"/>
                    </a:lnTo>
                    <a:lnTo>
                      <a:pt x="495" y="425"/>
                    </a:lnTo>
                    <a:lnTo>
                      <a:pt x="503" y="429"/>
                    </a:lnTo>
                    <a:lnTo>
                      <a:pt x="508" y="434"/>
                    </a:lnTo>
                    <a:lnTo>
                      <a:pt x="508" y="435"/>
                    </a:lnTo>
                    <a:lnTo>
                      <a:pt x="505" y="432"/>
                    </a:lnTo>
                    <a:lnTo>
                      <a:pt x="498" y="429"/>
                    </a:lnTo>
                    <a:lnTo>
                      <a:pt x="493" y="427"/>
                    </a:lnTo>
                    <a:lnTo>
                      <a:pt x="490" y="427"/>
                    </a:lnTo>
                    <a:lnTo>
                      <a:pt x="488" y="427"/>
                    </a:lnTo>
                    <a:lnTo>
                      <a:pt x="490" y="425"/>
                    </a:lnTo>
                    <a:lnTo>
                      <a:pt x="492" y="425"/>
                    </a:lnTo>
                    <a:lnTo>
                      <a:pt x="492" y="424"/>
                    </a:lnTo>
                    <a:lnTo>
                      <a:pt x="488" y="424"/>
                    </a:lnTo>
                    <a:lnTo>
                      <a:pt x="485" y="425"/>
                    </a:lnTo>
                    <a:lnTo>
                      <a:pt x="485" y="422"/>
                    </a:lnTo>
                    <a:lnTo>
                      <a:pt x="483" y="422"/>
                    </a:lnTo>
                    <a:lnTo>
                      <a:pt x="478" y="425"/>
                    </a:lnTo>
                    <a:lnTo>
                      <a:pt x="478" y="427"/>
                    </a:lnTo>
                    <a:lnTo>
                      <a:pt x="482" y="427"/>
                    </a:lnTo>
                    <a:lnTo>
                      <a:pt x="487" y="427"/>
                    </a:lnTo>
                    <a:lnTo>
                      <a:pt x="487" y="429"/>
                    </a:lnTo>
                    <a:lnTo>
                      <a:pt x="485" y="429"/>
                    </a:lnTo>
                    <a:lnTo>
                      <a:pt x="478" y="429"/>
                    </a:lnTo>
                    <a:lnTo>
                      <a:pt x="474" y="429"/>
                    </a:lnTo>
                    <a:lnTo>
                      <a:pt x="467" y="434"/>
                    </a:lnTo>
                    <a:lnTo>
                      <a:pt x="462" y="434"/>
                    </a:lnTo>
                    <a:lnTo>
                      <a:pt x="450" y="439"/>
                    </a:lnTo>
                    <a:lnTo>
                      <a:pt x="445" y="439"/>
                    </a:lnTo>
                    <a:lnTo>
                      <a:pt x="432" y="435"/>
                    </a:lnTo>
                    <a:lnTo>
                      <a:pt x="425" y="432"/>
                    </a:lnTo>
                    <a:lnTo>
                      <a:pt x="417" y="432"/>
                    </a:lnTo>
                    <a:lnTo>
                      <a:pt x="409" y="429"/>
                    </a:lnTo>
                    <a:lnTo>
                      <a:pt x="404" y="425"/>
                    </a:lnTo>
                    <a:lnTo>
                      <a:pt x="402" y="427"/>
                    </a:lnTo>
                    <a:lnTo>
                      <a:pt x="399" y="425"/>
                    </a:lnTo>
                    <a:lnTo>
                      <a:pt x="392" y="424"/>
                    </a:lnTo>
                    <a:lnTo>
                      <a:pt x="389" y="419"/>
                    </a:lnTo>
                    <a:lnTo>
                      <a:pt x="387" y="417"/>
                    </a:lnTo>
                    <a:lnTo>
                      <a:pt x="384" y="419"/>
                    </a:lnTo>
                    <a:lnTo>
                      <a:pt x="377" y="417"/>
                    </a:lnTo>
                    <a:lnTo>
                      <a:pt x="371" y="415"/>
                    </a:lnTo>
                    <a:lnTo>
                      <a:pt x="367" y="412"/>
                    </a:lnTo>
                    <a:lnTo>
                      <a:pt x="362" y="409"/>
                    </a:lnTo>
                    <a:lnTo>
                      <a:pt x="351" y="407"/>
                    </a:lnTo>
                    <a:lnTo>
                      <a:pt x="341" y="404"/>
                    </a:lnTo>
                    <a:lnTo>
                      <a:pt x="332" y="397"/>
                    </a:lnTo>
                    <a:lnTo>
                      <a:pt x="329" y="397"/>
                    </a:lnTo>
                    <a:lnTo>
                      <a:pt x="317" y="386"/>
                    </a:lnTo>
                    <a:lnTo>
                      <a:pt x="316" y="384"/>
                    </a:lnTo>
                    <a:lnTo>
                      <a:pt x="312" y="384"/>
                    </a:lnTo>
                    <a:lnTo>
                      <a:pt x="312" y="386"/>
                    </a:lnTo>
                    <a:lnTo>
                      <a:pt x="307" y="386"/>
                    </a:lnTo>
                    <a:lnTo>
                      <a:pt x="299" y="382"/>
                    </a:lnTo>
                    <a:lnTo>
                      <a:pt x="296" y="382"/>
                    </a:lnTo>
                    <a:lnTo>
                      <a:pt x="291" y="381"/>
                    </a:lnTo>
                    <a:lnTo>
                      <a:pt x="289" y="381"/>
                    </a:lnTo>
                    <a:lnTo>
                      <a:pt x="284" y="379"/>
                    </a:lnTo>
                    <a:lnTo>
                      <a:pt x="281" y="374"/>
                    </a:lnTo>
                    <a:lnTo>
                      <a:pt x="276" y="367"/>
                    </a:lnTo>
                    <a:lnTo>
                      <a:pt x="271" y="362"/>
                    </a:lnTo>
                    <a:lnTo>
                      <a:pt x="264" y="361"/>
                    </a:lnTo>
                    <a:lnTo>
                      <a:pt x="264" y="359"/>
                    </a:lnTo>
                    <a:lnTo>
                      <a:pt x="266" y="356"/>
                    </a:lnTo>
                    <a:lnTo>
                      <a:pt x="264" y="356"/>
                    </a:lnTo>
                    <a:lnTo>
                      <a:pt x="258" y="357"/>
                    </a:lnTo>
                    <a:lnTo>
                      <a:pt x="251" y="356"/>
                    </a:lnTo>
                    <a:lnTo>
                      <a:pt x="249" y="352"/>
                    </a:lnTo>
                    <a:lnTo>
                      <a:pt x="246" y="352"/>
                    </a:lnTo>
                    <a:lnTo>
                      <a:pt x="243" y="351"/>
                    </a:lnTo>
                    <a:lnTo>
                      <a:pt x="241" y="346"/>
                    </a:lnTo>
                    <a:lnTo>
                      <a:pt x="238" y="341"/>
                    </a:lnTo>
                    <a:lnTo>
                      <a:pt x="238" y="337"/>
                    </a:lnTo>
                    <a:lnTo>
                      <a:pt x="234" y="334"/>
                    </a:lnTo>
                    <a:lnTo>
                      <a:pt x="231" y="326"/>
                    </a:lnTo>
                    <a:lnTo>
                      <a:pt x="231" y="324"/>
                    </a:lnTo>
                    <a:lnTo>
                      <a:pt x="234" y="322"/>
                    </a:lnTo>
                    <a:lnTo>
                      <a:pt x="239" y="322"/>
                    </a:lnTo>
                    <a:lnTo>
                      <a:pt x="241" y="321"/>
                    </a:lnTo>
                    <a:lnTo>
                      <a:pt x="238" y="319"/>
                    </a:lnTo>
                    <a:lnTo>
                      <a:pt x="236" y="317"/>
                    </a:lnTo>
                    <a:lnTo>
                      <a:pt x="236" y="316"/>
                    </a:lnTo>
                    <a:lnTo>
                      <a:pt x="243" y="311"/>
                    </a:lnTo>
                    <a:lnTo>
                      <a:pt x="244" y="308"/>
                    </a:lnTo>
                    <a:lnTo>
                      <a:pt x="244" y="303"/>
                    </a:lnTo>
                    <a:lnTo>
                      <a:pt x="239" y="291"/>
                    </a:lnTo>
                    <a:lnTo>
                      <a:pt x="236" y="284"/>
                    </a:lnTo>
                    <a:lnTo>
                      <a:pt x="234" y="281"/>
                    </a:lnTo>
                    <a:lnTo>
                      <a:pt x="236" y="278"/>
                    </a:lnTo>
                    <a:lnTo>
                      <a:pt x="236" y="273"/>
                    </a:lnTo>
                    <a:lnTo>
                      <a:pt x="228" y="263"/>
                    </a:lnTo>
                    <a:lnTo>
                      <a:pt x="226" y="258"/>
                    </a:lnTo>
                    <a:lnTo>
                      <a:pt x="219" y="251"/>
                    </a:lnTo>
                    <a:lnTo>
                      <a:pt x="213" y="241"/>
                    </a:lnTo>
                    <a:lnTo>
                      <a:pt x="206" y="233"/>
                    </a:lnTo>
                    <a:lnTo>
                      <a:pt x="199" y="228"/>
                    </a:lnTo>
                    <a:lnTo>
                      <a:pt x="198" y="226"/>
                    </a:lnTo>
                    <a:lnTo>
                      <a:pt x="198" y="224"/>
                    </a:lnTo>
                    <a:lnTo>
                      <a:pt x="189" y="221"/>
                    </a:lnTo>
                    <a:lnTo>
                      <a:pt x="186" y="219"/>
                    </a:lnTo>
                    <a:lnTo>
                      <a:pt x="186" y="218"/>
                    </a:lnTo>
                    <a:lnTo>
                      <a:pt x="188" y="216"/>
                    </a:lnTo>
                    <a:lnTo>
                      <a:pt x="191" y="213"/>
                    </a:lnTo>
                    <a:lnTo>
                      <a:pt x="188" y="210"/>
                    </a:lnTo>
                    <a:lnTo>
                      <a:pt x="186" y="206"/>
                    </a:lnTo>
                    <a:lnTo>
                      <a:pt x="186" y="203"/>
                    </a:lnTo>
                    <a:lnTo>
                      <a:pt x="183" y="203"/>
                    </a:lnTo>
                    <a:lnTo>
                      <a:pt x="176" y="203"/>
                    </a:lnTo>
                    <a:lnTo>
                      <a:pt x="168" y="196"/>
                    </a:lnTo>
                    <a:lnTo>
                      <a:pt x="165" y="193"/>
                    </a:lnTo>
                    <a:lnTo>
                      <a:pt x="160" y="193"/>
                    </a:lnTo>
                    <a:lnTo>
                      <a:pt x="156" y="190"/>
                    </a:lnTo>
                    <a:lnTo>
                      <a:pt x="156" y="186"/>
                    </a:lnTo>
                    <a:lnTo>
                      <a:pt x="158" y="180"/>
                    </a:lnTo>
                    <a:lnTo>
                      <a:pt x="163" y="176"/>
                    </a:lnTo>
                    <a:lnTo>
                      <a:pt x="165" y="175"/>
                    </a:lnTo>
                    <a:lnTo>
                      <a:pt x="168" y="178"/>
                    </a:lnTo>
                    <a:lnTo>
                      <a:pt x="170" y="175"/>
                    </a:lnTo>
                    <a:lnTo>
                      <a:pt x="170" y="173"/>
                    </a:lnTo>
                    <a:lnTo>
                      <a:pt x="168" y="171"/>
                    </a:lnTo>
                    <a:lnTo>
                      <a:pt x="166" y="173"/>
                    </a:lnTo>
                    <a:lnTo>
                      <a:pt x="163" y="171"/>
                    </a:lnTo>
                    <a:lnTo>
                      <a:pt x="163" y="168"/>
                    </a:lnTo>
                    <a:lnTo>
                      <a:pt x="158" y="163"/>
                    </a:lnTo>
                    <a:lnTo>
                      <a:pt x="155" y="163"/>
                    </a:lnTo>
                    <a:lnTo>
                      <a:pt x="150" y="161"/>
                    </a:lnTo>
                    <a:lnTo>
                      <a:pt x="148" y="158"/>
                    </a:lnTo>
                    <a:lnTo>
                      <a:pt x="150" y="155"/>
                    </a:lnTo>
                    <a:lnTo>
                      <a:pt x="146" y="153"/>
                    </a:lnTo>
                    <a:lnTo>
                      <a:pt x="143" y="155"/>
                    </a:lnTo>
                    <a:lnTo>
                      <a:pt x="135" y="146"/>
                    </a:lnTo>
                    <a:lnTo>
                      <a:pt x="133" y="141"/>
                    </a:lnTo>
                    <a:lnTo>
                      <a:pt x="136" y="138"/>
                    </a:lnTo>
                    <a:lnTo>
                      <a:pt x="136" y="133"/>
                    </a:lnTo>
                    <a:lnTo>
                      <a:pt x="133" y="131"/>
                    </a:lnTo>
                    <a:lnTo>
                      <a:pt x="130" y="133"/>
                    </a:lnTo>
                    <a:lnTo>
                      <a:pt x="128" y="131"/>
                    </a:lnTo>
                    <a:lnTo>
                      <a:pt x="125" y="131"/>
                    </a:lnTo>
                    <a:lnTo>
                      <a:pt x="125" y="130"/>
                    </a:lnTo>
                    <a:lnTo>
                      <a:pt x="121" y="126"/>
                    </a:lnTo>
                    <a:lnTo>
                      <a:pt x="120" y="123"/>
                    </a:lnTo>
                    <a:lnTo>
                      <a:pt x="116" y="118"/>
                    </a:lnTo>
                    <a:lnTo>
                      <a:pt x="113" y="116"/>
                    </a:lnTo>
                    <a:lnTo>
                      <a:pt x="111" y="115"/>
                    </a:lnTo>
                    <a:lnTo>
                      <a:pt x="111" y="110"/>
                    </a:lnTo>
                    <a:lnTo>
                      <a:pt x="110" y="107"/>
                    </a:lnTo>
                    <a:lnTo>
                      <a:pt x="106" y="105"/>
                    </a:lnTo>
                    <a:lnTo>
                      <a:pt x="103" y="98"/>
                    </a:lnTo>
                    <a:lnTo>
                      <a:pt x="101" y="97"/>
                    </a:lnTo>
                    <a:lnTo>
                      <a:pt x="100" y="97"/>
                    </a:lnTo>
                    <a:lnTo>
                      <a:pt x="98" y="93"/>
                    </a:lnTo>
                    <a:lnTo>
                      <a:pt x="100" y="92"/>
                    </a:lnTo>
                    <a:lnTo>
                      <a:pt x="100" y="88"/>
                    </a:lnTo>
                    <a:lnTo>
                      <a:pt x="95" y="82"/>
                    </a:lnTo>
                    <a:lnTo>
                      <a:pt x="93" y="77"/>
                    </a:lnTo>
                    <a:lnTo>
                      <a:pt x="93" y="75"/>
                    </a:lnTo>
                    <a:lnTo>
                      <a:pt x="93" y="70"/>
                    </a:lnTo>
                    <a:lnTo>
                      <a:pt x="91" y="67"/>
                    </a:lnTo>
                    <a:lnTo>
                      <a:pt x="90" y="58"/>
                    </a:lnTo>
                    <a:lnTo>
                      <a:pt x="86" y="53"/>
                    </a:lnTo>
                    <a:lnTo>
                      <a:pt x="86" y="50"/>
                    </a:lnTo>
                    <a:lnTo>
                      <a:pt x="90" y="45"/>
                    </a:lnTo>
                    <a:lnTo>
                      <a:pt x="90" y="43"/>
                    </a:lnTo>
                    <a:lnTo>
                      <a:pt x="85" y="42"/>
                    </a:lnTo>
                    <a:lnTo>
                      <a:pt x="80" y="42"/>
                    </a:lnTo>
                    <a:lnTo>
                      <a:pt x="80" y="38"/>
                    </a:lnTo>
                    <a:lnTo>
                      <a:pt x="75" y="35"/>
                    </a:lnTo>
                    <a:lnTo>
                      <a:pt x="73" y="37"/>
                    </a:lnTo>
                    <a:lnTo>
                      <a:pt x="68" y="37"/>
                    </a:lnTo>
                    <a:lnTo>
                      <a:pt x="67" y="35"/>
                    </a:lnTo>
                    <a:lnTo>
                      <a:pt x="62" y="28"/>
                    </a:lnTo>
                    <a:lnTo>
                      <a:pt x="55" y="27"/>
                    </a:lnTo>
                    <a:lnTo>
                      <a:pt x="52" y="22"/>
                    </a:lnTo>
                    <a:lnTo>
                      <a:pt x="53" y="27"/>
                    </a:lnTo>
                    <a:lnTo>
                      <a:pt x="55" y="30"/>
                    </a:lnTo>
                    <a:lnTo>
                      <a:pt x="52" y="38"/>
                    </a:lnTo>
                    <a:lnTo>
                      <a:pt x="50" y="43"/>
                    </a:lnTo>
                    <a:lnTo>
                      <a:pt x="52" y="52"/>
                    </a:lnTo>
                    <a:lnTo>
                      <a:pt x="52" y="67"/>
                    </a:lnTo>
                    <a:lnTo>
                      <a:pt x="50" y="72"/>
                    </a:lnTo>
                    <a:lnTo>
                      <a:pt x="53" y="73"/>
                    </a:lnTo>
                    <a:lnTo>
                      <a:pt x="57" y="80"/>
                    </a:lnTo>
                    <a:lnTo>
                      <a:pt x="57" y="83"/>
                    </a:lnTo>
                    <a:lnTo>
                      <a:pt x="58" y="85"/>
                    </a:lnTo>
                    <a:lnTo>
                      <a:pt x="60" y="87"/>
                    </a:lnTo>
                    <a:lnTo>
                      <a:pt x="67" y="92"/>
                    </a:lnTo>
                    <a:lnTo>
                      <a:pt x="68" y="97"/>
                    </a:lnTo>
                    <a:lnTo>
                      <a:pt x="68" y="100"/>
                    </a:lnTo>
                    <a:lnTo>
                      <a:pt x="70" y="105"/>
                    </a:lnTo>
                    <a:lnTo>
                      <a:pt x="73" y="107"/>
                    </a:lnTo>
                    <a:lnTo>
                      <a:pt x="77" y="108"/>
                    </a:lnTo>
                    <a:lnTo>
                      <a:pt x="77" y="113"/>
                    </a:lnTo>
                    <a:lnTo>
                      <a:pt x="78" y="115"/>
                    </a:lnTo>
                    <a:lnTo>
                      <a:pt x="81" y="116"/>
                    </a:lnTo>
                    <a:lnTo>
                      <a:pt x="86" y="121"/>
                    </a:lnTo>
                    <a:lnTo>
                      <a:pt x="85" y="126"/>
                    </a:lnTo>
                    <a:lnTo>
                      <a:pt x="85" y="131"/>
                    </a:lnTo>
                    <a:lnTo>
                      <a:pt x="90" y="135"/>
                    </a:lnTo>
                    <a:lnTo>
                      <a:pt x="91" y="136"/>
                    </a:lnTo>
                    <a:lnTo>
                      <a:pt x="96" y="141"/>
                    </a:lnTo>
                    <a:lnTo>
                      <a:pt x="98" y="151"/>
                    </a:lnTo>
                    <a:lnTo>
                      <a:pt x="100" y="151"/>
                    </a:lnTo>
                    <a:lnTo>
                      <a:pt x="101" y="153"/>
                    </a:lnTo>
                    <a:lnTo>
                      <a:pt x="100" y="156"/>
                    </a:lnTo>
                    <a:lnTo>
                      <a:pt x="100" y="160"/>
                    </a:lnTo>
                    <a:lnTo>
                      <a:pt x="105" y="165"/>
                    </a:lnTo>
                    <a:lnTo>
                      <a:pt x="106" y="163"/>
                    </a:lnTo>
                    <a:lnTo>
                      <a:pt x="106" y="161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0" y="163"/>
                    </a:lnTo>
                    <a:lnTo>
                      <a:pt x="111" y="166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13" y="185"/>
                    </a:lnTo>
                    <a:lnTo>
                      <a:pt x="115" y="186"/>
                    </a:lnTo>
                    <a:lnTo>
                      <a:pt x="115" y="190"/>
                    </a:lnTo>
                    <a:lnTo>
                      <a:pt x="116" y="193"/>
                    </a:lnTo>
                    <a:lnTo>
                      <a:pt x="116" y="196"/>
                    </a:lnTo>
                    <a:lnTo>
                      <a:pt x="120" y="198"/>
                    </a:lnTo>
                    <a:lnTo>
                      <a:pt x="120" y="201"/>
                    </a:lnTo>
                    <a:lnTo>
                      <a:pt x="118" y="205"/>
                    </a:lnTo>
                    <a:lnTo>
                      <a:pt x="121" y="210"/>
                    </a:lnTo>
                    <a:lnTo>
                      <a:pt x="121" y="213"/>
                    </a:lnTo>
                    <a:lnTo>
                      <a:pt x="120" y="218"/>
                    </a:lnTo>
                    <a:lnTo>
                      <a:pt x="120" y="221"/>
                    </a:lnTo>
                    <a:lnTo>
                      <a:pt x="125" y="224"/>
                    </a:lnTo>
                    <a:lnTo>
                      <a:pt x="128" y="228"/>
                    </a:lnTo>
                    <a:lnTo>
                      <a:pt x="128" y="231"/>
                    </a:lnTo>
                    <a:lnTo>
                      <a:pt x="131" y="229"/>
                    </a:lnTo>
                    <a:lnTo>
                      <a:pt x="131" y="226"/>
                    </a:lnTo>
                    <a:lnTo>
                      <a:pt x="131" y="226"/>
                    </a:lnTo>
                    <a:lnTo>
                      <a:pt x="135" y="226"/>
                    </a:lnTo>
                    <a:lnTo>
                      <a:pt x="136" y="229"/>
                    </a:lnTo>
                    <a:lnTo>
                      <a:pt x="138" y="233"/>
                    </a:lnTo>
                    <a:lnTo>
                      <a:pt x="141" y="234"/>
                    </a:lnTo>
                    <a:lnTo>
                      <a:pt x="143" y="238"/>
                    </a:lnTo>
                    <a:lnTo>
                      <a:pt x="146" y="241"/>
                    </a:lnTo>
                    <a:lnTo>
                      <a:pt x="146" y="244"/>
                    </a:lnTo>
                    <a:lnTo>
                      <a:pt x="150" y="246"/>
                    </a:lnTo>
                    <a:lnTo>
                      <a:pt x="150" y="251"/>
                    </a:lnTo>
                    <a:lnTo>
                      <a:pt x="145" y="258"/>
                    </a:lnTo>
                    <a:lnTo>
                      <a:pt x="138" y="261"/>
                    </a:lnTo>
                    <a:lnTo>
                      <a:pt x="135" y="259"/>
                    </a:lnTo>
                    <a:lnTo>
                      <a:pt x="133" y="256"/>
                    </a:lnTo>
                    <a:lnTo>
                      <a:pt x="133" y="253"/>
                    </a:lnTo>
                    <a:lnTo>
                      <a:pt x="130" y="249"/>
                    </a:lnTo>
                    <a:lnTo>
                      <a:pt x="130" y="244"/>
                    </a:lnTo>
                    <a:lnTo>
                      <a:pt x="126" y="241"/>
                    </a:lnTo>
                    <a:lnTo>
                      <a:pt x="121" y="241"/>
                    </a:lnTo>
                    <a:lnTo>
                      <a:pt x="118" y="236"/>
                    </a:lnTo>
                    <a:lnTo>
                      <a:pt x="116" y="234"/>
                    </a:lnTo>
                    <a:lnTo>
                      <a:pt x="113" y="233"/>
                    </a:lnTo>
                    <a:lnTo>
                      <a:pt x="103" y="223"/>
                    </a:lnTo>
                    <a:lnTo>
                      <a:pt x="100" y="218"/>
                    </a:lnTo>
                    <a:lnTo>
                      <a:pt x="95" y="218"/>
                    </a:lnTo>
                    <a:lnTo>
                      <a:pt x="95" y="214"/>
                    </a:lnTo>
                    <a:lnTo>
                      <a:pt x="91" y="214"/>
                    </a:lnTo>
                    <a:lnTo>
                      <a:pt x="88" y="211"/>
                    </a:lnTo>
                    <a:lnTo>
                      <a:pt x="86" y="208"/>
                    </a:lnTo>
                    <a:lnTo>
                      <a:pt x="91" y="201"/>
                    </a:lnTo>
                    <a:lnTo>
                      <a:pt x="93" y="195"/>
                    </a:lnTo>
                    <a:lnTo>
                      <a:pt x="91" y="186"/>
                    </a:lnTo>
                    <a:lnTo>
                      <a:pt x="88" y="178"/>
                    </a:lnTo>
                    <a:lnTo>
                      <a:pt x="86" y="175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2" y="166"/>
                    </a:lnTo>
                    <a:lnTo>
                      <a:pt x="70" y="158"/>
                    </a:lnTo>
                    <a:lnTo>
                      <a:pt x="72" y="155"/>
                    </a:lnTo>
                    <a:lnTo>
                      <a:pt x="70" y="155"/>
                    </a:lnTo>
                    <a:lnTo>
                      <a:pt x="67" y="160"/>
                    </a:lnTo>
                    <a:lnTo>
                      <a:pt x="63" y="160"/>
                    </a:lnTo>
                    <a:lnTo>
                      <a:pt x="60" y="161"/>
                    </a:lnTo>
                    <a:lnTo>
                      <a:pt x="58" y="158"/>
                    </a:lnTo>
                    <a:lnTo>
                      <a:pt x="58" y="156"/>
                    </a:lnTo>
                    <a:lnTo>
                      <a:pt x="55" y="155"/>
                    </a:lnTo>
                    <a:lnTo>
                      <a:pt x="53" y="155"/>
                    </a:lnTo>
                    <a:lnTo>
                      <a:pt x="53" y="153"/>
                    </a:lnTo>
                    <a:lnTo>
                      <a:pt x="47" y="150"/>
                    </a:lnTo>
                    <a:lnTo>
                      <a:pt x="43" y="150"/>
                    </a:lnTo>
                    <a:lnTo>
                      <a:pt x="40" y="145"/>
                    </a:lnTo>
                    <a:lnTo>
                      <a:pt x="40" y="141"/>
                    </a:lnTo>
                    <a:lnTo>
                      <a:pt x="35" y="140"/>
                    </a:lnTo>
                    <a:lnTo>
                      <a:pt x="30" y="133"/>
                    </a:lnTo>
                    <a:lnTo>
                      <a:pt x="32" y="131"/>
                    </a:lnTo>
                    <a:lnTo>
                      <a:pt x="38" y="131"/>
                    </a:lnTo>
                    <a:lnTo>
                      <a:pt x="42" y="133"/>
                    </a:lnTo>
                    <a:lnTo>
                      <a:pt x="48" y="133"/>
                    </a:lnTo>
                    <a:lnTo>
                      <a:pt x="52" y="136"/>
                    </a:lnTo>
                    <a:lnTo>
                      <a:pt x="53" y="133"/>
                    </a:lnTo>
                    <a:lnTo>
                      <a:pt x="53" y="131"/>
                    </a:lnTo>
                    <a:lnTo>
                      <a:pt x="50" y="130"/>
                    </a:lnTo>
                    <a:lnTo>
                      <a:pt x="48" y="130"/>
                    </a:lnTo>
                    <a:lnTo>
                      <a:pt x="52" y="126"/>
                    </a:lnTo>
                    <a:lnTo>
                      <a:pt x="55" y="128"/>
                    </a:lnTo>
                    <a:lnTo>
                      <a:pt x="55" y="125"/>
                    </a:lnTo>
                    <a:lnTo>
                      <a:pt x="53" y="121"/>
                    </a:lnTo>
                    <a:lnTo>
                      <a:pt x="53" y="120"/>
                    </a:lnTo>
                    <a:lnTo>
                      <a:pt x="57" y="116"/>
                    </a:lnTo>
                    <a:lnTo>
                      <a:pt x="53" y="112"/>
                    </a:lnTo>
                    <a:lnTo>
                      <a:pt x="52" y="110"/>
                    </a:lnTo>
                    <a:lnTo>
                      <a:pt x="48" y="103"/>
                    </a:lnTo>
                    <a:lnTo>
                      <a:pt x="43" y="98"/>
                    </a:lnTo>
                    <a:lnTo>
                      <a:pt x="42" y="95"/>
                    </a:lnTo>
                    <a:lnTo>
                      <a:pt x="38" y="90"/>
                    </a:lnTo>
                    <a:lnTo>
                      <a:pt x="32" y="85"/>
                    </a:lnTo>
                    <a:lnTo>
                      <a:pt x="28" y="85"/>
                    </a:lnTo>
                    <a:lnTo>
                      <a:pt x="25" y="82"/>
                    </a:lnTo>
                    <a:lnTo>
                      <a:pt x="22" y="75"/>
                    </a:lnTo>
                    <a:lnTo>
                      <a:pt x="22" y="68"/>
                    </a:lnTo>
                    <a:lnTo>
                      <a:pt x="22" y="65"/>
                    </a:lnTo>
                    <a:lnTo>
                      <a:pt x="18" y="63"/>
                    </a:lnTo>
                    <a:lnTo>
                      <a:pt x="18" y="58"/>
                    </a:lnTo>
                    <a:lnTo>
                      <a:pt x="20" y="57"/>
                    </a:lnTo>
                    <a:lnTo>
                      <a:pt x="18" y="52"/>
                    </a:lnTo>
                    <a:lnTo>
                      <a:pt x="13" y="48"/>
                    </a:lnTo>
                    <a:lnTo>
                      <a:pt x="13" y="45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8" y="35"/>
                    </a:lnTo>
                    <a:lnTo>
                      <a:pt x="7" y="30"/>
                    </a:lnTo>
                    <a:lnTo>
                      <a:pt x="7" y="27"/>
                    </a:lnTo>
                    <a:lnTo>
                      <a:pt x="10" y="25"/>
                    </a:lnTo>
                    <a:lnTo>
                      <a:pt x="7" y="22"/>
                    </a:lnTo>
                    <a:lnTo>
                      <a:pt x="3" y="17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  <a:moveTo>
                      <a:pt x="125" y="211"/>
                    </a:moveTo>
                    <a:lnTo>
                      <a:pt x="128" y="210"/>
                    </a:lnTo>
                    <a:lnTo>
                      <a:pt x="128" y="206"/>
                    </a:lnTo>
                    <a:lnTo>
                      <a:pt x="125" y="203"/>
                    </a:lnTo>
                    <a:lnTo>
                      <a:pt x="123" y="205"/>
                    </a:lnTo>
                    <a:lnTo>
                      <a:pt x="125" y="206"/>
                    </a:lnTo>
                    <a:lnTo>
                      <a:pt x="125" y="211"/>
                    </a:lnTo>
                    <a:lnTo>
                      <a:pt x="125" y="211"/>
                    </a:lnTo>
                    <a:close/>
                    <a:moveTo>
                      <a:pt x="130" y="221"/>
                    </a:moveTo>
                    <a:lnTo>
                      <a:pt x="130" y="224"/>
                    </a:lnTo>
                    <a:lnTo>
                      <a:pt x="131" y="224"/>
                    </a:lnTo>
                    <a:lnTo>
                      <a:pt x="133" y="221"/>
                    </a:lnTo>
                    <a:lnTo>
                      <a:pt x="130" y="221"/>
                    </a:lnTo>
                    <a:lnTo>
                      <a:pt x="130" y="221"/>
                    </a:lnTo>
                    <a:close/>
                    <a:moveTo>
                      <a:pt x="440" y="214"/>
                    </a:moveTo>
                    <a:lnTo>
                      <a:pt x="442" y="214"/>
                    </a:lnTo>
                    <a:lnTo>
                      <a:pt x="442" y="211"/>
                    </a:lnTo>
                    <a:lnTo>
                      <a:pt x="440" y="211"/>
                    </a:lnTo>
                    <a:lnTo>
                      <a:pt x="440" y="214"/>
                    </a:lnTo>
                    <a:lnTo>
                      <a:pt x="440" y="214"/>
                    </a:lnTo>
                    <a:close/>
                    <a:moveTo>
                      <a:pt x="439" y="219"/>
                    </a:moveTo>
                    <a:lnTo>
                      <a:pt x="439" y="221"/>
                    </a:lnTo>
                    <a:lnTo>
                      <a:pt x="440" y="216"/>
                    </a:lnTo>
                    <a:lnTo>
                      <a:pt x="439" y="216"/>
                    </a:lnTo>
                    <a:lnTo>
                      <a:pt x="439" y="219"/>
                    </a:lnTo>
                    <a:lnTo>
                      <a:pt x="439" y="219"/>
                    </a:lnTo>
                    <a:close/>
                    <a:moveTo>
                      <a:pt x="435" y="229"/>
                    </a:moveTo>
                    <a:lnTo>
                      <a:pt x="439" y="226"/>
                    </a:lnTo>
                    <a:lnTo>
                      <a:pt x="439" y="223"/>
                    </a:lnTo>
                    <a:lnTo>
                      <a:pt x="435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BE473D3-F9AA-824F-8BA7-501623CF8E0F}"/>
                </a:ext>
              </a:extLst>
            </p:cNvPr>
            <p:cNvGrpSpPr/>
            <p:nvPr/>
          </p:nvGrpSpPr>
          <p:grpSpPr>
            <a:xfrm>
              <a:off x="5259146" y="3095400"/>
              <a:ext cx="717067" cy="920340"/>
              <a:chOff x="5259146" y="3095400"/>
              <a:chExt cx="717067" cy="920340"/>
            </a:xfrm>
            <a:grpFill/>
          </p:grpSpPr>
          <p:sp>
            <p:nvSpPr>
              <p:cNvPr id="75" name="Freeform 155">
                <a:extLst>
                  <a:ext uri="{FF2B5EF4-FFF2-40B4-BE49-F238E27FC236}">
                    <a16:creationId xmlns:a16="http://schemas.microsoft.com/office/drawing/2014/main" id="{9E178414-4100-8040-85F7-46E34B136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2257" y="3158692"/>
                <a:ext cx="71706" cy="29052"/>
              </a:xfrm>
              <a:custGeom>
                <a:avLst/>
                <a:gdLst/>
                <a:ahLst/>
                <a:cxnLst>
                  <a:cxn ang="0">
                    <a:pos x="116" y="50"/>
                  </a:cxn>
                  <a:cxn ang="0">
                    <a:pos x="107" y="37"/>
                  </a:cxn>
                  <a:cxn ang="0">
                    <a:pos x="114" y="30"/>
                  </a:cxn>
                  <a:cxn ang="0">
                    <a:pos x="119" y="29"/>
                  </a:cxn>
                  <a:cxn ang="0">
                    <a:pos x="114" y="25"/>
                  </a:cxn>
                  <a:cxn ang="0">
                    <a:pos x="111" y="30"/>
                  </a:cxn>
                  <a:cxn ang="0">
                    <a:pos x="106" y="24"/>
                  </a:cxn>
                  <a:cxn ang="0">
                    <a:pos x="99" y="19"/>
                  </a:cxn>
                  <a:cxn ang="0">
                    <a:pos x="91" y="12"/>
                  </a:cxn>
                  <a:cxn ang="0">
                    <a:pos x="78" y="17"/>
                  </a:cxn>
                  <a:cxn ang="0">
                    <a:pos x="79" y="22"/>
                  </a:cxn>
                  <a:cxn ang="0">
                    <a:pos x="73" y="30"/>
                  </a:cxn>
                  <a:cxn ang="0">
                    <a:pos x="61" y="33"/>
                  </a:cxn>
                  <a:cxn ang="0">
                    <a:pos x="61" y="38"/>
                  </a:cxn>
                  <a:cxn ang="0">
                    <a:pos x="69" y="45"/>
                  </a:cxn>
                  <a:cxn ang="0">
                    <a:pos x="66" y="50"/>
                  </a:cxn>
                  <a:cxn ang="0">
                    <a:pos x="59" y="52"/>
                  </a:cxn>
                  <a:cxn ang="0">
                    <a:pos x="49" y="55"/>
                  </a:cxn>
                  <a:cxn ang="0">
                    <a:pos x="49" y="50"/>
                  </a:cxn>
                  <a:cxn ang="0">
                    <a:pos x="48" y="43"/>
                  </a:cxn>
                  <a:cxn ang="0">
                    <a:pos x="44" y="40"/>
                  </a:cxn>
                  <a:cxn ang="0">
                    <a:pos x="44" y="45"/>
                  </a:cxn>
                  <a:cxn ang="0">
                    <a:pos x="38" y="47"/>
                  </a:cxn>
                  <a:cxn ang="0">
                    <a:pos x="31" y="40"/>
                  </a:cxn>
                  <a:cxn ang="0">
                    <a:pos x="21" y="33"/>
                  </a:cxn>
                  <a:cxn ang="0">
                    <a:pos x="19" y="30"/>
                  </a:cxn>
                  <a:cxn ang="0">
                    <a:pos x="14" y="30"/>
                  </a:cxn>
                  <a:cxn ang="0">
                    <a:pos x="6" y="30"/>
                  </a:cxn>
                  <a:cxn ang="0">
                    <a:pos x="1" y="29"/>
                  </a:cxn>
                  <a:cxn ang="0">
                    <a:pos x="1" y="22"/>
                  </a:cxn>
                  <a:cxn ang="0">
                    <a:pos x="3" y="17"/>
                  </a:cxn>
                  <a:cxn ang="0">
                    <a:pos x="1" y="12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3" y="9"/>
                  </a:cxn>
                  <a:cxn ang="0">
                    <a:pos x="18" y="10"/>
                  </a:cxn>
                  <a:cxn ang="0">
                    <a:pos x="18" y="12"/>
                  </a:cxn>
                  <a:cxn ang="0">
                    <a:pos x="18" y="14"/>
                  </a:cxn>
                  <a:cxn ang="0">
                    <a:pos x="26" y="15"/>
                  </a:cxn>
                  <a:cxn ang="0">
                    <a:pos x="23" y="12"/>
                  </a:cxn>
                  <a:cxn ang="0">
                    <a:pos x="31" y="12"/>
                  </a:cxn>
                  <a:cxn ang="0">
                    <a:pos x="46" y="19"/>
                  </a:cxn>
                  <a:cxn ang="0">
                    <a:pos x="54" y="14"/>
                  </a:cxn>
                  <a:cxn ang="0">
                    <a:pos x="78" y="5"/>
                  </a:cxn>
                  <a:cxn ang="0">
                    <a:pos x="86" y="0"/>
                  </a:cxn>
                  <a:cxn ang="0">
                    <a:pos x="91" y="4"/>
                  </a:cxn>
                  <a:cxn ang="0">
                    <a:pos x="106" y="5"/>
                  </a:cxn>
                  <a:cxn ang="0">
                    <a:pos x="122" y="12"/>
                  </a:cxn>
                  <a:cxn ang="0">
                    <a:pos x="127" y="19"/>
                  </a:cxn>
                  <a:cxn ang="0">
                    <a:pos x="132" y="22"/>
                  </a:cxn>
                  <a:cxn ang="0">
                    <a:pos x="132" y="29"/>
                  </a:cxn>
                  <a:cxn ang="0">
                    <a:pos x="131" y="40"/>
                  </a:cxn>
                  <a:cxn ang="0">
                    <a:pos x="126" y="47"/>
                  </a:cxn>
                  <a:cxn ang="0">
                    <a:pos x="121" y="53"/>
                  </a:cxn>
                </a:cxnLst>
                <a:rect l="0" t="0" r="r" b="b"/>
                <a:pathLst>
                  <a:path w="134" h="57">
                    <a:moveTo>
                      <a:pt x="121" y="53"/>
                    </a:moveTo>
                    <a:lnTo>
                      <a:pt x="116" y="50"/>
                    </a:lnTo>
                    <a:lnTo>
                      <a:pt x="111" y="43"/>
                    </a:lnTo>
                    <a:lnTo>
                      <a:pt x="107" y="37"/>
                    </a:lnTo>
                    <a:lnTo>
                      <a:pt x="111" y="35"/>
                    </a:lnTo>
                    <a:lnTo>
                      <a:pt x="114" y="30"/>
                    </a:lnTo>
                    <a:lnTo>
                      <a:pt x="116" y="30"/>
                    </a:lnTo>
                    <a:lnTo>
                      <a:pt x="119" y="29"/>
                    </a:lnTo>
                    <a:lnTo>
                      <a:pt x="117" y="25"/>
                    </a:lnTo>
                    <a:lnTo>
                      <a:pt x="114" y="25"/>
                    </a:lnTo>
                    <a:lnTo>
                      <a:pt x="112" y="29"/>
                    </a:lnTo>
                    <a:lnTo>
                      <a:pt x="111" y="30"/>
                    </a:lnTo>
                    <a:lnTo>
                      <a:pt x="107" y="29"/>
                    </a:lnTo>
                    <a:lnTo>
                      <a:pt x="106" y="24"/>
                    </a:lnTo>
                    <a:lnTo>
                      <a:pt x="103" y="19"/>
                    </a:lnTo>
                    <a:lnTo>
                      <a:pt x="99" y="19"/>
                    </a:lnTo>
                    <a:lnTo>
                      <a:pt x="94" y="14"/>
                    </a:lnTo>
                    <a:lnTo>
                      <a:pt x="91" y="12"/>
                    </a:lnTo>
                    <a:lnTo>
                      <a:pt x="86" y="14"/>
                    </a:lnTo>
                    <a:lnTo>
                      <a:pt x="78" y="17"/>
                    </a:lnTo>
                    <a:lnTo>
                      <a:pt x="78" y="20"/>
                    </a:lnTo>
                    <a:lnTo>
                      <a:pt x="79" y="22"/>
                    </a:lnTo>
                    <a:lnTo>
                      <a:pt x="79" y="24"/>
                    </a:lnTo>
                    <a:lnTo>
                      <a:pt x="73" y="30"/>
                    </a:lnTo>
                    <a:lnTo>
                      <a:pt x="64" y="32"/>
                    </a:lnTo>
                    <a:lnTo>
                      <a:pt x="61" y="33"/>
                    </a:lnTo>
                    <a:lnTo>
                      <a:pt x="59" y="35"/>
                    </a:lnTo>
                    <a:lnTo>
                      <a:pt x="61" y="38"/>
                    </a:lnTo>
                    <a:lnTo>
                      <a:pt x="66" y="42"/>
                    </a:lnTo>
                    <a:lnTo>
                      <a:pt x="69" y="45"/>
                    </a:lnTo>
                    <a:lnTo>
                      <a:pt x="69" y="48"/>
                    </a:lnTo>
                    <a:lnTo>
                      <a:pt x="66" y="50"/>
                    </a:lnTo>
                    <a:lnTo>
                      <a:pt x="63" y="48"/>
                    </a:lnTo>
                    <a:lnTo>
                      <a:pt x="59" y="52"/>
                    </a:lnTo>
                    <a:lnTo>
                      <a:pt x="56" y="57"/>
                    </a:lnTo>
                    <a:lnTo>
                      <a:pt x="49" y="55"/>
                    </a:lnTo>
                    <a:lnTo>
                      <a:pt x="48" y="53"/>
                    </a:lnTo>
                    <a:lnTo>
                      <a:pt x="49" y="50"/>
                    </a:lnTo>
                    <a:lnTo>
                      <a:pt x="48" y="45"/>
                    </a:lnTo>
                    <a:lnTo>
                      <a:pt x="48" y="43"/>
                    </a:lnTo>
                    <a:lnTo>
                      <a:pt x="46" y="42"/>
                    </a:lnTo>
                    <a:lnTo>
                      <a:pt x="44" y="40"/>
                    </a:lnTo>
                    <a:lnTo>
                      <a:pt x="43" y="43"/>
                    </a:lnTo>
                    <a:lnTo>
                      <a:pt x="44" y="45"/>
                    </a:lnTo>
                    <a:lnTo>
                      <a:pt x="43" y="47"/>
                    </a:lnTo>
                    <a:lnTo>
                      <a:pt x="38" y="47"/>
                    </a:lnTo>
                    <a:lnTo>
                      <a:pt x="34" y="45"/>
                    </a:lnTo>
                    <a:lnTo>
                      <a:pt x="31" y="40"/>
                    </a:lnTo>
                    <a:lnTo>
                      <a:pt x="29" y="33"/>
                    </a:lnTo>
                    <a:lnTo>
                      <a:pt x="21" y="33"/>
                    </a:lnTo>
                    <a:lnTo>
                      <a:pt x="18" y="32"/>
                    </a:lnTo>
                    <a:lnTo>
                      <a:pt x="19" y="30"/>
                    </a:lnTo>
                    <a:lnTo>
                      <a:pt x="16" y="29"/>
                    </a:lnTo>
                    <a:lnTo>
                      <a:pt x="14" y="30"/>
                    </a:lnTo>
                    <a:lnTo>
                      <a:pt x="9" y="30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1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3" y="5"/>
                    </a:lnTo>
                    <a:lnTo>
                      <a:pt x="6" y="4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9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23" y="15"/>
                    </a:lnTo>
                    <a:lnTo>
                      <a:pt x="26" y="15"/>
                    </a:lnTo>
                    <a:lnTo>
                      <a:pt x="26" y="14"/>
                    </a:lnTo>
                    <a:lnTo>
                      <a:pt x="23" y="12"/>
                    </a:lnTo>
                    <a:lnTo>
                      <a:pt x="24" y="10"/>
                    </a:lnTo>
                    <a:lnTo>
                      <a:pt x="31" y="12"/>
                    </a:lnTo>
                    <a:lnTo>
                      <a:pt x="39" y="19"/>
                    </a:lnTo>
                    <a:lnTo>
                      <a:pt x="46" y="19"/>
                    </a:lnTo>
                    <a:lnTo>
                      <a:pt x="51" y="19"/>
                    </a:lnTo>
                    <a:lnTo>
                      <a:pt x="54" y="14"/>
                    </a:lnTo>
                    <a:lnTo>
                      <a:pt x="69" y="7"/>
                    </a:lnTo>
                    <a:lnTo>
                      <a:pt x="78" y="5"/>
                    </a:lnTo>
                    <a:lnTo>
                      <a:pt x="84" y="2"/>
                    </a:lnTo>
                    <a:lnTo>
                      <a:pt x="86" y="0"/>
                    </a:lnTo>
                    <a:lnTo>
                      <a:pt x="91" y="2"/>
                    </a:lnTo>
                    <a:lnTo>
                      <a:pt x="91" y="4"/>
                    </a:lnTo>
                    <a:lnTo>
                      <a:pt x="96" y="5"/>
                    </a:lnTo>
                    <a:lnTo>
                      <a:pt x="106" y="5"/>
                    </a:lnTo>
                    <a:lnTo>
                      <a:pt x="112" y="7"/>
                    </a:lnTo>
                    <a:lnTo>
                      <a:pt x="122" y="12"/>
                    </a:lnTo>
                    <a:lnTo>
                      <a:pt x="126" y="17"/>
                    </a:lnTo>
                    <a:lnTo>
                      <a:pt x="127" y="19"/>
                    </a:lnTo>
                    <a:lnTo>
                      <a:pt x="131" y="20"/>
                    </a:lnTo>
                    <a:lnTo>
                      <a:pt x="132" y="22"/>
                    </a:lnTo>
                    <a:lnTo>
                      <a:pt x="131" y="25"/>
                    </a:lnTo>
                    <a:lnTo>
                      <a:pt x="132" y="29"/>
                    </a:lnTo>
                    <a:lnTo>
                      <a:pt x="134" y="33"/>
                    </a:lnTo>
                    <a:lnTo>
                      <a:pt x="131" y="40"/>
                    </a:lnTo>
                    <a:lnTo>
                      <a:pt x="129" y="45"/>
                    </a:lnTo>
                    <a:lnTo>
                      <a:pt x="126" y="47"/>
                    </a:lnTo>
                    <a:lnTo>
                      <a:pt x="124" y="47"/>
                    </a:lnTo>
                    <a:lnTo>
                      <a:pt x="12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76" name="Freeform 156">
                <a:extLst>
                  <a:ext uri="{FF2B5EF4-FFF2-40B4-BE49-F238E27FC236}">
                    <a16:creationId xmlns:a16="http://schemas.microsoft.com/office/drawing/2014/main" id="{D6F17483-4F00-CF43-8B87-F1422CC87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728" y="3140016"/>
                <a:ext cx="43880" cy="36316"/>
              </a:xfrm>
              <a:custGeom>
                <a:avLst/>
                <a:gdLst/>
                <a:ahLst/>
                <a:cxnLst>
                  <a:cxn ang="0">
                    <a:pos x="73" y="64"/>
                  </a:cxn>
                  <a:cxn ang="0">
                    <a:pos x="73" y="65"/>
                  </a:cxn>
                  <a:cxn ang="0">
                    <a:pos x="73" y="70"/>
                  </a:cxn>
                  <a:cxn ang="0">
                    <a:pos x="68" y="68"/>
                  </a:cxn>
                  <a:cxn ang="0">
                    <a:pos x="65" y="67"/>
                  </a:cxn>
                  <a:cxn ang="0">
                    <a:pos x="62" y="59"/>
                  </a:cxn>
                  <a:cxn ang="0">
                    <a:pos x="57" y="57"/>
                  </a:cxn>
                  <a:cxn ang="0">
                    <a:pos x="62" y="60"/>
                  </a:cxn>
                  <a:cxn ang="0">
                    <a:pos x="63" y="67"/>
                  </a:cxn>
                  <a:cxn ang="0">
                    <a:pos x="57" y="65"/>
                  </a:cxn>
                  <a:cxn ang="0">
                    <a:pos x="50" y="60"/>
                  </a:cxn>
                  <a:cxn ang="0">
                    <a:pos x="53" y="54"/>
                  </a:cxn>
                  <a:cxn ang="0">
                    <a:pos x="47" y="47"/>
                  </a:cxn>
                  <a:cxn ang="0">
                    <a:pos x="40" y="40"/>
                  </a:cxn>
                  <a:cxn ang="0">
                    <a:pos x="32" y="34"/>
                  </a:cxn>
                  <a:cxn ang="0">
                    <a:pos x="27" y="27"/>
                  </a:cxn>
                  <a:cxn ang="0">
                    <a:pos x="18" y="22"/>
                  </a:cxn>
                  <a:cxn ang="0">
                    <a:pos x="18" y="25"/>
                  </a:cxn>
                  <a:cxn ang="0">
                    <a:pos x="25" y="34"/>
                  </a:cxn>
                  <a:cxn ang="0">
                    <a:pos x="20" y="39"/>
                  </a:cxn>
                  <a:cxn ang="0">
                    <a:pos x="15" y="32"/>
                  </a:cxn>
                  <a:cxn ang="0">
                    <a:pos x="2" y="27"/>
                  </a:cxn>
                  <a:cxn ang="0">
                    <a:pos x="2" y="19"/>
                  </a:cxn>
                  <a:cxn ang="0">
                    <a:pos x="5" y="12"/>
                  </a:cxn>
                  <a:cxn ang="0">
                    <a:pos x="0" y="10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13" y="0"/>
                  </a:cxn>
                  <a:cxn ang="0">
                    <a:pos x="30" y="4"/>
                  </a:cxn>
                  <a:cxn ang="0">
                    <a:pos x="40" y="5"/>
                  </a:cxn>
                  <a:cxn ang="0">
                    <a:pos x="43" y="9"/>
                  </a:cxn>
                  <a:cxn ang="0">
                    <a:pos x="50" y="12"/>
                  </a:cxn>
                  <a:cxn ang="0">
                    <a:pos x="52" y="14"/>
                  </a:cxn>
                  <a:cxn ang="0">
                    <a:pos x="58" y="10"/>
                  </a:cxn>
                  <a:cxn ang="0">
                    <a:pos x="62" y="15"/>
                  </a:cxn>
                  <a:cxn ang="0">
                    <a:pos x="65" y="24"/>
                  </a:cxn>
                  <a:cxn ang="0">
                    <a:pos x="72" y="32"/>
                  </a:cxn>
                  <a:cxn ang="0">
                    <a:pos x="78" y="35"/>
                  </a:cxn>
                  <a:cxn ang="0">
                    <a:pos x="81" y="39"/>
                  </a:cxn>
                  <a:cxn ang="0">
                    <a:pos x="75" y="40"/>
                  </a:cxn>
                  <a:cxn ang="0">
                    <a:pos x="73" y="47"/>
                  </a:cxn>
                  <a:cxn ang="0">
                    <a:pos x="75" y="52"/>
                  </a:cxn>
                  <a:cxn ang="0">
                    <a:pos x="73" y="57"/>
                  </a:cxn>
                  <a:cxn ang="0">
                    <a:pos x="73" y="64"/>
                  </a:cxn>
                  <a:cxn ang="0">
                    <a:pos x="73" y="64"/>
                  </a:cxn>
                </a:cxnLst>
                <a:rect l="0" t="0" r="r" b="b"/>
                <a:pathLst>
                  <a:path w="81" h="70">
                    <a:moveTo>
                      <a:pt x="73" y="64"/>
                    </a:moveTo>
                    <a:lnTo>
                      <a:pt x="73" y="64"/>
                    </a:lnTo>
                    <a:lnTo>
                      <a:pt x="75" y="65"/>
                    </a:lnTo>
                    <a:lnTo>
                      <a:pt x="73" y="65"/>
                    </a:lnTo>
                    <a:lnTo>
                      <a:pt x="75" y="68"/>
                    </a:lnTo>
                    <a:lnTo>
                      <a:pt x="73" y="70"/>
                    </a:lnTo>
                    <a:lnTo>
                      <a:pt x="70" y="70"/>
                    </a:lnTo>
                    <a:lnTo>
                      <a:pt x="68" y="68"/>
                    </a:lnTo>
                    <a:lnTo>
                      <a:pt x="67" y="68"/>
                    </a:lnTo>
                    <a:lnTo>
                      <a:pt x="65" y="67"/>
                    </a:lnTo>
                    <a:lnTo>
                      <a:pt x="65" y="64"/>
                    </a:lnTo>
                    <a:lnTo>
                      <a:pt x="62" y="59"/>
                    </a:lnTo>
                    <a:lnTo>
                      <a:pt x="58" y="57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62" y="60"/>
                    </a:lnTo>
                    <a:lnTo>
                      <a:pt x="63" y="64"/>
                    </a:lnTo>
                    <a:lnTo>
                      <a:pt x="63" y="67"/>
                    </a:lnTo>
                    <a:lnTo>
                      <a:pt x="62" y="67"/>
                    </a:lnTo>
                    <a:lnTo>
                      <a:pt x="57" y="65"/>
                    </a:lnTo>
                    <a:lnTo>
                      <a:pt x="52" y="64"/>
                    </a:lnTo>
                    <a:lnTo>
                      <a:pt x="50" y="60"/>
                    </a:lnTo>
                    <a:lnTo>
                      <a:pt x="50" y="57"/>
                    </a:lnTo>
                    <a:lnTo>
                      <a:pt x="53" y="54"/>
                    </a:lnTo>
                    <a:lnTo>
                      <a:pt x="52" y="52"/>
                    </a:lnTo>
                    <a:lnTo>
                      <a:pt x="47" y="47"/>
                    </a:lnTo>
                    <a:lnTo>
                      <a:pt x="43" y="45"/>
                    </a:lnTo>
                    <a:lnTo>
                      <a:pt x="40" y="40"/>
                    </a:lnTo>
                    <a:lnTo>
                      <a:pt x="33" y="39"/>
                    </a:lnTo>
                    <a:lnTo>
                      <a:pt x="32" y="34"/>
                    </a:lnTo>
                    <a:lnTo>
                      <a:pt x="27" y="30"/>
                    </a:lnTo>
                    <a:lnTo>
                      <a:pt x="27" y="27"/>
                    </a:lnTo>
                    <a:lnTo>
                      <a:pt x="22" y="25"/>
                    </a:lnTo>
                    <a:lnTo>
                      <a:pt x="18" y="22"/>
                    </a:lnTo>
                    <a:lnTo>
                      <a:pt x="17" y="24"/>
                    </a:lnTo>
                    <a:lnTo>
                      <a:pt x="18" y="25"/>
                    </a:lnTo>
                    <a:lnTo>
                      <a:pt x="25" y="30"/>
                    </a:lnTo>
                    <a:lnTo>
                      <a:pt x="25" y="34"/>
                    </a:lnTo>
                    <a:lnTo>
                      <a:pt x="23" y="39"/>
                    </a:lnTo>
                    <a:lnTo>
                      <a:pt x="20" y="39"/>
                    </a:lnTo>
                    <a:lnTo>
                      <a:pt x="18" y="35"/>
                    </a:lnTo>
                    <a:lnTo>
                      <a:pt x="15" y="32"/>
                    </a:lnTo>
                    <a:lnTo>
                      <a:pt x="8" y="32"/>
                    </a:lnTo>
                    <a:lnTo>
                      <a:pt x="2" y="27"/>
                    </a:lnTo>
                    <a:lnTo>
                      <a:pt x="0" y="24"/>
                    </a:lnTo>
                    <a:lnTo>
                      <a:pt x="2" y="19"/>
                    </a:lnTo>
                    <a:lnTo>
                      <a:pt x="7" y="15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3" y="0"/>
                    </a:lnTo>
                    <a:lnTo>
                      <a:pt x="27" y="4"/>
                    </a:lnTo>
                    <a:lnTo>
                      <a:pt x="30" y="4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3" y="7"/>
                    </a:lnTo>
                    <a:lnTo>
                      <a:pt x="43" y="9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3" y="12"/>
                    </a:lnTo>
                    <a:lnTo>
                      <a:pt x="52" y="14"/>
                    </a:lnTo>
                    <a:lnTo>
                      <a:pt x="57" y="14"/>
                    </a:lnTo>
                    <a:lnTo>
                      <a:pt x="58" y="10"/>
                    </a:lnTo>
                    <a:lnTo>
                      <a:pt x="60" y="10"/>
                    </a:lnTo>
                    <a:lnTo>
                      <a:pt x="62" y="15"/>
                    </a:lnTo>
                    <a:lnTo>
                      <a:pt x="62" y="19"/>
                    </a:lnTo>
                    <a:lnTo>
                      <a:pt x="65" y="24"/>
                    </a:lnTo>
                    <a:lnTo>
                      <a:pt x="70" y="29"/>
                    </a:lnTo>
                    <a:lnTo>
                      <a:pt x="72" y="32"/>
                    </a:lnTo>
                    <a:lnTo>
                      <a:pt x="75" y="35"/>
                    </a:lnTo>
                    <a:lnTo>
                      <a:pt x="78" y="35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78" y="39"/>
                    </a:lnTo>
                    <a:lnTo>
                      <a:pt x="75" y="40"/>
                    </a:lnTo>
                    <a:lnTo>
                      <a:pt x="75" y="44"/>
                    </a:lnTo>
                    <a:lnTo>
                      <a:pt x="73" y="47"/>
                    </a:lnTo>
                    <a:lnTo>
                      <a:pt x="72" y="50"/>
                    </a:lnTo>
                    <a:lnTo>
                      <a:pt x="75" y="52"/>
                    </a:lnTo>
                    <a:lnTo>
                      <a:pt x="78" y="55"/>
                    </a:lnTo>
                    <a:lnTo>
                      <a:pt x="73" y="57"/>
                    </a:lnTo>
                    <a:lnTo>
                      <a:pt x="73" y="62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77" name="Freeform 157">
                <a:extLst>
                  <a:ext uri="{FF2B5EF4-FFF2-40B4-BE49-F238E27FC236}">
                    <a16:creationId xmlns:a16="http://schemas.microsoft.com/office/drawing/2014/main" id="{D2491E9D-2236-4D43-A2FA-E4BC861B2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394" y="3095400"/>
                <a:ext cx="59934" cy="50842"/>
              </a:xfrm>
              <a:custGeom>
                <a:avLst/>
                <a:gdLst/>
                <a:ahLst/>
                <a:cxnLst>
                  <a:cxn ang="0">
                    <a:pos x="43" y="88"/>
                  </a:cxn>
                  <a:cxn ang="0">
                    <a:pos x="51" y="86"/>
                  </a:cxn>
                  <a:cxn ang="0">
                    <a:pos x="68" y="90"/>
                  </a:cxn>
                  <a:cxn ang="0">
                    <a:pos x="78" y="91"/>
                  </a:cxn>
                  <a:cxn ang="0">
                    <a:pos x="81" y="95"/>
                  </a:cxn>
                  <a:cxn ang="0">
                    <a:pos x="88" y="98"/>
                  </a:cxn>
                  <a:cxn ang="0">
                    <a:pos x="91" y="96"/>
                  </a:cxn>
                  <a:cxn ang="0">
                    <a:pos x="93" y="93"/>
                  </a:cxn>
                  <a:cxn ang="0">
                    <a:pos x="90" y="85"/>
                  </a:cxn>
                  <a:cxn ang="0">
                    <a:pos x="93" y="76"/>
                  </a:cxn>
                  <a:cxn ang="0">
                    <a:pos x="93" y="75"/>
                  </a:cxn>
                  <a:cxn ang="0">
                    <a:pos x="90" y="78"/>
                  </a:cxn>
                  <a:cxn ang="0">
                    <a:pos x="90" y="71"/>
                  </a:cxn>
                  <a:cxn ang="0">
                    <a:pos x="91" y="63"/>
                  </a:cxn>
                  <a:cxn ang="0">
                    <a:pos x="95" y="55"/>
                  </a:cxn>
                  <a:cxn ang="0">
                    <a:pos x="96" y="56"/>
                  </a:cxn>
                  <a:cxn ang="0">
                    <a:pos x="96" y="60"/>
                  </a:cxn>
                  <a:cxn ang="0">
                    <a:pos x="96" y="65"/>
                  </a:cxn>
                  <a:cxn ang="0">
                    <a:pos x="100" y="61"/>
                  </a:cxn>
                  <a:cxn ang="0">
                    <a:pos x="100" y="43"/>
                  </a:cxn>
                  <a:cxn ang="0">
                    <a:pos x="100" y="38"/>
                  </a:cxn>
                  <a:cxn ang="0">
                    <a:pos x="98" y="35"/>
                  </a:cxn>
                  <a:cxn ang="0">
                    <a:pos x="101" y="33"/>
                  </a:cxn>
                  <a:cxn ang="0">
                    <a:pos x="103" y="30"/>
                  </a:cxn>
                  <a:cxn ang="0">
                    <a:pos x="110" y="22"/>
                  </a:cxn>
                  <a:cxn ang="0">
                    <a:pos x="108" y="18"/>
                  </a:cxn>
                  <a:cxn ang="0">
                    <a:pos x="108" y="13"/>
                  </a:cxn>
                  <a:cxn ang="0">
                    <a:pos x="108" y="5"/>
                  </a:cxn>
                  <a:cxn ang="0">
                    <a:pos x="111" y="0"/>
                  </a:cxn>
                  <a:cxn ang="0">
                    <a:pos x="105" y="2"/>
                  </a:cxn>
                  <a:cxn ang="0">
                    <a:pos x="101" y="0"/>
                  </a:cxn>
                  <a:cxn ang="0">
                    <a:pos x="98" y="3"/>
                  </a:cxn>
                  <a:cxn ang="0">
                    <a:pos x="90" y="8"/>
                  </a:cxn>
                  <a:cxn ang="0">
                    <a:pos x="85" y="12"/>
                  </a:cxn>
                  <a:cxn ang="0">
                    <a:pos x="78" y="10"/>
                  </a:cxn>
                  <a:cxn ang="0">
                    <a:pos x="73" y="7"/>
                  </a:cxn>
                  <a:cxn ang="0">
                    <a:pos x="71" y="10"/>
                  </a:cxn>
                  <a:cxn ang="0">
                    <a:pos x="63" y="17"/>
                  </a:cxn>
                  <a:cxn ang="0">
                    <a:pos x="60" y="20"/>
                  </a:cxn>
                  <a:cxn ang="0">
                    <a:pos x="50" y="25"/>
                  </a:cxn>
                  <a:cxn ang="0">
                    <a:pos x="45" y="27"/>
                  </a:cxn>
                  <a:cxn ang="0">
                    <a:pos x="40" y="25"/>
                  </a:cxn>
                  <a:cxn ang="0">
                    <a:pos x="26" y="28"/>
                  </a:cxn>
                  <a:cxn ang="0">
                    <a:pos x="18" y="33"/>
                  </a:cxn>
                  <a:cxn ang="0">
                    <a:pos x="18" y="42"/>
                  </a:cxn>
                  <a:cxn ang="0">
                    <a:pos x="10" y="45"/>
                  </a:cxn>
                  <a:cxn ang="0">
                    <a:pos x="7" y="48"/>
                  </a:cxn>
                  <a:cxn ang="0">
                    <a:pos x="0" y="47"/>
                  </a:cxn>
                  <a:cxn ang="0">
                    <a:pos x="8" y="58"/>
                  </a:cxn>
                  <a:cxn ang="0">
                    <a:pos x="12" y="63"/>
                  </a:cxn>
                  <a:cxn ang="0">
                    <a:pos x="25" y="76"/>
                  </a:cxn>
                  <a:cxn ang="0">
                    <a:pos x="40" y="88"/>
                  </a:cxn>
                </a:cxnLst>
                <a:rect l="0" t="0" r="r" b="b"/>
                <a:pathLst>
                  <a:path w="111" h="98">
                    <a:moveTo>
                      <a:pt x="41" y="90"/>
                    </a:moveTo>
                    <a:lnTo>
                      <a:pt x="43" y="88"/>
                    </a:lnTo>
                    <a:lnTo>
                      <a:pt x="43" y="88"/>
                    </a:lnTo>
                    <a:lnTo>
                      <a:pt x="51" y="86"/>
                    </a:lnTo>
                    <a:lnTo>
                      <a:pt x="65" y="90"/>
                    </a:lnTo>
                    <a:lnTo>
                      <a:pt x="68" y="90"/>
                    </a:lnTo>
                    <a:lnTo>
                      <a:pt x="75" y="88"/>
                    </a:lnTo>
                    <a:lnTo>
                      <a:pt x="78" y="91"/>
                    </a:lnTo>
                    <a:lnTo>
                      <a:pt x="81" y="93"/>
                    </a:lnTo>
                    <a:lnTo>
                      <a:pt x="81" y="95"/>
                    </a:lnTo>
                    <a:lnTo>
                      <a:pt x="86" y="98"/>
                    </a:lnTo>
                    <a:lnTo>
                      <a:pt x="88" y="98"/>
                    </a:lnTo>
                    <a:lnTo>
                      <a:pt x="91" y="98"/>
                    </a:lnTo>
                    <a:lnTo>
                      <a:pt x="91" y="96"/>
                    </a:lnTo>
                    <a:lnTo>
                      <a:pt x="93" y="96"/>
                    </a:lnTo>
                    <a:lnTo>
                      <a:pt x="93" y="93"/>
                    </a:lnTo>
                    <a:lnTo>
                      <a:pt x="90" y="90"/>
                    </a:lnTo>
                    <a:lnTo>
                      <a:pt x="90" y="85"/>
                    </a:lnTo>
                    <a:lnTo>
                      <a:pt x="91" y="80"/>
                    </a:lnTo>
                    <a:lnTo>
                      <a:pt x="93" y="76"/>
                    </a:lnTo>
                    <a:lnTo>
                      <a:pt x="93" y="71"/>
                    </a:lnTo>
                    <a:lnTo>
                      <a:pt x="93" y="75"/>
                    </a:lnTo>
                    <a:lnTo>
                      <a:pt x="91" y="76"/>
                    </a:lnTo>
                    <a:lnTo>
                      <a:pt x="90" y="78"/>
                    </a:lnTo>
                    <a:lnTo>
                      <a:pt x="90" y="75"/>
                    </a:lnTo>
                    <a:lnTo>
                      <a:pt x="90" y="71"/>
                    </a:lnTo>
                    <a:lnTo>
                      <a:pt x="93" y="66"/>
                    </a:lnTo>
                    <a:lnTo>
                      <a:pt x="91" y="63"/>
                    </a:lnTo>
                    <a:lnTo>
                      <a:pt x="91" y="60"/>
                    </a:lnTo>
                    <a:lnTo>
                      <a:pt x="95" y="55"/>
                    </a:lnTo>
                    <a:lnTo>
                      <a:pt x="96" y="55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5"/>
                    </a:lnTo>
                    <a:lnTo>
                      <a:pt x="98" y="65"/>
                    </a:lnTo>
                    <a:lnTo>
                      <a:pt x="100" y="61"/>
                    </a:lnTo>
                    <a:lnTo>
                      <a:pt x="100" y="53"/>
                    </a:lnTo>
                    <a:lnTo>
                      <a:pt x="100" y="43"/>
                    </a:lnTo>
                    <a:lnTo>
                      <a:pt x="101" y="42"/>
                    </a:lnTo>
                    <a:lnTo>
                      <a:pt x="100" y="38"/>
                    </a:lnTo>
                    <a:lnTo>
                      <a:pt x="98" y="38"/>
                    </a:lnTo>
                    <a:lnTo>
                      <a:pt x="98" y="35"/>
                    </a:lnTo>
                    <a:lnTo>
                      <a:pt x="100" y="33"/>
                    </a:lnTo>
                    <a:lnTo>
                      <a:pt x="101" y="33"/>
                    </a:lnTo>
                    <a:lnTo>
                      <a:pt x="101" y="35"/>
                    </a:lnTo>
                    <a:lnTo>
                      <a:pt x="103" y="30"/>
                    </a:lnTo>
                    <a:lnTo>
                      <a:pt x="108" y="25"/>
                    </a:lnTo>
                    <a:lnTo>
                      <a:pt x="110" y="22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6" y="17"/>
                    </a:lnTo>
                    <a:lnTo>
                      <a:pt x="108" y="13"/>
                    </a:lnTo>
                    <a:lnTo>
                      <a:pt x="108" y="10"/>
                    </a:lnTo>
                    <a:lnTo>
                      <a:pt x="108" y="5"/>
                    </a:lnTo>
                    <a:lnTo>
                      <a:pt x="110" y="2"/>
                    </a:lnTo>
                    <a:lnTo>
                      <a:pt x="111" y="0"/>
                    </a:lnTo>
                    <a:lnTo>
                      <a:pt x="108" y="2"/>
                    </a:lnTo>
                    <a:lnTo>
                      <a:pt x="105" y="2"/>
                    </a:lnTo>
                    <a:lnTo>
                      <a:pt x="103" y="0"/>
                    </a:lnTo>
                    <a:lnTo>
                      <a:pt x="101" y="0"/>
                    </a:lnTo>
                    <a:lnTo>
                      <a:pt x="100" y="0"/>
                    </a:lnTo>
                    <a:lnTo>
                      <a:pt x="98" y="3"/>
                    </a:lnTo>
                    <a:lnTo>
                      <a:pt x="95" y="5"/>
                    </a:lnTo>
                    <a:lnTo>
                      <a:pt x="90" y="8"/>
                    </a:lnTo>
                    <a:lnTo>
                      <a:pt x="86" y="8"/>
                    </a:lnTo>
                    <a:lnTo>
                      <a:pt x="85" y="12"/>
                    </a:lnTo>
                    <a:lnTo>
                      <a:pt x="83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3" y="7"/>
                    </a:lnTo>
                    <a:lnTo>
                      <a:pt x="71" y="7"/>
                    </a:lnTo>
                    <a:lnTo>
                      <a:pt x="71" y="10"/>
                    </a:lnTo>
                    <a:lnTo>
                      <a:pt x="66" y="10"/>
                    </a:lnTo>
                    <a:lnTo>
                      <a:pt x="63" y="17"/>
                    </a:lnTo>
                    <a:lnTo>
                      <a:pt x="61" y="18"/>
                    </a:lnTo>
                    <a:lnTo>
                      <a:pt x="60" y="20"/>
                    </a:lnTo>
                    <a:lnTo>
                      <a:pt x="55" y="23"/>
                    </a:lnTo>
                    <a:lnTo>
                      <a:pt x="50" y="25"/>
                    </a:lnTo>
                    <a:lnTo>
                      <a:pt x="48" y="28"/>
                    </a:lnTo>
                    <a:lnTo>
                      <a:pt x="45" y="27"/>
                    </a:lnTo>
                    <a:lnTo>
                      <a:pt x="43" y="27"/>
                    </a:lnTo>
                    <a:lnTo>
                      <a:pt x="40" y="25"/>
                    </a:lnTo>
                    <a:lnTo>
                      <a:pt x="35" y="23"/>
                    </a:lnTo>
                    <a:lnTo>
                      <a:pt x="26" y="28"/>
                    </a:lnTo>
                    <a:lnTo>
                      <a:pt x="18" y="28"/>
                    </a:lnTo>
                    <a:lnTo>
                      <a:pt x="18" y="33"/>
                    </a:lnTo>
                    <a:lnTo>
                      <a:pt x="18" y="37"/>
                    </a:lnTo>
                    <a:lnTo>
                      <a:pt x="18" y="42"/>
                    </a:lnTo>
                    <a:lnTo>
                      <a:pt x="17" y="45"/>
                    </a:lnTo>
                    <a:lnTo>
                      <a:pt x="10" y="45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0" y="47"/>
                    </a:lnTo>
                    <a:lnTo>
                      <a:pt x="0" y="48"/>
                    </a:lnTo>
                    <a:lnTo>
                      <a:pt x="8" y="58"/>
                    </a:lnTo>
                    <a:lnTo>
                      <a:pt x="12" y="61"/>
                    </a:lnTo>
                    <a:lnTo>
                      <a:pt x="12" y="63"/>
                    </a:lnTo>
                    <a:lnTo>
                      <a:pt x="20" y="70"/>
                    </a:lnTo>
                    <a:lnTo>
                      <a:pt x="25" y="76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1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78" name="Freeform 159">
                <a:extLst>
                  <a:ext uri="{FF2B5EF4-FFF2-40B4-BE49-F238E27FC236}">
                    <a16:creationId xmlns:a16="http://schemas.microsoft.com/office/drawing/2014/main" id="{DADE48C2-FF14-E84C-B871-5CBC0B7D4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146" y="3102662"/>
                <a:ext cx="33177" cy="16601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6" y="2"/>
                  </a:cxn>
                  <a:cxn ang="0">
                    <a:pos x="28" y="4"/>
                  </a:cxn>
                  <a:cxn ang="0">
                    <a:pos x="30" y="4"/>
                  </a:cxn>
                  <a:cxn ang="0">
                    <a:pos x="33" y="5"/>
                  </a:cxn>
                  <a:cxn ang="0">
                    <a:pos x="38" y="5"/>
                  </a:cxn>
                  <a:cxn ang="0">
                    <a:pos x="41" y="7"/>
                  </a:cxn>
                  <a:cxn ang="0">
                    <a:pos x="45" y="10"/>
                  </a:cxn>
                  <a:cxn ang="0">
                    <a:pos x="46" y="12"/>
                  </a:cxn>
                  <a:cxn ang="0">
                    <a:pos x="50" y="14"/>
                  </a:cxn>
                  <a:cxn ang="0">
                    <a:pos x="50" y="12"/>
                  </a:cxn>
                  <a:cxn ang="0">
                    <a:pos x="51" y="10"/>
                  </a:cxn>
                  <a:cxn ang="0">
                    <a:pos x="55" y="9"/>
                  </a:cxn>
                  <a:cxn ang="0">
                    <a:pos x="58" y="10"/>
                  </a:cxn>
                  <a:cxn ang="0">
                    <a:pos x="61" y="10"/>
                  </a:cxn>
                  <a:cxn ang="0">
                    <a:pos x="61" y="15"/>
                  </a:cxn>
                  <a:cxn ang="0">
                    <a:pos x="60" y="19"/>
                  </a:cxn>
                  <a:cxn ang="0">
                    <a:pos x="60" y="20"/>
                  </a:cxn>
                  <a:cxn ang="0">
                    <a:pos x="60" y="24"/>
                  </a:cxn>
                  <a:cxn ang="0">
                    <a:pos x="60" y="25"/>
                  </a:cxn>
                  <a:cxn ang="0">
                    <a:pos x="58" y="27"/>
                  </a:cxn>
                  <a:cxn ang="0">
                    <a:pos x="60" y="29"/>
                  </a:cxn>
                  <a:cxn ang="0">
                    <a:pos x="56" y="34"/>
                  </a:cxn>
                  <a:cxn ang="0">
                    <a:pos x="45" y="34"/>
                  </a:cxn>
                  <a:cxn ang="0">
                    <a:pos x="43" y="30"/>
                  </a:cxn>
                  <a:cxn ang="0">
                    <a:pos x="40" y="27"/>
                  </a:cxn>
                  <a:cxn ang="0">
                    <a:pos x="35" y="27"/>
                  </a:cxn>
                  <a:cxn ang="0">
                    <a:pos x="33" y="27"/>
                  </a:cxn>
                  <a:cxn ang="0">
                    <a:pos x="36" y="29"/>
                  </a:cxn>
                  <a:cxn ang="0">
                    <a:pos x="35" y="30"/>
                  </a:cxn>
                  <a:cxn ang="0">
                    <a:pos x="28" y="27"/>
                  </a:cxn>
                  <a:cxn ang="0">
                    <a:pos x="20" y="24"/>
                  </a:cxn>
                  <a:cxn ang="0">
                    <a:pos x="16" y="24"/>
                  </a:cxn>
                  <a:cxn ang="0">
                    <a:pos x="11" y="24"/>
                  </a:cxn>
                  <a:cxn ang="0">
                    <a:pos x="6" y="20"/>
                  </a:cxn>
                  <a:cxn ang="0">
                    <a:pos x="3" y="20"/>
                  </a:cxn>
                  <a:cxn ang="0">
                    <a:pos x="0" y="19"/>
                  </a:cxn>
                  <a:cxn ang="0">
                    <a:pos x="1" y="17"/>
                  </a:cxn>
                  <a:cxn ang="0">
                    <a:pos x="1" y="14"/>
                  </a:cxn>
                  <a:cxn ang="0">
                    <a:pos x="6" y="10"/>
                  </a:cxn>
                  <a:cxn ang="0">
                    <a:pos x="13" y="9"/>
                  </a:cxn>
                  <a:cxn ang="0">
                    <a:pos x="16" y="7"/>
                  </a:cxn>
                  <a:cxn ang="0">
                    <a:pos x="16" y="5"/>
                  </a:cxn>
                  <a:cxn ang="0">
                    <a:pos x="23" y="0"/>
                  </a:cxn>
                </a:cxnLst>
                <a:rect l="0" t="0" r="r" b="b"/>
                <a:pathLst>
                  <a:path w="61" h="34">
                    <a:moveTo>
                      <a:pt x="23" y="0"/>
                    </a:move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3" y="5"/>
                    </a:lnTo>
                    <a:lnTo>
                      <a:pt x="38" y="5"/>
                    </a:lnTo>
                    <a:lnTo>
                      <a:pt x="41" y="7"/>
                    </a:lnTo>
                    <a:lnTo>
                      <a:pt x="45" y="10"/>
                    </a:lnTo>
                    <a:lnTo>
                      <a:pt x="46" y="12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1" y="10"/>
                    </a:lnTo>
                    <a:lnTo>
                      <a:pt x="55" y="9"/>
                    </a:lnTo>
                    <a:lnTo>
                      <a:pt x="58" y="10"/>
                    </a:lnTo>
                    <a:lnTo>
                      <a:pt x="61" y="10"/>
                    </a:lnTo>
                    <a:lnTo>
                      <a:pt x="61" y="15"/>
                    </a:lnTo>
                    <a:lnTo>
                      <a:pt x="60" y="19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8" y="27"/>
                    </a:lnTo>
                    <a:lnTo>
                      <a:pt x="60" y="29"/>
                    </a:lnTo>
                    <a:lnTo>
                      <a:pt x="56" y="34"/>
                    </a:lnTo>
                    <a:lnTo>
                      <a:pt x="45" y="34"/>
                    </a:lnTo>
                    <a:lnTo>
                      <a:pt x="43" y="30"/>
                    </a:lnTo>
                    <a:lnTo>
                      <a:pt x="40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6" y="29"/>
                    </a:lnTo>
                    <a:lnTo>
                      <a:pt x="35" y="30"/>
                    </a:lnTo>
                    <a:lnTo>
                      <a:pt x="28" y="27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1" y="24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1" y="14"/>
                    </a:lnTo>
                    <a:lnTo>
                      <a:pt x="6" y="10"/>
                    </a:lnTo>
                    <a:lnTo>
                      <a:pt x="13" y="9"/>
                    </a:lnTo>
                    <a:lnTo>
                      <a:pt x="16" y="7"/>
                    </a:lnTo>
                    <a:lnTo>
                      <a:pt x="16" y="5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79" name="Freeform 163">
                <a:extLst>
                  <a:ext uri="{FF2B5EF4-FFF2-40B4-BE49-F238E27FC236}">
                    <a16:creationId xmlns:a16="http://schemas.microsoft.com/office/drawing/2014/main" id="{05214EB6-7057-3042-ACAD-391F9A3F53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8915" y="3209534"/>
                <a:ext cx="507298" cy="467953"/>
              </a:xfrm>
              <a:custGeom>
                <a:avLst/>
                <a:gdLst/>
                <a:ahLst/>
                <a:cxnLst>
                  <a:cxn ang="0">
                    <a:pos x="565" y="121"/>
                  </a:cxn>
                  <a:cxn ang="0">
                    <a:pos x="572" y="116"/>
                  </a:cxn>
                  <a:cxn ang="0">
                    <a:pos x="575" y="116"/>
                  </a:cxn>
                  <a:cxn ang="0">
                    <a:pos x="596" y="118"/>
                  </a:cxn>
                  <a:cxn ang="0">
                    <a:pos x="572" y="75"/>
                  </a:cxn>
                  <a:cxn ang="0">
                    <a:pos x="522" y="51"/>
                  </a:cxn>
                  <a:cxn ang="0">
                    <a:pos x="484" y="75"/>
                  </a:cxn>
                  <a:cxn ang="0">
                    <a:pos x="432" y="65"/>
                  </a:cxn>
                  <a:cxn ang="0">
                    <a:pos x="404" y="73"/>
                  </a:cxn>
                  <a:cxn ang="0">
                    <a:pos x="347" y="76"/>
                  </a:cxn>
                  <a:cxn ang="0">
                    <a:pos x="342" y="23"/>
                  </a:cxn>
                  <a:cxn ang="0">
                    <a:pos x="307" y="17"/>
                  </a:cxn>
                  <a:cxn ang="0">
                    <a:pos x="226" y="30"/>
                  </a:cxn>
                  <a:cxn ang="0">
                    <a:pos x="218" y="88"/>
                  </a:cxn>
                  <a:cxn ang="0">
                    <a:pos x="143" y="80"/>
                  </a:cxn>
                  <a:cxn ang="0">
                    <a:pos x="91" y="111"/>
                  </a:cxn>
                  <a:cxn ang="0">
                    <a:pos x="80" y="213"/>
                  </a:cxn>
                  <a:cxn ang="0">
                    <a:pos x="13" y="254"/>
                  </a:cxn>
                  <a:cxn ang="0">
                    <a:pos x="18" y="321"/>
                  </a:cxn>
                  <a:cxn ang="0">
                    <a:pos x="85" y="359"/>
                  </a:cxn>
                  <a:cxn ang="0">
                    <a:pos x="146" y="359"/>
                  </a:cxn>
                  <a:cxn ang="0">
                    <a:pos x="211" y="367"/>
                  </a:cxn>
                  <a:cxn ang="0">
                    <a:pos x="289" y="414"/>
                  </a:cxn>
                  <a:cxn ang="0">
                    <a:pos x="385" y="495"/>
                  </a:cxn>
                  <a:cxn ang="0">
                    <a:pos x="407" y="610"/>
                  </a:cxn>
                  <a:cxn ang="0">
                    <a:pos x="485" y="656"/>
                  </a:cxn>
                  <a:cxn ang="0">
                    <a:pos x="513" y="709"/>
                  </a:cxn>
                  <a:cxn ang="0">
                    <a:pos x="469" y="761"/>
                  </a:cxn>
                  <a:cxn ang="0">
                    <a:pos x="430" y="811"/>
                  </a:cxn>
                  <a:cxn ang="0">
                    <a:pos x="500" y="842"/>
                  </a:cxn>
                  <a:cxn ang="0">
                    <a:pos x="540" y="900"/>
                  </a:cxn>
                  <a:cxn ang="0">
                    <a:pos x="572" y="837"/>
                  </a:cxn>
                  <a:cxn ang="0">
                    <a:pos x="588" y="814"/>
                  </a:cxn>
                  <a:cxn ang="0">
                    <a:pos x="568" y="850"/>
                  </a:cxn>
                  <a:cxn ang="0">
                    <a:pos x="633" y="761"/>
                  </a:cxn>
                  <a:cxn ang="0">
                    <a:pos x="628" y="713"/>
                  </a:cxn>
                  <a:cxn ang="0">
                    <a:pos x="661" y="676"/>
                  </a:cxn>
                  <a:cxn ang="0">
                    <a:pos x="724" y="638"/>
                  </a:cxn>
                  <a:cxn ang="0">
                    <a:pos x="743" y="634"/>
                  </a:cxn>
                  <a:cxn ang="0">
                    <a:pos x="789" y="626"/>
                  </a:cxn>
                  <a:cxn ang="0">
                    <a:pos x="824" y="576"/>
                  </a:cxn>
                  <a:cxn ang="0">
                    <a:pos x="849" y="487"/>
                  </a:cxn>
                  <a:cxn ang="0">
                    <a:pos x="852" y="410"/>
                  </a:cxn>
                  <a:cxn ang="0">
                    <a:pos x="857" y="405"/>
                  </a:cxn>
                  <a:cxn ang="0">
                    <a:pos x="914" y="342"/>
                  </a:cxn>
                  <a:cxn ang="0">
                    <a:pos x="935" y="249"/>
                  </a:cxn>
                  <a:cxn ang="0">
                    <a:pos x="846" y="189"/>
                  </a:cxn>
                  <a:cxn ang="0">
                    <a:pos x="776" y="178"/>
                  </a:cxn>
                  <a:cxn ang="0">
                    <a:pos x="733" y="174"/>
                  </a:cxn>
                  <a:cxn ang="0">
                    <a:pos x="711" y="184"/>
                  </a:cxn>
                  <a:cxn ang="0">
                    <a:pos x="684" y="151"/>
                  </a:cxn>
                  <a:cxn ang="0">
                    <a:pos x="646" y="136"/>
                  </a:cxn>
                  <a:cxn ang="0">
                    <a:pos x="595" y="168"/>
                  </a:cxn>
                  <a:cxn ang="0">
                    <a:pos x="591" y="161"/>
                  </a:cxn>
                  <a:cxn ang="0">
                    <a:pos x="595" y="154"/>
                  </a:cxn>
                  <a:cxn ang="0">
                    <a:pos x="580" y="121"/>
                  </a:cxn>
                  <a:cxn ang="0">
                    <a:pos x="545" y="144"/>
                  </a:cxn>
                  <a:cxn ang="0">
                    <a:pos x="553" y="116"/>
                  </a:cxn>
                  <a:cxn ang="0">
                    <a:pos x="568" y="75"/>
                  </a:cxn>
                </a:cxnLst>
                <a:rect l="0" t="0" r="r" b="b"/>
                <a:pathLst>
                  <a:path w="949" h="900">
                    <a:moveTo>
                      <a:pt x="555" y="133"/>
                    </a:moveTo>
                    <a:lnTo>
                      <a:pt x="557" y="129"/>
                    </a:lnTo>
                    <a:lnTo>
                      <a:pt x="560" y="128"/>
                    </a:lnTo>
                    <a:lnTo>
                      <a:pt x="562" y="129"/>
                    </a:lnTo>
                    <a:lnTo>
                      <a:pt x="560" y="131"/>
                    </a:lnTo>
                    <a:lnTo>
                      <a:pt x="557" y="133"/>
                    </a:lnTo>
                    <a:lnTo>
                      <a:pt x="555" y="133"/>
                    </a:lnTo>
                    <a:lnTo>
                      <a:pt x="555" y="133"/>
                    </a:lnTo>
                    <a:close/>
                    <a:moveTo>
                      <a:pt x="550" y="131"/>
                    </a:moveTo>
                    <a:lnTo>
                      <a:pt x="552" y="131"/>
                    </a:lnTo>
                    <a:lnTo>
                      <a:pt x="553" y="129"/>
                    </a:lnTo>
                    <a:lnTo>
                      <a:pt x="558" y="125"/>
                    </a:lnTo>
                    <a:lnTo>
                      <a:pt x="560" y="125"/>
                    </a:lnTo>
                    <a:lnTo>
                      <a:pt x="565" y="121"/>
                    </a:lnTo>
                    <a:lnTo>
                      <a:pt x="563" y="120"/>
                    </a:lnTo>
                    <a:lnTo>
                      <a:pt x="562" y="120"/>
                    </a:lnTo>
                    <a:lnTo>
                      <a:pt x="560" y="120"/>
                    </a:lnTo>
                    <a:lnTo>
                      <a:pt x="558" y="121"/>
                    </a:lnTo>
                    <a:lnTo>
                      <a:pt x="553" y="125"/>
                    </a:lnTo>
                    <a:lnTo>
                      <a:pt x="550" y="131"/>
                    </a:lnTo>
                    <a:lnTo>
                      <a:pt x="550" y="131"/>
                    </a:lnTo>
                    <a:close/>
                    <a:moveTo>
                      <a:pt x="572" y="116"/>
                    </a:moveTo>
                    <a:lnTo>
                      <a:pt x="570" y="115"/>
                    </a:lnTo>
                    <a:lnTo>
                      <a:pt x="567" y="113"/>
                    </a:lnTo>
                    <a:lnTo>
                      <a:pt x="567" y="116"/>
                    </a:lnTo>
                    <a:lnTo>
                      <a:pt x="568" y="118"/>
                    </a:lnTo>
                    <a:lnTo>
                      <a:pt x="572" y="118"/>
                    </a:lnTo>
                    <a:lnTo>
                      <a:pt x="572" y="116"/>
                    </a:lnTo>
                    <a:lnTo>
                      <a:pt x="572" y="116"/>
                    </a:lnTo>
                    <a:close/>
                    <a:moveTo>
                      <a:pt x="572" y="111"/>
                    </a:moveTo>
                    <a:lnTo>
                      <a:pt x="570" y="108"/>
                    </a:lnTo>
                    <a:lnTo>
                      <a:pt x="573" y="105"/>
                    </a:lnTo>
                    <a:lnTo>
                      <a:pt x="575" y="105"/>
                    </a:lnTo>
                    <a:lnTo>
                      <a:pt x="578" y="101"/>
                    </a:lnTo>
                    <a:lnTo>
                      <a:pt x="582" y="103"/>
                    </a:lnTo>
                    <a:lnTo>
                      <a:pt x="578" y="105"/>
                    </a:lnTo>
                    <a:lnTo>
                      <a:pt x="577" y="106"/>
                    </a:lnTo>
                    <a:lnTo>
                      <a:pt x="573" y="110"/>
                    </a:lnTo>
                    <a:lnTo>
                      <a:pt x="572" y="111"/>
                    </a:lnTo>
                    <a:lnTo>
                      <a:pt x="572" y="111"/>
                    </a:lnTo>
                    <a:close/>
                    <a:moveTo>
                      <a:pt x="573" y="115"/>
                    </a:moveTo>
                    <a:lnTo>
                      <a:pt x="575" y="116"/>
                    </a:lnTo>
                    <a:lnTo>
                      <a:pt x="582" y="116"/>
                    </a:lnTo>
                    <a:lnTo>
                      <a:pt x="583" y="118"/>
                    </a:lnTo>
                    <a:lnTo>
                      <a:pt x="586" y="116"/>
                    </a:lnTo>
                    <a:lnTo>
                      <a:pt x="586" y="113"/>
                    </a:lnTo>
                    <a:lnTo>
                      <a:pt x="585" y="111"/>
                    </a:lnTo>
                    <a:lnTo>
                      <a:pt x="577" y="113"/>
                    </a:lnTo>
                    <a:lnTo>
                      <a:pt x="573" y="113"/>
                    </a:lnTo>
                    <a:lnTo>
                      <a:pt x="573" y="115"/>
                    </a:lnTo>
                    <a:lnTo>
                      <a:pt x="573" y="115"/>
                    </a:lnTo>
                    <a:close/>
                    <a:moveTo>
                      <a:pt x="586" y="120"/>
                    </a:moveTo>
                    <a:lnTo>
                      <a:pt x="590" y="118"/>
                    </a:lnTo>
                    <a:lnTo>
                      <a:pt x="591" y="116"/>
                    </a:lnTo>
                    <a:lnTo>
                      <a:pt x="595" y="116"/>
                    </a:lnTo>
                    <a:lnTo>
                      <a:pt x="596" y="118"/>
                    </a:lnTo>
                    <a:lnTo>
                      <a:pt x="595" y="121"/>
                    </a:lnTo>
                    <a:lnTo>
                      <a:pt x="590" y="121"/>
                    </a:lnTo>
                    <a:lnTo>
                      <a:pt x="586" y="120"/>
                    </a:lnTo>
                    <a:lnTo>
                      <a:pt x="586" y="120"/>
                    </a:lnTo>
                    <a:close/>
                    <a:moveTo>
                      <a:pt x="572" y="75"/>
                    </a:moveTo>
                    <a:lnTo>
                      <a:pt x="568" y="71"/>
                    </a:lnTo>
                    <a:lnTo>
                      <a:pt x="567" y="66"/>
                    </a:lnTo>
                    <a:lnTo>
                      <a:pt x="568" y="65"/>
                    </a:lnTo>
                    <a:lnTo>
                      <a:pt x="572" y="66"/>
                    </a:lnTo>
                    <a:lnTo>
                      <a:pt x="575" y="71"/>
                    </a:lnTo>
                    <a:lnTo>
                      <a:pt x="573" y="75"/>
                    </a:lnTo>
                    <a:lnTo>
                      <a:pt x="573" y="75"/>
                    </a:lnTo>
                    <a:lnTo>
                      <a:pt x="572" y="75"/>
                    </a:lnTo>
                    <a:lnTo>
                      <a:pt x="572" y="75"/>
                    </a:lnTo>
                    <a:close/>
                    <a:moveTo>
                      <a:pt x="550" y="31"/>
                    </a:moveTo>
                    <a:lnTo>
                      <a:pt x="548" y="30"/>
                    </a:lnTo>
                    <a:lnTo>
                      <a:pt x="547" y="25"/>
                    </a:lnTo>
                    <a:lnTo>
                      <a:pt x="543" y="20"/>
                    </a:lnTo>
                    <a:lnTo>
                      <a:pt x="543" y="20"/>
                    </a:lnTo>
                    <a:lnTo>
                      <a:pt x="543" y="23"/>
                    </a:lnTo>
                    <a:lnTo>
                      <a:pt x="542" y="27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5" y="30"/>
                    </a:lnTo>
                    <a:lnTo>
                      <a:pt x="533" y="33"/>
                    </a:lnTo>
                    <a:lnTo>
                      <a:pt x="528" y="40"/>
                    </a:lnTo>
                    <a:lnTo>
                      <a:pt x="522" y="46"/>
                    </a:lnTo>
                    <a:lnTo>
                      <a:pt x="522" y="51"/>
                    </a:lnTo>
                    <a:lnTo>
                      <a:pt x="517" y="60"/>
                    </a:lnTo>
                    <a:lnTo>
                      <a:pt x="513" y="65"/>
                    </a:lnTo>
                    <a:lnTo>
                      <a:pt x="510" y="71"/>
                    </a:lnTo>
                    <a:lnTo>
                      <a:pt x="505" y="71"/>
                    </a:lnTo>
                    <a:lnTo>
                      <a:pt x="503" y="73"/>
                    </a:lnTo>
                    <a:lnTo>
                      <a:pt x="502" y="76"/>
                    </a:lnTo>
                    <a:lnTo>
                      <a:pt x="498" y="80"/>
                    </a:lnTo>
                    <a:lnTo>
                      <a:pt x="495" y="78"/>
                    </a:lnTo>
                    <a:lnTo>
                      <a:pt x="495" y="73"/>
                    </a:lnTo>
                    <a:lnTo>
                      <a:pt x="493" y="71"/>
                    </a:lnTo>
                    <a:lnTo>
                      <a:pt x="492" y="70"/>
                    </a:lnTo>
                    <a:lnTo>
                      <a:pt x="490" y="70"/>
                    </a:lnTo>
                    <a:lnTo>
                      <a:pt x="487" y="71"/>
                    </a:lnTo>
                    <a:lnTo>
                      <a:pt x="484" y="75"/>
                    </a:lnTo>
                    <a:lnTo>
                      <a:pt x="480" y="73"/>
                    </a:lnTo>
                    <a:lnTo>
                      <a:pt x="477" y="70"/>
                    </a:lnTo>
                    <a:lnTo>
                      <a:pt x="477" y="68"/>
                    </a:lnTo>
                    <a:lnTo>
                      <a:pt x="475" y="66"/>
                    </a:lnTo>
                    <a:lnTo>
                      <a:pt x="474" y="63"/>
                    </a:lnTo>
                    <a:lnTo>
                      <a:pt x="472" y="61"/>
                    </a:lnTo>
                    <a:lnTo>
                      <a:pt x="469" y="60"/>
                    </a:lnTo>
                    <a:lnTo>
                      <a:pt x="465" y="56"/>
                    </a:lnTo>
                    <a:lnTo>
                      <a:pt x="459" y="56"/>
                    </a:lnTo>
                    <a:lnTo>
                      <a:pt x="454" y="58"/>
                    </a:lnTo>
                    <a:lnTo>
                      <a:pt x="444" y="58"/>
                    </a:lnTo>
                    <a:lnTo>
                      <a:pt x="439" y="56"/>
                    </a:lnTo>
                    <a:lnTo>
                      <a:pt x="434" y="60"/>
                    </a:lnTo>
                    <a:lnTo>
                      <a:pt x="432" y="65"/>
                    </a:lnTo>
                    <a:lnTo>
                      <a:pt x="437" y="68"/>
                    </a:lnTo>
                    <a:lnTo>
                      <a:pt x="439" y="70"/>
                    </a:lnTo>
                    <a:lnTo>
                      <a:pt x="440" y="75"/>
                    </a:lnTo>
                    <a:lnTo>
                      <a:pt x="440" y="76"/>
                    </a:lnTo>
                    <a:lnTo>
                      <a:pt x="435" y="76"/>
                    </a:lnTo>
                    <a:lnTo>
                      <a:pt x="429" y="76"/>
                    </a:lnTo>
                    <a:lnTo>
                      <a:pt x="427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25" y="75"/>
                    </a:lnTo>
                    <a:lnTo>
                      <a:pt x="417" y="75"/>
                    </a:lnTo>
                    <a:lnTo>
                      <a:pt x="414" y="75"/>
                    </a:lnTo>
                    <a:lnTo>
                      <a:pt x="412" y="73"/>
                    </a:lnTo>
                    <a:lnTo>
                      <a:pt x="404" y="73"/>
                    </a:lnTo>
                    <a:lnTo>
                      <a:pt x="399" y="75"/>
                    </a:lnTo>
                    <a:lnTo>
                      <a:pt x="397" y="83"/>
                    </a:lnTo>
                    <a:lnTo>
                      <a:pt x="387" y="81"/>
                    </a:lnTo>
                    <a:lnTo>
                      <a:pt x="381" y="83"/>
                    </a:lnTo>
                    <a:lnTo>
                      <a:pt x="381" y="86"/>
                    </a:lnTo>
                    <a:lnTo>
                      <a:pt x="377" y="90"/>
                    </a:lnTo>
                    <a:lnTo>
                      <a:pt x="372" y="90"/>
                    </a:lnTo>
                    <a:lnTo>
                      <a:pt x="371" y="88"/>
                    </a:lnTo>
                    <a:lnTo>
                      <a:pt x="367" y="90"/>
                    </a:lnTo>
                    <a:lnTo>
                      <a:pt x="366" y="93"/>
                    </a:lnTo>
                    <a:lnTo>
                      <a:pt x="361" y="91"/>
                    </a:lnTo>
                    <a:lnTo>
                      <a:pt x="351" y="83"/>
                    </a:lnTo>
                    <a:lnTo>
                      <a:pt x="347" y="80"/>
                    </a:lnTo>
                    <a:lnTo>
                      <a:pt x="347" y="76"/>
                    </a:lnTo>
                    <a:lnTo>
                      <a:pt x="342" y="71"/>
                    </a:lnTo>
                    <a:lnTo>
                      <a:pt x="337" y="68"/>
                    </a:lnTo>
                    <a:lnTo>
                      <a:pt x="337" y="63"/>
                    </a:lnTo>
                    <a:lnTo>
                      <a:pt x="339" y="60"/>
                    </a:lnTo>
                    <a:lnTo>
                      <a:pt x="337" y="58"/>
                    </a:lnTo>
                    <a:lnTo>
                      <a:pt x="337" y="55"/>
                    </a:lnTo>
                    <a:lnTo>
                      <a:pt x="339" y="51"/>
                    </a:lnTo>
                    <a:lnTo>
                      <a:pt x="339" y="46"/>
                    </a:lnTo>
                    <a:lnTo>
                      <a:pt x="344" y="38"/>
                    </a:lnTo>
                    <a:lnTo>
                      <a:pt x="346" y="33"/>
                    </a:lnTo>
                    <a:lnTo>
                      <a:pt x="351" y="28"/>
                    </a:lnTo>
                    <a:lnTo>
                      <a:pt x="351" y="25"/>
                    </a:lnTo>
                    <a:lnTo>
                      <a:pt x="346" y="27"/>
                    </a:lnTo>
                    <a:lnTo>
                      <a:pt x="342" y="23"/>
                    </a:lnTo>
                    <a:lnTo>
                      <a:pt x="342" y="20"/>
                    </a:lnTo>
                    <a:lnTo>
                      <a:pt x="336" y="20"/>
                    </a:lnTo>
                    <a:lnTo>
                      <a:pt x="332" y="18"/>
                    </a:lnTo>
                    <a:lnTo>
                      <a:pt x="334" y="15"/>
                    </a:lnTo>
                    <a:lnTo>
                      <a:pt x="337" y="12"/>
                    </a:lnTo>
                    <a:lnTo>
                      <a:pt x="337" y="5"/>
                    </a:lnTo>
                    <a:lnTo>
                      <a:pt x="334" y="0"/>
                    </a:lnTo>
                    <a:lnTo>
                      <a:pt x="327" y="0"/>
                    </a:lnTo>
                    <a:lnTo>
                      <a:pt x="326" y="2"/>
                    </a:lnTo>
                    <a:lnTo>
                      <a:pt x="324" y="0"/>
                    </a:lnTo>
                    <a:lnTo>
                      <a:pt x="321" y="0"/>
                    </a:lnTo>
                    <a:lnTo>
                      <a:pt x="321" y="3"/>
                    </a:lnTo>
                    <a:lnTo>
                      <a:pt x="319" y="10"/>
                    </a:lnTo>
                    <a:lnTo>
                      <a:pt x="307" y="17"/>
                    </a:lnTo>
                    <a:lnTo>
                      <a:pt x="299" y="18"/>
                    </a:lnTo>
                    <a:lnTo>
                      <a:pt x="287" y="22"/>
                    </a:lnTo>
                    <a:lnTo>
                      <a:pt x="284" y="20"/>
                    </a:lnTo>
                    <a:lnTo>
                      <a:pt x="278" y="22"/>
                    </a:lnTo>
                    <a:lnTo>
                      <a:pt x="269" y="27"/>
                    </a:lnTo>
                    <a:lnTo>
                      <a:pt x="261" y="30"/>
                    </a:lnTo>
                    <a:lnTo>
                      <a:pt x="259" y="28"/>
                    </a:lnTo>
                    <a:lnTo>
                      <a:pt x="248" y="30"/>
                    </a:lnTo>
                    <a:lnTo>
                      <a:pt x="239" y="30"/>
                    </a:lnTo>
                    <a:lnTo>
                      <a:pt x="233" y="27"/>
                    </a:lnTo>
                    <a:lnTo>
                      <a:pt x="224" y="25"/>
                    </a:lnTo>
                    <a:lnTo>
                      <a:pt x="218" y="23"/>
                    </a:lnTo>
                    <a:lnTo>
                      <a:pt x="221" y="28"/>
                    </a:lnTo>
                    <a:lnTo>
                      <a:pt x="226" y="30"/>
                    </a:lnTo>
                    <a:lnTo>
                      <a:pt x="231" y="35"/>
                    </a:lnTo>
                    <a:lnTo>
                      <a:pt x="233" y="38"/>
                    </a:lnTo>
                    <a:lnTo>
                      <a:pt x="226" y="48"/>
                    </a:lnTo>
                    <a:lnTo>
                      <a:pt x="229" y="53"/>
                    </a:lnTo>
                    <a:lnTo>
                      <a:pt x="228" y="60"/>
                    </a:lnTo>
                    <a:lnTo>
                      <a:pt x="238" y="63"/>
                    </a:lnTo>
                    <a:lnTo>
                      <a:pt x="246" y="63"/>
                    </a:lnTo>
                    <a:lnTo>
                      <a:pt x="254" y="63"/>
                    </a:lnTo>
                    <a:lnTo>
                      <a:pt x="254" y="68"/>
                    </a:lnTo>
                    <a:lnTo>
                      <a:pt x="249" y="70"/>
                    </a:lnTo>
                    <a:lnTo>
                      <a:pt x="238" y="73"/>
                    </a:lnTo>
                    <a:lnTo>
                      <a:pt x="233" y="76"/>
                    </a:lnTo>
                    <a:lnTo>
                      <a:pt x="231" y="81"/>
                    </a:lnTo>
                    <a:lnTo>
                      <a:pt x="218" y="88"/>
                    </a:lnTo>
                    <a:lnTo>
                      <a:pt x="214" y="93"/>
                    </a:lnTo>
                    <a:lnTo>
                      <a:pt x="206" y="98"/>
                    </a:lnTo>
                    <a:lnTo>
                      <a:pt x="201" y="103"/>
                    </a:lnTo>
                    <a:lnTo>
                      <a:pt x="191" y="105"/>
                    </a:lnTo>
                    <a:lnTo>
                      <a:pt x="185" y="103"/>
                    </a:lnTo>
                    <a:lnTo>
                      <a:pt x="176" y="96"/>
                    </a:lnTo>
                    <a:lnTo>
                      <a:pt x="166" y="91"/>
                    </a:lnTo>
                    <a:lnTo>
                      <a:pt x="160" y="91"/>
                    </a:lnTo>
                    <a:lnTo>
                      <a:pt x="160" y="85"/>
                    </a:lnTo>
                    <a:lnTo>
                      <a:pt x="160" y="80"/>
                    </a:lnTo>
                    <a:lnTo>
                      <a:pt x="155" y="76"/>
                    </a:lnTo>
                    <a:lnTo>
                      <a:pt x="153" y="73"/>
                    </a:lnTo>
                    <a:lnTo>
                      <a:pt x="146" y="75"/>
                    </a:lnTo>
                    <a:lnTo>
                      <a:pt x="143" y="80"/>
                    </a:lnTo>
                    <a:lnTo>
                      <a:pt x="140" y="80"/>
                    </a:lnTo>
                    <a:lnTo>
                      <a:pt x="136" y="78"/>
                    </a:lnTo>
                    <a:lnTo>
                      <a:pt x="131" y="78"/>
                    </a:lnTo>
                    <a:lnTo>
                      <a:pt x="128" y="80"/>
                    </a:lnTo>
                    <a:lnTo>
                      <a:pt x="101" y="80"/>
                    </a:lnTo>
                    <a:lnTo>
                      <a:pt x="100" y="88"/>
                    </a:lnTo>
                    <a:lnTo>
                      <a:pt x="101" y="93"/>
                    </a:lnTo>
                    <a:lnTo>
                      <a:pt x="111" y="95"/>
                    </a:lnTo>
                    <a:lnTo>
                      <a:pt x="115" y="101"/>
                    </a:lnTo>
                    <a:lnTo>
                      <a:pt x="111" y="103"/>
                    </a:lnTo>
                    <a:lnTo>
                      <a:pt x="115" y="106"/>
                    </a:lnTo>
                    <a:lnTo>
                      <a:pt x="113" y="110"/>
                    </a:lnTo>
                    <a:lnTo>
                      <a:pt x="108" y="106"/>
                    </a:lnTo>
                    <a:lnTo>
                      <a:pt x="91" y="111"/>
                    </a:lnTo>
                    <a:lnTo>
                      <a:pt x="93" y="123"/>
                    </a:lnTo>
                    <a:lnTo>
                      <a:pt x="96" y="128"/>
                    </a:lnTo>
                    <a:lnTo>
                      <a:pt x="106" y="134"/>
                    </a:lnTo>
                    <a:lnTo>
                      <a:pt x="111" y="144"/>
                    </a:lnTo>
                    <a:lnTo>
                      <a:pt x="111" y="151"/>
                    </a:lnTo>
                    <a:lnTo>
                      <a:pt x="111" y="154"/>
                    </a:lnTo>
                    <a:lnTo>
                      <a:pt x="98" y="201"/>
                    </a:lnTo>
                    <a:lnTo>
                      <a:pt x="93" y="213"/>
                    </a:lnTo>
                    <a:lnTo>
                      <a:pt x="95" y="214"/>
                    </a:lnTo>
                    <a:lnTo>
                      <a:pt x="91" y="218"/>
                    </a:lnTo>
                    <a:lnTo>
                      <a:pt x="87" y="216"/>
                    </a:lnTo>
                    <a:lnTo>
                      <a:pt x="87" y="216"/>
                    </a:lnTo>
                    <a:lnTo>
                      <a:pt x="82" y="213"/>
                    </a:lnTo>
                    <a:lnTo>
                      <a:pt x="80" y="213"/>
                    </a:lnTo>
                    <a:lnTo>
                      <a:pt x="75" y="213"/>
                    </a:lnTo>
                    <a:lnTo>
                      <a:pt x="73" y="211"/>
                    </a:lnTo>
                    <a:lnTo>
                      <a:pt x="72" y="216"/>
                    </a:lnTo>
                    <a:lnTo>
                      <a:pt x="55" y="221"/>
                    </a:lnTo>
                    <a:lnTo>
                      <a:pt x="42" y="223"/>
                    </a:lnTo>
                    <a:lnTo>
                      <a:pt x="40" y="226"/>
                    </a:lnTo>
                    <a:lnTo>
                      <a:pt x="37" y="226"/>
                    </a:lnTo>
                    <a:lnTo>
                      <a:pt x="32" y="231"/>
                    </a:lnTo>
                    <a:lnTo>
                      <a:pt x="25" y="232"/>
                    </a:lnTo>
                    <a:lnTo>
                      <a:pt x="22" y="236"/>
                    </a:lnTo>
                    <a:lnTo>
                      <a:pt x="22" y="241"/>
                    </a:lnTo>
                    <a:lnTo>
                      <a:pt x="20" y="244"/>
                    </a:lnTo>
                    <a:lnTo>
                      <a:pt x="20" y="247"/>
                    </a:lnTo>
                    <a:lnTo>
                      <a:pt x="13" y="254"/>
                    </a:lnTo>
                    <a:lnTo>
                      <a:pt x="17" y="262"/>
                    </a:lnTo>
                    <a:lnTo>
                      <a:pt x="18" y="266"/>
                    </a:lnTo>
                    <a:lnTo>
                      <a:pt x="15" y="269"/>
                    </a:lnTo>
                    <a:lnTo>
                      <a:pt x="12" y="269"/>
                    </a:lnTo>
                    <a:lnTo>
                      <a:pt x="3" y="272"/>
                    </a:lnTo>
                    <a:lnTo>
                      <a:pt x="3" y="277"/>
                    </a:lnTo>
                    <a:lnTo>
                      <a:pt x="2" y="279"/>
                    </a:lnTo>
                    <a:lnTo>
                      <a:pt x="3" y="282"/>
                    </a:lnTo>
                    <a:lnTo>
                      <a:pt x="2" y="287"/>
                    </a:lnTo>
                    <a:lnTo>
                      <a:pt x="0" y="291"/>
                    </a:lnTo>
                    <a:lnTo>
                      <a:pt x="2" y="294"/>
                    </a:lnTo>
                    <a:lnTo>
                      <a:pt x="0" y="297"/>
                    </a:lnTo>
                    <a:lnTo>
                      <a:pt x="7" y="304"/>
                    </a:lnTo>
                    <a:lnTo>
                      <a:pt x="18" y="321"/>
                    </a:lnTo>
                    <a:lnTo>
                      <a:pt x="13" y="329"/>
                    </a:lnTo>
                    <a:lnTo>
                      <a:pt x="28" y="327"/>
                    </a:lnTo>
                    <a:lnTo>
                      <a:pt x="35" y="329"/>
                    </a:lnTo>
                    <a:lnTo>
                      <a:pt x="40" y="335"/>
                    </a:lnTo>
                    <a:lnTo>
                      <a:pt x="42" y="342"/>
                    </a:lnTo>
                    <a:lnTo>
                      <a:pt x="53" y="342"/>
                    </a:lnTo>
                    <a:lnTo>
                      <a:pt x="65" y="342"/>
                    </a:lnTo>
                    <a:lnTo>
                      <a:pt x="75" y="334"/>
                    </a:lnTo>
                    <a:lnTo>
                      <a:pt x="83" y="329"/>
                    </a:lnTo>
                    <a:lnTo>
                      <a:pt x="87" y="332"/>
                    </a:lnTo>
                    <a:lnTo>
                      <a:pt x="85" y="337"/>
                    </a:lnTo>
                    <a:lnTo>
                      <a:pt x="83" y="339"/>
                    </a:lnTo>
                    <a:lnTo>
                      <a:pt x="83" y="345"/>
                    </a:lnTo>
                    <a:lnTo>
                      <a:pt x="85" y="359"/>
                    </a:lnTo>
                    <a:lnTo>
                      <a:pt x="85" y="364"/>
                    </a:lnTo>
                    <a:lnTo>
                      <a:pt x="88" y="367"/>
                    </a:lnTo>
                    <a:lnTo>
                      <a:pt x="93" y="365"/>
                    </a:lnTo>
                    <a:lnTo>
                      <a:pt x="96" y="365"/>
                    </a:lnTo>
                    <a:lnTo>
                      <a:pt x="103" y="365"/>
                    </a:lnTo>
                    <a:lnTo>
                      <a:pt x="105" y="364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08" y="365"/>
                    </a:lnTo>
                    <a:lnTo>
                      <a:pt x="123" y="365"/>
                    </a:lnTo>
                    <a:lnTo>
                      <a:pt x="130" y="365"/>
                    </a:lnTo>
                    <a:lnTo>
                      <a:pt x="138" y="362"/>
                    </a:lnTo>
                    <a:lnTo>
                      <a:pt x="141" y="362"/>
                    </a:lnTo>
                    <a:lnTo>
                      <a:pt x="146" y="359"/>
                    </a:lnTo>
                    <a:lnTo>
                      <a:pt x="153" y="359"/>
                    </a:lnTo>
                    <a:lnTo>
                      <a:pt x="160" y="357"/>
                    </a:lnTo>
                    <a:lnTo>
                      <a:pt x="163" y="347"/>
                    </a:lnTo>
                    <a:lnTo>
                      <a:pt x="175" y="340"/>
                    </a:lnTo>
                    <a:lnTo>
                      <a:pt x="183" y="339"/>
                    </a:lnTo>
                    <a:lnTo>
                      <a:pt x="191" y="335"/>
                    </a:lnTo>
                    <a:lnTo>
                      <a:pt x="196" y="335"/>
                    </a:lnTo>
                    <a:lnTo>
                      <a:pt x="201" y="339"/>
                    </a:lnTo>
                    <a:lnTo>
                      <a:pt x="206" y="335"/>
                    </a:lnTo>
                    <a:lnTo>
                      <a:pt x="209" y="337"/>
                    </a:lnTo>
                    <a:lnTo>
                      <a:pt x="209" y="342"/>
                    </a:lnTo>
                    <a:lnTo>
                      <a:pt x="211" y="350"/>
                    </a:lnTo>
                    <a:lnTo>
                      <a:pt x="208" y="357"/>
                    </a:lnTo>
                    <a:lnTo>
                      <a:pt x="211" y="367"/>
                    </a:lnTo>
                    <a:lnTo>
                      <a:pt x="209" y="372"/>
                    </a:lnTo>
                    <a:lnTo>
                      <a:pt x="213" y="380"/>
                    </a:lnTo>
                    <a:lnTo>
                      <a:pt x="218" y="382"/>
                    </a:lnTo>
                    <a:lnTo>
                      <a:pt x="219" y="389"/>
                    </a:lnTo>
                    <a:lnTo>
                      <a:pt x="226" y="390"/>
                    </a:lnTo>
                    <a:lnTo>
                      <a:pt x="234" y="395"/>
                    </a:lnTo>
                    <a:lnTo>
                      <a:pt x="239" y="400"/>
                    </a:lnTo>
                    <a:lnTo>
                      <a:pt x="241" y="397"/>
                    </a:lnTo>
                    <a:lnTo>
                      <a:pt x="251" y="395"/>
                    </a:lnTo>
                    <a:lnTo>
                      <a:pt x="259" y="404"/>
                    </a:lnTo>
                    <a:lnTo>
                      <a:pt x="266" y="402"/>
                    </a:lnTo>
                    <a:lnTo>
                      <a:pt x="274" y="410"/>
                    </a:lnTo>
                    <a:lnTo>
                      <a:pt x="278" y="410"/>
                    </a:lnTo>
                    <a:lnTo>
                      <a:pt x="289" y="414"/>
                    </a:lnTo>
                    <a:lnTo>
                      <a:pt x="296" y="415"/>
                    </a:lnTo>
                    <a:lnTo>
                      <a:pt x="297" y="422"/>
                    </a:lnTo>
                    <a:lnTo>
                      <a:pt x="302" y="423"/>
                    </a:lnTo>
                    <a:lnTo>
                      <a:pt x="307" y="425"/>
                    </a:lnTo>
                    <a:lnTo>
                      <a:pt x="322" y="425"/>
                    </a:lnTo>
                    <a:lnTo>
                      <a:pt x="332" y="430"/>
                    </a:lnTo>
                    <a:lnTo>
                      <a:pt x="334" y="433"/>
                    </a:lnTo>
                    <a:lnTo>
                      <a:pt x="332" y="443"/>
                    </a:lnTo>
                    <a:lnTo>
                      <a:pt x="334" y="452"/>
                    </a:lnTo>
                    <a:lnTo>
                      <a:pt x="332" y="457"/>
                    </a:lnTo>
                    <a:lnTo>
                      <a:pt x="341" y="470"/>
                    </a:lnTo>
                    <a:lnTo>
                      <a:pt x="341" y="482"/>
                    </a:lnTo>
                    <a:lnTo>
                      <a:pt x="382" y="482"/>
                    </a:lnTo>
                    <a:lnTo>
                      <a:pt x="385" y="495"/>
                    </a:lnTo>
                    <a:lnTo>
                      <a:pt x="384" y="505"/>
                    </a:lnTo>
                    <a:lnTo>
                      <a:pt x="397" y="507"/>
                    </a:lnTo>
                    <a:lnTo>
                      <a:pt x="409" y="526"/>
                    </a:lnTo>
                    <a:lnTo>
                      <a:pt x="410" y="538"/>
                    </a:lnTo>
                    <a:lnTo>
                      <a:pt x="399" y="560"/>
                    </a:lnTo>
                    <a:lnTo>
                      <a:pt x="399" y="563"/>
                    </a:lnTo>
                    <a:lnTo>
                      <a:pt x="395" y="566"/>
                    </a:lnTo>
                    <a:lnTo>
                      <a:pt x="397" y="568"/>
                    </a:lnTo>
                    <a:lnTo>
                      <a:pt x="397" y="573"/>
                    </a:lnTo>
                    <a:lnTo>
                      <a:pt x="402" y="578"/>
                    </a:lnTo>
                    <a:lnTo>
                      <a:pt x="402" y="585"/>
                    </a:lnTo>
                    <a:lnTo>
                      <a:pt x="407" y="591"/>
                    </a:lnTo>
                    <a:lnTo>
                      <a:pt x="405" y="605"/>
                    </a:lnTo>
                    <a:lnTo>
                      <a:pt x="407" y="610"/>
                    </a:lnTo>
                    <a:lnTo>
                      <a:pt x="405" y="615"/>
                    </a:lnTo>
                    <a:lnTo>
                      <a:pt x="407" y="620"/>
                    </a:lnTo>
                    <a:lnTo>
                      <a:pt x="415" y="618"/>
                    </a:lnTo>
                    <a:lnTo>
                      <a:pt x="419" y="620"/>
                    </a:lnTo>
                    <a:lnTo>
                      <a:pt x="430" y="620"/>
                    </a:lnTo>
                    <a:lnTo>
                      <a:pt x="437" y="621"/>
                    </a:lnTo>
                    <a:lnTo>
                      <a:pt x="449" y="618"/>
                    </a:lnTo>
                    <a:lnTo>
                      <a:pt x="455" y="621"/>
                    </a:lnTo>
                    <a:lnTo>
                      <a:pt x="459" y="623"/>
                    </a:lnTo>
                    <a:lnTo>
                      <a:pt x="460" y="628"/>
                    </a:lnTo>
                    <a:lnTo>
                      <a:pt x="467" y="651"/>
                    </a:lnTo>
                    <a:lnTo>
                      <a:pt x="472" y="659"/>
                    </a:lnTo>
                    <a:lnTo>
                      <a:pt x="475" y="661"/>
                    </a:lnTo>
                    <a:lnTo>
                      <a:pt x="485" y="656"/>
                    </a:lnTo>
                    <a:lnTo>
                      <a:pt x="490" y="658"/>
                    </a:lnTo>
                    <a:lnTo>
                      <a:pt x="495" y="661"/>
                    </a:lnTo>
                    <a:lnTo>
                      <a:pt x="498" y="661"/>
                    </a:lnTo>
                    <a:lnTo>
                      <a:pt x="495" y="664"/>
                    </a:lnTo>
                    <a:lnTo>
                      <a:pt x="495" y="686"/>
                    </a:lnTo>
                    <a:lnTo>
                      <a:pt x="493" y="688"/>
                    </a:lnTo>
                    <a:lnTo>
                      <a:pt x="493" y="689"/>
                    </a:lnTo>
                    <a:lnTo>
                      <a:pt x="493" y="691"/>
                    </a:lnTo>
                    <a:lnTo>
                      <a:pt x="493" y="694"/>
                    </a:lnTo>
                    <a:lnTo>
                      <a:pt x="492" y="696"/>
                    </a:lnTo>
                    <a:lnTo>
                      <a:pt x="497" y="694"/>
                    </a:lnTo>
                    <a:lnTo>
                      <a:pt x="508" y="696"/>
                    </a:lnTo>
                    <a:lnTo>
                      <a:pt x="508" y="699"/>
                    </a:lnTo>
                    <a:lnTo>
                      <a:pt x="513" y="709"/>
                    </a:lnTo>
                    <a:lnTo>
                      <a:pt x="512" y="716"/>
                    </a:lnTo>
                    <a:lnTo>
                      <a:pt x="513" y="726"/>
                    </a:lnTo>
                    <a:lnTo>
                      <a:pt x="515" y="732"/>
                    </a:lnTo>
                    <a:lnTo>
                      <a:pt x="513" y="736"/>
                    </a:lnTo>
                    <a:lnTo>
                      <a:pt x="508" y="736"/>
                    </a:lnTo>
                    <a:lnTo>
                      <a:pt x="502" y="739"/>
                    </a:lnTo>
                    <a:lnTo>
                      <a:pt x="502" y="741"/>
                    </a:lnTo>
                    <a:lnTo>
                      <a:pt x="498" y="742"/>
                    </a:lnTo>
                    <a:lnTo>
                      <a:pt x="497" y="742"/>
                    </a:lnTo>
                    <a:lnTo>
                      <a:pt x="487" y="749"/>
                    </a:lnTo>
                    <a:lnTo>
                      <a:pt x="484" y="751"/>
                    </a:lnTo>
                    <a:lnTo>
                      <a:pt x="480" y="752"/>
                    </a:lnTo>
                    <a:lnTo>
                      <a:pt x="472" y="759"/>
                    </a:lnTo>
                    <a:lnTo>
                      <a:pt x="469" y="761"/>
                    </a:lnTo>
                    <a:lnTo>
                      <a:pt x="469" y="766"/>
                    </a:lnTo>
                    <a:lnTo>
                      <a:pt x="465" y="766"/>
                    </a:lnTo>
                    <a:lnTo>
                      <a:pt x="462" y="766"/>
                    </a:lnTo>
                    <a:lnTo>
                      <a:pt x="454" y="774"/>
                    </a:lnTo>
                    <a:lnTo>
                      <a:pt x="452" y="777"/>
                    </a:lnTo>
                    <a:lnTo>
                      <a:pt x="454" y="782"/>
                    </a:lnTo>
                    <a:lnTo>
                      <a:pt x="449" y="784"/>
                    </a:lnTo>
                    <a:lnTo>
                      <a:pt x="447" y="786"/>
                    </a:lnTo>
                    <a:lnTo>
                      <a:pt x="442" y="794"/>
                    </a:lnTo>
                    <a:lnTo>
                      <a:pt x="439" y="797"/>
                    </a:lnTo>
                    <a:lnTo>
                      <a:pt x="435" y="804"/>
                    </a:lnTo>
                    <a:lnTo>
                      <a:pt x="435" y="806"/>
                    </a:lnTo>
                    <a:lnTo>
                      <a:pt x="430" y="809"/>
                    </a:lnTo>
                    <a:lnTo>
                      <a:pt x="430" y="811"/>
                    </a:lnTo>
                    <a:lnTo>
                      <a:pt x="434" y="811"/>
                    </a:lnTo>
                    <a:lnTo>
                      <a:pt x="435" y="812"/>
                    </a:lnTo>
                    <a:lnTo>
                      <a:pt x="449" y="809"/>
                    </a:lnTo>
                    <a:lnTo>
                      <a:pt x="454" y="812"/>
                    </a:lnTo>
                    <a:lnTo>
                      <a:pt x="459" y="819"/>
                    </a:lnTo>
                    <a:lnTo>
                      <a:pt x="464" y="820"/>
                    </a:lnTo>
                    <a:lnTo>
                      <a:pt x="467" y="825"/>
                    </a:lnTo>
                    <a:lnTo>
                      <a:pt x="472" y="835"/>
                    </a:lnTo>
                    <a:lnTo>
                      <a:pt x="475" y="835"/>
                    </a:lnTo>
                    <a:lnTo>
                      <a:pt x="480" y="830"/>
                    </a:lnTo>
                    <a:lnTo>
                      <a:pt x="482" y="830"/>
                    </a:lnTo>
                    <a:lnTo>
                      <a:pt x="488" y="839"/>
                    </a:lnTo>
                    <a:lnTo>
                      <a:pt x="495" y="842"/>
                    </a:lnTo>
                    <a:lnTo>
                      <a:pt x="500" y="842"/>
                    </a:lnTo>
                    <a:lnTo>
                      <a:pt x="507" y="847"/>
                    </a:lnTo>
                    <a:lnTo>
                      <a:pt x="507" y="854"/>
                    </a:lnTo>
                    <a:lnTo>
                      <a:pt x="512" y="852"/>
                    </a:lnTo>
                    <a:lnTo>
                      <a:pt x="520" y="857"/>
                    </a:lnTo>
                    <a:lnTo>
                      <a:pt x="527" y="862"/>
                    </a:lnTo>
                    <a:lnTo>
                      <a:pt x="532" y="870"/>
                    </a:lnTo>
                    <a:lnTo>
                      <a:pt x="538" y="874"/>
                    </a:lnTo>
                    <a:lnTo>
                      <a:pt x="537" y="880"/>
                    </a:lnTo>
                    <a:lnTo>
                      <a:pt x="532" y="885"/>
                    </a:lnTo>
                    <a:lnTo>
                      <a:pt x="535" y="892"/>
                    </a:lnTo>
                    <a:lnTo>
                      <a:pt x="535" y="894"/>
                    </a:lnTo>
                    <a:lnTo>
                      <a:pt x="535" y="895"/>
                    </a:lnTo>
                    <a:lnTo>
                      <a:pt x="538" y="899"/>
                    </a:lnTo>
                    <a:lnTo>
                      <a:pt x="540" y="900"/>
                    </a:lnTo>
                    <a:lnTo>
                      <a:pt x="548" y="894"/>
                    </a:lnTo>
                    <a:lnTo>
                      <a:pt x="552" y="887"/>
                    </a:lnTo>
                    <a:lnTo>
                      <a:pt x="557" y="870"/>
                    </a:lnTo>
                    <a:lnTo>
                      <a:pt x="560" y="860"/>
                    </a:lnTo>
                    <a:lnTo>
                      <a:pt x="562" y="859"/>
                    </a:lnTo>
                    <a:lnTo>
                      <a:pt x="560" y="855"/>
                    </a:lnTo>
                    <a:lnTo>
                      <a:pt x="557" y="850"/>
                    </a:lnTo>
                    <a:lnTo>
                      <a:pt x="558" y="847"/>
                    </a:lnTo>
                    <a:lnTo>
                      <a:pt x="562" y="845"/>
                    </a:lnTo>
                    <a:lnTo>
                      <a:pt x="562" y="842"/>
                    </a:lnTo>
                    <a:lnTo>
                      <a:pt x="565" y="839"/>
                    </a:lnTo>
                    <a:lnTo>
                      <a:pt x="565" y="835"/>
                    </a:lnTo>
                    <a:lnTo>
                      <a:pt x="568" y="837"/>
                    </a:lnTo>
                    <a:lnTo>
                      <a:pt x="572" y="837"/>
                    </a:lnTo>
                    <a:lnTo>
                      <a:pt x="575" y="832"/>
                    </a:lnTo>
                    <a:lnTo>
                      <a:pt x="575" y="829"/>
                    </a:lnTo>
                    <a:lnTo>
                      <a:pt x="577" y="827"/>
                    </a:lnTo>
                    <a:lnTo>
                      <a:pt x="578" y="822"/>
                    </a:lnTo>
                    <a:lnTo>
                      <a:pt x="580" y="820"/>
                    </a:lnTo>
                    <a:lnTo>
                      <a:pt x="582" y="820"/>
                    </a:lnTo>
                    <a:lnTo>
                      <a:pt x="583" y="816"/>
                    </a:lnTo>
                    <a:lnTo>
                      <a:pt x="582" y="812"/>
                    </a:lnTo>
                    <a:lnTo>
                      <a:pt x="580" y="811"/>
                    </a:lnTo>
                    <a:lnTo>
                      <a:pt x="580" y="804"/>
                    </a:lnTo>
                    <a:lnTo>
                      <a:pt x="578" y="802"/>
                    </a:lnTo>
                    <a:lnTo>
                      <a:pt x="580" y="802"/>
                    </a:lnTo>
                    <a:lnTo>
                      <a:pt x="583" y="807"/>
                    </a:lnTo>
                    <a:lnTo>
                      <a:pt x="588" y="814"/>
                    </a:lnTo>
                    <a:lnTo>
                      <a:pt x="591" y="814"/>
                    </a:lnTo>
                    <a:lnTo>
                      <a:pt x="593" y="812"/>
                    </a:lnTo>
                    <a:lnTo>
                      <a:pt x="595" y="814"/>
                    </a:lnTo>
                    <a:lnTo>
                      <a:pt x="596" y="817"/>
                    </a:lnTo>
                    <a:lnTo>
                      <a:pt x="593" y="817"/>
                    </a:lnTo>
                    <a:lnTo>
                      <a:pt x="591" y="825"/>
                    </a:lnTo>
                    <a:lnTo>
                      <a:pt x="586" y="834"/>
                    </a:lnTo>
                    <a:lnTo>
                      <a:pt x="582" y="834"/>
                    </a:lnTo>
                    <a:lnTo>
                      <a:pt x="580" y="839"/>
                    </a:lnTo>
                    <a:lnTo>
                      <a:pt x="578" y="842"/>
                    </a:lnTo>
                    <a:lnTo>
                      <a:pt x="577" y="842"/>
                    </a:lnTo>
                    <a:lnTo>
                      <a:pt x="572" y="844"/>
                    </a:lnTo>
                    <a:lnTo>
                      <a:pt x="568" y="847"/>
                    </a:lnTo>
                    <a:lnTo>
                      <a:pt x="568" y="850"/>
                    </a:lnTo>
                    <a:lnTo>
                      <a:pt x="563" y="850"/>
                    </a:lnTo>
                    <a:lnTo>
                      <a:pt x="562" y="852"/>
                    </a:lnTo>
                    <a:lnTo>
                      <a:pt x="562" y="854"/>
                    </a:lnTo>
                    <a:lnTo>
                      <a:pt x="567" y="855"/>
                    </a:lnTo>
                    <a:lnTo>
                      <a:pt x="582" y="845"/>
                    </a:lnTo>
                    <a:lnTo>
                      <a:pt x="590" y="837"/>
                    </a:lnTo>
                    <a:lnTo>
                      <a:pt x="601" y="819"/>
                    </a:lnTo>
                    <a:lnTo>
                      <a:pt x="606" y="811"/>
                    </a:lnTo>
                    <a:lnTo>
                      <a:pt x="610" y="799"/>
                    </a:lnTo>
                    <a:lnTo>
                      <a:pt x="621" y="781"/>
                    </a:lnTo>
                    <a:lnTo>
                      <a:pt x="631" y="769"/>
                    </a:lnTo>
                    <a:lnTo>
                      <a:pt x="633" y="766"/>
                    </a:lnTo>
                    <a:lnTo>
                      <a:pt x="633" y="764"/>
                    </a:lnTo>
                    <a:lnTo>
                      <a:pt x="633" y="761"/>
                    </a:lnTo>
                    <a:lnTo>
                      <a:pt x="635" y="761"/>
                    </a:lnTo>
                    <a:lnTo>
                      <a:pt x="636" y="756"/>
                    </a:lnTo>
                    <a:lnTo>
                      <a:pt x="640" y="754"/>
                    </a:lnTo>
                    <a:lnTo>
                      <a:pt x="640" y="749"/>
                    </a:lnTo>
                    <a:lnTo>
                      <a:pt x="640" y="747"/>
                    </a:lnTo>
                    <a:lnTo>
                      <a:pt x="640" y="746"/>
                    </a:lnTo>
                    <a:lnTo>
                      <a:pt x="638" y="744"/>
                    </a:lnTo>
                    <a:lnTo>
                      <a:pt x="638" y="739"/>
                    </a:lnTo>
                    <a:lnTo>
                      <a:pt x="633" y="734"/>
                    </a:lnTo>
                    <a:lnTo>
                      <a:pt x="633" y="731"/>
                    </a:lnTo>
                    <a:lnTo>
                      <a:pt x="633" y="727"/>
                    </a:lnTo>
                    <a:lnTo>
                      <a:pt x="633" y="726"/>
                    </a:lnTo>
                    <a:lnTo>
                      <a:pt x="631" y="719"/>
                    </a:lnTo>
                    <a:lnTo>
                      <a:pt x="628" y="713"/>
                    </a:lnTo>
                    <a:lnTo>
                      <a:pt x="631" y="711"/>
                    </a:lnTo>
                    <a:lnTo>
                      <a:pt x="636" y="709"/>
                    </a:lnTo>
                    <a:lnTo>
                      <a:pt x="635" y="706"/>
                    </a:lnTo>
                    <a:lnTo>
                      <a:pt x="633" y="704"/>
                    </a:lnTo>
                    <a:lnTo>
                      <a:pt x="638" y="703"/>
                    </a:lnTo>
                    <a:lnTo>
                      <a:pt x="638" y="699"/>
                    </a:lnTo>
                    <a:lnTo>
                      <a:pt x="633" y="696"/>
                    </a:lnTo>
                    <a:lnTo>
                      <a:pt x="638" y="696"/>
                    </a:lnTo>
                    <a:lnTo>
                      <a:pt x="640" y="691"/>
                    </a:lnTo>
                    <a:lnTo>
                      <a:pt x="643" y="693"/>
                    </a:lnTo>
                    <a:lnTo>
                      <a:pt x="651" y="686"/>
                    </a:lnTo>
                    <a:lnTo>
                      <a:pt x="655" y="684"/>
                    </a:lnTo>
                    <a:lnTo>
                      <a:pt x="655" y="681"/>
                    </a:lnTo>
                    <a:lnTo>
                      <a:pt x="661" y="676"/>
                    </a:lnTo>
                    <a:lnTo>
                      <a:pt x="670" y="673"/>
                    </a:lnTo>
                    <a:lnTo>
                      <a:pt x="680" y="663"/>
                    </a:lnTo>
                    <a:lnTo>
                      <a:pt x="688" y="661"/>
                    </a:lnTo>
                    <a:lnTo>
                      <a:pt x="693" y="658"/>
                    </a:lnTo>
                    <a:lnTo>
                      <a:pt x="698" y="653"/>
                    </a:lnTo>
                    <a:lnTo>
                      <a:pt x="703" y="653"/>
                    </a:lnTo>
                    <a:lnTo>
                      <a:pt x="706" y="656"/>
                    </a:lnTo>
                    <a:lnTo>
                      <a:pt x="709" y="656"/>
                    </a:lnTo>
                    <a:lnTo>
                      <a:pt x="709" y="653"/>
                    </a:lnTo>
                    <a:lnTo>
                      <a:pt x="713" y="648"/>
                    </a:lnTo>
                    <a:lnTo>
                      <a:pt x="723" y="641"/>
                    </a:lnTo>
                    <a:lnTo>
                      <a:pt x="728" y="641"/>
                    </a:lnTo>
                    <a:lnTo>
                      <a:pt x="728" y="638"/>
                    </a:lnTo>
                    <a:lnTo>
                      <a:pt x="724" y="638"/>
                    </a:lnTo>
                    <a:lnTo>
                      <a:pt x="721" y="636"/>
                    </a:lnTo>
                    <a:lnTo>
                      <a:pt x="719" y="634"/>
                    </a:lnTo>
                    <a:lnTo>
                      <a:pt x="724" y="633"/>
                    </a:lnTo>
                    <a:lnTo>
                      <a:pt x="729" y="629"/>
                    </a:lnTo>
                    <a:lnTo>
                      <a:pt x="734" y="631"/>
                    </a:lnTo>
                    <a:lnTo>
                      <a:pt x="738" y="629"/>
                    </a:lnTo>
                    <a:lnTo>
                      <a:pt x="741" y="628"/>
                    </a:lnTo>
                    <a:lnTo>
                      <a:pt x="744" y="628"/>
                    </a:lnTo>
                    <a:lnTo>
                      <a:pt x="744" y="629"/>
                    </a:lnTo>
                    <a:lnTo>
                      <a:pt x="739" y="633"/>
                    </a:lnTo>
                    <a:lnTo>
                      <a:pt x="733" y="634"/>
                    </a:lnTo>
                    <a:lnTo>
                      <a:pt x="731" y="636"/>
                    </a:lnTo>
                    <a:lnTo>
                      <a:pt x="733" y="636"/>
                    </a:lnTo>
                    <a:lnTo>
                      <a:pt x="743" y="634"/>
                    </a:lnTo>
                    <a:lnTo>
                      <a:pt x="754" y="629"/>
                    </a:lnTo>
                    <a:lnTo>
                      <a:pt x="753" y="628"/>
                    </a:lnTo>
                    <a:lnTo>
                      <a:pt x="756" y="626"/>
                    </a:lnTo>
                    <a:lnTo>
                      <a:pt x="759" y="626"/>
                    </a:lnTo>
                    <a:lnTo>
                      <a:pt x="758" y="628"/>
                    </a:lnTo>
                    <a:lnTo>
                      <a:pt x="758" y="628"/>
                    </a:lnTo>
                    <a:lnTo>
                      <a:pt x="759" y="633"/>
                    </a:lnTo>
                    <a:lnTo>
                      <a:pt x="759" y="633"/>
                    </a:lnTo>
                    <a:lnTo>
                      <a:pt x="766" y="633"/>
                    </a:lnTo>
                    <a:lnTo>
                      <a:pt x="769" y="631"/>
                    </a:lnTo>
                    <a:lnTo>
                      <a:pt x="776" y="631"/>
                    </a:lnTo>
                    <a:lnTo>
                      <a:pt x="784" y="633"/>
                    </a:lnTo>
                    <a:lnTo>
                      <a:pt x="789" y="629"/>
                    </a:lnTo>
                    <a:lnTo>
                      <a:pt x="789" y="626"/>
                    </a:lnTo>
                    <a:lnTo>
                      <a:pt x="787" y="626"/>
                    </a:lnTo>
                    <a:lnTo>
                      <a:pt x="789" y="623"/>
                    </a:lnTo>
                    <a:lnTo>
                      <a:pt x="799" y="616"/>
                    </a:lnTo>
                    <a:lnTo>
                      <a:pt x="809" y="615"/>
                    </a:lnTo>
                    <a:lnTo>
                      <a:pt x="814" y="611"/>
                    </a:lnTo>
                    <a:lnTo>
                      <a:pt x="814" y="608"/>
                    </a:lnTo>
                    <a:lnTo>
                      <a:pt x="814" y="606"/>
                    </a:lnTo>
                    <a:lnTo>
                      <a:pt x="809" y="598"/>
                    </a:lnTo>
                    <a:lnTo>
                      <a:pt x="812" y="593"/>
                    </a:lnTo>
                    <a:lnTo>
                      <a:pt x="816" y="590"/>
                    </a:lnTo>
                    <a:lnTo>
                      <a:pt x="816" y="585"/>
                    </a:lnTo>
                    <a:lnTo>
                      <a:pt x="819" y="583"/>
                    </a:lnTo>
                    <a:lnTo>
                      <a:pt x="822" y="581"/>
                    </a:lnTo>
                    <a:lnTo>
                      <a:pt x="824" y="576"/>
                    </a:lnTo>
                    <a:lnTo>
                      <a:pt x="822" y="576"/>
                    </a:lnTo>
                    <a:lnTo>
                      <a:pt x="829" y="566"/>
                    </a:lnTo>
                    <a:lnTo>
                      <a:pt x="837" y="556"/>
                    </a:lnTo>
                    <a:lnTo>
                      <a:pt x="839" y="551"/>
                    </a:lnTo>
                    <a:lnTo>
                      <a:pt x="836" y="538"/>
                    </a:lnTo>
                    <a:lnTo>
                      <a:pt x="834" y="535"/>
                    </a:lnTo>
                    <a:lnTo>
                      <a:pt x="837" y="526"/>
                    </a:lnTo>
                    <a:lnTo>
                      <a:pt x="841" y="523"/>
                    </a:lnTo>
                    <a:lnTo>
                      <a:pt x="841" y="520"/>
                    </a:lnTo>
                    <a:lnTo>
                      <a:pt x="847" y="515"/>
                    </a:lnTo>
                    <a:lnTo>
                      <a:pt x="849" y="513"/>
                    </a:lnTo>
                    <a:lnTo>
                      <a:pt x="847" y="505"/>
                    </a:lnTo>
                    <a:lnTo>
                      <a:pt x="851" y="495"/>
                    </a:lnTo>
                    <a:lnTo>
                      <a:pt x="849" y="487"/>
                    </a:lnTo>
                    <a:lnTo>
                      <a:pt x="851" y="482"/>
                    </a:lnTo>
                    <a:lnTo>
                      <a:pt x="851" y="478"/>
                    </a:lnTo>
                    <a:lnTo>
                      <a:pt x="852" y="470"/>
                    </a:lnTo>
                    <a:lnTo>
                      <a:pt x="851" y="440"/>
                    </a:lnTo>
                    <a:lnTo>
                      <a:pt x="851" y="435"/>
                    </a:lnTo>
                    <a:lnTo>
                      <a:pt x="852" y="430"/>
                    </a:lnTo>
                    <a:lnTo>
                      <a:pt x="852" y="427"/>
                    </a:lnTo>
                    <a:lnTo>
                      <a:pt x="851" y="428"/>
                    </a:lnTo>
                    <a:lnTo>
                      <a:pt x="847" y="427"/>
                    </a:lnTo>
                    <a:lnTo>
                      <a:pt x="847" y="423"/>
                    </a:lnTo>
                    <a:lnTo>
                      <a:pt x="851" y="419"/>
                    </a:lnTo>
                    <a:lnTo>
                      <a:pt x="849" y="414"/>
                    </a:lnTo>
                    <a:lnTo>
                      <a:pt x="851" y="410"/>
                    </a:lnTo>
                    <a:lnTo>
                      <a:pt x="852" y="410"/>
                    </a:lnTo>
                    <a:lnTo>
                      <a:pt x="854" y="405"/>
                    </a:lnTo>
                    <a:lnTo>
                      <a:pt x="851" y="400"/>
                    </a:lnTo>
                    <a:lnTo>
                      <a:pt x="844" y="397"/>
                    </a:lnTo>
                    <a:lnTo>
                      <a:pt x="846" y="397"/>
                    </a:lnTo>
                    <a:lnTo>
                      <a:pt x="847" y="395"/>
                    </a:lnTo>
                    <a:lnTo>
                      <a:pt x="847" y="397"/>
                    </a:lnTo>
                    <a:lnTo>
                      <a:pt x="852" y="399"/>
                    </a:lnTo>
                    <a:lnTo>
                      <a:pt x="856" y="400"/>
                    </a:lnTo>
                    <a:lnTo>
                      <a:pt x="857" y="395"/>
                    </a:lnTo>
                    <a:lnTo>
                      <a:pt x="861" y="395"/>
                    </a:lnTo>
                    <a:lnTo>
                      <a:pt x="861" y="399"/>
                    </a:lnTo>
                    <a:lnTo>
                      <a:pt x="864" y="400"/>
                    </a:lnTo>
                    <a:lnTo>
                      <a:pt x="861" y="402"/>
                    </a:lnTo>
                    <a:lnTo>
                      <a:pt x="857" y="405"/>
                    </a:lnTo>
                    <a:lnTo>
                      <a:pt x="857" y="409"/>
                    </a:lnTo>
                    <a:lnTo>
                      <a:pt x="859" y="409"/>
                    </a:lnTo>
                    <a:lnTo>
                      <a:pt x="864" y="404"/>
                    </a:lnTo>
                    <a:lnTo>
                      <a:pt x="871" y="400"/>
                    </a:lnTo>
                    <a:lnTo>
                      <a:pt x="879" y="390"/>
                    </a:lnTo>
                    <a:lnTo>
                      <a:pt x="882" y="382"/>
                    </a:lnTo>
                    <a:lnTo>
                      <a:pt x="884" y="377"/>
                    </a:lnTo>
                    <a:lnTo>
                      <a:pt x="887" y="374"/>
                    </a:lnTo>
                    <a:lnTo>
                      <a:pt x="890" y="365"/>
                    </a:lnTo>
                    <a:lnTo>
                      <a:pt x="894" y="360"/>
                    </a:lnTo>
                    <a:lnTo>
                      <a:pt x="905" y="352"/>
                    </a:lnTo>
                    <a:lnTo>
                      <a:pt x="907" y="349"/>
                    </a:lnTo>
                    <a:lnTo>
                      <a:pt x="912" y="347"/>
                    </a:lnTo>
                    <a:lnTo>
                      <a:pt x="914" y="342"/>
                    </a:lnTo>
                    <a:lnTo>
                      <a:pt x="925" y="334"/>
                    </a:lnTo>
                    <a:lnTo>
                      <a:pt x="935" y="322"/>
                    </a:lnTo>
                    <a:lnTo>
                      <a:pt x="937" y="319"/>
                    </a:lnTo>
                    <a:lnTo>
                      <a:pt x="944" y="307"/>
                    </a:lnTo>
                    <a:lnTo>
                      <a:pt x="945" y="302"/>
                    </a:lnTo>
                    <a:lnTo>
                      <a:pt x="947" y="299"/>
                    </a:lnTo>
                    <a:lnTo>
                      <a:pt x="947" y="294"/>
                    </a:lnTo>
                    <a:lnTo>
                      <a:pt x="944" y="291"/>
                    </a:lnTo>
                    <a:lnTo>
                      <a:pt x="945" y="286"/>
                    </a:lnTo>
                    <a:lnTo>
                      <a:pt x="949" y="284"/>
                    </a:lnTo>
                    <a:lnTo>
                      <a:pt x="947" y="272"/>
                    </a:lnTo>
                    <a:lnTo>
                      <a:pt x="945" y="271"/>
                    </a:lnTo>
                    <a:lnTo>
                      <a:pt x="944" y="266"/>
                    </a:lnTo>
                    <a:lnTo>
                      <a:pt x="935" y="249"/>
                    </a:lnTo>
                    <a:lnTo>
                      <a:pt x="935" y="242"/>
                    </a:lnTo>
                    <a:lnTo>
                      <a:pt x="934" y="236"/>
                    </a:lnTo>
                    <a:lnTo>
                      <a:pt x="919" y="231"/>
                    </a:lnTo>
                    <a:lnTo>
                      <a:pt x="909" y="231"/>
                    </a:lnTo>
                    <a:lnTo>
                      <a:pt x="902" y="232"/>
                    </a:lnTo>
                    <a:lnTo>
                      <a:pt x="899" y="227"/>
                    </a:lnTo>
                    <a:lnTo>
                      <a:pt x="892" y="226"/>
                    </a:lnTo>
                    <a:lnTo>
                      <a:pt x="887" y="221"/>
                    </a:lnTo>
                    <a:lnTo>
                      <a:pt x="881" y="218"/>
                    </a:lnTo>
                    <a:lnTo>
                      <a:pt x="876" y="218"/>
                    </a:lnTo>
                    <a:lnTo>
                      <a:pt x="866" y="206"/>
                    </a:lnTo>
                    <a:lnTo>
                      <a:pt x="856" y="196"/>
                    </a:lnTo>
                    <a:lnTo>
                      <a:pt x="852" y="194"/>
                    </a:lnTo>
                    <a:lnTo>
                      <a:pt x="846" y="189"/>
                    </a:lnTo>
                    <a:lnTo>
                      <a:pt x="841" y="189"/>
                    </a:lnTo>
                    <a:lnTo>
                      <a:pt x="826" y="181"/>
                    </a:lnTo>
                    <a:lnTo>
                      <a:pt x="819" y="181"/>
                    </a:lnTo>
                    <a:lnTo>
                      <a:pt x="812" y="178"/>
                    </a:lnTo>
                    <a:lnTo>
                      <a:pt x="807" y="179"/>
                    </a:lnTo>
                    <a:lnTo>
                      <a:pt x="801" y="179"/>
                    </a:lnTo>
                    <a:lnTo>
                      <a:pt x="796" y="178"/>
                    </a:lnTo>
                    <a:lnTo>
                      <a:pt x="792" y="179"/>
                    </a:lnTo>
                    <a:lnTo>
                      <a:pt x="789" y="183"/>
                    </a:lnTo>
                    <a:lnTo>
                      <a:pt x="787" y="179"/>
                    </a:lnTo>
                    <a:lnTo>
                      <a:pt x="781" y="176"/>
                    </a:lnTo>
                    <a:lnTo>
                      <a:pt x="779" y="178"/>
                    </a:lnTo>
                    <a:lnTo>
                      <a:pt x="776" y="176"/>
                    </a:lnTo>
                    <a:lnTo>
                      <a:pt x="776" y="178"/>
                    </a:lnTo>
                    <a:lnTo>
                      <a:pt x="776" y="181"/>
                    </a:lnTo>
                    <a:lnTo>
                      <a:pt x="771" y="178"/>
                    </a:lnTo>
                    <a:lnTo>
                      <a:pt x="771" y="176"/>
                    </a:lnTo>
                    <a:lnTo>
                      <a:pt x="768" y="174"/>
                    </a:lnTo>
                    <a:lnTo>
                      <a:pt x="769" y="176"/>
                    </a:lnTo>
                    <a:lnTo>
                      <a:pt x="768" y="178"/>
                    </a:lnTo>
                    <a:lnTo>
                      <a:pt x="761" y="174"/>
                    </a:lnTo>
                    <a:lnTo>
                      <a:pt x="758" y="176"/>
                    </a:lnTo>
                    <a:lnTo>
                      <a:pt x="753" y="174"/>
                    </a:lnTo>
                    <a:lnTo>
                      <a:pt x="739" y="169"/>
                    </a:lnTo>
                    <a:lnTo>
                      <a:pt x="733" y="169"/>
                    </a:lnTo>
                    <a:lnTo>
                      <a:pt x="733" y="171"/>
                    </a:lnTo>
                    <a:lnTo>
                      <a:pt x="734" y="173"/>
                    </a:lnTo>
                    <a:lnTo>
                      <a:pt x="733" y="174"/>
                    </a:lnTo>
                    <a:lnTo>
                      <a:pt x="731" y="173"/>
                    </a:lnTo>
                    <a:lnTo>
                      <a:pt x="729" y="173"/>
                    </a:lnTo>
                    <a:lnTo>
                      <a:pt x="728" y="176"/>
                    </a:lnTo>
                    <a:lnTo>
                      <a:pt x="724" y="178"/>
                    </a:lnTo>
                    <a:lnTo>
                      <a:pt x="723" y="179"/>
                    </a:lnTo>
                    <a:lnTo>
                      <a:pt x="721" y="184"/>
                    </a:lnTo>
                    <a:lnTo>
                      <a:pt x="719" y="181"/>
                    </a:lnTo>
                    <a:lnTo>
                      <a:pt x="718" y="178"/>
                    </a:lnTo>
                    <a:lnTo>
                      <a:pt x="714" y="178"/>
                    </a:lnTo>
                    <a:lnTo>
                      <a:pt x="716" y="183"/>
                    </a:lnTo>
                    <a:lnTo>
                      <a:pt x="711" y="189"/>
                    </a:lnTo>
                    <a:lnTo>
                      <a:pt x="711" y="196"/>
                    </a:lnTo>
                    <a:lnTo>
                      <a:pt x="709" y="189"/>
                    </a:lnTo>
                    <a:lnTo>
                      <a:pt x="711" y="184"/>
                    </a:lnTo>
                    <a:lnTo>
                      <a:pt x="711" y="179"/>
                    </a:lnTo>
                    <a:lnTo>
                      <a:pt x="713" y="173"/>
                    </a:lnTo>
                    <a:lnTo>
                      <a:pt x="714" y="171"/>
                    </a:lnTo>
                    <a:lnTo>
                      <a:pt x="713" y="169"/>
                    </a:lnTo>
                    <a:lnTo>
                      <a:pt x="709" y="169"/>
                    </a:lnTo>
                    <a:lnTo>
                      <a:pt x="714" y="164"/>
                    </a:lnTo>
                    <a:lnTo>
                      <a:pt x="708" y="158"/>
                    </a:lnTo>
                    <a:lnTo>
                      <a:pt x="704" y="151"/>
                    </a:lnTo>
                    <a:lnTo>
                      <a:pt x="701" y="153"/>
                    </a:lnTo>
                    <a:lnTo>
                      <a:pt x="694" y="151"/>
                    </a:lnTo>
                    <a:lnTo>
                      <a:pt x="693" y="154"/>
                    </a:lnTo>
                    <a:lnTo>
                      <a:pt x="689" y="156"/>
                    </a:lnTo>
                    <a:lnTo>
                      <a:pt x="688" y="153"/>
                    </a:lnTo>
                    <a:lnTo>
                      <a:pt x="684" y="151"/>
                    </a:lnTo>
                    <a:lnTo>
                      <a:pt x="684" y="148"/>
                    </a:lnTo>
                    <a:lnTo>
                      <a:pt x="681" y="146"/>
                    </a:lnTo>
                    <a:lnTo>
                      <a:pt x="678" y="146"/>
                    </a:lnTo>
                    <a:lnTo>
                      <a:pt x="676" y="144"/>
                    </a:lnTo>
                    <a:lnTo>
                      <a:pt x="673" y="143"/>
                    </a:lnTo>
                    <a:lnTo>
                      <a:pt x="670" y="146"/>
                    </a:lnTo>
                    <a:lnTo>
                      <a:pt x="670" y="144"/>
                    </a:lnTo>
                    <a:lnTo>
                      <a:pt x="668" y="143"/>
                    </a:lnTo>
                    <a:lnTo>
                      <a:pt x="666" y="139"/>
                    </a:lnTo>
                    <a:lnTo>
                      <a:pt x="663" y="141"/>
                    </a:lnTo>
                    <a:lnTo>
                      <a:pt x="658" y="139"/>
                    </a:lnTo>
                    <a:lnTo>
                      <a:pt x="650" y="134"/>
                    </a:lnTo>
                    <a:lnTo>
                      <a:pt x="648" y="134"/>
                    </a:lnTo>
                    <a:lnTo>
                      <a:pt x="646" y="136"/>
                    </a:lnTo>
                    <a:lnTo>
                      <a:pt x="643" y="134"/>
                    </a:lnTo>
                    <a:lnTo>
                      <a:pt x="640" y="134"/>
                    </a:lnTo>
                    <a:lnTo>
                      <a:pt x="638" y="138"/>
                    </a:lnTo>
                    <a:lnTo>
                      <a:pt x="636" y="138"/>
                    </a:lnTo>
                    <a:lnTo>
                      <a:pt x="635" y="134"/>
                    </a:lnTo>
                    <a:lnTo>
                      <a:pt x="630" y="134"/>
                    </a:lnTo>
                    <a:lnTo>
                      <a:pt x="625" y="136"/>
                    </a:lnTo>
                    <a:lnTo>
                      <a:pt x="623" y="141"/>
                    </a:lnTo>
                    <a:lnTo>
                      <a:pt x="623" y="143"/>
                    </a:lnTo>
                    <a:lnTo>
                      <a:pt x="618" y="148"/>
                    </a:lnTo>
                    <a:lnTo>
                      <a:pt x="611" y="151"/>
                    </a:lnTo>
                    <a:lnTo>
                      <a:pt x="601" y="156"/>
                    </a:lnTo>
                    <a:lnTo>
                      <a:pt x="598" y="161"/>
                    </a:lnTo>
                    <a:lnTo>
                      <a:pt x="595" y="168"/>
                    </a:lnTo>
                    <a:lnTo>
                      <a:pt x="595" y="173"/>
                    </a:lnTo>
                    <a:lnTo>
                      <a:pt x="591" y="176"/>
                    </a:lnTo>
                    <a:lnTo>
                      <a:pt x="588" y="179"/>
                    </a:lnTo>
                    <a:lnTo>
                      <a:pt x="588" y="183"/>
                    </a:lnTo>
                    <a:lnTo>
                      <a:pt x="590" y="188"/>
                    </a:lnTo>
                    <a:lnTo>
                      <a:pt x="588" y="196"/>
                    </a:lnTo>
                    <a:lnTo>
                      <a:pt x="586" y="191"/>
                    </a:lnTo>
                    <a:lnTo>
                      <a:pt x="583" y="186"/>
                    </a:lnTo>
                    <a:lnTo>
                      <a:pt x="583" y="181"/>
                    </a:lnTo>
                    <a:lnTo>
                      <a:pt x="586" y="178"/>
                    </a:lnTo>
                    <a:lnTo>
                      <a:pt x="591" y="174"/>
                    </a:lnTo>
                    <a:lnTo>
                      <a:pt x="590" y="169"/>
                    </a:lnTo>
                    <a:lnTo>
                      <a:pt x="591" y="164"/>
                    </a:lnTo>
                    <a:lnTo>
                      <a:pt x="591" y="161"/>
                    </a:lnTo>
                    <a:lnTo>
                      <a:pt x="588" y="161"/>
                    </a:lnTo>
                    <a:lnTo>
                      <a:pt x="583" y="163"/>
                    </a:lnTo>
                    <a:lnTo>
                      <a:pt x="577" y="161"/>
                    </a:lnTo>
                    <a:lnTo>
                      <a:pt x="572" y="161"/>
                    </a:lnTo>
                    <a:lnTo>
                      <a:pt x="567" y="163"/>
                    </a:lnTo>
                    <a:lnTo>
                      <a:pt x="565" y="161"/>
                    </a:lnTo>
                    <a:lnTo>
                      <a:pt x="568" y="161"/>
                    </a:lnTo>
                    <a:lnTo>
                      <a:pt x="572" y="158"/>
                    </a:lnTo>
                    <a:lnTo>
                      <a:pt x="577" y="158"/>
                    </a:lnTo>
                    <a:lnTo>
                      <a:pt x="583" y="158"/>
                    </a:lnTo>
                    <a:lnTo>
                      <a:pt x="588" y="158"/>
                    </a:lnTo>
                    <a:lnTo>
                      <a:pt x="591" y="153"/>
                    </a:lnTo>
                    <a:lnTo>
                      <a:pt x="593" y="153"/>
                    </a:lnTo>
                    <a:lnTo>
                      <a:pt x="595" y="154"/>
                    </a:lnTo>
                    <a:lnTo>
                      <a:pt x="598" y="154"/>
                    </a:lnTo>
                    <a:lnTo>
                      <a:pt x="601" y="151"/>
                    </a:lnTo>
                    <a:lnTo>
                      <a:pt x="610" y="149"/>
                    </a:lnTo>
                    <a:lnTo>
                      <a:pt x="610" y="144"/>
                    </a:lnTo>
                    <a:lnTo>
                      <a:pt x="615" y="138"/>
                    </a:lnTo>
                    <a:lnTo>
                      <a:pt x="615" y="133"/>
                    </a:lnTo>
                    <a:lnTo>
                      <a:pt x="618" y="129"/>
                    </a:lnTo>
                    <a:lnTo>
                      <a:pt x="618" y="126"/>
                    </a:lnTo>
                    <a:lnTo>
                      <a:pt x="611" y="125"/>
                    </a:lnTo>
                    <a:lnTo>
                      <a:pt x="606" y="121"/>
                    </a:lnTo>
                    <a:lnTo>
                      <a:pt x="601" y="121"/>
                    </a:lnTo>
                    <a:lnTo>
                      <a:pt x="595" y="125"/>
                    </a:lnTo>
                    <a:lnTo>
                      <a:pt x="588" y="125"/>
                    </a:lnTo>
                    <a:lnTo>
                      <a:pt x="580" y="121"/>
                    </a:lnTo>
                    <a:lnTo>
                      <a:pt x="572" y="121"/>
                    </a:lnTo>
                    <a:lnTo>
                      <a:pt x="565" y="128"/>
                    </a:lnTo>
                    <a:lnTo>
                      <a:pt x="565" y="129"/>
                    </a:lnTo>
                    <a:lnTo>
                      <a:pt x="567" y="131"/>
                    </a:lnTo>
                    <a:lnTo>
                      <a:pt x="568" y="134"/>
                    </a:lnTo>
                    <a:lnTo>
                      <a:pt x="565" y="134"/>
                    </a:lnTo>
                    <a:lnTo>
                      <a:pt x="563" y="134"/>
                    </a:lnTo>
                    <a:lnTo>
                      <a:pt x="562" y="139"/>
                    </a:lnTo>
                    <a:lnTo>
                      <a:pt x="560" y="136"/>
                    </a:lnTo>
                    <a:lnTo>
                      <a:pt x="558" y="134"/>
                    </a:lnTo>
                    <a:lnTo>
                      <a:pt x="553" y="136"/>
                    </a:lnTo>
                    <a:lnTo>
                      <a:pt x="547" y="144"/>
                    </a:lnTo>
                    <a:lnTo>
                      <a:pt x="540" y="151"/>
                    </a:lnTo>
                    <a:lnTo>
                      <a:pt x="545" y="144"/>
                    </a:lnTo>
                    <a:lnTo>
                      <a:pt x="545" y="139"/>
                    </a:lnTo>
                    <a:lnTo>
                      <a:pt x="547" y="138"/>
                    </a:lnTo>
                    <a:lnTo>
                      <a:pt x="547" y="134"/>
                    </a:lnTo>
                    <a:lnTo>
                      <a:pt x="545" y="134"/>
                    </a:lnTo>
                    <a:lnTo>
                      <a:pt x="540" y="138"/>
                    </a:lnTo>
                    <a:lnTo>
                      <a:pt x="537" y="143"/>
                    </a:lnTo>
                    <a:lnTo>
                      <a:pt x="535" y="148"/>
                    </a:lnTo>
                    <a:lnTo>
                      <a:pt x="530" y="151"/>
                    </a:lnTo>
                    <a:lnTo>
                      <a:pt x="535" y="144"/>
                    </a:lnTo>
                    <a:lnTo>
                      <a:pt x="535" y="139"/>
                    </a:lnTo>
                    <a:lnTo>
                      <a:pt x="543" y="129"/>
                    </a:lnTo>
                    <a:lnTo>
                      <a:pt x="545" y="123"/>
                    </a:lnTo>
                    <a:lnTo>
                      <a:pt x="548" y="120"/>
                    </a:lnTo>
                    <a:lnTo>
                      <a:pt x="553" y="116"/>
                    </a:lnTo>
                    <a:lnTo>
                      <a:pt x="558" y="113"/>
                    </a:lnTo>
                    <a:lnTo>
                      <a:pt x="562" y="111"/>
                    </a:lnTo>
                    <a:lnTo>
                      <a:pt x="567" y="106"/>
                    </a:lnTo>
                    <a:lnTo>
                      <a:pt x="578" y="95"/>
                    </a:lnTo>
                    <a:lnTo>
                      <a:pt x="578" y="93"/>
                    </a:lnTo>
                    <a:lnTo>
                      <a:pt x="582" y="91"/>
                    </a:lnTo>
                    <a:lnTo>
                      <a:pt x="578" y="88"/>
                    </a:lnTo>
                    <a:lnTo>
                      <a:pt x="580" y="85"/>
                    </a:lnTo>
                    <a:lnTo>
                      <a:pt x="582" y="85"/>
                    </a:lnTo>
                    <a:lnTo>
                      <a:pt x="582" y="80"/>
                    </a:lnTo>
                    <a:lnTo>
                      <a:pt x="577" y="76"/>
                    </a:lnTo>
                    <a:lnTo>
                      <a:pt x="572" y="76"/>
                    </a:lnTo>
                    <a:lnTo>
                      <a:pt x="570" y="78"/>
                    </a:lnTo>
                    <a:lnTo>
                      <a:pt x="568" y="75"/>
                    </a:lnTo>
                    <a:lnTo>
                      <a:pt x="565" y="66"/>
                    </a:lnTo>
                    <a:lnTo>
                      <a:pt x="560" y="55"/>
                    </a:lnTo>
                    <a:lnTo>
                      <a:pt x="555" y="48"/>
                    </a:lnTo>
                    <a:lnTo>
                      <a:pt x="552" y="40"/>
                    </a:lnTo>
                    <a:lnTo>
                      <a:pt x="552" y="36"/>
                    </a:lnTo>
                    <a:lnTo>
                      <a:pt x="550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0" name="Freeform 164">
                <a:extLst>
                  <a:ext uri="{FF2B5EF4-FFF2-40B4-BE49-F238E27FC236}">
                    <a16:creationId xmlns:a16="http://schemas.microsoft.com/office/drawing/2014/main" id="{16E09C8B-8735-BD49-A856-467E47E82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0423" y="3204346"/>
                <a:ext cx="36388" cy="46692"/>
              </a:xfrm>
              <a:custGeom>
                <a:avLst/>
                <a:gdLst/>
                <a:ahLst/>
                <a:cxnLst>
                  <a:cxn ang="0">
                    <a:pos x="0" y="71"/>
                  </a:cxn>
                  <a:cxn ang="0">
                    <a:pos x="2" y="73"/>
                  </a:cxn>
                  <a:cxn ang="0">
                    <a:pos x="3" y="76"/>
                  </a:cxn>
                  <a:cxn ang="0">
                    <a:pos x="5" y="78"/>
                  </a:cxn>
                  <a:cxn ang="0">
                    <a:pos x="5" y="80"/>
                  </a:cxn>
                  <a:cxn ang="0">
                    <a:pos x="8" y="83"/>
                  </a:cxn>
                  <a:cxn ang="0">
                    <a:pos x="12" y="85"/>
                  </a:cxn>
                  <a:cxn ang="0">
                    <a:pos x="15" y="81"/>
                  </a:cxn>
                  <a:cxn ang="0">
                    <a:pos x="18" y="80"/>
                  </a:cxn>
                  <a:cxn ang="0">
                    <a:pos x="20" y="80"/>
                  </a:cxn>
                  <a:cxn ang="0">
                    <a:pos x="21" y="81"/>
                  </a:cxn>
                  <a:cxn ang="0">
                    <a:pos x="23" y="83"/>
                  </a:cxn>
                  <a:cxn ang="0">
                    <a:pos x="23" y="88"/>
                  </a:cxn>
                  <a:cxn ang="0">
                    <a:pos x="26" y="90"/>
                  </a:cxn>
                  <a:cxn ang="0">
                    <a:pos x="30" y="86"/>
                  </a:cxn>
                  <a:cxn ang="0">
                    <a:pos x="31" y="83"/>
                  </a:cxn>
                  <a:cxn ang="0">
                    <a:pos x="33" y="81"/>
                  </a:cxn>
                  <a:cxn ang="0">
                    <a:pos x="38" y="81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50" y="61"/>
                  </a:cxn>
                  <a:cxn ang="0">
                    <a:pos x="50" y="56"/>
                  </a:cxn>
                  <a:cxn ang="0">
                    <a:pos x="56" y="50"/>
                  </a:cxn>
                  <a:cxn ang="0">
                    <a:pos x="61" y="43"/>
                  </a:cxn>
                  <a:cxn ang="0">
                    <a:pos x="63" y="40"/>
                  </a:cxn>
                  <a:cxn ang="0">
                    <a:pos x="63" y="40"/>
                  </a:cxn>
                  <a:cxn ang="0">
                    <a:pos x="68" y="35"/>
                  </a:cxn>
                  <a:cxn ang="0">
                    <a:pos x="68" y="30"/>
                  </a:cxn>
                  <a:cxn ang="0">
                    <a:pos x="63" y="25"/>
                  </a:cxn>
                  <a:cxn ang="0">
                    <a:pos x="61" y="27"/>
                  </a:cxn>
                  <a:cxn ang="0">
                    <a:pos x="58" y="25"/>
                  </a:cxn>
                  <a:cxn ang="0">
                    <a:pos x="58" y="22"/>
                  </a:cxn>
                  <a:cxn ang="0">
                    <a:pos x="50" y="13"/>
                  </a:cxn>
                  <a:cxn ang="0">
                    <a:pos x="46" y="12"/>
                  </a:cxn>
                  <a:cxn ang="0">
                    <a:pos x="41" y="8"/>
                  </a:cxn>
                  <a:cxn ang="0">
                    <a:pos x="28" y="5"/>
                  </a:cxn>
                  <a:cxn ang="0">
                    <a:pos x="21" y="2"/>
                  </a:cxn>
                  <a:cxn ang="0">
                    <a:pos x="15" y="0"/>
                  </a:cxn>
                  <a:cxn ang="0">
                    <a:pos x="10" y="3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7"/>
                  </a:cxn>
                  <a:cxn ang="0">
                    <a:pos x="0" y="12"/>
                  </a:cxn>
                  <a:cxn ang="0">
                    <a:pos x="0" y="18"/>
                  </a:cxn>
                  <a:cxn ang="0">
                    <a:pos x="2" y="23"/>
                  </a:cxn>
                  <a:cxn ang="0">
                    <a:pos x="2" y="28"/>
                  </a:cxn>
                  <a:cxn ang="0">
                    <a:pos x="2" y="32"/>
                  </a:cxn>
                  <a:cxn ang="0">
                    <a:pos x="7" y="33"/>
                  </a:cxn>
                  <a:cxn ang="0">
                    <a:pos x="8" y="37"/>
                  </a:cxn>
                  <a:cxn ang="0">
                    <a:pos x="10" y="41"/>
                  </a:cxn>
                  <a:cxn ang="0">
                    <a:pos x="12" y="45"/>
                  </a:cxn>
                  <a:cxn ang="0">
                    <a:pos x="12" y="48"/>
                  </a:cxn>
                  <a:cxn ang="0">
                    <a:pos x="12" y="51"/>
                  </a:cxn>
                  <a:cxn ang="0">
                    <a:pos x="8" y="55"/>
                  </a:cxn>
                  <a:cxn ang="0">
                    <a:pos x="8" y="60"/>
                  </a:cxn>
                  <a:cxn ang="0">
                    <a:pos x="10" y="63"/>
                  </a:cxn>
                  <a:cxn ang="0">
                    <a:pos x="8" y="68"/>
                  </a:cxn>
                  <a:cxn ang="0">
                    <a:pos x="2" y="71"/>
                  </a:cxn>
                  <a:cxn ang="0">
                    <a:pos x="0" y="71"/>
                  </a:cxn>
                </a:cxnLst>
                <a:rect l="0" t="0" r="r" b="b"/>
                <a:pathLst>
                  <a:path w="68" h="90">
                    <a:moveTo>
                      <a:pt x="0" y="71"/>
                    </a:moveTo>
                    <a:lnTo>
                      <a:pt x="2" y="73"/>
                    </a:lnTo>
                    <a:lnTo>
                      <a:pt x="3" y="76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8" y="83"/>
                    </a:lnTo>
                    <a:lnTo>
                      <a:pt x="12" y="85"/>
                    </a:lnTo>
                    <a:lnTo>
                      <a:pt x="15" y="81"/>
                    </a:lnTo>
                    <a:lnTo>
                      <a:pt x="18" y="80"/>
                    </a:lnTo>
                    <a:lnTo>
                      <a:pt x="20" y="80"/>
                    </a:lnTo>
                    <a:lnTo>
                      <a:pt x="21" y="81"/>
                    </a:lnTo>
                    <a:lnTo>
                      <a:pt x="23" y="83"/>
                    </a:lnTo>
                    <a:lnTo>
                      <a:pt x="23" y="88"/>
                    </a:lnTo>
                    <a:lnTo>
                      <a:pt x="26" y="90"/>
                    </a:lnTo>
                    <a:lnTo>
                      <a:pt x="30" y="86"/>
                    </a:lnTo>
                    <a:lnTo>
                      <a:pt x="31" y="83"/>
                    </a:lnTo>
                    <a:lnTo>
                      <a:pt x="33" y="81"/>
                    </a:lnTo>
                    <a:lnTo>
                      <a:pt x="38" y="81"/>
                    </a:lnTo>
                    <a:lnTo>
                      <a:pt x="41" y="75"/>
                    </a:lnTo>
                    <a:lnTo>
                      <a:pt x="45" y="70"/>
                    </a:lnTo>
                    <a:lnTo>
                      <a:pt x="50" y="61"/>
                    </a:lnTo>
                    <a:lnTo>
                      <a:pt x="50" y="56"/>
                    </a:lnTo>
                    <a:lnTo>
                      <a:pt x="56" y="50"/>
                    </a:lnTo>
                    <a:lnTo>
                      <a:pt x="61" y="43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8" y="35"/>
                    </a:lnTo>
                    <a:lnTo>
                      <a:pt x="68" y="30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8" y="25"/>
                    </a:lnTo>
                    <a:lnTo>
                      <a:pt x="58" y="22"/>
                    </a:lnTo>
                    <a:lnTo>
                      <a:pt x="50" y="13"/>
                    </a:lnTo>
                    <a:lnTo>
                      <a:pt x="46" y="12"/>
                    </a:lnTo>
                    <a:lnTo>
                      <a:pt x="41" y="8"/>
                    </a:lnTo>
                    <a:lnTo>
                      <a:pt x="28" y="5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10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3"/>
                    </a:lnTo>
                    <a:lnTo>
                      <a:pt x="2" y="28"/>
                    </a:lnTo>
                    <a:lnTo>
                      <a:pt x="2" y="32"/>
                    </a:lnTo>
                    <a:lnTo>
                      <a:pt x="7" y="33"/>
                    </a:lnTo>
                    <a:lnTo>
                      <a:pt x="8" y="37"/>
                    </a:lnTo>
                    <a:lnTo>
                      <a:pt x="10" y="41"/>
                    </a:lnTo>
                    <a:lnTo>
                      <a:pt x="12" y="45"/>
                    </a:lnTo>
                    <a:lnTo>
                      <a:pt x="12" y="48"/>
                    </a:lnTo>
                    <a:lnTo>
                      <a:pt x="12" y="51"/>
                    </a:lnTo>
                    <a:lnTo>
                      <a:pt x="8" y="55"/>
                    </a:lnTo>
                    <a:lnTo>
                      <a:pt x="8" y="60"/>
                    </a:lnTo>
                    <a:lnTo>
                      <a:pt x="10" y="63"/>
                    </a:lnTo>
                    <a:lnTo>
                      <a:pt x="8" y="68"/>
                    </a:lnTo>
                    <a:lnTo>
                      <a:pt x="2" y="71"/>
                    </a:lnTo>
                    <a:lnTo>
                      <a:pt x="0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1" name="Freeform 165">
                <a:extLst>
                  <a:ext uri="{FF2B5EF4-FFF2-40B4-BE49-F238E27FC236}">
                    <a16:creationId xmlns:a16="http://schemas.microsoft.com/office/drawing/2014/main" id="{2479ED02-DD5C-3548-B742-0148E9B24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472" y="3200196"/>
                <a:ext cx="51372" cy="49804"/>
              </a:xfrm>
              <a:custGeom>
                <a:avLst/>
                <a:gdLst/>
                <a:ahLst/>
                <a:cxnLst>
                  <a:cxn ang="0">
                    <a:pos x="38" y="95"/>
                  </a:cxn>
                  <a:cxn ang="0">
                    <a:pos x="42" y="96"/>
                  </a:cxn>
                  <a:cxn ang="0">
                    <a:pos x="53" y="96"/>
                  </a:cxn>
                  <a:cxn ang="0">
                    <a:pos x="52" y="90"/>
                  </a:cxn>
                  <a:cxn ang="0">
                    <a:pos x="45" y="85"/>
                  </a:cxn>
                  <a:cxn ang="0">
                    <a:pos x="52" y="76"/>
                  </a:cxn>
                  <a:cxn ang="0">
                    <a:pos x="67" y="78"/>
                  </a:cxn>
                  <a:cxn ang="0">
                    <a:pos x="78" y="76"/>
                  </a:cxn>
                  <a:cxn ang="0">
                    <a:pos x="87" y="81"/>
                  </a:cxn>
                  <a:cxn ang="0">
                    <a:pos x="95" y="73"/>
                  </a:cxn>
                  <a:cxn ang="0">
                    <a:pos x="93" y="65"/>
                  </a:cxn>
                  <a:cxn ang="0">
                    <a:pos x="97" y="58"/>
                  </a:cxn>
                  <a:cxn ang="0">
                    <a:pos x="95" y="51"/>
                  </a:cxn>
                  <a:cxn ang="0">
                    <a:pos x="92" y="43"/>
                  </a:cxn>
                  <a:cxn ang="0">
                    <a:pos x="87" y="38"/>
                  </a:cxn>
                  <a:cxn ang="0">
                    <a:pos x="85" y="28"/>
                  </a:cxn>
                  <a:cxn ang="0">
                    <a:pos x="88" y="17"/>
                  </a:cxn>
                  <a:cxn ang="0">
                    <a:pos x="90" y="15"/>
                  </a:cxn>
                  <a:cxn ang="0">
                    <a:pos x="95" y="7"/>
                  </a:cxn>
                  <a:cxn ang="0">
                    <a:pos x="82" y="3"/>
                  </a:cxn>
                  <a:cxn ang="0">
                    <a:pos x="68" y="2"/>
                  </a:cxn>
                  <a:cxn ang="0">
                    <a:pos x="57" y="2"/>
                  </a:cxn>
                  <a:cxn ang="0">
                    <a:pos x="40" y="2"/>
                  </a:cxn>
                  <a:cxn ang="0">
                    <a:pos x="23" y="3"/>
                  </a:cxn>
                  <a:cxn ang="0">
                    <a:pos x="22" y="10"/>
                  </a:cxn>
                  <a:cxn ang="0">
                    <a:pos x="20" y="17"/>
                  </a:cxn>
                  <a:cxn ang="0">
                    <a:pos x="13" y="23"/>
                  </a:cxn>
                  <a:cxn ang="0">
                    <a:pos x="3" y="28"/>
                  </a:cxn>
                  <a:cxn ang="0">
                    <a:pos x="0" y="42"/>
                  </a:cxn>
                  <a:cxn ang="0">
                    <a:pos x="5" y="47"/>
                  </a:cxn>
                  <a:cxn ang="0">
                    <a:pos x="8" y="51"/>
                  </a:cxn>
                  <a:cxn ang="0">
                    <a:pos x="12" y="58"/>
                  </a:cxn>
                  <a:cxn ang="0">
                    <a:pos x="17" y="60"/>
                  </a:cxn>
                  <a:cxn ang="0">
                    <a:pos x="20" y="65"/>
                  </a:cxn>
                  <a:cxn ang="0">
                    <a:pos x="22" y="76"/>
                  </a:cxn>
                  <a:cxn ang="0">
                    <a:pos x="28" y="81"/>
                  </a:cxn>
                  <a:cxn ang="0">
                    <a:pos x="33" y="88"/>
                  </a:cxn>
                  <a:cxn ang="0">
                    <a:pos x="35" y="91"/>
                  </a:cxn>
                </a:cxnLst>
                <a:rect l="0" t="0" r="r" b="b"/>
                <a:pathLst>
                  <a:path w="97" h="96">
                    <a:moveTo>
                      <a:pt x="38" y="95"/>
                    </a:moveTo>
                    <a:lnTo>
                      <a:pt x="38" y="95"/>
                    </a:lnTo>
                    <a:lnTo>
                      <a:pt x="40" y="95"/>
                    </a:lnTo>
                    <a:lnTo>
                      <a:pt x="42" y="96"/>
                    </a:lnTo>
                    <a:lnTo>
                      <a:pt x="48" y="96"/>
                    </a:lnTo>
                    <a:lnTo>
                      <a:pt x="53" y="96"/>
                    </a:lnTo>
                    <a:lnTo>
                      <a:pt x="53" y="95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45" y="85"/>
                    </a:lnTo>
                    <a:lnTo>
                      <a:pt x="47" y="80"/>
                    </a:lnTo>
                    <a:lnTo>
                      <a:pt x="52" y="76"/>
                    </a:lnTo>
                    <a:lnTo>
                      <a:pt x="57" y="78"/>
                    </a:lnTo>
                    <a:lnTo>
                      <a:pt x="67" y="78"/>
                    </a:lnTo>
                    <a:lnTo>
                      <a:pt x="72" y="76"/>
                    </a:lnTo>
                    <a:lnTo>
                      <a:pt x="78" y="76"/>
                    </a:lnTo>
                    <a:lnTo>
                      <a:pt x="82" y="80"/>
                    </a:lnTo>
                    <a:lnTo>
                      <a:pt x="87" y="81"/>
                    </a:lnTo>
                    <a:lnTo>
                      <a:pt x="93" y="78"/>
                    </a:lnTo>
                    <a:lnTo>
                      <a:pt x="95" y="73"/>
                    </a:lnTo>
                    <a:lnTo>
                      <a:pt x="93" y="70"/>
                    </a:lnTo>
                    <a:lnTo>
                      <a:pt x="93" y="65"/>
                    </a:lnTo>
                    <a:lnTo>
                      <a:pt x="97" y="61"/>
                    </a:lnTo>
                    <a:lnTo>
                      <a:pt x="97" y="58"/>
                    </a:lnTo>
                    <a:lnTo>
                      <a:pt x="97" y="55"/>
                    </a:lnTo>
                    <a:lnTo>
                      <a:pt x="95" y="51"/>
                    </a:lnTo>
                    <a:lnTo>
                      <a:pt x="93" y="47"/>
                    </a:lnTo>
                    <a:lnTo>
                      <a:pt x="92" y="43"/>
                    </a:lnTo>
                    <a:lnTo>
                      <a:pt x="87" y="42"/>
                    </a:lnTo>
                    <a:lnTo>
                      <a:pt x="87" y="38"/>
                    </a:lnTo>
                    <a:lnTo>
                      <a:pt x="87" y="33"/>
                    </a:lnTo>
                    <a:lnTo>
                      <a:pt x="85" y="28"/>
                    </a:lnTo>
                    <a:lnTo>
                      <a:pt x="85" y="22"/>
                    </a:lnTo>
                    <a:lnTo>
                      <a:pt x="88" y="17"/>
                    </a:lnTo>
                    <a:lnTo>
                      <a:pt x="90" y="15"/>
                    </a:lnTo>
                    <a:lnTo>
                      <a:pt x="90" y="15"/>
                    </a:lnTo>
                    <a:lnTo>
                      <a:pt x="95" y="10"/>
                    </a:lnTo>
                    <a:lnTo>
                      <a:pt x="95" y="7"/>
                    </a:lnTo>
                    <a:lnTo>
                      <a:pt x="90" y="5"/>
                    </a:lnTo>
                    <a:lnTo>
                      <a:pt x="82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5" y="3"/>
                    </a:lnTo>
                    <a:lnTo>
                      <a:pt x="57" y="2"/>
                    </a:lnTo>
                    <a:lnTo>
                      <a:pt x="47" y="3"/>
                    </a:lnTo>
                    <a:lnTo>
                      <a:pt x="40" y="2"/>
                    </a:lnTo>
                    <a:lnTo>
                      <a:pt x="28" y="2"/>
                    </a:lnTo>
                    <a:lnTo>
                      <a:pt x="23" y="3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0" y="13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8"/>
                    </a:lnTo>
                    <a:lnTo>
                      <a:pt x="3" y="33"/>
                    </a:lnTo>
                    <a:lnTo>
                      <a:pt x="0" y="42"/>
                    </a:lnTo>
                    <a:lnTo>
                      <a:pt x="0" y="45"/>
                    </a:lnTo>
                    <a:lnTo>
                      <a:pt x="5" y="47"/>
                    </a:lnTo>
                    <a:lnTo>
                      <a:pt x="7" y="50"/>
                    </a:lnTo>
                    <a:lnTo>
                      <a:pt x="8" y="51"/>
                    </a:lnTo>
                    <a:lnTo>
                      <a:pt x="10" y="55"/>
                    </a:lnTo>
                    <a:lnTo>
                      <a:pt x="12" y="58"/>
                    </a:lnTo>
                    <a:lnTo>
                      <a:pt x="13" y="60"/>
                    </a:lnTo>
                    <a:lnTo>
                      <a:pt x="17" y="60"/>
                    </a:lnTo>
                    <a:lnTo>
                      <a:pt x="18" y="61"/>
                    </a:lnTo>
                    <a:lnTo>
                      <a:pt x="20" y="65"/>
                    </a:lnTo>
                    <a:lnTo>
                      <a:pt x="22" y="71"/>
                    </a:lnTo>
                    <a:lnTo>
                      <a:pt x="22" y="76"/>
                    </a:lnTo>
                    <a:lnTo>
                      <a:pt x="23" y="78"/>
                    </a:lnTo>
                    <a:lnTo>
                      <a:pt x="28" y="81"/>
                    </a:lnTo>
                    <a:lnTo>
                      <a:pt x="28" y="86"/>
                    </a:lnTo>
                    <a:lnTo>
                      <a:pt x="33" y="88"/>
                    </a:lnTo>
                    <a:lnTo>
                      <a:pt x="33" y="90"/>
                    </a:lnTo>
                    <a:lnTo>
                      <a:pt x="35" y="91"/>
                    </a:lnTo>
                    <a:lnTo>
                      <a:pt x="38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2" name="Freeform 166">
                <a:extLst>
                  <a:ext uri="{FF2B5EF4-FFF2-40B4-BE49-F238E27FC236}">
                    <a16:creationId xmlns:a16="http://schemas.microsoft.com/office/drawing/2014/main" id="{D4D68451-6A42-3644-A9A2-DC63CE0A4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1592" y="3172181"/>
                <a:ext cx="64215" cy="86120"/>
              </a:xfrm>
              <a:custGeom>
                <a:avLst/>
                <a:gdLst/>
                <a:ahLst/>
                <a:cxnLst>
                  <a:cxn ang="0">
                    <a:pos x="20" y="73"/>
                  </a:cxn>
                  <a:cxn ang="0">
                    <a:pos x="23" y="73"/>
                  </a:cxn>
                  <a:cxn ang="0">
                    <a:pos x="33" y="78"/>
                  </a:cxn>
                  <a:cxn ang="0">
                    <a:pos x="30" y="88"/>
                  </a:cxn>
                  <a:cxn ang="0">
                    <a:pos x="32" y="93"/>
                  </a:cxn>
                  <a:cxn ang="0">
                    <a:pos x="38" y="96"/>
                  </a:cxn>
                  <a:cxn ang="0">
                    <a:pos x="47" y="98"/>
                  </a:cxn>
                  <a:cxn ang="0">
                    <a:pos x="42" y="106"/>
                  </a:cxn>
                  <a:cxn ang="0">
                    <a:pos x="35" y="119"/>
                  </a:cxn>
                  <a:cxn ang="0">
                    <a:pos x="33" y="128"/>
                  </a:cxn>
                  <a:cxn ang="0">
                    <a:pos x="35" y="133"/>
                  </a:cxn>
                  <a:cxn ang="0">
                    <a:pos x="33" y="141"/>
                  </a:cxn>
                  <a:cxn ang="0">
                    <a:pos x="43" y="149"/>
                  </a:cxn>
                  <a:cxn ang="0">
                    <a:pos x="47" y="156"/>
                  </a:cxn>
                  <a:cxn ang="0">
                    <a:pos x="62" y="166"/>
                  </a:cxn>
                  <a:cxn ang="0">
                    <a:pos x="67" y="161"/>
                  </a:cxn>
                  <a:cxn ang="0">
                    <a:pos x="73" y="163"/>
                  </a:cxn>
                  <a:cxn ang="0">
                    <a:pos x="77" y="156"/>
                  </a:cxn>
                  <a:cxn ang="0">
                    <a:pos x="93" y="156"/>
                  </a:cxn>
                  <a:cxn ang="0">
                    <a:pos x="100" y="146"/>
                  </a:cxn>
                  <a:cxn ang="0">
                    <a:pos x="110" y="148"/>
                  </a:cxn>
                  <a:cxn ang="0">
                    <a:pos x="121" y="148"/>
                  </a:cxn>
                  <a:cxn ang="0">
                    <a:pos x="116" y="143"/>
                  </a:cxn>
                  <a:cxn ang="0">
                    <a:pos x="111" y="139"/>
                  </a:cxn>
                  <a:cxn ang="0">
                    <a:pos x="106" y="131"/>
                  </a:cxn>
                  <a:cxn ang="0">
                    <a:pos x="105" y="124"/>
                  </a:cxn>
                  <a:cxn ang="0">
                    <a:pos x="101" y="114"/>
                  </a:cxn>
                  <a:cxn ang="0">
                    <a:pos x="96" y="113"/>
                  </a:cxn>
                  <a:cxn ang="0">
                    <a:pos x="93" y="108"/>
                  </a:cxn>
                  <a:cxn ang="0">
                    <a:pos x="90" y="103"/>
                  </a:cxn>
                  <a:cxn ang="0">
                    <a:pos x="83" y="98"/>
                  </a:cxn>
                  <a:cxn ang="0">
                    <a:pos x="86" y="86"/>
                  </a:cxn>
                  <a:cxn ang="0">
                    <a:pos x="90" y="76"/>
                  </a:cxn>
                  <a:cxn ang="0">
                    <a:pos x="100" y="73"/>
                  </a:cxn>
                  <a:cxn ang="0">
                    <a:pos x="103" y="66"/>
                  </a:cxn>
                  <a:cxn ang="0">
                    <a:pos x="105" y="61"/>
                  </a:cxn>
                  <a:cxn ang="0">
                    <a:pos x="103" y="58"/>
                  </a:cxn>
                  <a:cxn ang="0">
                    <a:pos x="101" y="48"/>
                  </a:cxn>
                  <a:cxn ang="0">
                    <a:pos x="85" y="40"/>
                  </a:cxn>
                  <a:cxn ang="0">
                    <a:pos x="78" y="38"/>
                  </a:cxn>
                  <a:cxn ang="0">
                    <a:pos x="70" y="43"/>
                  </a:cxn>
                  <a:cxn ang="0">
                    <a:pos x="67" y="41"/>
                  </a:cxn>
                  <a:cxn ang="0">
                    <a:pos x="70" y="30"/>
                  </a:cxn>
                  <a:cxn ang="0">
                    <a:pos x="63" y="21"/>
                  </a:cxn>
                  <a:cxn ang="0">
                    <a:pos x="48" y="8"/>
                  </a:cxn>
                  <a:cxn ang="0">
                    <a:pos x="43" y="2"/>
                  </a:cxn>
                  <a:cxn ang="0">
                    <a:pos x="37" y="0"/>
                  </a:cxn>
                  <a:cxn ang="0">
                    <a:pos x="28" y="10"/>
                  </a:cxn>
                  <a:cxn ang="0">
                    <a:pos x="20" y="13"/>
                  </a:cxn>
                  <a:cxn ang="0">
                    <a:pos x="15" y="23"/>
                  </a:cxn>
                  <a:cxn ang="0">
                    <a:pos x="23" y="28"/>
                  </a:cxn>
                  <a:cxn ang="0">
                    <a:pos x="28" y="36"/>
                  </a:cxn>
                  <a:cxn ang="0">
                    <a:pos x="15" y="38"/>
                  </a:cxn>
                  <a:cxn ang="0">
                    <a:pos x="8" y="38"/>
                  </a:cxn>
                  <a:cxn ang="0">
                    <a:pos x="3" y="48"/>
                  </a:cxn>
                  <a:cxn ang="0">
                    <a:pos x="2" y="58"/>
                  </a:cxn>
                  <a:cxn ang="0">
                    <a:pos x="17" y="71"/>
                  </a:cxn>
                </a:cxnLst>
                <a:rect l="0" t="0" r="r" b="b"/>
                <a:pathLst>
                  <a:path w="121" h="166">
                    <a:moveTo>
                      <a:pt x="17" y="73"/>
                    </a:moveTo>
                    <a:lnTo>
                      <a:pt x="20" y="73"/>
                    </a:lnTo>
                    <a:lnTo>
                      <a:pt x="22" y="75"/>
                    </a:lnTo>
                    <a:lnTo>
                      <a:pt x="23" y="73"/>
                    </a:lnTo>
                    <a:lnTo>
                      <a:pt x="30" y="73"/>
                    </a:lnTo>
                    <a:lnTo>
                      <a:pt x="33" y="78"/>
                    </a:lnTo>
                    <a:lnTo>
                      <a:pt x="33" y="85"/>
                    </a:lnTo>
                    <a:lnTo>
                      <a:pt x="30" y="88"/>
                    </a:lnTo>
                    <a:lnTo>
                      <a:pt x="28" y="91"/>
                    </a:lnTo>
                    <a:lnTo>
                      <a:pt x="32" y="93"/>
                    </a:lnTo>
                    <a:lnTo>
                      <a:pt x="38" y="93"/>
                    </a:lnTo>
                    <a:lnTo>
                      <a:pt x="38" y="96"/>
                    </a:lnTo>
                    <a:lnTo>
                      <a:pt x="42" y="100"/>
                    </a:lnTo>
                    <a:lnTo>
                      <a:pt x="47" y="98"/>
                    </a:lnTo>
                    <a:lnTo>
                      <a:pt x="47" y="101"/>
                    </a:lnTo>
                    <a:lnTo>
                      <a:pt x="42" y="106"/>
                    </a:lnTo>
                    <a:lnTo>
                      <a:pt x="40" y="111"/>
                    </a:lnTo>
                    <a:lnTo>
                      <a:pt x="35" y="119"/>
                    </a:lnTo>
                    <a:lnTo>
                      <a:pt x="35" y="124"/>
                    </a:lnTo>
                    <a:lnTo>
                      <a:pt x="33" y="128"/>
                    </a:lnTo>
                    <a:lnTo>
                      <a:pt x="33" y="131"/>
                    </a:lnTo>
                    <a:lnTo>
                      <a:pt x="35" y="133"/>
                    </a:lnTo>
                    <a:lnTo>
                      <a:pt x="33" y="136"/>
                    </a:lnTo>
                    <a:lnTo>
                      <a:pt x="33" y="141"/>
                    </a:lnTo>
                    <a:lnTo>
                      <a:pt x="38" y="144"/>
                    </a:lnTo>
                    <a:lnTo>
                      <a:pt x="43" y="149"/>
                    </a:lnTo>
                    <a:lnTo>
                      <a:pt x="43" y="153"/>
                    </a:lnTo>
                    <a:lnTo>
                      <a:pt x="47" y="156"/>
                    </a:lnTo>
                    <a:lnTo>
                      <a:pt x="57" y="164"/>
                    </a:lnTo>
                    <a:lnTo>
                      <a:pt x="62" y="166"/>
                    </a:lnTo>
                    <a:lnTo>
                      <a:pt x="63" y="163"/>
                    </a:lnTo>
                    <a:lnTo>
                      <a:pt x="67" y="161"/>
                    </a:lnTo>
                    <a:lnTo>
                      <a:pt x="68" y="163"/>
                    </a:lnTo>
                    <a:lnTo>
                      <a:pt x="73" y="163"/>
                    </a:lnTo>
                    <a:lnTo>
                      <a:pt x="77" y="159"/>
                    </a:lnTo>
                    <a:lnTo>
                      <a:pt x="77" y="156"/>
                    </a:lnTo>
                    <a:lnTo>
                      <a:pt x="83" y="154"/>
                    </a:lnTo>
                    <a:lnTo>
                      <a:pt x="93" y="156"/>
                    </a:lnTo>
                    <a:lnTo>
                      <a:pt x="95" y="148"/>
                    </a:lnTo>
                    <a:lnTo>
                      <a:pt x="100" y="146"/>
                    </a:lnTo>
                    <a:lnTo>
                      <a:pt x="108" y="146"/>
                    </a:lnTo>
                    <a:lnTo>
                      <a:pt x="110" y="148"/>
                    </a:lnTo>
                    <a:lnTo>
                      <a:pt x="113" y="148"/>
                    </a:lnTo>
                    <a:lnTo>
                      <a:pt x="121" y="148"/>
                    </a:lnTo>
                    <a:lnTo>
                      <a:pt x="118" y="144"/>
                    </a:lnTo>
                    <a:lnTo>
                      <a:pt x="116" y="143"/>
                    </a:lnTo>
                    <a:lnTo>
                      <a:pt x="116" y="141"/>
                    </a:lnTo>
                    <a:lnTo>
                      <a:pt x="111" y="139"/>
                    </a:lnTo>
                    <a:lnTo>
                      <a:pt x="111" y="134"/>
                    </a:lnTo>
                    <a:lnTo>
                      <a:pt x="106" y="131"/>
                    </a:lnTo>
                    <a:lnTo>
                      <a:pt x="105" y="129"/>
                    </a:lnTo>
                    <a:lnTo>
                      <a:pt x="105" y="124"/>
                    </a:lnTo>
                    <a:lnTo>
                      <a:pt x="103" y="118"/>
                    </a:lnTo>
                    <a:lnTo>
                      <a:pt x="101" y="114"/>
                    </a:lnTo>
                    <a:lnTo>
                      <a:pt x="100" y="113"/>
                    </a:lnTo>
                    <a:lnTo>
                      <a:pt x="96" y="113"/>
                    </a:lnTo>
                    <a:lnTo>
                      <a:pt x="95" y="111"/>
                    </a:lnTo>
                    <a:lnTo>
                      <a:pt x="93" y="108"/>
                    </a:lnTo>
                    <a:lnTo>
                      <a:pt x="91" y="104"/>
                    </a:lnTo>
                    <a:lnTo>
                      <a:pt x="90" y="103"/>
                    </a:lnTo>
                    <a:lnTo>
                      <a:pt x="88" y="100"/>
                    </a:lnTo>
                    <a:lnTo>
                      <a:pt x="83" y="98"/>
                    </a:lnTo>
                    <a:lnTo>
                      <a:pt x="83" y="95"/>
                    </a:lnTo>
                    <a:lnTo>
                      <a:pt x="86" y="86"/>
                    </a:lnTo>
                    <a:lnTo>
                      <a:pt x="86" y="81"/>
                    </a:lnTo>
                    <a:lnTo>
                      <a:pt x="90" y="76"/>
                    </a:lnTo>
                    <a:lnTo>
                      <a:pt x="96" y="76"/>
                    </a:lnTo>
                    <a:lnTo>
                      <a:pt x="100" y="73"/>
                    </a:lnTo>
                    <a:lnTo>
                      <a:pt x="103" y="70"/>
                    </a:lnTo>
                    <a:lnTo>
                      <a:pt x="103" y="66"/>
                    </a:lnTo>
                    <a:lnTo>
                      <a:pt x="105" y="63"/>
                    </a:lnTo>
                    <a:lnTo>
                      <a:pt x="105" y="61"/>
                    </a:lnTo>
                    <a:lnTo>
                      <a:pt x="105" y="61"/>
                    </a:lnTo>
                    <a:lnTo>
                      <a:pt x="103" y="58"/>
                    </a:lnTo>
                    <a:lnTo>
                      <a:pt x="103" y="51"/>
                    </a:lnTo>
                    <a:lnTo>
                      <a:pt x="101" y="48"/>
                    </a:lnTo>
                    <a:lnTo>
                      <a:pt x="93" y="46"/>
                    </a:lnTo>
                    <a:lnTo>
                      <a:pt x="85" y="40"/>
                    </a:lnTo>
                    <a:lnTo>
                      <a:pt x="80" y="36"/>
                    </a:lnTo>
                    <a:lnTo>
                      <a:pt x="78" y="38"/>
                    </a:lnTo>
                    <a:lnTo>
                      <a:pt x="73" y="40"/>
                    </a:lnTo>
                    <a:lnTo>
                      <a:pt x="70" y="43"/>
                    </a:lnTo>
                    <a:lnTo>
                      <a:pt x="68" y="46"/>
                    </a:lnTo>
                    <a:lnTo>
                      <a:pt x="67" y="41"/>
                    </a:lnTo>
                    <a:lnTo>
                      <a:pt x="68" y="35"/>
                    </a:lnTo>
                    <a:lnTo>
                      <a:pt x="70" y="30"/>
                    </a:lnTo>
                    <a:lnTo>
                      <a:pt x="68" y="23"/>
                    </a:lnTo>
                    <a:lnTo>
                      <a:pt x="63" y="21"/>
                    </a:lnTo>
                    <a:lnTo>
                      <a:pt x="55" y="15"/>
                    </a:lnTo>
                    <a:lnTo>
                      <a:pt x="48" y="8"/>
                    </a:lnTo>
                    <a:lnTo>
                      <a:pt x="47" y="5"/>
                    </a:lnTo>
                    <a:lnTo>
                      <a:pt x="43" y="2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7" y="2"/>
                    </a:lnTo>
                    <a:lnTo>
                      <a:pt x="28" y="10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20"/>
                    </a:lnTo>
                    <a:lnTo>
                      <a:pt x="15" y="23"/>
                    </a:lnTo>
                    <a:lnTo>
                      <a:pt x="17" y="28"/>
                    </a:lnTo>
                    <a:lnTo>
                      <a:pt x="23" y="28"/>
                    </a:lnTo>
                    <a:lnTo>
                      <a:pt x="28" y="31"/>
                    </a:lnTo>
                    <a:lnTo>
                      <a:pt x="28" y="36"/>
                    </a:lnTo>
                    <a:lnTo>
                      <a:pt x="20" y="40"/>
                    </a:lnTo>
                    <a:lnTo>
                      <a:pt x="15" y="38"/>
                    </a:lnTo>
                    <a:lnTo>
                      <a:pt x="12" y="40"/>
                    </a:lnTo>
                    <a:lnTo>
                      <a:pt x="8" y="38"/>
                    </a:lnTo>
                    <a:lnTo>
                      <a:pt x="5" y="41"/>
                    </a:lnTo>
                    <a:lnTo>
                      <a:pt x="3" y="48"/>
                    </a:lnTo>
                    <a:lnTo>
                      <a:pt x="0" y="51"/>
                    </a:lnTo>
                    <a:lnTo>
                      <a:pt x="2" y="58"/>
                    </a:lnTo>
                    <a:lnTo>
                      <a:pt x="8" y="65"/>
                    </a:lnTo>
                    <a:lnTo>
                      <a:pt x="17" y="71"/>
                    </a:lnTo>
                    <a:lnTo>
                      <a:pt x="17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3" name="Freeform 167">
                <a:extLst>
                  <a:ext uri="{FF2B5EF4-FFF2-40B4-BE49-F238E27FC236}">
                    <a16:creationId xmlns:a16="http://schemas.microsoft.com/office/drawing/2014/main" id="{1B362D70-C831-464C-A18F-7D23AC15CB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8547" y="3123414"/>
                <a:ext cx="172310" cy="141112"/>
              </a:xfrm>
              <a:custGeom>
                <a:avLst/>
                <a:gdLst/>
                <a:ahLst/>
                <a:cxnLst>
                  <a:cxn ang="0">
                    <a:pos x="183" y="269"/>
                  </a:cxn>
                  <a:cxn ang="0">
                    <a:pos x="215" y="242"/>
                  </a:cxn>
                  <a:cxn ang="0">
                    <a:pos x="228" y="229"/>
                  </a:cxn>
                  <a:cxn ang="0">
                    <a:pos x="215" y="204"/>
                  </a:cxn>
                  <a:cxn ang="0">
                    <a:pos x="206" y="191"/>
                  </a:cxn>
                  <a:cxn ang="0">
                    <a:pos x="243" y="196"/>
                  </a:cxn>
                  <a:cxn ang="0">
                    <a:pos x="281" y="184"/>
                  </a:cxn>
                  <a:cxn ang="0">
                    <a:pos x="294" y="158"/>
                  </a:cxn>
                  <a:cxn ang="0">
                    <a:pos x="294" y="131"/>
                  </a:cxn>
                  <a:cxn ang="0">
                    <a:pos x="314" y="124"/>
                  </a:cxn>
                  <a:cxn ang="0">
                    <a:pos x="306" y="106"/>
                  </a:cxn>
                  <a:cxn ang="0">
                    <a:pos x="321" y="93"/>
                  </a:cxn>
                  <a:cxn ang="0">
                    <a:pos x="298" y="88"/>
                  </a:cxn>
                  <a:cxn ang="0">
                    <a:pos x="283" y="90"/>
                  </a:cxn>
                  <a:cxn ang="0">
                    <a:pos x="298" y="78"/>
                  </a:cxn>
                  <a:cxn ang="0">
                    <a:pos x="278" y="66"/>
                  </a:cxn>
                  <a:cxn ang="0">
                    <a:pos x="261" y="58"/>
                  </a:cxn>
                  <a:cxn ang="0">
                    <a:pos x="250" y="51"/>
                  </a:cxn>
                  <a:cxn ang="0">
                    <a:pos x="273" y="45"/>
                  </a:cxn>
                  <a:cxn ang="0">
                    <a:pos x="243" y="41"/>
                  </a:cxn>
                  <a:cxn ang="0">
                    <a:pos x="211" y="50"/>
                  </a:cxn>
                  <a:cxn ang="0">
                    <a:pos x="190" y="56"/>
                  </a:cxn>
                  <a:cxn ang="0">
                    <a:pos x="140" y="50"/>
                  </a:cxn>
                  <a:cxn ang="0">
                    <a:pos x="125" y="40"/>
                  </a:cxn>
                  <a:cxn ang="0">
                    <a:pos x="98" y="26"/>
                  </a:cxn>
                  <a:cxn ang="0">
                    <a:pos x="85" y="8"/>
                  </a:cxn>
                  <a:cxn ang="0">
                    <a:pos x="73" y="25"/>
                  </a:cxn>
                  <a:cxn ang="0">
                    <a:pos x="82" y="30"/>
                  </a:cxn>
                  <a:cxn ang="0">
                    <a:pos x="67" y="31"/>
                  </a:cxn>
                  <a:cxn ang="0">
                    <a:pos x="45" y="50"/>
                  </a:cxn>
                  <a:cxn ang="0">
                    <a:pos x="37" y="81"/>
                  </a:cxn>
                  <a:cxn ang="0">
                    <a:pos x="30" y="61"/>
                  </a:cxn>
                  <a:cxn ang="0">
                    <a:pos x="39" y="36"/>
                  </a:cxn>
                  <a:cxn ang="0">
                    <a:pos x="39" y="23"/>
                  </a:cxn>
                  <a:cxn ang="0">
                    <a:pos x="34" y="21"/>
                  </a:cxn>
                  <a:cxn ang="0">
                    <a:pos x="12" y="43"/>
                  </a:cxn>
                  <a:cxn ang="0">
                    <a:pos x="0" y="75"/>
                  </a:cxn>
                  <a:cxn ang="0">
                    <a:pos x="20" y="99"/>
                  </a:cxn>
                  <a:cxn ang="0">
                    <a:pos x="19" y="116"/>
                  </a:cxn>
                  <a:cxn ang="0">
                    <a:pos x="44" y="124"/>
                  </a:cxn>
                  <a:cxn ang="0">
                    <a:pos x="73" y="124"/>
                  </a:cxn>
                  <a:cxn ang="0">
                    <a:pos x="105" y="143"/>
                  </a:cxn>
                  <a:cxn ang="0">
                    <a:pos x="130" y="144"/>
                  </a:cxn>
                  <a:cxn ang="0">
                    <a:pos x="138" y="156"/>
                  </a:cxn>
                  <a:cxn ang="0">
                    <a:pos x="130" y="174"/>
                  </a:cxn>
                  <a:cxn ang="0">
                    <a:pos x="132" y="196"/>
                  </a:cxn>
                  <a:cxn ang="0">
                    <a:pos x="135" y="222"/>
                  </a:cxn>
                  <a:cxn ang="0">
                    <a:pos x="140" y="236"/>
                  </a:cxn>
                  <a:cxn ang="0">
                    <a:pos x="148" y="257"/>
                  </a:cxn>
                  <a:cxn ang="0">
                    <a:pos x="122" y="11"/>
                  </a:cxn>
                  <a:cxn ang="0">
                    <a:pos x="105" y="10"/>
                  </a:cxn>
                  <a:cxn ang="0">
                    <a:pos x="100" y="5"/>
                  </a:cxn>
                  <a:cxn ang="0">
                    <a:pos x="80" y="0"/>
                  </a:cxn>
                  <a:cxn ang="0">
                    <a:pos x="221" y="36"/>
                  </a:cxn>
                  <a:cxn ang="0">
                    <a:pos x="216" y="40"/>
                  </a:cxn>
                </a:cxnLst>
                <a:rect l="0" t="0" r="r" b="b"/>
                <a:pathLst>
                  <a:path w="323" h="271">
                    <a:moveTo>
                      <a:pt x="148" y="257"/>
                    </a:moveTo>
                    <a:lnTo>
                      <a:pt x="158" y="262"/>
                    </a:lnTo>
                    <a:lnTo>
                      <a:pt x="167" y="269"/>
                    </a:lnTo>
                    <a:lnTo>
                      <a:pt x="173" y="271"/>
                    </a:lnTo>
                    <a:lnTo>
                      <a:pt x="183" y="269"/>
                    </a:lnTo>
                    <a:lnTo>
                      <a:pt x="188" y="264"/>
                    </a:lnTo>
                    <a:lnTo>
                      <a:pt x="196" y="259"/>
                    </a:lnTo>
                    <a:lnTo>
                      <a:pt x="200" y="254"/>
                    </a:lnTo>
                    <a:lnTo>
                      <a:pt x="213" y="247"/>
                    </a:lnTo>
                    <a:lnTo>
                      <a:pt x="215" y="242"/>
                    </a:lnTo>
                    <a:lnTo>
                      <a:pt x="220" y="239"/>
                    </a:lnTo>
                    <a:lnTo>
                      <a:pt x="231" y="236"/>
                    </a:lnTo>
                    <a:lnTo>
                      <a:pt x="236" y="234"/>
                    </a:lnTo>
                    <a:lnTo>
                      <a:pt x="236" y="229"/>
                    </a:lnTo>
                    <a:lnTo>
                      <a:pt x="228" y="229"/>
                    </a:lnTo>
                    <a:lnTo>
                      <a:pt x="220" y="229"/>
                    </a:lnTo>
                    <a:lnTo>
                      <a:pt x="210" y="226"/>
                    </a:lnTo>
                    <a:lnTo>
                      <a:pt x="211" y="219"/>
                    </a:lnTo>
                    <a:lnTo>
                      <a:pt x="208" y="214"/>
                    </a:lnTo>
                    <a:lnTo>
                      <a:pt x="215" y="204"/>
                    </a:lnTo>
                    <a:lnTo>
                      <a:pt x="213" y="201"/>
                    </a:lnTo>
                    <a:lnTo>
                      <a:pt x="208" y="196"/>
                    </a:lnTo>
                    <a:lnTo>
                      <a:pt x="203" y="194"/>
                    </a:lnTo>
                    <a:lnTo>
                      <a:pt x="200" y="189"/>
                    </a:lnTo>
                    <a:lnTo>
                      <a:pt x="206" y="191"/>
                    </a:lnTo>
                    <a:lnTo>
                      <a:pt x="215" y="193"/>
                    </a:lnTo>
                    <a:lnTo>
                      <a:pt x="221" y="196"/>
                    </a:lnTo>
                    <a:lnTo>
                      <a:pt x="230" y="196"/>
                    </a:lnTo>
                    <a:lnTo>
                      <a:pt x="241" y="194"/>
                    </a:lnTo>
                    <a:lnTo>
                      <a:pt x="243" y="196"/>
                    </a:lnTo>
                    <a:lnTo>
                      <a:pt x="251" y="193"/>
                    </a:lnTo>
                    <a:lnTo>
                      <a:pt x="260" y="188"/>
                    </a:lnTo>
                    <a:lnTo>
                      <a:pt x="266" y="186"/>
                    </a:lnTo>
                    <a:lnTo>
                      <a:pt x="269" y="188"/>
                    </a:lnTo>
                    <a:lnTo>
                      <a:pt x="281" y="184"/>
                    </a:lnTo>
                    <a:lnTo>
                      <a:pt x="289" y="183"/>
                    </a:lnTo>
                    <a:lnTo>
                      <a:pt x="301" y="176"/>
                    </a:lnTo>
                    <a:lnTo>
                      <a:pt x="303" y="169"/>
                    </a:lnTo>
                    <a:lnTo>
                      <a:pt x="303" y="164"/>
                    </a:lnTo>
                    <a:lnTo>
                      <a:pt x="294" y="158"/>
                    </a:lnTo>
                    <a:lnTo>
                      <a:pt x="288" y="151"/>
                    </a:lnTo>
                    <a:lnTo>
                      <a:pt x="286" y="144"/>
                    </a:lnTo>
                    <a:lnTo>
                      <a:pt x="289" y="141"/>
                    </a:lnTo>
                    <a:lnTo>
                      <a:pt x="291" y="134"/>
                    </a:lnTo>
                    <a:lnTo>
                      <a:pt x="294" y="131"/>
                    </a:lnTo>
                    <a:lnTo>
                      <a:pt x="298" y="133"/>
                    </a:lnTo>
                    <a:lnTo>
                      <a:pt x="301" y="131"/>
                    </a:lnTo>
                    <a:lnTo>
                      <a:pt x="306" y="133"/>
                    </a:lnTo>
                    <a:lnTo>
                      <a:pt x="314" y="129"/>
                    </a:lnTo>
                    <a:lnTo>
                      <a:pt x="314" y="124"/>
                    </a:lnTo>
                    <a:lnTo>
                      <a:pt x="309" y="121"/>
                    </a:lnTo>
                    <a:lnTo>
                      <a:pt x="303" y="121"/>
                    </a:lnTo>
                    <a:lnTo>
                      <a:pt x="301" y="116"/>
                    </a:lnTo>
                    <a:lnTo>
                      <a:pt x="299" y="113"/>
                    </a:lnTo>
                    <a:lnTo>
                      <a:pt x="306" y="106"/>
                    </a:lnTo>
                    <a:lnTo>
                      <a:pt x="309" y="106"/>
                    </a:lnTo>
                    <a:lnTo>
                      <a:pt x="314" y="103"/>
                    </a:lnTo>
                    <a:lnTo>
                      <a:pt x="323" y="95"/>
                    </a:lnTo>
                    <a:lnTo>
                      <a:pt x="323" y="93"/>
                    </a:lnTo>
                    <a:lnTo>
                      <a:pt x="321" y="93"/>
                    </a:lnTo>
                    <a:lnTo>
                      <a:pt x="313" y="88"/>
                    </a:lnTo>
                    <a:lnTo>
                      <a:pt x="309" y="88"/>
                    </a:lnTo>
                    <a:lnTo>
                      <a:pt x="306" y="90"/>
                    </a:lnTo>
                    <a:lnTo>
                      <a:pt x="301" y="88"/>
                    </a:lnTo>
                    <a:lnTo>
                      <a:pt x="298" y="88"/>
                    </a:lnTo>
                    <a:lnTo>
                      <a:pt x="294" y="90"/>
                    </a:lnTo>
                    <a:lnTo>
                      <a:pt x="286" y="91"/>
                    </a:lnTo>
                    <a:lnTo>
                      <a:pt x="281" y="91"/>
                    </a:lnTo>
                    <a:lnTo>
                      <a:pt x="278" y="90"/>
                    </a:lnTo>
                    <a:lnTo>
                      <a:pt x="283" y="90"/>
                    </a:lnTo>
                    <a:lnTo>
                      <a:pt x="286" y="90"/>
                    </a:lnTo>
                    <a:lnTo>
                      <a:pt x="289" y="88"/>
                    </a:lnTo>
                    <a:lnTo>
                      <a:pt x="291" y="85"/>
                    </a:lnTo>
                    <a:lnTo>
                      <a:pt x="296" y="81"/>
                    </a:lnTo>
                    <a:lnTo>
                      <a:pt x="298" y="78"/>
                    </a:lnTo>
                    <a:lnTo>
                      <a:pt x="294" y="76"/>
                    </a:lnTo>
                    <a:lnTo>
                      <a:pt x="294" y="75"/>
                    </a:lnTo>
                    <a:lnTo>
                      <a:pt x="293" y="71"/>
                    </a:lnTo>
                    <a:lnTo>
                      <a:pt x="286" y="68"/>
                    </a:lnTo>
                    <a:lnTo>
                      <a:pt x="278" y="66"/>
                    </a:lnTo>
                    <a:lnTo>
                      <a:pt x="276" y="65"/>
                    </a:lnTo>
                    <a:lnTo>
                      <a:pt x="273" y="63"/>
                    </a:lnTo>
                    <a:lnTo>
                      <a:pt x="268" y="63"/>
                    </a:lnTo>
                    <a:lnTo>
                      <a:pt x="266" y="60"/>
                    </a:lnTo>
                    <a:lnTo>
                      <a:pt x="261" y="58"/>
                    </a:lnTo>
                    <a:lnTo>
                      <a:pt x="260" y="58"/>
                    </a:lnTo>
                    <a:lnTo>
                      <a:pt x="260" y="63"/>
                    </a:lnTo>
                    <a:lnTo>
                      <a:pt x="256" y="58"/>
                    </a:lnTo>
                    <a:lnTo>
                      <a:pt x="255" y="55"/>
                    </a:lnTo>
                    <a:lnTo>
                      <a:pt x="250" y="51"/>
                    </a:lnTo>
                    <a:lnTo>
                      <a:pt x="248" y="50"/>
                    </a:lnTo>
                    <a:lnTo>
                      <a:pt x="251" y="48"/>
                    </a:lnTo>
                    <a:lnTo>
                      <a:pt x="261" y="48"/>
                    </a:lnTo>
                    <a:lnTo>
                      <a:pt x="266" y="46"/>
                    </a:lnTo>
                    <a:lnTo>
                      <a:pt x="273" y="45"/>
                    </a:lnTo>
                    <a:lnTo>
                      <a:pt x="273" y="41"/>
                    </a:lnTo>
                    <a:lnTo>
                      <a:pt x="266" y="43"/>
                    </a:lnTo>
                    <a:lnTo>
                      <a:pt x="256" y="41"/>
                    </a:lnTo>
                    <a:lnTo>
                      <a:pt x="248" y="41"/>
                    </a:lnTo>
                    <a:lnTo>
                      <a:pt x="243" y="41"/>
                    </a:lnTo>
                    <a:lnTo>
                      <a:pt x="233" y="45"/>
                    </a:lnTo>
                    <a:lnTo>
                      <a:pt x="228" y="43"/>
                    </a:lnTo>
                    <a:lnTo>
                      <a:pt x="225" y="43"/>
                    </a:lnTo>
                    <a:lnTo>
                      <a:pt x="215" y="50"/>
                    </a:lnTo>
                    <a:lnTo>
                      <a:pt x="211" y="50"/>
                    </a:lnTo>
                    <a:lnTo>
                      <a:pt x="205" y="53"/>
                    </a:lnTo>
                    <a:lnTo>
                      <a:pt x="203" y="55"/>
                    </a:lnTo>
                    <a:lnTo>
                      <a:pt x="196" y="56"/>
                    </a:lnTo>
                    <a:lnTo>
                      <a:pt x="193" y="58"/>
                    </a:lnTo>
                    <a:lnTo>
                      <a:pt x="190" y="56"/>
                    </a:lnTo>
                    <a:lnTo>
                      <a:pt x="180" y="50"/>
                    </a:lnTo>
                    <a:lnTo>
                      <a:pt x="178" y="46"/>
                    </a:lnTo>
                    <a:lnTo>
                      <a:pt x="175" y="45"/>
                    </a:lnTo>
                    <a:lnTo>
                      <a:pt x="162" y="46"/>
                    </a:lnTo>
                    <a:lnTo>
                      <a:pt x="140" y="50"/>
                    </a:lnTo>
                    <a:lnTo>
                      <a:pt x="128" y="50"/>
                    </a:lnTo>
                    <a:lnTo>
                      <a:pt x="123" y="48"/>
                    </a:lnTo>
                    <a:lnTo>
                      <a:pt x="122" y="45"/>
                    </a:lnTo>
                    <a:lnTo>
                      <a:pt x="122" y="41"/>
                    </a:lnTo>
                    <a:lnTo>
                      <a:pt x="125" y="40"/>
                    </a:lnTo>
                    <a:lnTo>
                      <a:pt x="125" y="36"/>
                    </a:lnTo>
                    <a:lnTo>
                      <a:pt x="120" y="30"/>
                    </a:lnTo>
                    <a:lnTo>
                      <a:pt x="115" y="28"/>
                    </a:lnTo>
                    <a:lnTo>
                      <a:pt x="103" y="30"/>
                    </a:lnTo>
                    <a:lnTo>
                      <a:pt x="98" y="26"/>
                    </a:lnTo>
                    <a:lnTo>
                      <a:pt x="95" y="26"/>
                    </a:lnTo>
                    <a:lnTo>
                      <a:pt x="92" y="28"/>
                    </a:lnTo>
                    <a:lnTo>
                      <a:pt x="87" y="21"/>
                    </a:lnTo>
                    <a:lnTo>
                      <a:pt x="87" y="16"/>
                    </a:lnTo>
                    <a:lnTo>
                      <a:pt x="85" y="8"/>
                    </a:lnTo>
                    <a:lnTo>
                      <a:pt x="83" y="8"/>
                    </a:lnTo>
                    <a:lnTo>
                      <a:pt x="77" y="10"/>
                    </a:lnTo>
                    <a:lnTo>
                      <a:pt x="70" y="18"/>
                    </a:lnTo>
                    <a:lnTo>
                      <a:pt x="72" y="23"/>
                    </a:lnTo>
                    <a:lnTo>
                      <a:pt x="73" y="25"/>
                    </a:lnTo>
                    <a:lnTo>
                      <a:pt x="78" y="21"/>
                    </a:lnTo>
                    <a:lnTo>
                      <a:pt x="82" y="23"/>
                    </a:lnTo>
                    <a:lnTo>
                      <a:pt x="87" y="26"/>
                    </a:lnTo>
                    <a:lnTo>
                      <a:pt x="85" y="28"/>
                    </a:lnTo>
                    <a:lnTo>
                      <a:pt x="82" y="30"/>
                    </a:lnTo>
                    <a:lnTo>
                      <a:pt x="77" y="28"/>
                    </a:lnTo>
                    <a:lnTo>
                      <a:pt x="75" y="26"/>
                    </a:lnTo>
                    <a:lnTo>
                      <a:pt x="73" y="28"/>
                    </a:lnTo>
                    <a:lnTo>
                      <a:pt x="73" y="30"/>
                    </a:lnTo>
                    <a:lnTo>
                      <a:pt x="67" y="31"/>
                    </a:lnTo>
                    <a:lnTo>
                      <a:pt x="57" y="35"/>
                    </a:lnTo>
                    <a:lnTo>
                      <a:pt x="47" y="38"/>
                    </a:lnTo>
                    <a:lnTo>
                      <a:pt x="44" y="41"/>
                    </a:lnTo>
                    <a:lnTo>
                      <a:pt x="44" y="45"/>
                    </a:lnTo>
                    <a:lnTo>
                      <a:pt x="45" y="50"/>
                    </a:lnTo>
                    <a:lnTo>
                      <a:pt x="45" y="60"/>
                    </a:lnTo>
                    <a:lnTo>
                      <a:pt x="47" y="65"/>
                    </a:lnTo>
                    <a:lnTo>
                      <a:pt x="49" y="70"/>
                    </a:lnTo>
                    <a:lnTo>
                      <a:pt x="45" y="76"/>
                    </a:lnTo>
                    <a:lnTo>
                      <a:pt x="37" y="81"/>
                    </a:lnTo>
                    <a:lnTo>
                      <a:pt x="32" y="80"/>
                    </a:lnTo>
                    <a:lnTo>
                      <a:pt x="32" y="75"/>
                    </a:lnTo>
                    <a:lnTo>
                      <a:pt x="29" y="70"/>
                    </a:lnTo>
                    <a:lnTo>
                      <a:pt x="27" y="65"/>
                    </a:lnTo>
                    <a:lnTo>
                      <a:pt x="30" y="61"/>
                    </a:lnTo>
                    <a:lnTo>
                      <a:pt x="32" y="58"/>
                    </a:lnTo>
                    <a:lnTo>
                      <a:pt x="40" y="50"/>
                    </a:lnTo>
                    <a:lnTo>
                      <a:pt x="40" y="43"/>
                    </a:lnTo>
                    <a:lnTo>
                      <a:pt x="37" y="38"/>
                    </a:lnTo>
                    <a:lnTo>
                      <a:pt x="39" y="36"/>
                    </a:lnTo>
                    <a:lnTo>
                      <a:pt x="37" y="35"/>
                    </a:lnTo>
                    <a:lnTo>
                      <a:pt x="34" y="31"/>
                    </a:lnTo>
                    <a:lnTo>
                      <a:pt x="32" y="28"/>
                    </a:lnTo>
                    <a:lnTo>
                      <a:pt x="34" y="25"/>
                    </a:lnTo>
                    <a:lnTo>
                      <a:pt x="39" y="23"/>
                    </a:lnTo>
                    <a:lnTo>
                      <a:pt x="45" y="21"/>
                    </a:lnTo>
                    <a:lnTo>
                      <a:pt x="50" y="16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34" y="21"/>
                    </a:lnTo>
                    <a:lnTo>
                      <a:pt x="25" y="31"/>
                    </a:lnTo>
                    <a:lnTo>
                      <a:pt x="24" y="33"/>
                    </a:lnTo>
                    <a:lnTo>
                      <a:pt x="20" y="35"/>
                    </a:lnTo>
                    <a:lnTo>
                      <a:pt x="15" y="40"/>
                    </a:lnTo>
                    <a:lnTo>
                      <a:pt x="12" y="43"/>
                    </a:lnTo>
                    <a:lnTo>
                      <a:pt x="4" y="53"/>
                    </a:lnTo>
                    <a:lnTo>
                      <a:pt x="4" y="58"/>
                    </a:lnTo>
                    <a:lnTo>
                      <a:pt x="4" y="61"/>
                    </a:lnTo>
                    <a:lnTo>
                      <a:pt x="4" y="68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2" y="78"/>
                    </a:lnTo>
                    <a:lnTo>
                      <a:pt x="7" y="78"/>
                    </a:lnTo>
                    <a:lnTo>
                      <a:pt x="17" y="93"/>
                    </a:lnTo>
                    <a:lnTo>
                      <a:pt x="20" y="99"/>
                    </a:lnTo>
                    <a:lnTo>
                      <a:pt x="22" y="103"/>
                    </a:lnTo>
                    <a:lnTo>
                      <a:pt x="20" y="108"/>
                    </a:lnTo>
                    <a:lnTo>
                      <a:pt x="20" y="111"/>
                    </a:lnTo>
                    <a:lnTo>
                      <a:pt x="19" y="113"/>
                    </a:lnTo>
                    <a:lnTo>
                      <a:pt x="19" y="116"/>
                    </a:lnTo>
                    <a:lnTo>
                      <a:pt x="24" y="121"/>
                    </a:lnTo>
                    <a:lnTo>
                      <a:pt x="30" y="123"/>
                    </a:lnTo>
                    <a:lnTo>
                      <a:pt x="35" y="124"/>
                    </a:lnTo>
                    <a:lnTo>
                      <a:pt x="40" y="126"/>
                    </a:lnTo>
                    <a:lnTo>
                      <a:pt x="44" y="124"/>
                    </a:lnTo>
                    <a:lnTo>
                      <a:pt x="50" y="124"/>
                    </a:lnTo>
                    <a:lnTo>
                      <a:pt x="57" y="126"/>
                    </a:lnTo>
                    <a:lnTo>
                      <a:pt x="59" y="124"/>
                    </a:lnTo>
                    <a:lnTo>
                      <a:pt x="65" y="124"/>
                    </a:lnTo>
                    <a:lnTo>
                      <a:pt x="73" y="124"/>
                    </a:lnTo>
                    <a:lnTo>
                      <a:pt x="77" y="126"/>
                    </a:lnTo>
                    <a:lnTo>
                      <a:pt x="95" y="143"/>
                    </a:lnTo>
                    <a:lnTo>
                      <a:pt x="102" y="141"/>
                    </a:lnTo>
                    <a:lnTo>
                      <a:pt x="103" y="143"/>
                    </a:lnTo>
                    <a:lnTo>
                      <a:pt x="105" y="143"/>
                    </a:lnTo>
                    <a:lnTo>
                      <a:pt x="110" y="144"/>
                    </a:lnTo>
                    <a:lnTo>
                      <a:pt x="113" y="146"/>
                    </a:lnTo>
                    <a:lnTo>
                      <a:pt x="118" y="143"/>
                    </a:lnTo>
                    <a:lnTo>
                      <a:pt x="123" y="143"/>
                    </a:lnTo>
                    <a:lnTo>
                      <a:pt x="130" y="144"/>
                    </a:lnTo>
                    <a:lnTo>
                      <a:pt x="132" y="143"/>
                    </a:lnTo>
                    <a:lnTo>
                      <a:pt x="135" y="143"/>
                    </a:lnTo>
                    <a:lnTo>
                      <a:pt x="138" y="144"/>
                    </a:lnTo>
                    <a:lnTo>
                      <a:pt x="140" y="153"/>
                    </a:lnTo>
                    <a:lnTo>
                      <a:pt x="138" y="156"/>
                    </a:lnTo>
                    <a:lnTo>
                      <a:pt x="138" y="159"/>
                    </a:lnTo>
                    <a:lnTo>
                      <a:pt x="137" y="163"/>
                    </a:lnTo>
                    <a:lnTo>
                      <a:pt x="132" y="164"/>
                    </a:lnTo>
                    <a:lnTo>
                      <a:pt x="128" y="168"/>
                    </a:lnTo>
                    <a:lnTo>
                      <a:pt x="130" y="174"/>
                    </a:lnTo>
                    <a:lnTo>
                      <a:pt x="130" y="178"/>
                    </a:lnTo>
                    <a:lnTo>
                      <a:pt x="128" y="183"/>
                    </a:lnTo>
                    <a:lnTo>
                      <a:pt x="128" y="191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7" y="207"/>
                    </a:lnTo>
                    <a:lnTo>
                      <a:pt x="128" y="221"/>
                    </a:lnTo>
                    <a:lnTo>
                      <a:pt x="130" y="224"/>
                    </a:lnTo>
                    <a:lnTo>
                      <a:pt x="132" y="224"/>
                    </a:lnTo>
                    <a:lnTo>
                      <a:pt x="135" y="222"/>
                    </a:lnTo>
                    <a:lnTo>
                      <a:pt x="135" y="224"/>
                    </a:lnTo>
                    <a:lnTo>
                      <a:pt x="137" y="227"/>
                    </a:lnTo>
                    <a:lnTo>
                      <a:pt x="138" y="229"/>
                    </a:lnTo>
                    <a:lnTo>
                      <a:pt x="142" y="234"/>
                    </a:lnTo>
                    <a:lnTo>
                      <a:pt x="140" y="236"/>
                    </a:lnTo>
                    <a:lnTo>
                      <a:pt x="143" y="241"/>
                    </a:lnTo>
                    <a:lnTo>
                      <a:pt x="148" y="252"/>
                    </a:lnTo>
                    <a:lnTo>
                      <a:pt x="148" y="257"/>
                    </a:lnTo>
                    <a:lnTo>
                      <a:pt x="148" y="257"/>
                    </a:lnTo>
                    <a:lnTo>
                      <a:pt x="148" y="257"/>
                    </a:lnTo>
                    <a:close/>
                    <a:moveTo>
                      <a:pt x="117" y="6"/>
                    </a:moveTo>
                    <a:lnTo>
                      <a:pt x="120" y="6"/>
                    </a:lnTo>
                    <a:lnTo>
                      <a:pt x="125" y="11"/>
                    </a:lnTo>
                    <a:lnTo>
                      <a:pt x="125" y="15"/>
                    </a:lnTo>
                    <a:lnTo>
                      <a:pt x="122" y="11"/>
                    </a:lnTo>
                    <a:lnTo>
                      <a:pt x="118" y="10"/>
                    </a:lnTo>
                    <a:lnTo>
                      <a:pt x="117" y="6"/>
                    </a:lnTo>
                    <a:lnTo>
                      <a:pt x="117" y="6"/>
                    </a:lnTo>
                    <a:close/>
                    <a:moveTo>
                      <a:pt x="100" y="5"/>
                    </a:moveTo>
                    <a:lnTo>
                      <a:pt x="105" y="10"/>
                    </a:lnTo>
                    <a:lnTo>
                      <a:pt x="108" y="10"/>
                    </a:lnTo>
                    <a:lnTo>
                      <a:pt x="107" y="13"/>
                    </a:lnTo>
                    <a:lnTo>
                      <a:pt x="100" y="11"/>
                    </a:lnTo>
                    <a:lnTo>
                      <a:pt x="98" y="6"/>
                    </a:lnTo>
                    <a:lnTo>
                      <a:pt x="100" y="5"/>
                    </a:lnTo>
                    <a:lnTo>
                      <a:pt x="100" y="5"/>
                    </a:lnTo>
                    <a:close/>
                    <a:moveTo>
                      <a:pt x="77" y="0"/>
                    </a:moveTo>
                    <a:lnTo>
                      <a:pt x="80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77" y="0"/>
                    </a:lnTo>
                    <a:lnTo>
                      <a:pt x="77" y="0"/>
                    </a:lnTo>
                    <a:close/>
                    <a:moveTo>
                      <a:pt x="213" y="38"/>
                    </a:moveTo>
                    <a:lnTo>
                      <a:pt x="218" y="35"/>
                    </a:lnTo>
                    <a:lnTo>
                      <a:pt x="221" y="36"/>
                    </a:lnTo>
                    <a:lnTo>
                      <a:pt x="228" y="31"/>
                    </a:lnTo>
                    <a:lnTo>
                      <a:pt x="230" y="35"/>
                    </a:lnTo>
                    <a:lnTo>
                      <a:pt x="226" y="40"/>
                    </a:lnTo>
                    <a:lnTo>
                      <a:pt x="221" y="38"/>
                    </a:lnTo>
                    <a:lnTo>
                      <a:pt x="216" y="40"/>
                    </a:lnTo>
                    <a:lnTo>
                      <a:pt x="216" y="40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4" name="Freeform 168">
                <a:extLst>
                  <a:ext uri="{FF2B5EF4-FFF2-40B4-BE49-F238E27FC236}">
                    <a16:creationId xmlns:a16="http://schemas.microsoft.com/office/drawing/2014/main" id="{E634B51F-47E3-FE4D-B1C9-3F3B3E3E0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1489" y="3125489"/>
                <a:ext cx="156256" cy="195067"/>
              </a:xfrm>
              <a:custGeom>
                <a:avLst/>
                <a:gdLst/>
                <a:ahLst/>
                <a:cxnLst>
                  <a:cxn ang="0">
                    <a:pos x="235" y="307"/>
                  </a:cxn>
                  <a:cxn ang="0">
                    <a:pos x="232" y="269"/>
                  </a:cxn>
                  <a:cxn ang="0">
                    <a:pos x="235" y="258"/>
                  </a:cxn>
                  <a:cxn ang="0">
                    <a:pos x="255" y="241"/>
                  </a:cxn>
                  <a:cxn ang="0">
                    <a:pos x="277" y="236"/>
                  </a:cxn>
                  <a:cxn ang="0">
                    <a:pos x="290" y="254"/>
                  </a:cxn>
                  <a:cxn ang="0">
                    <a:pos x="280" y="226"/>
                  </a:cxn>
                  <a:cxn ang="0">
                    <a:pos x="272" y="221"/>
                  </a:cxn>
                  <a:cxn ang="0">
                    <a:pos x="270" y="188"/>
                  </a:cxn>
                  <a:cxn ang="0">
                    <a:pos x="274" y="161"/>
                  </a:cxn>
                  <a:cxn ang="0">
                    <a:pos x="280" y="141"/>
                  </a:cxn>
                  <a:cxn ang="0">
                    <a:pos x="260" y="140"/>
                  </a:cxn>
                  <a:cxn ang="0">
                    <a:pos x="244" y="138"/>
                  </a:cxn>
                  <a:cxn ang="0">
                    <a:pos x="201" y="121"/>
                  </a:cxn>
                  <a:cxn ang="0">
                    <a:pos x="177" y="121"/>
                  </a:cxn>
                  <a:cxn ang="0">
                    <a:pos x="162" y="108"/>
                  </a:cxn>
                  <a:cxn ang="0">
                    <a:pos x="149" y="75"/>
                  </a:cxn>
                  <a:cxn ang="0">
                    <a:pos x="146" y="58"/>
                  </a:cxn>
                  <a:cxn ang="0">
                    <a:pos x="162" y="32"/>
                  </a:cxn>
                  <a:cxn ang="0">
                    <a:pos x="189" y="13"/>
                  </a:cxn>
                  <a:cxn ang="0">
                    <a:pos x="194" y="5"/>
                  </a:cxn>
                  <a:cxn ang="0">
                    <a:pos x="176" y="5"/>
                  </a:cxn>
                  <a:cxn ang="0">
                    <a:pos x="167" y="12"/>
                  </a:cxn>
                  <a:cxn ang="0">
                    <a:pos x="139" y="25"/>
                  </a:cxn>
                  <a:cxn ang="0">
                    <a:pos x="121" y="33"/>
                  </a:cxn>
                  <a:cxn ang="0">
                    <a:pos x="114" y="35"/>
                  </a:cxn>
                  <a:cxn ang="0">
                    <a:pos x="96" y="35"/>
                  </a:cxn>
                  <a:cxn ang="0">
                    <a:pos x="83" y="57"/>
                  </a:cxn>
                  <a:cxn ang="0">
                    <a:pos x="76" y="68"/>
                  </a:cxn>
                  <a:cxn ang="0">
                    <a:pos x="56" y="83"/>
                  </a:cxn>
                  <a:cxn ang="0">
                    <a:pos x="54" y="103"/>
                  </a:cxn>
                  <a:cxn ang="0">
                    <a:pos x="46" y="93"/>
                  </a:cxn>
                  <a:cxn ang="0">
                    <a:pos x="41" y="96"/>
                  </a:cxn>
                  <a:cxn ang="0">
                    <a:pos x="28" y="116"/>
                  </a:cxn>
                  <a:cxn ang="0">
                    <a:pos x="36" y="133"/>
                  </a:cxn>
                  <a:cxn ang="0">
                    <a:pos x="38" y="143"/>
                  </a:cxn>
                  <a:cxn ang="0">
                    <a:pos x="38" y="158"/>
                  </a:cxn>
                  <a:cxn ang="0">
                    <a:pos x="36" y="186"/>
                  </a:cxn>
                  <a:cxn ang="0">
                    <a:pos x="48" y="194"/>
                  </a:cxn>
                  <a:cxn ang="0">
                    <a:pos x="31" y="216"/>
                  </a:cxn>
                  <a:cxn ang="0">
                    <a:pos x="1" y="246"/>
                  </a:cxn>
                  <a:cxn ang="0">
                    <a:pos x="29" y="264"/>
                  </a:cxn>
                  <a:cxn ang="0">
                    <a:pos x="51" y="279"/>
                  </a:cxn>
                  <a:cxn ang="0">
                    <a:pos x="68" y="273"/>
                  </a:cxn>
                  <a:cxn ang="0">
                    <a:pos x="86" y="283"/>
                  </a:cxn>
                  <a:cxn ang="0">
                    <a:pos x="104" y="288"/>
                  </a:cxn>
                  <a:cxn ang="0">
                    <a:pos x="119" y="307"/>
                  </a:cxn>
                  <a:cxn ang="0">
                    <a:pos x="141" y="324"/>
                  </a:cxn>
                  <a:cxn ang="0">
                    <a:pos x="152" y="336"/>
                  </a:cxn>
                  <a:cxn ang="0">
                    <a:pos x="181" y="332"/>
                  </a:cxn>
                  <a:cxn ang="0">
                    <a:pos x="204" y="334"/>
                  </a:cxn>
                  <a:cxn ang="0">
                    <a:pos x="201" y="366"/>
                  </a:cxn>
                  <a:cxn ang="0">
                    <a:pos x="217" y="376"/>
                  </a:cxn>
                </a:cxnLst>
                <a:rect l="0" t="0" r="r" b="b"/>
                <a:pathLst>
                  <a:path w="290" h="376">
                    <a:moveTo>
                      <a:pt x="217" y="376"/>
                    </a:moveTo>
                    <a:lnTo>
                      <a:pt x="222" y="364"/>
                    </a:lnTo>
                    <a:lnTo>
                      <a:pt x="235" y="317"/>
                    </a:lnTo>
                    <a:lnTo>
                      <a:pt x="235" y="314"/>
                    </a:lnTo>
                    <a:lnTo>
                      <a:pt x="235" y="307"/>
                    </a:lnTo>
                    <a:lnTo>
                      <a:pt x="230" y="297"/>
                    </a:lnTo>
                    <a:lnTo>
                      <a:pt x="220" y="291"/>
                    </a:lnTo>
                    <a:lnTo>
                      <a:pt x="217" y="286"/>
                    </a:lnTo>
                    <a:lnTo>
                      <a:pt x="215" y="274"/>
                    </a:lnTo>
                    <a:lnTo>
                      <a:pt x="232" y="269"/>
                    </a:lnTo>
                    <a:lnTo>
                      <a:pt x="237" y="273"/>
                    </a:lnTo>
                    <a:lnTo>
                      <a:pt x="239" y="269"/>
                    </a:lnTo>
                    <a:lnTo>
                      <a:pt x="235" y="266"/>
                    </a:lnTo>
                    <a:lnTo>
                      <a:pt x="239" y="264"/>
                    </a:lnTo>
                    <a:lnTo>
                      <a:pt x="235" y="258"/>
                    </a:lnTo>
                    <a:lnTo>
                      <a:pt x="225" y="256"/>
                    </a:lnTo>
                    <a:lnTo>
                      <a:pt x="224" y="251"/>
                    </a:lnTo>
                    <a:lnTo>
                      <a:pt x="225" y="243"/>
                    </a:lnTo>
                    <a:lnTo>
                      <a:pt x="252" y="243"/>
                    </a:lnTo>
                    <a:lnTo>
                      <a:pt x="255" y="241"/>
                    </a:lnTo>
                    <a:lnTo>
                      <a:pt x="260" y="241"/>
                    </a:lnTo>
                    <a:lnTo>
                      <a:pt x="264" y="243"/>
                    </a:lnTo>
                    <a:lnTo>
                      <a:pt x="267" y="243"/>
                    </a:lnTo>
                    <a:lnTo>
                      <a:pt x="270" y="238"/>
                    </a:lnTo>
                    <a:lnTo>
                      <a:pt x="277" y="236"/>
                    </a:lnTo>
                    <a:lnTo>
                      <a:pt x="279" y="239"/>
                    </a:lnTo>
                    <a:lnTo>
                      <a:pt x="284" y="243"/>
                    </a:lnTo>
                    <a:lnTo>
                      <a:pt x="284" y="248"/>
                    </a:lnTo>
                    <a:lnTo>
                      <a:pt x="284" y="254"/>
                    </a:lnTo>
                    <a:lnTo>
                      <a:pt x="290" y="254"/>
                    </a:lnTo>
                    <a:lnTo>
                      <a:pt x="290" y="249"/>
                    </a:lnTo>
                    <a:lnTo>
                      <a:pt x="285" y="238"/>
                    </a:lnTo>
                    <a:lnTo>
                      <a:pt x="282" y="233"/>
                    </a:lnTo>
                    <a:lnTo>
                      <a:pt x="284" y="231"/>
                    </a:lnTo>
                    <a:lnTo>
                      <a:pt x="280" y="226"/>
                    </a:lnTo>
                    <a:lnTo>
                      <a:pt x="279" y="224"/>
                    </a:lnTo>
                    <a:lnTo>
                      <a:pt x="277" y="221"/>
                    </a:lnTo>
                    <a:lnTo>
                      <a:pt x="277" y="219"/>
                    </a:lnTo>
                    <a:lnTo>
                      <a:pt x="274" y="221"/>
                    </a:lnTo>
                    <a:lnTo>
                      <a:pt x="272" y="221"/>
                    </a:lnTo>
                    <a:lnTo>
                      <a:pt x="270" y="218"/>
                    </a:lnTo>
                    <a:lnTo>
                      <a:pt x="279" y="204"/>
                    </a:lnTo>
                    <a:lnTo>
                      <a:pt x="274" y="193"/>
                    </a:lnTo>
                    <a:lnTo>
                      <a:pt x="274" y="191"/>
                    </a:lnTo>
                    <a:lnTo>
                      <a:pt x="270" y="188"/>
                    </a:lnTo>
                    <a:lnTo>
                      <a:pt x="270" y="180"/>
                    </a:lnTo>
                    <a:lnTo>
                      <a:pt x="272" y="175"/>
                    </a:lnTo>
                    <a:lnTo>
                      <a:pt x="272" y="171"/>
                    </a:lnTo>
                    <a:lnTo>
                      <a:pt x="270" y="165"/>
                    </a:lnTo>
                    <a:lnTo>
                      <a:pt x="274" y="161"/>
                    </a:lnTo>
                    <a:lnTo>
                      <a:pt x="279" y="160"/>
                    </a:lnTo>
                    <a:lnTo>
                      <a:pt x="280" y="156"/>
                    </a:lnTo>
                    <a:lnTo>
                      <a:pt x="280" y="153"/>
                    </a:lnTo>
                    <a:lnTo>
                      <a:pt x="282" y="150"/>
                    </a:lnTo>
                    <a:lnTo>
                      <a:pt x="280" y="141"/>
                    </a:lnTo>
                    <a:lnTo>
                      <a:pt x="277" y="140"/>
                    </a:lnTo>
                    <a:lnTo>
                      <a:pt x="274" y="140"/>
                    </a:lnTo>
                    <a:lnTo>
                      <a:pt x="272" y="141"/>
                    </a:lnTo>
                    <a:lnTo>
                      <a:pt x="265" y="140"/>
                    </a:lnTo>
                    <a:lnTo>
                      <a:pt x="260" y="140"/>
                    </a:lnTo>
                    <a:lnTo>
                      <a:pt x="255" y="143"/>
                    </a:lnTo>
                    <a:lnTo>
                      <a:pt x="252" y="141"/>
                    </a:lnTo>
                    <a:lnTo>
                      <a:pt x="247" y="140"/>
                    </a:lnTo>
                    <a:lnTo>
                      <a:pt x="245" y="140"/>
                    </a:lnTo>
                    <a:lnTo>
                      <a:pt x="244" y="138"/>
                    </a:lnTo>
                    <a:lnTo>
                      <a:pt x="237" y="140"/>
                    </a:lnTo>
                    <a:lnTo>
                      <a:pt x="219" y="123"/>
                    </a:lnTo>
                    <a:lnTo>
                      <a:pt x="215" y="121"/>
                    </a:lnTo>
                    <a:lnTo>
                      <a:pt x="207" y="121"/>
                    </a:lnTo>
                    <a:lnTo>
                      <a:pt x="201" y="121"/>
                    </a:lnTo>
                    <a:lnTo>
                      <a:pt x="199" y="123"/>
                    </a:lnTo>
                    <a:lnTo>
                      <a:pt x="192" y="121"/>
                    </a:lnTo>
                    <a:lnTo>
                      <a:pt x="186" y="121"/>
                    </a:lnTo>
                    <a:lnTo>
                      <a:pt x="182" y="123"/>
                    </a:lnTo>
                    <a:lnTo>
                      <a:pt x="177" y="121"/>
                    </a:lnTo>
                    <a:lnTo>
                      <a:pt x="172" y="120"/>
                    </a:lnTo>
                    <a:lnTo>
                      <a:pt x="166" y="118"/>
                    </a:lnTo>
                    <a:lnTo>
                      <a:pt x="161" y="113"/>
                    </a:lnTo>
                    <a:lnTo>
                      <a:pt x="161" y="110"/>
                    </a:lnTo>
                    <a:lnTo>
                      <a:pt x="162" y="108"/>
                    </a:lnTo>
                    <a:lnTo>
                      <a:pt x="162" y="105"/>
                    </a:lnTo>
                    <a:lnTo>
                      <a:pt x="164" y="100"/>
                    </a:lnTo>
                    <a:lnTo>
                      <a:pt x="162" y="96"/>
                    </a:lnTo>
                    <a:lnTo>
                      <a:pt x="159" y="90"/>
                    </a:lnTo>
                    <a:lnTo>
                      <a:pt x="149" y="75"/>
                    </a:lnTo>
                    <a:lnTo>
                      <a:pt x="144" y="75"/>
                    </a:lnTo>
                    <a:lnTo>
                      <a:pt x="142" y="75"/>
                    </a:lnTo>
                    <a:lnTo>
                      <a:pt x="142" y="72"/>
                    </a:lnTo>
                    <a:lnTo>
                      <a:pt x="146" y="65"/>
                    </a:lnTo>
                    <a:lnTo>
                      <a:pt x="146" y="58"/>
                    </a:lnTo>
                    <a:lnTo>
                      <a:pt x="146" y="55"/>
                    </a:lnTo>
                    <a:lnTo>
                      <a:pt x="146" y="50"/>
                    </a:lnTo>
                    <a:lnTo>
                      <a:pt x="154" y="40"/>
                    </a:lnTo>
                    <a:lnTo>
                      <a:pt x="157" y="37"/>
                    </a:lnTo>
                    <a:lnTo>
                      <a:pt x="162" y="32"/>
                    </a:lnTo>
                    <a:lnTo>
                      <a:pt x="166" y="30"/>
                    </a:lnTo>
                    <a:lnTo>
                      <a:pt x="167" y="28"/>
                    </a:lnTo>
                    <a:lnTo>
                      <a:pt x="176" y="18"/>
                    </a:lnTo>
                    <a:lnTo>
                      <a:pt x="187" y="13"/>
                    </a:lnTo>
                    <a:lnTo>
                      <a:pt x="189" y="13"/>
                    </a:lnTo>
                    <a:lnTo>
                      <a:pt x="192" y="13"/>
                    </a:lnTo>
                    <a:lnTo>
                      <a:pt x="192" y="12"/>
                    </a:lnTo>
                    <a:lnTo>
                      <a:pt x="196" y="10"/>
                    </a:lnTo>
                    <a:lnTo>
                      <a:pt x="196" y="8"/>
                    </a:lnTo>
                    <a:lnTo>
                      <a:pt x="194" y="5"/>
                    </a:lnTo>
                    <a:lnTo>
                      <a:pt x="184" y="0"/>
                    </a:lnTo>
                    <a:lnTo>
                      <a:pt x="181" y="0"/>
                    </a:lnTo>
                    <a:lnTo>
                      <a:pt x="181" y="2"/>
                    </a:lnTo>
                    <a:lnTo>
                      <a:pt x="179" y="3"/>
                    </a:lnTo>
                    <a:lnTo>
                      <a:pt x="176" y="5"/>
                    </a:lnTo>
                    <a:lnTo>
                      <a:pt x="174" y="7"/>
                    </a:lnTo>
                    <a:lnTo>
                      <a:pt x="171" y="5"/>
                    </a:lnTo>
                    <a:lnTo>
                      <a:pt x="167" y="7"/>
                    </a:lnTo>
                    <a:lnTo>
                      <a:pt x="164" y="8"/>
                    </a:lnTo>
                    <a:lnTo>
                      <a:pt x="167" y="12"/>
                    </a:lnTo>
                    <a:lnTo>
                      <a:pt x="166" y="13"/>
                    </a:lnTo>
                    <a:lnTo>
                      <a:pt x="159" y="17"/>
                    </a:lnTo>
                    <a:lnTo>
                      <a:pt x="151" y="20"/>
                    </a:lnTo>
                    <a:lnTo>
                      <a:pt x="144" y="25"/>
                    </a:lnTo>
                    <a:lnTo>
                      <a:pt x="139" y="25"/>
                    </a:lnTo>
                    <a:lnTo>
                      <a:pt x="131" y="27"/>
                    </a:lnTo>
                    <a:lnTo>
                      <a:pt x="124" y="25"/>
                    </a:lnTo>
                    <a:lnTo>
                      <a:pt x="119" y="28"/>
                    </a:lnTo>
                    <a:lnTo>
                      <a:pt x="119" y="30"/>
                    </a:lnTo>
                    <a:lnTo>
                      <a:pt x="121" y="33"/>
                    </a:lnTo>
                    <a:lnTo>
                      <a:pt x="119" y="37"/>
                    </a:lnTo>
                    <a:lnTo>
                      <a:pt x="116" y="40"/>
                    </a:lnTo>
                    <a:lnTo>
                      <a:pt x="114" y="40"/>
                    </a:lnTo>
                    <a:lnTo>
                      <a:pt x="114" y="35"/>
                    </a:lnTo>
                    <a:lnTo>
                      <a:pt x="114" y="35"/>
                    </a:lnTo>
                    <a:lnTo>
                      <a:pt x="117" y="33"/>
                    </a:lnTo>
                    <a:lnTo>
                      <a:pt x="113" y="33"/>
                    </a:lnTo>
                    <a:lnTo>
                      <a:pt x="106" y="30"/>
                    </a:lnTo>
                    <a:lnTo>
                      <a:pt x="103" y="32"/>
                    </a:lnTo>
                    <a:lnTo>
                      <a:pt x="96" y="35"/>
                    </a:lnTo>
                    <a:lnTo>
                      <a:pt x="93" y="38"/>
                    </a:lnTo>
                    <a:lnTo>
                      <a:pt x="88" y="43"/>
                    </a:lnTo>
                    <a:lnTo>
                      <a:pt x="81" y="55"/>
                    </a:lnTo>
                    <a:lnTo>
                      <a:pt x="81" y="58"/>
                    </a:lnTo>
                    <a:lnTo>
                      <a:pt x="83" y="57"/>
                    </a:lnTo>
                    <a:lnTo>
                      <a:pt x="84" y="60"/>
                    </a:lnTo>
                    <a:lnTo>
                      <a:pt x="84" y="63"/>
                    </a:lnTo>
                    <a:lnTo>
                      <a:pt x="84" y="67"/>
                    </a:lnTo>
                    <a:lnTo>
                      <a:pt x="81" y="68"/>
                    </a:lnTo>
                    <a:lnTo>
                      <a:pt x="76" y="68"/>
                    </a:lnTo>
                    <a:lnTo>
                      <a:pt x="73" y="70"/>
                    </a:lnTo>
                    <a:lnTo>
                      <a:pt x="66" y="77"/>
                    </a:lnTo>
                    <a:lnTo>
                      <a:pt x="63" y="77"/>
                    </a:lnTo>
                    <a:lnTo>
                      <a:pt x="58" y="83"/>
                    </a:lnTo>
                    <a:lnTo>
                      <a:pt x="56" y="83"/>
                    </a:lnTo>
                    <a:lnTo>
                      <a:pt x="51" y="83"/>
                    </a:lnTo>
                    <a:lnTo>
                      <a:pt x="53" y="88"/>
                    </a:lnTo>
                    <a:lnTo>
                      <a:pt x="58" y="92"/>
                    </a:lnTo>
                    <a:lnTo>
                      <a:pt x="58" y="98"/>
                    </a:lnTo>
                    <a:lnTo>
                      <a:pt x="54" y="103"/>
                    </a:lnTo>
                    <a:lnTo>
                      <a:pt x="53" y="101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9" y="95"/>
                    </a:lnTo>
                    <a:lnTo>
                      <a:pt x="46" y="93"/>
                    </a:lnTo>
                    <a:lnTo>
                      <a:pt x="44" y="90"/>
                    </a:lnTo>
                    <a:lnTo>
                      <a:pt x="39" y="85"/>
                    </a:lnTo>
                    <a:lnTo>
                      <a:pt x="38" y="88"/>
                    </a:lnTo>
                    <a:lnTo>
                      <a:pt x="39" y="92"/>
                    </a:lnTo>
                    <a:lnTo>
                      <a:pt x="41" y="96"/>
                    </a:lnTo>
                    <a:lnTo>
                      <a:pt x="38" y="103"/>
                    </a:lnTo>
                    <a:lnTo>
                      <a:pt x="36" y="108"/>
                    </a:lnTo>
                    <a:lnTo>
                      <a:pt x="33" y="110"/>
                    </a:lnTo>
                    <a:lnTo>
                      <a:pt x="31" y="110"/>
                    </a:lnTo>
                    <a:lnTo>
                      <a:pt x="28" y="116"/>
                    </a:lnTo>
                    <a:lnTo>
                      <a:pt x="29" y="118"/>
                    </a:lnTo>
                    <a:lnTo>
                      <a:pt x="29" y="123"/>
                    </a:lnTo>
                    <a:lnTo>
                      <a:pt x="29" y="128"/>
                    </a:lnTo>
                    <a:lnTo>
                      <a:pt x="34" y="133"/>
                    </a:lnTo>
                    <a:lnTo>
                      <a:pt x="36" y="133"/>
                    </a:lnTo>
                    <a:lnTo>
                      <a:pt x="39" y="131"/>
                    </a:lnTo>
                    <a:lnTo>
                      <a:pt x="41" y="135"/>
                    </a:lnTo>
                    <a:lnTo>
                      <a:pt x="41" y="138"/>
                    </a:lnTo>
                    <a:lnTo>
                      <a:pt x="38" y="141"/>
                    </a:lnTo>
                    <a:lnTo>
                      <a:pt x="38" y="143"/>
                    </a:lnTo>
                    <a:lnTo>
                      <a:pt x="41" y="146"/>
                    </a:lnTo>
                    <a:lnTo>
                      <a:pt x="41" y="153"/>
                    </a:lnTo>
                    <a:lnTo>
                      <a:pt x="38" y="155"/>
                    </a:lnTo>
                    <a:lnTo>
                      <a:pt x="36" y="158"/>
                    </a:lnTo>
                    <a:lnTo>
                      <a:pt x="38" y="158"/>
                    </a:lnTo>
                    <a:lnTo>
                      <a:pt x="39" y="163"/>
                    </a:lnTo>
                    <a:lnTo>
                      <a:pt x="39" y="170"/>
                    </a:lnTo>
                    <a:lnTo>
                      <a:pt x="39" y="180"/>
                    </a:lnTo>
                    <a:lnTo>
                      <a:pt x="36" y="185"/>
                    </a:lnTo>
                    <a:lnTo>
                      <a:pt x="36" y="186"/>
                    </a:lnTo>
                    <a:lnTo>
                      <a:pt x="38" y="191"/>
                    </a:lnTo>
                    <a:lnTo>
                      <a:pt x="43" y="190"/>
                    </a:lnTo>
                    <a:lnTo>
                      <a:pt x="43" y="191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8" y="196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34" y="213"/>
                    </a:lnTo>
                    <a:lnTo>
                      <a:pt x="31" y="216"/>
                    </a:lnTo>
                    <a:lnTo>
                      <a:pt x="24" y="223"/>
                    </a:lnTo>
                    <a:lnTo>
                      <a:pt x="16" y="224"/>
                    </a:lnTo>
                    <a:lnTo>
                      <a:pt x="8" y="229"/>
                    </a:lnTo>
                    <a:lnTo>
                      <a:pt x="1" y="238"/>
                    </a:lnTo>
                    <a:lnTo>
                      <a:pt x="1" y="246"/>
                    </a:lnTo>
                    <a:lnTo>
                      <a:pt x="0" y="249"/>
                    </a:lnTo>
                    <a:lnTo>
                      <a:pt x="6" y="253"/>
                    </a:lnTo>
                    <a:lnTo>
                      <a:pt x="14" y="258"/>
                    </a:lnTo>
                    <a:lnTo>
                      <a:pt x="26" y="264"/>
                    </a:lnTo>
                    <a:lnTo>
                      <a:pt x="29" y="264"/>
                    </a:lnTo>
                    <a:lnTo>
                      <a:pt x="36" y="269"/>
                    </a:lnTo>
                    <a:lnTo>
                      <a:pt x="34" y="273"/>
                    </a:lnTo>
                    <a:lnTo>
                      <a:pt x="36" y="276"/>
                    </a:lnTo>
                    <a:lnTo>
                      <a:pt x="43" y="276"/>
                    </a:lnTo>
                    <a:lnTo>
                      <a:pt x="51" y="279"/>
                    </a:lnTo>
                    <a:lnTo>
                      <a:pt x="54" y="281"/>
                    </a:lnTo>
                    <a:lnTo>
                      <a:pt x="63" y="283"/>
                    </a:lnTo>
                    <a:lnTo>
                      <a:pt x="64" y="281"/>
                    </a:lnTo>
                    <a:lnTo>
                      <a:pt x="64" y="276"/>
                    </a:lnTo>
                    <a:lnTo>
                      <a:pt x="68" y="273"/>
                    </a:lnTo>
                    <a:lnTo>
                      <a:pt x="69" y="273"/>
                    </a:lnTo>
                    <a:lnTo>
                      <a:pt x="78" y="276"/>
                    </a:lnTo>
                    <a:lnTo>
                      <a:pt x="81" y="278"/>
                    </a:lnTo>
                    <a:lnTo>
                      <a:pt x="83" y="281"/>
                    </a:lnTo>
                    <a:lnTo>
                      <a:pt x="86" y="283"/>
                    </a:lnTo>
                    <a:lnTo>
                      <a:pt x="86" y="283"/>
                    </a:lnTo>
                    <a:lnTo>
                      <a:pt x="88" y="283"/>
                    </a:lnTo>
                    <a:lnTo>
                      <a:pt x="91" y="284"/>
                    </a:lnTo>
                    <a:lnTo>
                      <a:pt x="99" y="288"/>
                    </a:lnTo>
                    <a:lnTo>
                      <a:pt x="104" y="288"/>
                    </a:lnTo>
                    <a:lnTo>
                      <a:pt x="106" y="291"/>
                    </a:lnTo>
                    <a:lnTo>
                      <a:pt x="113" y="296"/>
                    </a:lnTo>
                    <a:lnTo>
                      <a:pt x="113" y="301"/>
                    </a:lnTo>
                    <a:lnTo>
                      <a:pt x="116" y="307"/>
                    </a:lnTo>
                    <a:lnTo>
                      <a:pt x="119" y="307"/>
                    </a:lnTo>
                    <a:lnTo>
                      <a:pt x="131" y="311"/>
                    </a:lnTo>
                    <a:lnTo>
                      <a:pt x="136" y="317"/>
                    </a:lnTo>
                    <a:lnTo>
                      <a:pt x="136" y="322"/>
                    </a:lnTo>
                    <a:lnTo>
                      <a:pt x="137" y="322"/>
                    </a:lnTo>
                    <a:lnTo>
                      <a:pt x="141" y="324"/>
                    </a:lnTo>
                    <a:lnTo>
                      <a:pt x="144" y="331"/>
                    </a:lnTo>
                    <a:lnTo>
                      <a:pt x="142" y="332"/>
                    </a:lnTo>
                    <a:lnTo>
                      <a:pt x="144" y="336"/>
                    </a:lnTo>
                    <a:lnTo>
                      <a:pt x="147" y="337"/>
                    </a:lnTo>
                    <a:lnTo>
                      <a:pt x="152" y="336"/>
                    </a:lnTo>
                    <a:lnTo>
                      <a:pt x="157" y="337"/>
                    </a:lnTo>
                    <a:lnTo>
                      <a:pt x="162" y="337"/>
                    </a:lnTo>
                    <a:lnTo>
                      <a:pt x="166" y="336"/>
                    </a:lnTo>
                    <a:lnTo>
                      <a:pt x="174" y="332"/>
                    </a:lnTo>
                    <a:lnTo>
                      <a:pt x="181" y="332"/>
                    </a:lnTo>
                    <a:lnTo>
                      <a:pt x="186" y="336"/>
                    </a:lnTo>
                    <a:lnTo>
                      <a:pt x="194" y="332"/>
                    </a:lnTo>
                    <a:lnTo>
                      <a:pt x="199" y="332"/>
                    </a:lnTo>
                    <a:lnTo>
                      <a:pt x="201" y="334"/>
                    </a:lnTo>
                    <a:lnTo>
                      <a:pt x="204" y="334"/>
                    </a:lnTo>
                    <a:lnTo>
                      <a:pt x="209" y="337"/>
                    </a:lnTo>
                    <a:lnTo>
                      <a:pt x="211" y="339"/>
                    </a:lnTo>
                    <a:lnTo>
                      <a:pt x="215" y="339"/>
                    </a:lnTo>
                    <a:lnTo>
                      <a:pt x="215" y="341"/>
                    </a:lnTo>
                    <a:lnTo>
                      <a:pt x="201" y="366"/>
                    </a:lnTo>
                    <a:lnTo>
                      <a:pt x="201" y="367"/>
                    </a:lnTo>
                    <a:lnTo>
                      <a:pt x="207" y="367"/>
                    </a:lnTo>
                    <a:lnTo>
                      <a:pt x="212" y="367"/>
                    </a:lnTo>
                    <a:lnTo>
                      <a:pt x="217" y="371"/>
                    </a:lnTo>
                    <a:lnTo>
                      <a:pt x="217" y="3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5" name="Freeform 169">
                <a:extLst>
                  <a:ext uri="{FF2B5EF4-FFF2-40B4-BE49-F238E27FC236}">
                    <a16:creationId xmlns:a16="http://schemas.microsoft.com/office/drawing/2014/main" id="{F6F83412-D3AB-BD4F-BD75-1C612AAFBE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4733" y="3255188"/>
                <a:ext cx="77058" cy="73669"/>
              </a:xfrm>
              <a:custGeom>
                <a:avLst/>
                <a:gdLst/>
                <a:ahLst/>
                <a:cxnLst>
                  <a:cxn ang="0">
                    <a:pos x="138" y="34"/>
                  </a:cxn>
                  <a:cxn ang="0">
                    <a:pos x="133" y="29"/>
                  </a:cxn>
                  <a:cxn ang="0">
                    <a:pos x="121" y="24"/>
                  </a:cxn>
                  <a:cxn ang="0">
                    <a:pos x="116" y="27"/>
                  </a:cxn>
                  <a:cxn ang="0">
                    <a:pos x="115" y="34"/>
                  </a:cxn>
                  <a:cxn ang="0">
                    <a:pos x="103" y="30"/>
                  </a:cxn>
                  <a:cxn ang="0">
                    <a:pos x="88" y="27"/>
                  </a:cxn>
                  <a:cxn ang="0">
                    <a:pos x="88" y="20"/>
                  </a:cxn>
                  <a:cxn ang="0">
                    <a:pos x="78" y="15"/>
                  </a:cxn>
                  <a:cxn ang="0">
                    <a:pos x="58" y="4"/>
                  </a:cxn>
                  <a:cxn ang="0">
                    <a:pos x="50" y="5"/>
                  </a:cxn>
                  <a:cxn ang="0">
                    <a:pos x="32" y="14"/>
                  </a:cxn>
                  <a:cxn ang="0">
                    <a:pos x="20" y="17"/>
                  </a:cxn>
                  <a:cxn ang="0">
                    <a:pos x="23" y="25"/>
                  </a:cxn>
                  <a:cxn ang="0">
                    <a:pos x="23" y="34"/>
                  </a:cxn>
                  <a:cxn ang="0">
                    <a:pos x="13" y="47"/>
                  </a:cxn>
                  <a:cxn ang="0">
                    <a:pos x="12" y="55"/>
                  </a:cxn>
                  <a:cxn ang="0">
                    <a:pos x="2" y="62"/>
                  </a:cxn>
                  <a:cxn ang="0">
                    <a:pos x="5" y="68"/>
                  </a:cxn>
                  <a:cxn ang="0">
                    <a:pos x="7" y="78"/>
                  </a:cxn>
                  <a:cxn ang="0">
                    <a:pos x="0" y="85"/>
                  </a:cxn>
                  <a:cxn ang="0">
                    <a:pos x="8" y="90"/>
                  </a:cxn>
                  <a:cxn ang="0">
                    <a:pos x="18" y="97"/>
                  </a:cxn>
                  <a:cxn ang="0">
                    <a:pos x="22" y="92"/>
                  </a:cxn>
                  <a:cxn ang="0">
                    <a:pos x="27" y="85"/>
                  </a:cxn>
                  <a:cxn ang="0">
                    <a:pos x="28" y="92"/>
                  </a:cxn>
                  <a:cxn ang="0">
                    <a:pos x="28" y="87"/>
                  </a:cxn>
                  <a:cxn ang="0">
                    <a:pos x="32" y="93"/>
                  </a:cxn>
                  <a:cxn ang="0">
                    <a:pos x="30" y="102"/>
                  </a:cxn>
                  <a:cxn ang="0">
                    <a:pos x="22" y="113"/>
                  </a:cxn>
                  <a:cxn ang="0">
                    <a:pos x="27" y="120"/>
                  </a:cxn>
                  <a:cxn ang="0">
                    <a:pos x="17" y="127"/>
                  </a:cxn>
                  <a:cxn ang="0">
                    <a:pos x="23" y="130"/>
                  </a:cxn>
                  <a:cxn ang="0">
                    <a:pos x="30" y="132"/>
                  </a:cxn>
                  <a:cxn ang="0">
                    <a:pos x="42" y="135"/>
                  </a:cxn>
                  <a:cxn ang="0">
                    <a:pos x="52" y="143"/>
                  </a:cxn>
                  <a:cxn ang="0">
                    <a:pos x="76" y="103"/>
                  </a:cxn>
                  <a:cxn ang="0">
                    <a:pos x="105" y="93"/>
                  </a:cxn>
                  <a:cxn ang="0">
                    <a:pos x="131" y="73"/>
                  </a:cxn>
                  <a:cxn ang="0">
                    <a:pos x="143" y="58"/>
                  </a:cxn>
                  <a:cxn ang="0">
                    <a:pos x="145" y="52"/>
                  </a:cxn>
                  <a:cxn ang="0">
                    <a:pos x="140" y="39"/>
                  </a:cxn>
                  <a:cxn ang="0">
                    <a:pos x="138" y="34"/>
                  </a:cxn>
                  <a:cxn ang="0">
                    <a:pos x="138" y="34"/>
                  </a:cxn>
                  <a:cxn ang="0">
                    <a:pos x="18" y="103"/>
                  </a:cxn>
                  <a:cxn ang="0">
                    <a:pos x="25" y="95"/>
                  </a:cxn>
                  <a:cxn ang="0">
                    <a:pos x="23" y="100"/>
                  </a:cxn>
                  <a:cxn ang="0">
                    <a:pos x="22" y="105"/>
                  </a:cxn>
                  <a:cxn ang="0">
                    <a:pos x="18" y="103"/>
                  </a:cxn>
                </a:cxnLst>
                <a:rect l="0" t="0" r="r" b="b"/>
                <a:pathLst>
                  <a:path w="145" h="143">
                    <a:moveTo>
                      <a:pt x="138" y="34"/>
                    </a:moveTo>
                    <a:lnTo>
                      <a:pt x="138" y="34"/>
                    </a:lnTo>
                    <a:lnTo>
                      <a:pt x="135" y="32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1" y="24"/>
                    </a:lnTo>
                    <a:lnTo>
                      <a:pt x="120" y="24"/>
                    </a:lnTo>
                    <a:lnTo>
                      <a:pt x="116" y="27"/>
                    </a:lnTo>
                    <a:lnTo>
                      <a:pt x="116" y="32"/>
                    </a:lnTo>
                    <a:lnTo>
                      <a:pt x="115" y="34"/>
                    </a:lnTo>
                    <a:lnTo>
                      <a:pt x="106" y="32"/>
                    </a:lnTo>
                    <a:lnTo>
                      <a:pt x="103" y="30"/>
                    </a:lnTo>
                    <a:lnTo>
                      <a:pt x="95" y="27"/>
                    </a:lnTo>
                    <a:lnTo>
                      <a:pt x="88" y="27"/>
                    </a:lnTo>
                    <a:lnTo>
                      <a:pt x="86" y="24"/>
                    </a:lnTo>
                    <a:lnTo>
                      <a:pt x="88" y="20"/>
                    </a:lnTo>
                    <a:lnTo>
                      <a:pt x="81" y="15"/>
                    </a:lnTo>
                    <a:lnTo>
                      <a:pt x="78" y="15"/>
                    </a:lnTo>
                    <a:lnTo>
                      <a:pt x="66" y="9"/>
                    </a:lnTo>
                    <a:lnTo>
                      <a:pt x="58" y="4"/>
                    </a:lnTo>
                    <a:lnTo>
                      <a:pt x="52" y="0"/>
                    </a:lnTo>
                    <a:lnTo>
                      <a:pt x="50" y="5"/>
                    </a:lnTo>
                    <a:lnTo>
                      <a:pt x="43" y="7"/>
                    </a:lnTo>
                    <a:lnTo>
                      <a:pt x="32" y="14"/>
                    </a:lnTo>
                    <a:lnTo>
                      <a:pt x="27" y="14"/>
                    </a:lnTo>
                    <a:lnTo>
                      <a:pt x="20" y="17"/>
                    </a:lnTo>
                    <a:lnTo>
                      <a:pt x="23" y="22"/>
                    </a:lnTo>
                    <a:lnTo>
                      <a:pt x="23" y="25"/>
                    </a:lnTo>
                    <a:lnTo>
                      <a:pt x="25" y="29"/>
                    </a:lnTo>
                    <a:lnTo>
                      <a:pt x="23" y="34"/>
                    </a:lnTo>
                    <a:lnTo>
                      <a:pt x="15" y="43"/>
                    </a:lnTo>
                    <a:lnTo>
                      <a:pt x="13" y="47"/>
                    </a:lnTo>
                    <a:lnTo>
                      <a:pt x="17" y="48"/>
                    </a:lnTo>
                    <a:lnTo>
                      <a:pt x="12" y="55"/>
                    </a:lnTo>
                    <a:lnTo>
                      <a:pt x="7" y="55"/>
                    </a:lnTo>
                    <a:lnTo>
                      <a:pt x="2" y="62"/>
                    </a:lnTo>
                    <a:lnTo>
                      <a:pt x="3" y="65"/>
                    </a:lnTo>
                    <a:lnTo>
                      <a:pt x="5" y="68"/>
                    </a:lnTo>
                    <a:lnTo>
                      <a:pt x="5" y="73"/>
                    </a:lnTo>
                    <a:lnTo>
                      <a:pt x="7" y="78"/>
                    </a:lnTo>
                    <a:lnTo>
                      <a:pt x="3" y="83"/>
                    </a:lnTo>
                    <a:lnTo>
                      <a:pt x="0" y="85"/>
                    </a:lnTo>
                    <a:lnTo>
                      <a:pt x="3" y="88"/>
                    </a:lnTo>
                    <a:lnTo>
                      <a:pt x="8" y="90"/>
                    </a:lnTo>
                    <a:lnTo>
                      <a:pt x="13" y="95"/>
                    </a:lnTo>
                    <a:lnTo>
                      <a:pt x="18" y="97"/>
                    </a:lnTo>
                    <a:lnTo>
                      <a:pt x="20" y="97"/>
                    </a:lnTo>
                    <a:lnTo>
                      <a:pt x="22" y="92"/>
                    </a:lnTo>
                    <a:lnTo>
                      <a:pt x="23" y="88"/>
                    </a:lnTo>
                    <a:lnTo>
                      <a:pt x="27" y="85"/>
                    </a:lnTo>
                    <a:lnTo>
                      <a:pt x="27" y="88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7"/>
                    </a:lnTo>
                    <a:lnTo>
                      <a:pt x="30" y="87"/>
                    </a:lnTo>
                    <a:lnTo>
                      <a:pt x="32" y="93"/>
                    </a:lnTo>
                    <a:lnTo>
                      <a:pt x="30" y="98"/>
                    </a:lnTo>
                    <a:lnTo>
                      <a:pt x="30" y="102"/>
                    </a:lnTo>
                    <a:lnTo>
                      <a:pt x="28" y="108"/>
                    </a:lnTo>
                    <a:lnTo>
                      <a:pt x="22" y="113"/>
                    </a:lnTo>
                    <a:lnTo>
                      <a:pt x="25" y="113"/>
                    </a:lnTo>
                    <a:lnTo>
                      <a:pt x="27" y="120"/>
                    </a:lnTo>
                    <a:lnTo>
                      <a:pt x="22" y="122"/>
                    </a:lnTo>
                    <a:lnTo>
                      <a:pt x="17" y="127"/>
                    </a:lnTo>
                    <a:lnTo>
                      <a:pt x="18" y="130"/>
                    </a:lnTo>
                    <a:lnTo>
                      <a:pt x="23" y="130"/>
                    </a:lnTo>
                    <a:lnTo>
                      <a:pt x="28" y="128"/>
                    </a:lnTo>
                    <a:lnTo>
                      <a:pt x="30" y="132"/>
                    </a:lnTo>
                    <a:lnTo>
                      <a:pt x="38" y="133"/>
                    </a:lnTo>
                    <a:lnTo>
                      <a:pt x="42" y="135"/>
                    </a:lnTo>
                    <a:lnTo>
                      <a:pt x="50" y="143"/>
                    </a:lnTo>
                    <a:lnTo>
                      <a:pt x="52" y="143"/>
                    </a:lnTo>
                    <a:lnTo>
                      <a:pt x="57" y="140"/>
                    </a:lnTo>
                    <a:lnTo>
                      <a:pt x="76" y="103"/>
                    </a:lnTo>
                    <a:lnTo>
                      <a:pt x="80" y="102"/>
                    </a:lnTo>
                    <a:lnTo>
                      <a:pt x="105" y="93"/>
                    </a:lnTo>
                    <a:lnTo>
                      <a:pt x="115" y="87"/>
                    </a:lnTo>
                    <a:lnTo>
                      <a:pt x="131" y="73"/>
                    </a:lnTo>
                    <a:lnTo>
                      <a:pt x="138" y="58"/>
                    </a:lnTo>
                    <a:lnTo>
                      <a:pt x="143" y="58"/>
                    </a:lnTo>
                    <a:lnTo>
                      <a:pt x="143" y="57"/>
                    </a:lnTo>
                    <a:lnTo>
                      <a:pt x="145" y="52"/>
                    </a:lnTo>
                    <a:lnTo>
                      <a:pt x="145" y="47"/>
                    </a:lnTo>
                    <a:lnTo>
                      <a:pt x="140" y="39"/>
                    </a:lnTo>
                    <a:lnTo>
                      <a:pt x="140" y="37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4"/>
                    </a:lnTo>
                    <a:close/>
                    <a:moveTo>
                      <a:pt x="18" y="103"/>
                    </a:moveTo>
                    <a:lnTo>
                      <a:pt x="18" y="103"/>
                    </a:lnTo>
                    <a:lnTo>
                      <a:pt x="20" y="98"/>
                    </a:lnTo>
                    <a:lnTo>
                      <a:pt x="25" y="95"/>
                    </a:lnTo>
                    <a:lnTo>
                      <a:pt x="25" y="97"/>
                    </a:lnTo>
                    <a:lnTo>
                      <a:pt x="23" y="100"/>
                    </a:lnTo>
                    <a:lnTo>
                      <a:pt x="23" y="102"/>
                    </a:lnTo>
                    <a:lnTo>
                      <a:pt x="22" y="105"/>
                    </a:lnTo>
                    <a:lnTo>
                      <a:pt x="20" y="107"/>
                    </a:lnTo>
                    <a:lnTo>
                      <a:pt x="18" y="10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6" name="Freeform 170">
                <a:extLst>
                  <a:ext uri="{FF2B5EF4-FFF2-40B4-BE49-F238E27FC236}">
                    <a16:creationId xmlns:a16="http://schemas.microsoft.com/office/drawing/2014/main" id="{60DE5C2F-F186-254B-8C0B-DE0FDEB8D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452" y="3271790"/>
                <a:ext cx="168029" cy="216856"/>
              </a:xfrm>
              <a:custGeom>
                <a:avLst/>
                <a:gdLst/>
                <a:ahLst/>
                <a:cxnLst>
                  <a:cxn ang="0">
                    <a:pos x="286" y="245"/>
                  </a:cxn>
                  <a:cxn ang="0">
                    <a:pos x="268" y="244"/>
                  </a:cxn>
                  <a:cxn ang="0">
                    <a:pos x="268" y="217"/>
                  </a:cxn>
                  <a:cxn ang="0">
                    <a:pos x="248" y="222"/>
                  </a:cxn>
                  <a:cxn ang="0">
                    <a:pos x="218" y="209"/>
                  </a:cxn>
                  <a:cxn ang="0">
                    <a:pos x="190" y="184"/>
                  </a:cxn>
                  <a:cxn ang="0">
                    <a:pos x="185" y="167"/>
                  </a:cxn>
                  <a:cxn ang="0">
                    <a:pos x="186" y="152"/>
                  </a:cxn>
                  <a:cxn ang="0">
                    <a:pos x="200" y="142"/>
                  </a:cxn>
                  <a:cxn ang="0">
                    <a:pos x="205" y="121"/>
                  </a:cxn>
                  <a:cxn ang="0">
                    <a:pos x="220" y="106"/>
                  </a:cxn>
                  <a:cxn ang="0">
                    <a:pos x="255" y="96"/>
                  </a:cxn>
                  <a:cxn ang="0">
                    <a:pos x="265" y="93"/>
                  </a:cxn>
                  <a:cxn ang="0">
                    <a:pos x="278" y="94"/>
                  </a:cxn>
                  <a:cxn ang="0">
                    <a:pos x="260" y="84"/>
                  </a:cxn>
                  <a:cxn ang="0">
                    <a:pos x="270" y="56"/>
                  </a:cxn>
                  <a:cxn ang="0">
                    <a:pos x="258" y="49"/>
                  </a:cxn>
                  <a:cxn ang="0">
                    <a:pos x="233" y="49"/>
                  </a:cxn>
                  <a:cxn ang="0">
                    <a:pos x="211" y="53"/>
                  </a:cxn>
                  <a:cxn ang="0">
                    <a:pos x="203" y="48"/>
                  </a:cxn>
                  <a:cxn ang="0">
                    <a:pos x="195" y="34"/>
                  </a:cxn>
                  <a:cxn ang="0">
                    <a:pos x="172" y="18"/>
                  </a:cxn>
                  <a:cxn ang="0">
                    <a:pos x="158" y="5"/>
                  </a:cxn>
                  <a:cxn ang="0">
                    <a:pos x="147" y="3"/>
                  </a:cxn>
                  <a:cxn ang="0">
                    <a:pos x="150" y="23"/>
                  </a:cxn>
                  <a:cxn ang="0">
                    <a:pos x="122" y="53"/>
                  </a:cxn>
                  <a:cxn ang="0">
                    <a:pos x="64" y="106"/>
                  </a:cxn>
                  <a:cxn ang="0">
                    <a:pos x="45" y="99"/>
                  </a:cxn>
                  <a:cxn ang="0">
                    <a:pos x="25" y="96"/>
                  </a:cxn>
                  <a:cxn ang="0">
                    <a:pos x="32" y="79"/>
                  </a:cxn>
                  <a:cxn ang="0">
                    <a:pos x="12" y="88"/>
                  </a:cxn>
                  <a:cxn ang="0">
                    <a:pos x="0" y="106"/>
                  </a:cxn>
                  <a:cxn ang="0">
                    <a:pos x="2" y="116"/>
                  </a:cxn>
                  <a:cxn ang="0">
                    <a:pos x="7" y="131"/>
                  </a:cxn>
                  <a:cxn ang="0">
                    <a:pos x="10" y="141"/>
                  </a:cxn>
                  <a:cxn ang="0">
                    <a:pos x="39" y="154"/>
                  </a:cxn>
                  <a:cxn ang="0">
                    <a:pos x="49" y="176"/>
                  </a:cxn>
                  <a:cxn ang="0">
                    <a:pos x="67" y="197"/>
                  </a:cxn>
                  <a:cxn ang="0">
                    <a:pos x="80" y="219"/>
                  </a:cxn>
                  <a:cxn ang="0">
                    <a:pos x="90" y="242"/>
                  </a:cxn>
                  <a:cxn ang="0">
                    <a:pos x="97" y="254"/>
                  </a:cxn>
                  <a:cxn ang="0">
                    <a:pos x="110" y="274"/>
                  </a:cxn>
                  <a:cxn ang="0">
                    <a:pos x="127" y="295"/>
                  </a:cxn>
                  <a:cxn ang="0">
                    <a:pos x="130" y="308"/>
                  </a:cxn>
                  <a:cxn ang="0">
                    <a:pos x="133" y="318"/>
                  </a:cxn>
                  <a:cxn ang="0">
                    <a:pos x="145" y="330"/>
                  </a:cxn>
                  <a:cxn ang="0">
                    <a:pos x="160" y="340"/>
                  </a:cxn>
                  <a:cxn ang="0">
                    <a:pos x="175" y="348"/>
                  </a:cxn>
                  <a:cxn ang="0">
                    <a:pos x="186" y="357"/>
                  </a:cxn>
                  <a:cxn ang="0">
                    <a:pos x="201" y="368"/>
                  </a:cxn>
                  <a:cxn ang="0">
                    <a:pos x="223" y="375"/>
                  </a:cxn>
                  <a:cxn ang="0">
                    <a:pos x="238" y="383"/>
                  </a:cxn>
                  <a:cxn ang="0">
                    <a:pos x="251" y="395"/>
                  </a:cxn>
                  <a:cxn ang="0">
                    <a:pos x="261" y="403"/>
                  </a:cxn>
                  <a:cxn ang="0">
                    <a:pos x="279" y="416"/>
                  </a:cxn>
                  <a:cxn ang="0">
                    <a:pos x="299" y="408"/>
                  </a:cxn>
                  <a:cxn ang="0">
                    <a:pos x="301" y="393"/>
                  </a:cxn>
                  <a:cxn ang="0">
                    <a:pos x="298" y="388"/>
                  </a:cxn>
                  <a:cxn ang="0">
                    <a:pos x="313" y="367"/>
                  </a:cxn>
                  <a:cxn ang="0">
                    <a:pos x="306" y="342"/>
                  </a:cxn>
                  <a:cxn ang="0">
                    <a:pos x="309" y="312"/>
                  </a:cxn>
                  <a:cxn ang="0">
                    <a:pos x="314" y="277"/>
                  </a:cxn>
                </a:cxnLst>
                <a:rect l="0" t="0" r="r" b="b"/>
                <a:pathLst>
                  <a:path w="314" h="416">
                    <a:moveTo>
                      <a:pt x="291" y="245"/>
                    </a:moveTo>
                    <a:lnTo>
                      <a:pt x="291" y="245"/>
                    </a:lnTo>
                    <a:lnTo>
                      <a:pt x="288" y="244"/>
                    </a:lnTo>
                    <a:lnTo>
                      <a:pt x="286" y="245"/>
                    </a:lnTo>
                    <a:lnTo>
                      <a:pt x="279" y="245"/>
                    </a:lnTo>
                    <a:lnTo>
                      <a:pt x="276" y="245"/>
                    </a:lnTo>
                    <a:lnTo>
                      <a:pt x="271" y="247"/>
                    </a:lnTo>
                    <a:lnTo>
                      <a:pt x="268" y="244"/>
                    </a:lnTo>
                    <a:lnTo>
                      <a:pt x="268" y="239"/>
                    </a:lnTo>
                    <a:lnTo>
                      <a:pt x="266" y="225"/>
                    </a:lnTo>
                    <a:lnTo>
                      <a:pt x="266" y="219"/>
                    </a:lnTo>
                    <a:lnTo>
                      <a:pt x="268" y="217"/>
                    </a:lnTo>
                    <a:lnTo>
                      <a:pt x="270" y="212"/>
                    </a:lnTo>
                    <a:lnTo>
                      <a:pt x="266" y="209"/>
                    </a:lnTo>
                    <a:lnTo>
                      <a:pt x="258" y="214"/>
                    </a:lnTo>
                    <a:lnTo>
                      <a:pt x="248" y="222"/>
                    </a:lnTo>
                    <a:lnTo>
                      <a:pt x="236" y="222"/>
                    </a:lnTo>
                    <a:lnTo>
                      <a:pt x="225" y="222"/>
                    </a:lnTo>
                    <a:lnTo>
                      <a:pt x="223" y="215"/>
                    </a:lnTo>
                    <a:lnTo>
                      <a:pt x="218" y="209"/>
                    </a:lnTo>
                    <a:lnTo>
                      <a:pt x="211" y="207"/>
                    </a:lnTo>
                    <a:lnTo>
                      <a:pt x="196" y="209"/>
                    </a:lnTo>
                    <a:lnTo>
                      <a:pt x="201" y="201"/>
                    </a:lnTo>
                    <a:lnTo>
                      <a:pt x="190" y="184"/>
                    </a:lnTo>
                    <a:lnTo>
                      <a:pt x="183" y="177"/>
                    </a:lnTo>
                    <a:lnTo>
                      <a:pt x="185" y="174"/>
                    </a:lnTo>
                    <a:lnTo>
                      <a:pt x="183" y="171"/>
                    </a:lnTo>
                    <a:lnTo>
                      <a:pt x="185" y="167"/>
                    </a:lnTo>
                    <a:lnTo>
                      <a:pt x="186" y="162"/>
                    </a:lnTo>
                    <a:lnTo>
                      <a:pt x="185" y="159"/>
                    </a:lnTo>
                    <a:lnTo>
                      <a:pt x="186" y="157"/>
                    </a:lnTo>
                    <a:lnTo>
                      <a:pt x="186" y="152"/>
                    </a:lnTo>
                    <a:lnTo>
                      <a:pt x="195" y="149"/>
                    </a:lnTo>
                    <a:lnTo>
                      <a:pt x="198" y="149"/>
                    </a:lnTo>
                    <a:lnTo>
                      <a:pt x="201" y="146"/>
                    </a:lnTo>
                    <a:lnTo>
                      <a:pt x="200" y="142"/>
                    </a:lnTo>
                    <a:lnTo>
                      <a:pt x="196" y="134"/>
                    </a:lnTo>
                    <a:lnTo>
                      <a:pt x="203" y="127"/>
                    </a:lnTo>
                    <a:lnTo>
                      <a:pt x="203" y="124"/>
                    </a:lnTo>
                    <a:lnTo>
                      <a:pt x="205" y="121"/>
                    </a:lnTo>
                    <a:lnTo>
                      <a:pt x="205" y="116"/>
                    </a:lnTo>
                    <a:lnTo>
                      <a:pt x="208" y="112"/>
                    </a:lnTo>
                    <a:lnTo>
                      <a:pt x="215" y="111"/>
                    </a:lnTo>
                    <a:lnTo>
                      <a:pt x="220" y="106"/>
                    </a:lnTo>
                    <a:lnTo>
                      <a:pt x="223" y="106"/>
                    </a:lnTo>
                    <a:lnTo>
                      <a:pt x="225" y="103"/>
                    </a:lnTo>
                    <a:lnTo>
                      <a:pt x="238" y="101"/>
                    </a:lnTo>
                    <a:lnTo>
                      <a:pt x="255" y="96"/>
                    </a:lnTo>
                    <a:lnTo>
                      <a:pt x="256" y="91"/>
                    </a:lnTo>
                    <a:lnTo>
                      <a:pt x="258" y="93"/>
                    </a:lnTo>
                    <a:lnTo>
                      <a:pt x="263" y="93"/>
                    </a:lnTo>
                    <a:lnTo>
                      <a:pt x="265" y="93"/>
                    </a:lnTo>
                    <a:lnTo>
                      <a:pt x="270" y="96"/>
                    </a:lnTo>
                    <a:lnTo>
                      <a:pt x="270" y="96"/>
                    </a:lnTo>
                    <a:lnTo>
                      <a:pt x="274" y="98"/>
                    </a:lnTo>
                    <a:lnTo>
                      <a:pt x="278" y="94"/>
                    </a:lnTo>
                    <a:lnTo>
                      <a:pt x="276" y="88"/>
                    </a:lnTo>
                    <a:lnTo>
                      <a:pt x="271" y="84"/>
                    </a:lnTo>
                    <a:lnTo>
                      <a:pt x="266" y="84"/>
                    </a:lnTo>
                    <a:lnTo>
                      <a:pt x="260" y="84"/>
                    </a:lnTo>
                    <a:lnTo>
                      <a:pt x="260" y="83"/>
                    </a:lnTo>
                    <a:lnTo>
                      <a:pt x="274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68" y="54"/>
                    </a:lnTo>
                    <a:lnTo>
                      <a:pt x="263" y="51"/>
                    </a:lnTo>
                    <a:lnTo>
                      <a:pt x="260" y="51"/>
                    </a:lnTo>
                    <a:lnTo>
                      <a:pt x="258" y="49"/>
                    </a:lnTo>
                    <a:lnTo>
                      <a:pt x="253" y="49"/>
                    </a:lnTo>
                    <a:lnTo>
                      <a:pt x="245" y="53"/>
                    </a:lnTo>
                    <a:lnTo>
                      <a:pt x="240" y="49"/>
                    </a:lnTo>
                    <a:lnTo>
                      <a:pt x="233" y="49"/>
                    </a:lnTo>
                    <a:lnTo>
                      <a:pt x="225" y="53"/>
                    </a:lnTo>
                    <a:lnTo>
                      <a:pt x="221" y="54"/>
                    </a:lnTo>
                    <a:lnTo>
                      <a:pt x="216" y="54"/>
                    </a:lnTo>
                    <a:lnTo>
                      <a:pt x="211" y="53"/>
                    </a:lnTo>
                    <a:lnTo>
                      <a:pt x="206" y="54"/>
                    </a:lnTo>
                    <a:lnTo>
                      <a:pt x="203" y="53"/>
                    </a:lnTo>
                    <a:lnTo>
                      <a:pt x="201" y="49"/>
                    </a:lnTo>
                    <a:lnTo>
                      <a:pt x="203" y="48"/>
                    </a:lnTo>
                    <a:lnTo>
                      <a:pt x="200" y="41"/>
                    </a:lnTo>
                    <a:lnTo>
                      <a:pt x="196" y="39"/>
                    </a:lnTo>
                    <a:lnTo>
                      <a:pt x="195" y="39"/>
                    </a:lnTo>
                    <a:lnTo>
                      <a:pt x="195" y="34"/>
                    </a:lnTo>
                    <a:lnTo>
                      <a:pt x="190" y="28"/>
                    </a:lnTo>
                    <a:lnTo>
                      <a:pt x="178" y="24"/>
                    </a:lnTo>
                    <a:lnTo>
                      <a:pt x="175" y="24"/>
                    </a:lnTo>
                    <a:lnTo>
                      <a:pt x="172" y="18"/>
                    </a:lnTo>
                    <a:lnTo>
                      <a:pt x="172" y="13"/>
                    </a:lnTo>
                    <a:lnTo>
                      <a:pt x="165" y="8"/>
                    </a:lnTo>
                    <a:lnTo>
                      <a:pt x="163" y="5"/>
                    </a:lnTo>
                    <a:lnTo>
                      <a:pt x="158" y="5"/>
                    </a:lnTo>
                    <a:lnTo>
                      <a:pt x="150" y="1"/>
                    </a:lnTo>
                    <a:lnTo>
                      <a:pt x="147" y="0"/>
                    </a:lnTo>
                    <a:lnTo>
                      <a:pt x="145" y="0"/>
                    </a:lnTo>
                    <a:lnTo>
                      <a:pt x="147" y="3"/>
                    </a:lnTo>
                    <a:lnTo>
                      <a:pt x="147" y="5"/>
                    </a:lnTo>
                    <a:lnTo>
                      <a:pt x="152" y="13"/>
                    </a:lnTo>
                    <a:lnTo>
                      <a:pt x="152" y="18"/>
                    </a:lnTo>
                    <a:lnTo>
                      <a:pt x="150" y="23"/>
                    </a:lnTo>
                    <a:lnTo>
                      <a:pt x="150" y="24"/>
                    </a:lnTo>
                    <a:lnTo>
                      <a:pt x="145" y="24"/>
                    </a:lnTo>
                    <a:lnTo>
                      <a:pt x="138" y="39"/>
                    </a:lnTo>
                    <a:lnTo>
                      <a:pt x="122" y="53"/>
                    </a:lnTo>
                    <a:lnTo>
                      <a:pt x="112" y="59"/>
                    </a:lnTo>
                    <a:lnTo>
                      <a:pt x="87" y="68"/>
                    </a:lnTo>
                    <a:lnTo>
                      <a:pt x="83" y="69"/>
                    </a:lnTo>
                    <a:lnTo>
                      <a:pt x="64" y="106"/>
                    </a:lnTo>
                    <a:lnTo>
                      <a:pt x="59" y="109"/>
                    </a:lnTo>
                    <a:lnTo>
                      <a:pt x="57" y="109"/>
                    </a:lnTo>
                    <a:lnTo>
                      <a:pt x="49" y="101"/>
                    </a:lnTo>
                    <a:lnTo>
                      <a:pt x="45" y="99"/>
                    </a:lnTo>
                    <a:lnTo>
                      <a:pt x="37" y="98"/>
                    </a:lnTo>
                    <a:lnTo>
                      <a:pt x="35" y="94"/>
                    </a:lnTo>
                    <a:lnTo>
                      <a:pt x="30" y="96"/>
                    </a:lnTo>
                    <a:lnTo>
                      <a:pt x="25" y="96"/>
                    </a:lnTo>
                    <a:lnTo>
                      <a:pt x="24" y="93"/>
                    </a:lnTo>
                    <a:lnTo>
                      <a:pt x="29" y="88"/>
                    </a:lnTo>
                    <a:lnTo>
                      <a:pt x="34" y="86"/>
                    </a:lnTo>
                    <a:lnTo>
                      <a:pt x="32" y="79"/>
                    </a:lnTo>
                    <a:lnTo>
                      <a:pt x="29" y="79"/>
                    </a:lnTo>
                    <a:lnTo>
                      <a:pt x="29" y="79"/>
                    </a:lnTo>
                    <a:lnTo>
                      <a:pt x="17" y="84"/>
                    </a:lnTo>
                    <a:lnTo>
                      <a:pt x="12" y="88"/>
                    </a:lnTo>
                    <a:lnTo>
                      <a:pt x="4" y="94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0" y="106"/>
                    </a:lnTo>
                    <a:lnTo>
                      <a:pt x="5" y="109"/>
                    </a:lnTo>
                    <a:lnTo>
                      <a:pt x="5" y="112"/>
                    </a:lnTo>
                    <a:lnTo>
                      <a:pt x="2" y="114"/>
                    </a:lnTo>
                    <a:lnTo>
                      <a:pt x="2" y="116"/>
                    </a:lnTo>
                    <a:lnTo>
                      <a:pt x="7" y="121"/>
                    </a:lnTo>
                    <a:lnTo>
                      <a:pt x="10" y="126"/>
                    </a:lnTo>
                    <a:lnTo>
                      <a:pt x="10" y="131"/>
                    </a:lnTo>
                    <a:lnTo>
                      <a:pt x="7" y="131"/>
                    </a:lnTo>
                    <a:lnTo>
                      <a:pt x="2" y="132"/>
                    </a:lnTo>
                    <a:lnTo>
                      <a:pt x="2" y="136"/>
                    </a:lnTo>
                    <a:lnTo>
                      <a:pt x="5" y="139"/>
                    </a:lnTo>
                    <a:lnTo>
                      <a:pt x="10" y="141"/>
                    </a:lnTo>
                    <a:lnTo>
                      <a:pt x="17" y="147"/>
                    </a:lnTo>
                    <a:lnTo>
                      <a:pt x="24" y="147"/>
                    </a:lnTo>
                    <a:lnTo>
                      <a:pt x="34" y="154"/>
                    </a:lnTo>
                    <a:lnTo>
                      <a:pt x="39" y="154"/>
                    </a:lnTo>
                    <a:lnTo>
                      <a:pt x="40" y="157"/>
                    </a:lnTo>
                    <a:lnTo>
                      <a:pt x="45" y="166"/>
                    </a:lnTo>
                    <a:lnTo>
                      <a:pt x="47" y="171"/>
                    </a:lnTo>
                    <a:lnTo>
                      <a:pt x="49" y="176"/>
                    </a:lnTo>
                    <a:lnTo>
                      <a:pt x="59" y="181"/>
                    </a:lnTo>
                    <a:lnTo>
                      <a:pt x="64" y="187"/>
                    </a:lnTo>
                    <a:lnTo>
                      <a:pt x="65" y="192"/>
                    </a:lnTo>
                    <a:lnTo>
                      <a:pt x="67" y="197"/>
                    </a:lnTo>
                    <a:lnTo>
                      <a:pt x="69" y="204"/>
                    </a:lnTo>
                    <a:lnTo>
                      <a:pt x="72" y="209"/>
                    </a:lnTo>
                    <a:lnTo>
                      <a:pt x="75" y="210"/>
                    </a:lnTo>
                    <a:lnTo>
                      <a:pt x="80" y="219"/>
                    </a:lnTo>
                    <a:lnTo>
                      <a:pt x="80" y="224"/>
                    </a:lnTo>
                    <a:lnTo>
                      <a:pt x="78" y="225"/>
                    </a:lnTo>
                    <a:lnTo>
                      <a:pt x="83" y="232"/>
                    </a:lnTo>
                    <a:lnTo>
                      <a:pt x="90" y="242"/>
                    </a:lnTo>
                    <a:lnTo>
                      <a:pt x="93" y="245"/>
                    </a:lnTo>
                    <a:lnTo>
                      <a:pt x="92" y="250"/>
                    </a:lnTo>
                    <a:lnTo>
                      <a:pt x="93" y="252"/>
                    </a:lnTo>
                    <a:lnTo>
                      <a:pt x="97" y="254"/>
                    </a:lnTo>
                    <a:lnTo>
                      <a:pt x="105" y="260"/>
                    </a:lnTo>
                    <a:lnTo>
                      <a:pt x="107" y="264"/>
                    </a:lnTo>
                    <a:lnTo>
                      <a:pt x="107" y="270"/>
                    </a:lnTo>
                    <a:lnTo>
                      <a:pt x="110" y="274"/>
                    </a:lnTo>
                    <a:lnTo>
                      <a:pt x="117" y="275"/>
                    </a:lnTo>
                    <a:lnTo>
                      <a:pt x="117" y="280"/>
                    </a:lnTo>
                    <a:lnTo>
                      <a:pt x="125" y="290"/>
                    </a:lnTo>
                    <a:lnTo>
                      <a:pt x="127" y="295"/>
                    </a:lnTo>
                    <a:lnTo>
                      <a:pt x="133" y="305"/>
                    </a:lnTo>
                    <a:lnTo>
                      <a:pt x="135" y="310"/>
                    </a:lnTo>
                    <a:lnTo>
                      <a:pt x="132" y="310"/>
                    </a:lnTo>
                    <a:lnTo>
                      <a:pt x="130" y="308"/>
                    </a:lnTo>
                    <a:lnTo>
                      <a:pt x="130" y="312"/>
                    </a:lnTo>
                    <a:lnTo>
                      <a:pt x="130" y="315"/>
                    </a:lnTo>
                    <a:lnTo>
                      <a:pt x="130" y="318"/>
                    </a:lnTo>
                    <a:lnTo>
                      <a:pt x="133" y="318"/>
                    </a:lnTo>
                    <a:lnTo>
                      <a:pt x="137" y="320"/>
                    </a:lnTo>
                    <a:lnTo>
                      <a:pt x="137" y="322"/>
                    </a:lnTo>
                    <a:lnTo>
                      <a:pt x="137" y="325"/>
                    </a:lnTo>
                    <a:lnTo>
                      <a:pt x="145" y="330"/>
                    </a:lnTo>
                    <a:lnTo>
                      <a:pt x="152" y="333"/>
                    </a:lnTo>
                    <a:lnTo>
                      <a:pt x="152" y="337"/>
                    </a:lnTo>
                    <a:lnTo>
                      <a:pt x="157" y="340"/>
                    </a:lnTo>
                    <a:lnTo>
                      <a:pt x="160" y="340"/>
                    </a:lnTo>
                    <a:lnTo>
                      <a:pt x="162" y="343"/>
                    </a:lnTo>
                    <a:lnTo>
                      <a:pt x="163" y="347"/>
                    </a:lnTo>
                    <a:lnTo>
                      <a:pt x="167" y="348"/>
                    </a:lnTo>
                    <a:lnTo>
                      <a:pt x="175" y="348"/>
                    </a:lnTo>
                    <a:lnTo>
                      <a:pt x="176" y="345"/>
                    </a:lnTo>
                    <a:lnTo>
                      <a:pt x="175" y="350"/>
                    </a:lnTo>
                    <a:lnTo>
                      <a:pt x="180" y="353"/>
                    </a:lnTo>
                    <a:lnTo>
                      <a:pt x="186" y="357"/>
                    </a:lnTo>
                    <a:lnTo>
                      <a:pt x="191" y="360"/>
                    </a:lnTo>
                    <a:lnTo>
                      <a:pt x="191" y="363"/>
                    </a:lnTo>
                    <a:lnTo>
                      <a:pt x="195" y="365"/>
                    </a:lnTo>
                    <a:lnTo>
                      <a:pt x="201" y="368"/>
                    </a:lnTo>
                    <a:lnTo>
                      <a:pt x="203" y="367"/>
                    </a:lnTo>
                    <a:lnTo>
                      <a:pt x="206" y="368"/>
                    </a:lnTo>
                    <a:lnTo>
                      <a:pt x="216" y="373"/>
                    </a:lnTo>
                    <a:lnTo>
                      <a:pt x="223" y="375"/>
                    </a:lnTo>
                    <a:lnTo>
                      <a:pt x="228" y="375"/>
                    </a:lnTo>
                    <a:lnTo>
                      <a:pt x="230" y="377"/>
                    </a:lnTo>
                    <a:lnTo>
                      <a:pt x="231" y="380"/>
                    </a:lnTo>
                    <a:lnTo>
                      <a:pt x="238" y="383"/>
                    </a:lnTo>
                    <a:lnTo>
                      <a:pt x="241" y="387"/>
                    </a:lnTo>
                    <a:lnTo>
                      <a:pt x="246" y="390"/>
                    </a:lnTo>
                    <a:lnTo>
                      <a:pt x="250" y="392"/>
                    </a:lnTo>
                    <a:lnTo>
                      <a:pt x="251" y="395"/>
                    </a:lnTo>
                    <a:lnTo>
                      <a:pt x="251" y="397"/>
                    </a:lnTo>
                    <a:lnTo>
                      <a:pt x="251" y="400"/>
                    </a:lnTo>
                    <a:lnTo>
                      <a:pt x="256" y="400"/>
                    </a:lnTo>
                    <a:lnTo>
                      <a:pt x="261" y="403"/>
                    </a:lnTo>
                    <a:lnTo>
                      <a:pt x="268" y="408"/>
                    </a:lnTo>
                    <a:lnTo>
                      <a:pt x="274" y="415"/>
                    </a:lnTo>
                    <a:lnTo>
                      <a:pt x="279" y="415"/>
                    </a:lnTo>
                    <a:lnTo>
                      <a:pt x="279" y="416"/>
                    </a:lnTo>
                    <a:lnTo>
                      <a:pt x="286" y="413"/>
                    </a:lnTo>
                    <a:lnTo>
                      <a:pt x="291" y="410"/>
                    </a:lnTo>
                    <a:lnTo>
                      <a:pt x="294" y="411"/>
                    </a:lnTo>
                    <a:lnTo>
                      <a:pt x="299" y="408"/>
                    </a:lnTo>
                    <a:lnTo>
                      <a:pt x="301" y="405"/>
                    </a:lnTo>
                    <a:lnTo>
                      <a:pt x="296" y="402"/>
                    </a:lnTo>
                    <a:lnTo>
                      <a:pt x="298" y="397"/>
                    </a:lnTo>
                    <a:lnTo>
                      <a:pt x="301" y="393"/>
                    </a:lnTo>
                    <a:lnTo>
                      <a:pt x="304" y="395"/>
                    </a:lnTo>
                    <a:lnTo>
                      <a:pt x="303" y="392"/>
                    </a:lnTo>
                    <a:lnTo>
                      <a:pt x="301" y="392"/>
                    </a:lnTo>
                    <a:lnTo>
                      <a:pt x="298" y="388"/>
                    </a:lnTo>
                    <a:lnTo>
                      <a:pt x="301" y="382"/>
                    </a:lnTo>
                    <a:lnTo>
                      <a:pt x="308" y="378"/>
                    </a:lnTo>
                    <a:lnTo>
                      <a:pt x="313" y="373"/>
                    </a:lnTo>
                    <a:lnTo>
                      <a:pt x="313" y="367"/>
                    </a:lnTo>
                    <a:lnTo>
                      <a:pt x="306" y="353"/>
                    </a:lnTo>
                    <a:lnTo>
                      <a:pt x="308" y="350"/>
                    </a:lnTo>
                    <a:lnTo>
                      <a:pt x="308" y="343"/>
                    </a:lnTo>
                    <a:lnTo>
                      <a:pt x="306" y="342"/>
                    </a:lnTo>
                    <a:lnTo>
                      <a:pt x="304" y="337"/>
                    </a:lnTo>
                    <a:lnTo>
                      <a:pt x="308" y="333"/>
                    </a:lnTo>
                    <a:lnTo>
                      <a:pt x="309" y="325"/>
                    </a:lnTo>
                    <a:lnTo>
                      <a:pt x="309" y="312"/>
                    </a:lnTo>
                    <a:lnTo>
                      <a:pt x="306" y="305"/>
                    </a:lnTo>
                    <a:lnTo>
                      <a:pt x="309" y="299"/>
                    </a:lnTo>
                    <a:lnTo>
                      <a:pt x="309" y="284"/>
                    </a:lnTo>
                    <a:lnTo>
                      <a:pt x="314" y="277"/>
                    </a:lnTo>
                    <a:lnTo>
                      <a:pt x="313" y="274"/>
                    </a:lnTo>
                    <a:lnTo>
                      <a:pt x="291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7" name="Freeform 171">
                <a:extLst>
                  <a:ext uri="{FF2B5EF4-FFF2-40B4-BE49-F238E27FC236}">
                    <a16:creationId xmlns:a16="http://schemas.microsoft.com/office/drawing/2014/main" id="{9124EAF2-0B50-0947-8C14-7AA8F9FB2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6708" y="3383849"/>
                <a:ext cx="161607" cy="158751"/>
              </a:xfrm>
              <a:custGeom>
                <a:avLst/>
                <a:gdLst/>
                <a:ahLst/>
                <a:cxnLst>
                  <a:cxn ang="0">
                    <a:pos x="291" y="225"/>
                  </a:cxn>
                  <a:cxn ang="0">
                    <a:pos x="289" y="172"/>
                  </a:cxn>
                  <a:cxn ang="0">
                    <a:pos x="274" y="147"/>
                  </a:cxn>
                  <a:cxn ang="0">
                    <a:pos x="224" y="122"/>
                  </a:cxn>
                  <a:cxn ang="0">
                    <a:pos x="226" y="98"/>
                  </a:cxn>
                  <a:cxn ang="0">
                    <a:pos x="199" y="90"/>
                  </a:cxn>
                  <a:cxn ang="0">
                    <a:pos x="188" y="80"/>
                  </a:cxn>
                  <a:cxn ang="0">
                    <a:pos x="166" y="75"/>
                  </a:cxn>
                  <a:cxn ang="0">
                    <a:pos x="143" y="60"/>
                  </a:cxn>
                  <a:cxn ang="0">
                    <a:pos x="126" y="60"/>
                  </a:cxn>
                  <a:cxn ang="0">
                    <a:pos x="110" y="47"/>
                  </a:cxn>
                  <a:cxn ang="0">
                    <a:pos x="103" y="32"/>
                  </a:cxn>
                  <a:cxn ang="0">
                    <a:pos x="101" y="7"/>
                  </a:cxn>
                  <a:cxn ang="0">
                    <a:pos x="93" y="4"/>
                  </a:cxn>
                  <a:cxn ang="0">
                    <a:pos x="75" y="4"/>
                  </a:cxn>
                  <a:cxn ang="0">
                    <a:pos x="52" y="22"/>
                  </a:cxn>
                  <a:cxn ang="0">
                    <a:pos x="33" y="27"/>
                  </a:cxn>
                  <a:cxn ang="0">
                    <a:pos x="15" y="30"/>
                  </a:cxn>
                  <a:cxn ang="0">
                    <a:pos x="23" y="62"/>
                  </a:cxn>
                  <a:cxn ang="0">
                    <a:pos x="15" y="90"/>
                  </a:cxn>
                  <a:cxn ang="0">
                    <a:pos x="17" y="118"/>
                  </a:cxn>
                  <a:cxn ang="0">
                    <a:pos x="17" y="128"/>
                  </a:cxn>
                  <a:cxn ang="0">
                    <a:pos x="22" y="152"/>
                  </a:cxn>
                  <a:cxn ang="0">
                    <a:pos x="10" y="167"/>
                  </a:cxn>
                  <a:cxn ang="0">
                    <a:pos x="12" y="177"/>
                  </a:cxn>
                  <a:cxn ang="0">
                    <a:pos x="15" y="185"/>
                  </a:cxn>
                  <a:cxn ang="0">
                    <a:pos x="23" y="195"/>
                  </a:cxn>
                  <a:cxn ang="0">
                    <a:pos x="23" y="210"/>
                  </a:cxn>
                  <a:cxn ang="0">
                    <a:pos x="40" y="225"/>
                  </a:cxn>
                  <a:cxn ang="0">
                    <a:pos x="33" y="248"/>
                  </a:cxn>
                  <a:cxn ang="0">
                    <a:pos x="67" y="306"/>
                  </a:cxn>
                  <a:cxn ang="0">
                    <a:pos x="78" y="303"/>
                  </a:cxn>
                  <a:cxn ang="0">
                    <a:pos x="85" y="291"/>
                  </a:cxn>
                  <a:cxn ang="0">
                    <a:pos x="106" y="285"/>
                  </a:cxn>
                  <a:cxn ang="0">
                    <a:pos x="123" y="285"/>
                  </a:cxn>
                  <a:cxn ang="0">
                    <a:pos x="138" y="289"/>
                  </a:cxn>
                  <a:cxn ang="0">
                    <a:pos x="145" y="298"/>
                  </a:cxn>
                  <a:cxn ang="0">
                    <a:pos x="148" y="286"/>
                  </a:cxn>
                  <a:cxn ang="0">
                    <a:pos x="178" y="281"/>
                  </a:cxn>
                  <a:cxn ang="0">
                    <a:pos x="191" y="266"/>
                  </a:cxn>
                  <a:cxn ang="0">
                    <a:pos x="188" y="251"/>
                  </a:cxn>
                  <a:cxn ang="0">
                    <a:pos x="199" y="228"/>
                  </a:cxn>
                  <a:cxn ang="0">
                    <a:pos x="264" y="218"/>
                  </a:cxn>
                  <a:cxn ang="0">
                    <a:pos x="287" y="231"/>
                  </a:cxn>
                </a:cxnLst>
                <a:rect l="0" t="0" r="r" b="b"/>
                <a:pathLst>
                  <a:path w="302" h="306">
                    <a:moveTo>
                      <a:pt x="287" y="231"/>
                    </a:moveTo>
                    <a:lnTo>
                      <a:pt x="291" y="228"/>
                    </a:lnTo>
                    <a:lnTo>
                      <a:pt x="291" y="225"/>
                    </a:lnTo>
                    <a:lnTo>
                      <a:pt x="302" y="203"/>
                    </a:lnTo>
                    <a:lnTo>
                      <a:pt x="301" y="191"/>
                    </a:lnTo>
                    <a:lnTo>
                      <a:pt x="289" y="172"/>
                    </a:lnTo>
                    <a:lnTo>
                      <a:pt x="276" y="170"/>
                    </a:lnTo>
                    <a:lnTo>
                      <a:pt x="277" y="160"/>
                    </a:lnTo>
                    <a:lnTo>
                      <a:pt x="274" y="147"/>
                    </a:lnTo>
                    <a:lnTo>
                      <a:pt x="233" y="147"/>
                    </a:lnTo>
                    <a:lnTo>
                      <a:pt x="233" y="135"/>
                    </a:lnTo>
                    <a:lnTo>
                      <a:pt x="224" y="122"/>
                    </a:lnTo>
                    <a:lnTo>
                      <a:pt x="226" y="117"/>
                    </a:lnTo>
                    <a:lnTo>
                      <a:pt x="224" y="108"/>
                    </a:lnTo>
                    <a:lnTo>
                      <a:pt x="226" y="98"/>
                    </a:lnTo>
                    <a:lnTo>
                      <a:pt x="224" y="95"/>
                    </a:lnTo>
                    <a:lnTo>
                      <a:pt x="214" y="90"/>
                    </a:lnTo>
                    <a:lnTo>
                      <a:pt x="199" y="90"/>
                    </a:lnTo>
                    <a:lnTo>
                      <a:pt x="194" y="88"/>
                    </a:lnTo>
                    <a:lnTo>
                      <a:pt x="189" y="87"/>
                    </a:lnTo>
                    <a:lnTo>
                      <a:pt x="188" y="80"/>
                    </a:lnTo>
                    <a:lnTo>
                      <a:pt x="181" y="79"/>
                    </a:lnTo>
                    <a:lnTo>
                      <a:pt x="170" y="75"/>
                    </a:lnTo>
                    <a:lnTo>
                      <a:pt x="166" y="75"/>
                    </a:lnTo>
                    <a:lnTo>
                      <a:pt x="158" y="67"/>
                    </a:lnTo>
                    <a:lnTo>
                      <a:pt x="151" y="69"/>
                    </a:lnTo>
                    <a:lnTo>
                      <a:pt x="143" y="60"/>
                    </a:lnTo>
                    <a:lnTo>
                      <a:pt x="133" y="62"/>
                    </a:lnTo>
                    <a:lnTo>
                      <a:pt x="131" y="65"/>
                    </a:lnTo>
                    <a:lnTo>
                      <a:pt x="126" y="60"/>
                    </a:lnTo>
                    <a:lnTo>
                      <a:pt x="118" y="55"/>
                    </a:lnTo>
                    <a:lnTo>
                      <a:pt x="111" y="54"/>
                    </a:lnTo>
                    <a:lnTo>
                      <a:pt x="110" y="47"/>
                    </a:lnTo>
                    <a:lnTo>
                      <a:pt x="105" y="45"/>
                    </a:lnTo>
                    <a:lnTo>
                      <a:pt x="101" y="37"/>
                    </a:lnTo>
                    <a:lnTo>
                      <a:pt x="103" y="32"/>
                    </a:lnTo>
                    <a:lnTo>
                      <a:pt x="100" y="22"/>
                    </a:lnTo>
                    <a:lnTo>
                      <a:pt x="103" y="15"/>
                    </a:lnTo>
                    <a:lnTo>
                      <a:pt x="101" y="7"/>
                    </a:lnTo>
                    <a:lnTo>
                      <a:pt x="101" y="2"/>
                    </a:lnTo>
                    <a:lnTo>
                      <a:pt x="98" y="0"/>
                    </a:lnTo>
                    <a:lnTo>
                      <a:pt x="93" y="4"/>
                    </a:lnTo>
                    <a:lnTo>
                      <a:pt x="88" y="0"/>
                    </a:lnTo>
                    <a:lnTo>
                      <a:pt x="83" y="0"/>
                    </a:lnTo>
                    <a:lnTo>
                      <a:pt x="75" y="4"/>
                    </a:lnTo>
                    <a:lnTo>
                      <a:pt x="67" y="5"/>
                    </a:lnTo>
                    <a:lnTo>
                      <a:pt x="55" y="12"/>
                    </a:lnTo>
                    <a:lnTo>
                      <a:pt x="52" y="22"/>
                    </a:lnTo>
                    <a:lnTo>
                      <a:pt x="45" y="24"/>
                    </a:lnTo>
                    <a:lnTo>
                      <a:pt x="38" y="24"/>
                    </a:lnTo>
                    <a:lnTo>
                      <a:pt x="33" y="27"/>
                    </a:lnTo>
                    <a:lnTo>
                      <a:pt x="30" y="27"/>
                    </a:lnTo>
                    <a:lnTo>
                      <a:pt x="22" y="30"/>
                    </a:lnTo>
                    <a:lnTo>
                      <a:pt x="15" y="30"/>
                    </a:lnTo>
                    <a:lnTo>
                      <a:pt x="0" y="30"/>
                    </a:lnTo>
                    <a:lnTo>
                      <a:pt x="22" y="59"/>
                    </a:lnTo>
                    <a:lnTo>
                      <a:pt x="23" y="62"/>
                    </a:lnTo>
                    <a:lnTo>
                      <a:pt x="18" y="69"/>
                    </a:lnTo>
                    <a:lnTo>
                      <a:pt x="18" y="84"/>
                    </a:lnTo>
                    <a:lnTo>
                      <a:pt x="15" y="90"/>
                    </a:lnTo>
                    <a:lnTo>
                      <a:pt x="18" y="97"/>
                    </a:lnTo>
                    <a:lnTo>
                      <a:pt x="18" y="110"/>
                    </a:lnTo>
                    <a:lnTo>
                      <a:pt x="17" y="118"/>
                    </a:lnTo>
                    <a:lnTo>
                      <a:pt x="13" y="122"/>
                    </a:lnTo>
                    <a:lnTo>
                      <a:pt x="15" y="127"/>
                    </a:lnTo>
                    <a:lnTo>
                      <a:pt x="17" y="128"/>
                    </a:lnTo>
                    <a:lnTo>
                      <a:pt x="17" y="135"/>
                    </a:lnTo>
                    <a:lnTo>
                      <a:pt x="15" y="138"/>
                    </a:lnTo>
                    <a:lnTo>
                      <a:pt x="22" y="152"/>
                    </a:lnTo>
                    <a:lnTo>
                      <a:pt x="22" y="158"/>
                    </a:lnTo>
                    <a:lnTo>
                      <a:pt x="17" y="163"/>
                    </a:lnTo>
                    <a:lnTo>
                      <a:pt x="10" y="167"/>
                    </a:lnTo>
                    <a:lnTo>
                      <a:pt x="7" y="173"/>
                    </a:lnTo>
                    <a:lnTo>
                      <a:pt x="10" y="177"/>
                    </a:lnTo>
                    <a:lnTo>
                      <a:pt x="12" y="177"/>
                    </a:lnTo>
                    <a:lnTo>
                      <a:pt x="13" y="180"/>
                    </a:lnTo>
                    <a:lnTo>
                      <a:pt x="13" y="180"/>
                    </a:lnTo>
                    <a:lnTo>
                      <a:pt x="15" y="185"/>
                    </a:lnTo>
                    <a:lnTo>
                      <a:pt x="20" y="188"/>
                    </a:lnTo>
                    <a:lnTo>
                      <a:pt x="22" y="191"/>
                    </a:lnTo>
                    <a:lnTo>
                      <a:pt x="23" y="195"/>
                    </a:lnTo>
                    <a:lnTo>
                      <a:pt x="22" y="200"/>
                    </a:lnTo>
                    <a:lnTo>
                      <a:pt x="23" y="201"/>
                    </a:lnTo>
                    <a:lnTo>
                      <a:pt x="23" y="210"/>
                    </a:lnTo>
                    <a:lnTo>
                      <a:pt x="28" y="215"/>
                    </a:lnTo>
                    <a:lnTo>
                      <a:pt x="38" y="221"/>
                    </a:lnTo>
                    <a:lnTo>
                      <a:pt x="40" y="225"/>
                    </a:lnTo>
                    <a:lnTo>
                      <a:pt x="37" y="231"/>
                    </a:lnTo>
                    <a:lnTo>
                      <a:pt x="38" y="236"/>
                    </a:lnTo>
                    <a:lnTo>
                      <a:pt x="33" y="248"/>
                    </a:lnTo>
                    <a:lnTo>
                      <a:pt x="37" y="253"/>
                    </a:lnTo>
                    <a:lnTo>
                      <a:pt x="48" y="263"/>
                    </a:lnTo>
                    <a:lnTo>
                      <a:pt x="67" y="306"/>
                    </a:lnTo>
                    <a:lnTo>
                      <a:pt x="73" y="306"/>
                    </a:lnTo>
                    <a:lnTo>
                      <a:pt x="75" y="303"/>
                    </a:lnTo>
                    <a:lnTo>
                      <a:pt x="78" y="303"/>
                    </a:lnTo>
                    <a:lnTo>
                      <a:pt x="78" y="303"/>
                    </a:lnTo>
                    <a:lnTo>
                      <a:pt x="81" y="299"/>
                    </a:lnTo>
                    <a:lnTo>
                      <a:pt x="85" y="291"/>
                    </a:lnTo>
                    <a:lnTo>
                      <a:pt x="95" y="283"/>
                    </a:lnTo>
                    <a:lnTo>
                      <a:pt x="101" y="280"/>
                    </a:lnTo>
                    <a:lnTo>
                      <a:pt x="106" y="285"/>
                    </a:lnTo>
                    <a:lnTo>
                      <a:pt x="115" y="285"/>
                    </a:lnTo>
                    <a:lnTo>
                      <a:pt x="118" y="283"/>
                    </a:lnTo>
                    <a:lnTo>
                      <a:pt x="123" y="285"/>
                    </a:lnTo>
                    <a:lnTo>
                      <a:pt x="133" y="283"/>
                    </a:lnTo>
                    <a:lnTo>
                      <a:pt x="136" y="283"/>
                    </a:lnTo>
                    <a:lnTo>
                      <a:pt x="138" y="289"/>
                    </a:lnTo>
                    <a:lnTo>
                      <a:pt x="141" y="298"/>
                    </a:lnTo>
                    <a:lnTo>
                      <a:pt x="143" y="301"/>
                    </a:lnTo>
                    <a:lnTo>
                      <a:pt x="145" y="298"/>
                    </a:lnTo>
                    <a:lnTo>
                      <a:pt x="145" y="294"/>
                    </a:lnTo>
                    <a:lnTo>
                      <a:pt x="148" y="289"/>
                    </a:lnTo>
                    <a:lnTo>
                      <a:pt x="148" y="286"/>
                    </a:lnTo>
                    <a:lnTo>
                      <a:pt x="151" y="281"/>
                    </a:lnTo>
                    <a:lnTo>
                      <a:pt x="166" y="281"/>
                    </a:lnTo>
                    <a:lnTo>
                      <a:pt x="178" y="281"/>
                    </a:lnTo>
                    <a:lnTo>
                      <a:pt x="183" y="285"/>
                    </a:lnTo>
                    <a:lnTo>
                      <a:pt x="184" y="278"/>
                    </a:lnTo>
                    <a:lnTo>
                      <a:pt x="191" y="266"/>
                    </a:lnTo>
                    <a:lnTo>
                      <a:pt x="191" y="260"/>
                    </a:lnTo>
                    <a:lnTo>
                      <a:pt x="189" y="255"/>
                    </a:lnTo>
                    <a:lnTo>
                      <a:pt x="188" y="251"/>
                    </a:lnTo>
                    <a:lnTo>
                      <a:pt x="196" y="240"/>
                    </a:lnTo>
                    <a:lnTo>
                      <a:pt x="199" y="231"/>
                    </a:lnTo>
                    <a:lnTo>
                      <a:pt x="199" y="228"/>
                    </a:lnTo>
                    <a:lnTo>
                      <a:pt x="204" y="225"/>
                    </a:lnTo>
                    <a:lnTo>
                      <a:pt x="238" y="216"/>
                    </a:lnTo>
                    <a:lnTo>
                      <a:pt x="264" y="218"/>
                    </a:lnTo>
                    <a:lnTo>
                      <a:pt x="281" y="228"/>
                    </a:lnTo>
                    <a:lnTo>
                      <a:pt x="284" y="228"/>
                    </a:lnTo>
                    <a:lnTo>
                      <a:pt x="287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8" name="Freeform 172">
                <a:extLst>
                  <a:ext uri="{FF2B5EF4-FFF2-40B4-BE49-F238E27FC236}">
                    <a16:creationId xmlns:a16="http://schemas.microsoft.com/office/drawing/2014/main" id="{108892B7-32BE-2C4A-BAAF-D0FB6BFB5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4100" y="3495909"/>
                <a:ext cx="111306" cy="103759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8" y="44"/>
                  </a:cxn>
                  <a:cxn ang="0">
                    <a:pos x="5" y="35"/>
                  </a:cxn>
                  <a:cxn ang="0">
                    <a:pos x="16" y="15"/>
                  </a:cxn>
                  <a:cxn ang="0">
                    <a:pos x="21" y="9"/>
                  </a:cxn>
                  <a:cxn ang="0">
                    <a:pos x="81" y="2"/>
                  </a:cxn>
                  <a:cxn ang="0">
                    <a:pos x="101" y="12"/>
                  </a:cxn>
                  <a:cxn ang="0">
                    <a:pos x="106" y="22"/>
                  </a:cxn>
                  <a:cxn ang="0">
                    <a:pos x="111" y="34"/>
                  </a:cxn>
                  <a:cxn ang="0">
                    <a:pos x="114" y="54"/>
                  </a:cxn>
                  <a:cxn ang="0">
                    <a:pos x="114" y="64"/>
                  </a:cxn>
                  <a:cxn ang="0">
                    <a:pos x="124" y="67"/>
                  </a:cxn>
                  <a:cxn ang="0">
                    <a:pos x="139" y="69"/>
                  </a:cxn>
                  <a:cxn ang="0">
                    <a:pos x="158" y="67"/>
                  </a:cxn>
                  <a:cxn ang="0">
                    <a:pos x="168" y="72"/>
                  </a:cxn>
                  <a:cxn ang="0">
                    <a:pos x="176" y="100"/>
                  </a:cxn>
                  <a:cxn ang="0">
                    <a:pos x="184" y="110"/>
                  </a:cxn>
                  <a:cxn ang="0">
                    <a:pos x="199" y="107"/>
                  </a:cxn>
                  <a:cxn ang="0">
                    <a:pos x="207" y="110"/>
                  </a:cxn>
                  <a:cxn ang="0">
                    <a:pos x="204" y="135"/>
                  </a:cxn>
                  <a:cxn ang="0">
                    <a:pos x="202" y="138"/>
                  </a:cxn>
                  <a:cxn ang="0">
                    <a:pos x="202" y="143"/>
                  </a:cxn>
                  <a:cxn ang="0">
                    <a:pos x="201" y="147"/>
                  </a:cxn>
                  <a:cxn ang="0">
                    <a:pos x="201" y="155"/>
                  </a:cxn>
                  <a:cxn ang="0">
                    <a:pos x="196" y="167"/>
                  </a:cxn>
                  <a:cxn ang="0">
                    <a:pos x="191" y="176"/>
                  </a:cxn>
                  <a:cxn ang="0">
                    <a:pos x="178" y="188"/>
                  </a:cxn>
                  <a:cxn ang="0">
                    <a:pos x="168" y="191"/>
                  </a:cxn>
                  <a:cxn ang="0">
                    <a:pos x="161" y="200"/>
                  </a:cxn>
                  <a:cxn ang="0">
                    <a:pos x="156" y="196"/>
                  </a:cxn>
                  <a:cxn ang="0">
                    <a:pos x="139" y="193"/>
                  </a:cxn>
                  <a:cxn ang="0">
                    <a:pos x="108" y="191"/>
                  </a:cxn>
                  <a:cxn ang="0">
                    <a:pos x="106" y="186"/>
                  </a:cxn>
                  <a:cxn ang="0">
                    <a:pos x="116" y="171"/>
                  </a:cxn>
                  <a:cxn ang="0">
                    <a:pos x="118" y="163"/>
                  </a:cxn>
                  <a:cxn ang="0">
                    <a:pos x="126" y="155"/>
                  </a:cxn>
                  <a:cxn ang="0">
                    <a:pos x="124" y="145"/>
                  </a:cxn>
                  <a:cxn ang="0">
                    <a:pos x="111" y="133"/>
                  </a:cxn>
                  <a:cxn ang="0">
                    <a:pos x="86" y="127"/>
                  </a:cxn>
                  <a:cxn ang="0">
                    <a:pos x="71" y="118"/>
                  </a:cxn>
                  <a:cxn ang="0">
                    <a:pos x="46" y="110"/>
                  </a:cxn>
                  <a:cxn ang="0">
                    <a:pos x="36" y="100"/>
                  </a:cxn>
                  <a:cxn ang="0">
                    <a:pos x="16" y="85"/>
                  </a:cxn>
                  <a:cxn ang="0">
                    <a:pos x="5" y="75"/>
                  </a:cxn>
                  <a:cxn ang="0">
                    <a:pos x="0" y="69"/>
                  </a:cxn>
                </a:cxnLst>
                <a:rect l="0" t="0" r="r" b="b"/>
                <a:pathLst>
                  <a:path w="207" h="200">
                    <a:moveTo>
                      <a:pt x="0" y="69"/>
                    </a:moveTo>
                    <a:lnTo>
                      <a:pt x="1" y="62"/>
                    </a:lnTo>
                    <a:lnTo>
                      <a:pt x="8" y="50"/>
                    </a:lnTo>
                    <a:lnTo>
                      <a:pt x="8" y="44"/>
                    </a:lnTo>
                    <a:lnTo>
                      <a:pt x="6" y="39"/>
                    </a:lnTo>
                    <a:lnTo>
                      <a:pt x="5" y="35"/>
                    </a:lnTo>
                    <a:lnTo>
                      <a:pt x="13" y="24"/>
                    </a:lnTo>
                    <a:lnTo>
                      <a:pt x="16" y="15"/>
                    </a:lnTo>
                    <a:lnTo>
                      <a:pt x="16" y="12"/>
                    </a:lnTo>
                    <a:lnTo>
                      <a:pt x="21" y="9"/>
                    </a:lnTo>
                    <a:lnTo>
                      <a:pt x="55" y="0"/>
                    </a:lnTo>
                    <a:lnTo>
                      <a:pt x="81" y="2"/>
                    </a:lnTo>
                    <a:lnTo>
                      <a:pt x="98" y="12"/>
                    </a:lnTo>
                    <a:lnTo>
                      <a:pt x="101" y="12"/>
                    </a:lnTo>
                    <a:lnTo>
                      <a:pt x="106" y="17"/>
                    </a:lnTo>
                    <a:lnTo>
                      <a:pt x="106" y="22"/>
                    </a:lnTo>
                    <a:lnTo>
                      <a:pt x="111" y="27"/>
                    </a:lnTo>
                    <a:lnTo>
                      <a:pt x="111" y="34"/>
                    </a:lnTo>
                    <a:lnTo>
                      <a:pt x="116" y="40"/>
                    </a:lnTo>
                    <a:lnTo>
                      <a:pt x="114" y="54"/>
                    </a:lnTo>
                    <a:lnTo>
                      <a:pt x="116" y="59"/>
                    </a:lnTo>
                    <a:lnTo>
                      <a:pt x="114" y="64"/>
                    </a:lnTo>
                    <a:lnTo>
                      <a:pt x="116" y="69"/>
                    </a:lnTo>
                    <a:lnTo>
                      <a:pt x="124" y="67"/>
                    </a:lnTo>
                    <a:lnTo>
                      <a:pt x="128" y="69"/>
                    </a:lnTo>
                    <a:lnTo>
                      <a:pt x="139" y="69"/>
                    </a:lnTo>
                    <a:lnTo>
                      <a:pt x="146" y="70"/>
                    </a:lnTo>
                    <a:lnTo>
                      <a:pt x="158" y="67"/>
                    </a:lnTo>
                    <a:lnTo>
                      <a:pt x="164" y="70"/>
                    </a:lnTo>
                    <a:lnTo>
                      <a:pt x="168" y="72"/>
                    </a:lnTo>
                    <a:lnTo>
                      <a:pt x="169" y="77"/>
                    </a:lnTo>
                    <a:lnTo>
                      <a:pt x="176" y="100"/>
                    </a:lnTo>
                    <a:lnTo>
                      <a:pt x="181" y="108"/>
                    </a:lnTo>
                    <a:lnTo>
                      <a:pt x="184" y="110"/>
                    </a:lnTo>
                    <a:lnTo>
                      <a:pt x="194" y="105"/>
                    </a:lnTo>
                    <a:lnTo>
                      <a:pt x="199" y="107"/>
                    </a:lnTo>
                    <a:lnTo>
                      <a:pt x="204" y="110"/>
                    </a:lnTo>
                    <a:lnTo>
                      <a:pt x="207" y="110"/>
                    </a:lnTo>
                    <a:lnTo>
                      <a:pt x="204" y="113"/>
                    </a:lnTo>
                    <a:lnTo>
                      <a:pt x="204" y="135"/>
                    </a:lnTo>
                    <a:lnTo>
                      <a:pt x="202" y="137"/>
                    </a:lnTo>
                    <a:lnTo>
                      <a:pt x="202" y="138"/>
                    </a:lnTo>
                    <a:lnTo>
                      <a:pt x="202" y="140"/>
                    </a:lnTo>
                    <a:lnTo>
                      <a:pt x="202" y="143"/>
                    </a:lnTo>
                    <a:lnTo>
                      <a:pt x="201" y="145"/>
                    </a:lnTo>
                    <a:lnTo>
                      <a:pt x="201" y="147"/>
                    </a:lnTo>
                    <a:lnTo>
                      <a:pt x="199" y="153"/>
                    </a:lnTo>
                    <a:lnTo>
                      <a:pt x="201" y="155"/>
                    </a:lnTo>
                    <a:lnTo>
                      <a:pt x="199" y="163"/>
                    </a:lnTo>
                    <a:lnTo>
                      <a:pt x="196" y="167"/>
                    </a:lnTo>
                    <a:lnTo>
                      <a:pt x="193" y="171"/>
                    </a:lnTo>
                    <a:lnTo>
                      <a:pt x="191" y="176"/>
                    </a:lnTo>
                    <a:lnTo>
                      <a:pt x="179" y="183"/>
                    </a:lnTo>
                    <a:lnTo>
                      <a:pt x="178" y="188"/>
                    </a:lnTo>
                    <a:lnTo>
                      <a:pt x="174" y="193"/>
                    </a:lnTo>
                    <a:lnTo>
                      <a:pt x="168" y="191"/>
                    </a:lnTo>
                    <a:lnTo>
                      <a:pt x="166" y="193"/>
                    </a:lnTo>
                    <a:lnTo>
                      <a:pt x="161" y="200"/>
                    </a:lnTo>
                    <a:lnTo>
                      <a:pt x="159" y="196"/>
                    </a:lnTo>
                    <a:lnTo>
                      <a:pt x="156" y="196"/>
                    </a:lnTo>
                    <a:lnTo>
                      <a:pt x="149" y="198"/>
                    </a:lnTo>
                    <a:lnTo>
                      <a:pt x="139" y="193"/>
                    </a:lnTo>
                    <a:lnTo>
                      <a:pt x="126" y="190"/>
                    </a:lnTo>
                    <a:lnTo>
                      <a:pt x="108" y="191"/>
                    </a:lnTo>
                    <a:lnTo>
                      <a:pt x="104" y="191"/>
                    </a:lnTo>
                    <a:lnTo>
                      <a:pt x="106" y="186"/>
                    </a:lnTo>
                    <a:lnTo>
                      <a:pt x="113" y="180"/>
                    </a:lnTo>
                    <a:lnTo>
                      <a:pt x="116" y="171"/>
                    </a:lnTo>
                    <a:lnTo>
                      <a:pt x="114" y="167"/>
                    </a:lnTo>
                    <a:lnTo>
                      <a:pt x="118" y="163"/>
                    </a:lnTo>
                    <a:lnTo>
                      <a:pt x="121" y="160"/>
                    </a:lnTo>
                    <a:lnTo>
                      <a:pt x="126" y="155"/>
                    </a:lnTo>
                    <a:lnTo>
                      <a:pt x="126" y="150"/>
                    </a:lnTo>
                    <a:lnTo>
                      <a:pt x="124" y="145"/>
                    </a:lnTo>
                    <a:lnTo>
                      <a:pt x="116" y="140"/>
                    </a:lnTo>
                    <a:lnTo>
                      <a:pt x="111" y="133"/>
                    </a:lnTo>
                    <a:lnTo>
                      <a:pt x="96" y="132"/>
                    </a:lnTo>
                    <a:lnTo>
                      <a:pt x="86" y="127"/>
                    </a:lnTo>
                    <a:lnTo>
                      <a:pt x="75" y="118"/>
                    </a:lnTo>
                    <a:lnTo>
                      <a:pt x="71" y="118"/>
                    </a:lnTo>
                    <a:lnTo>
                      <a:pt x="61" y="113"/>
                    </a:lnTo>
                    <a:lnTo>
                      <a:pt x="46" y="110"/>
                    </a:lnTo>
                    <a:lnTo>
                      <a:pt x="43" y="105"/>
                    </a:lnTo>
                    <a:lnTo>
                      <a:pt x="36" y="100"/>
                    </a:lnTo>
                    <a:lnTo>
                      <a:pt x="31" y="100"/>
                    </a:lnTo>
                    <a:lnTo>
                      <a:pt x="16" y="85"/>
                    </a:lnTo>
                    <a:lnTo>
                      <a:pt x="10" y="77"/>
                    </a:lnTo>
                    <a:lnTo>
                      <a:pt x="5" y="75"/>
                    </a:lnTo>
                    <a:lnTo>
                      <a:pt x="0" y="70"/>
                    </a:lnTo>
                    <a:lnTo>
                      <a:pt x="0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89" name="Freeform 173">
                <a:extLst>
                  <a:ext uri="{FF2B5EF4-FFF2-40B4-BE49-F238E27FC236}">
                    <a16:creationId xmlns:a16="http://schemas.microsoft.com/office/drawing/2014/main" id="{9B8F64ED-209B-D64E-B234-02F0B6762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1526" y="3629757"/>
                <a:ext cx="65285" cy="65368"/>
              </a:xfrm>
              <a:custGeom>
                <a:avLst/>
                <a:gdLst/>
                <a:ahLst/>
                <a:cxnLst>
                  <a:cxn ang="0">
                    <a:pos x="17" y="2"/>
                  </a:cxn>
                  <a:cxn ang="0">
                    <a:pos x="32" y="0"/>
                  </a:cxn>
                  <a:cxn ang="0">
                    <a:pos x="42" y="10"/>
                  </a:cxn>
                  <a:cxn ang="0">
                    <a:pos x="50" y="16"/>
                  </a:cxn>
                  <a:cxn ang="0">
                    <a:pos x="58" y="26"/>
                  </a:cxn>
                  <a:cxn ang="0">
                    <a:pos x="65" y="21"/>
                  </a:cxn>
                  <a:cxn ang="0">
                    <a:pos x="78" y="33"/>
                  </a:cxn>
                  <a:cxn ang="0">
                    <a:pos x="90" y="38"/>
                  </a:cxn>
                  <a:cxn ang="0">
                    <a:pos x="95" y="43"/>
                  </a:cxn>
                  <a:cxn ang="0">
                    <a:pos x="110" y="53"/>
                  </a:cxn>
                  <a:cxn ang="0">
                    <a:pos x="121" y="65"/>
                  </a:cxn>
                  <a:cxn ang="0">
                    <a:pos x="115" y="76"/>
                  </a:cxn>
                  <a:cxn ang="0">
                    <a:pos x="118" y="85"/>
                  </a:cxn>
                  <a:cxn ang="0">
                    <a:pos x="121" y="90"/>
                  </a:cxn>
                  <a:cxn ang="0">
                    <a:pos x="121" y="93"/>
                  </a:cxn>
                  <a:cxn ang="0">
                    <a:pos x="116" y="103"/>
                  </a:cxn>
                  <a:cxn ang="0">
                    <a:pos x="110" y="109"/>
                  </a:cxn>
                  <a:cxn ang="0">
                    <a:pos x="110" y="113"/>
                  </a:cxn>
                  <a:cxn ang="0">
                    <a:pos x="95" y="123"/>
                  </a:cxn>
                  <a:cxn ang="0">
                    <a:pos x="91" y="121"/>
                  </a:cxn>
                  <a:cxn ang="0">
                    <a:pos x="88" y="126"/>
                  </a:cxn>
                  <a:cxn ang="0">
                    <a:pos x="81" y="124"/>
                  </a:cxn>
                  <a:cxn ang="0">
                    <a:pos x="75" y="123"/>
                  </a:cxn>
                  <a:cxn ang="0">
                    <a:pos x="63" y="123"/>
                  </a:cxn>
                  <a:cxn ang="0">
                    <a:pos x="53" y="124"/>
                  </a:cxn>
                  <a:cxn ang="0">
                    <a:pos x="55" y="121"/>
                  </a:cxn>
                  <a:cxn ang="0">
                    <a:pos x="50" y="119"/>
                  </a:cxn>
                  <a:cxn ang="0">
                    <a:pos x="40" y="116"/>
                  </a:cxn>
                  <a:cxn ang="0">
                    <a:pos x="23" y="116"/>
                  </a:cxn>
                  <a:cxn ang="0">
                    <a:pos x="13" y="109"/>
                  </a:cxn>
                  <a:cxn ang="0">
                    <a:pos x="3" y="100"/>
                  </a:cxn>
                  <a:cxn ang="0">
                    <a:pos x="0" y="83"/>
                  </a:cxn>
                  <a:cxn ang="0">
                    <a:pos x="0" y="80"/>
                  </a:cxn>
                  <a:cxn ang="0">
                    <a:pos x="5" y="75"/>
                  </a:cxn>
                  <a:cxn ang="0">
                    <a:pos x="2" y="58"/>
                  </a:cxn>
                  <a:cxn ang="0">
                    <a:pos x="2" y="48"/>
                  </a:cxn>
                  <a:cxn ang="0">
                    <a:pos x="5" y="40"/>
                  </a:cxn>
                  <a:cxn ang="0">
                    <a:pos x="7" y="26"/>
                  </a:cxn>
                  <a:cxn ang="0">
                    <a:pos x="7" y="20"/>
                  </a:cxn>
                  <a:cxn ang="0">
                    <a:pos x="10" y="8"/>
                  </a:cxn>
                  <a:cxn ang="0">
                    <a:pos x="13" y="2"/>
                  </a:cxn>
                </a:cxnLst>
                <a:rect l="0" t="0" r="r" b="b"/>
                <a:pathLst>
                  <a:path w="123" h="126">
                    <a:moveTo>
                      <a:pt x="13" y="2"/>
                    </a:moveTo>
                    <a:lnTo>
                      <a:pt x="17" y="2"/>
                    </a:lnTo>
                    <a:lnTo>
                      <a:pt x="18" y="3"/>
                    </a:lnTo>
                    <a:lnTo>
                      <a:pt x="32" y="0"/>
                    </a:lnTo>
                    <a:lnTo>
                      <a:pt x="37" y="3"/>
                    </a:lnTo>
                    <a:lnTo>
                      <a:pt x="42" y="10"/>
                    </a:lnTo>
                    <a:lnTo>
                      <a:pt x="47" y="11"/>
                    </a:lnTo>
                    <a:lnTo>
                      <a:pt x="50" y="16"/>
                    </a:lnTo>
                    <a:lnTo>
                      <a:pt x="55" y="26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71" y="30"/>
                    </a:lnTo>
                    <a:lnTo>
                      <a:pt x="78" y="33"/>
                    </a:lnTo>
                    <a:lnTo>
                      <a:pt x="83" y="33"/>
                    </a:lnTo>
                    <a:lnTo>
                      <a:pt x="90" y="38"/>
                    </a:lnTo>
                    <a:lnTo>
                      <a:pt x="90" y="45"/>
                    </a:lnTo>
                    <a:lnTo>
                      <a:pt x="95" y="43"/>
                    </a:lnTo>
                    <a:lnTo>
                      <a:pt x="103" y="48"/>
                    </a:lnTo>
                    <a:lnTo>
                      <a:pt x="110" y="53"/>
                    </a:lnTo>
                    <a:lnTo>
                      <a:pt x="115" y="61"/>
                    </a:lnTo>
                    <a:lnTo>
                      <a:pt x="121" y="65"/>
                    </a:lnTo>
                    <a:lnTo>
                      <a:pt x="120" y="71"/>
                    </a:lnTo>
                    <a:lnTo>
                      <a:pt x="115" y="76"/>
                    </a:lnTo>
                    <a:lnTo>
                      <a:pt x="118" y="83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21" y="90"/>
                    </a:lnTo>
                    <a:lnTo>
                      <a:pt x="123" y="91"/>
                    </a:lnTo>
                    <a:lnTo>
                      <a:pt x="121" y="93"/>
                    </a:lnTo>
                    <a:lnTo>
                      <a:pt x="116" y="96"/>
                    </a:lnTo>
                    <a:lnTo>
                      <a:pt x="116" y="103"/>
                    </a:lnTo>
                    <a:lnTo>
                      <a:pt x="113" y="106"/>
                    </a:lnTo>
                    <a:lnTo>
                      <a:pt x="110" y="109"/>
                    </a:lnTo>
                    <a:lnTo>
                      <a:pt x="111" y="111"/>
                    </a:lnTo>
                    <a:lnTo>
                      <a:pt x="110" y="113"/>
                    </a:lnTo>
                    <a:lnTo>
                      <a:pt x="103" y="119"/>
                    </a:lnTo>
                    <a:lnTo>
                      <a:pt x="95" y="123"/>
                    </a:lnTo>
                    <a:lnTo>
                      <a:pt x="93" y="121"/>
                    </a:lnTo>
                    <a:lnTo>
                      <a:pt x="91" y="121"/>
                    </a:lnTo>
                    <a:lnTo>
                      <a:pt x="91" y="124"/>
                    </a:lnTo>
                    <a:lnTo>
                      <a:pt x="88" y="126"/>
                    </a:lnTo>
                    <a:lnTo>
                      <a:pt x="85" y="124"/>
                    </a:lnTo>
                    <a:lnTo>
                      <a:pt x="81" y="124"/>
                    </a:lnTo>
                    <a:lnTo>
                      <a:pt x="78" y="124"/>
                    </a:lnTo>
                    <a:lnTo>
                      <a:pt x="75" y="123"/>
                    </a:lnTo>
                    <a:lnTo>
                      <a:pt x="71" y="121"/>
                    </a:lnTo>
                    <a:lnTo>
                      <a:pt x="63" y="123"/>
                    </a:lnTo>
                    <a:lnTo>
                      <a:pt x="58" y="124"/>
                    </a:lnTo>
                    <a:lnTo>
                      <a:pt x="53" y="124"/>
                    </a:lnTo>
                    <a:lnTo>
                      <a:pt x="53" y="123"/>
                    </a:lnTo>
                    <a:lnTo>
                      <a:pt x="55" y="121"/>
                    </a:lnTo>
                    <a:lnTo>
                      <a:pt x="53" y="119"/>
                    </a:lnTo>
                    <a:lnTo>
                      <a:pt x="50" y="119"/>
                    </a:lnTo>
                    <a:lnTo>
                      <a:pt x="47" y="119"/>
                    </a:lnTo>
                    <a:lnTo>
                      <a:pt x="40" y="116"/>
                    </a:lnTo>
                    <a:lnTo>
                      <a:pt x="33" y="114"/>
                    </a:lnTo>
                    <a:lnTo>
                      <a:pt x="23" y="116"/>
                    </a:lnTo>
                    <a:lnTo>
                      <a:pt x="20" y="114"/>
                    </a:lnTo>
                    <a:lnTo>
                      <a:pt x="13" y="109"/>
                    </a:lnTo>
                    <a:lnTo>
                      <a:pt x="10" y="109"/>
                    </a:lnTo>
                    <a:lnTo>
                      <a:pt x="3" y="100"/>
                    </a:lnTo>
                    <a:lnTo>
                      <a:pt x="0" y="91"/>
                    </a:lnTo>
                    <a:lnTo>
                      <a:pt x="0" y="83"/>
                    </a:lnTo>
                    <a:lnTo>
                      <a:pt x="0" y="81"/>
                    </a:lnTo>
                    <a:lnTo>
                      <a:pt x="0" y="80"/>
                    </a:lnTo>
                    <a:lnTo>
                      <a:pt x="5" y="78"/>
                    </a:lnTo>
                    <a:lnTo>
                      <a:pt x="5" y="75"/>
                    </a:lnTo>
                    <a:lnTo>
                      <a:pt x="3" y="66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2" y="48"/>
                    </a:lnTo>
                    <a:lnTo>
                      <a:pt x="5" y="43"/>
                    </a:lnTo>
                    <a:lnTo>
                      <a:pt x="5" y="40"/>
                    </a:lnTo>
                    <a:lnTo>
                      <a:pt x="7" y="36"/>
                    </a:lnTo>
                    <a:lnTo>
                      <a:pt x="7" y="26"/>
                    </a:lnTo>
                    <a:lnTo>
                      <a:pt x="5" y="23"/>
                    </a:lnTo>
                    <a:lnTo>
                      <a:pt x="7" y="20"/>
                    </a:lnTo>
                    <a:lnTo>
                      <a:pt x="5" y="13"/>
                    </a:lnTo>
                    <a:lnTo>
                      <a:pt x="10" y="8"/>
                    </a:lnTo>
                    <a:lnTo>
                      <a:pt x="12" y="3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0" name="Freeform 174">
                <a:extLst>
                  <a:ext uri="{FF2B5EF4-FFF2-40B4-BE49-F238E27FC236}">
                    <a16:creationId xmlns:a16="http://schemas.microsoft.com/office/drawing/2014/main" id="{E45C151D-E30E-5842-AFBD-58D521914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6340" y="3529112"/>
                <a:ext cx="207628" cy="471065"/>
              </a:xfrm>
              <a:custGeom>
                <a:avLst/>
                <a:gdLst/>
                <a:ahLst/>
                <a:cxnLst>
                  <a:cxn ang="0">
                    <a:pos x="100" y="3"/>
                  </a:cxn>
                  <a:cxn ang="0">
                    <a:pos x="127" y="14"/>
                  </a:cxn>
                  <a:cxn ang="0">
                    <a:pos x="175" y="13"/>
                  </a:cxn>
                  <a:cxn ang="0">
                    <a:pos x="240" y="54"/>
                  </a:cxn>
                  <a:cxn ang="0">
                    <a:pos x="286" y="96"/>
                  </a:cxn>
                  <a:cxn ang="0">
                    <a:pos x="291" y="126"/>
                  </a:cxn>
                  <a:cxn ang="0">
                    <a:pos x="339" y="129"/>
                  </a:cxn>
                  <a:cxn ang="0">
                    <a:pos x="364" y="89"/>
                  </a:cxn>
                  <a:cxn ang="0">
                    <a:pos x="389" y="117"/>
                  </a:cxn>
                  <a:cxn ang="0">
                    <a:pos x="358" y="136"/>
                  </a:cxn>
                  <a:cxn ang="0">
                    <a:pos x="326" y="162"/>
                  </a:cxn>
                  <a:cxn ang="0">
                    <a:pos x="304" y="194"/>
                  </a:cxn>
                  <a:cxn ang="0">
                    <a:pos x="296" y="234"/>
                  </a:cxn>
                  <a:cxn ang="0">
                    <a:pos x="291" y="274"/>
                  </a:cxn>
                  <a:cxn ang="0">
                    <a:pos x="294" y="302"/>
                  </a:cxn>
                  <a:cxn ang="0">
                    <a:pos x="324" y="345"/>
                  </a:cxn>
                  <a:cxn ang="0">
                    <a:pos x="344" y="368"/>
                  </a:cxn>
                  <a:cxn ang="0">
                    <a:pos x="331" y="400"/>
                  </a:cxn>
                  <a:cxn ang="0">
                    <a:pos x="261" y="425"/>
                  </a:cxn>
                  <a:cxn ang="0">
                    <a:pos x="221" y="420"/>
                  </a:cxn>
                  <a:cxn ang="0">
                    <a:pos x="230" y="445"/>
                  </a:cxn>
                  <a:cxn ang="0">
                    <a:pos x="230" y="466"/>
                  </a:cxn>
                  <a:cxn ang="0">
                    <a:pos x="200" y="490"/>
                  </a:cxn>
                  <a:cxn ang="0">
                    <a:pos x="161" y="480"/>
                  </a:cxn>
                  <a:cxn ang="0">
                    <a:pos x="185" y="518"/>
                  </a:cxn>
                  <a:cxn ang="0">
                    <a:pos x="190" y="514"/>
                  </a:cxn>
                  <a:cxn ang="0">
                    <a:pos x="206" y="529"/>
                  </a:cxn>
                  <a:cxn ang="0">
                    <a:pos x="180" y="529"/>
                  </a:cxn>
                  <a:cxn ang="0">
                    <a:pos x="176" y="548"/>
                  </a:cxn>
                  <a:cxn ang="0">
                    <a:pos x="171" y="574"/>
                  </a:cxn>
                  <a:cxn ang="0">
                    <a:pos x="173" y="597"/>
                  </a:cxn>
                  <a:cxn ang="0">
                    <a:pos x="142" y="612"/>
                  </a:cxn>
                  <a:cxn ang="0">
                    <a:pos x="137" y="644"/>
                  </a:cxn>
                  <a:cxn ang="0">
                    <a:pos x="180" y="661"/>
                  </a:cxn>
                  <a:cxn ang="0">
                    <a:pos x="185" y="684"/>
                  </a:cxn>
                  <a:cxn ang="0">
                    <a:pos x="168" y="704"/>
                  </a:cxn>
                  <a:cxn ang="0">
                    <a:pos x="150" y="729"/>
                  </a:cxn>
                  <a:cxn ang="0">
                    <a:pos x="137" y="747"/>
                  </a:cxn>
                  <a:cxn ang="0">
                    <a:pos x="128" y="775"/>
                  </a:cxn>
                  <a:cxn ang="0">
                    <a:pos x="138" y="803"/>
                  </a:cxn>
                  <a:cxn ang="0">
                    <a:pos x="143" y="815"/>
                  </a:cxn>
                  <a:cxn ang="0">
                    <a:pos x="65" y="795"/>
                  </a:cxn>
                  <a:cxn ang="0">
                    <a:pos x="27" y="760"/>
                  </a:cxn>
                  <a:cxn ang="0">
                    <a:pos x="40" y="679"/>
                  </a:cxn>
                  <a:cxn ang="0">
                    <a:pos x="39" y="622"/>
                  </a:cxn>
                  <a:cxn ang="0">
                    <a:pos x="24" y="594"/>
                  </a:cxn>
                  <a:cxn ang="0">
                    <a:pos x="20" y="564"/>
                  </a:cxn>
                  <a:cxn ang="0">
                    <a:pos x="14" y="513"/>
                  </a:cxn>
                  <a:cxn ang="0">
                    <a:pos x="14" y="433"/>
                  </a:cxn>
                  <a:cxn ang="0">
                    <a:pos x="20" y="355"/>
                  </a:cxn>
                  <a:cxn ang="0">
                    <a:pos x="25" y="302"/>
                  </a:cxn>
                  <a:cxn ang="0">
                    <a:pos x="0" y="234"/>
                  </a:cxn>
                  <a:cxn ang="0">
                    <a:pos x="10" y="174"/>
                  </a:cxn>
                  <a:cxn ang="0">
                    <a:pos x="35" y="116"/>
                  </a:cxn>
                  <a:cxn ang="0">
                    <a:pos x="32" y="81"/>
                  </a:cxn>
                  <a:cxn ang="0">
                    <a:pos x="259" y="896"/>
                  </a:cxn>
                  <a:cxn ang="0">
                    <a:pos x="259" y="896"/>
                  </a:cxn>
                  <a:cxn ang="0">
                    <a:pos x="160" y="848"/>
                  </a:cxn>
                  <a:cxn ang="0">
                    <a:pos x="175" y="867"/>
                  </a:cxn>
                  <a:cxn ang="0">
                    <a:pos x="226" y="893"/>
                  </a:cxn>
                  <a:cxn ang="0">
                    <a:pos x="231" y="903"/>
                  </a:cxn>
                  <a:cxn ang="0">
                    <a:pos x="175" y="905"/>
                  </a:cxn>
                  <a:cxn ang="0">
                    <a:pos x="180" y="893"/>
                  </a:cxn>
                </a:cxnLst>
                <a:rect l="0" t="0" r="r" b="b"/>
                <a:pathLst>
                  <a:path w="389" h="908">
                    <a:moveTo>
                      <a:pt x="60" y="23"/>
                    </a:moveTo>
                    <a:lnTo>
                      <a:pt x="63" y="19"/>
                    </a:lnTo>
                    <a:lnTo>
                      <a:pt x="67" y="11"/>
                    </a:lnTo>
                    <a:lnTo>
                      <a:pt x="77" y="3"/>
                    </a:lnTo>
                    <a:lnTo>
                      <a:pt x="83" y="0"/>
                    </a:lnTo>
                    <a:lnTo>
                      <a:pt x="88" y="5"/>
                    </a:lnTo>
                    <a:lnTo>
                      <a:pt x="97" y="5"/>
                    </a:lnTo>
                    <a:lnTo>
                      <a:pt x="100" y="3"/>
                    </a:lnTo>
                    <a:lnTo>
                      <a:pt x="105" y="5"/>
                    </a:lnTo>
                    <a:lnTo>
                      <a:pt x="115" y="3"/>
                    </a:lnTo>
                    <a:lnTo>
                      <a:pt x="118" y="3"/>
                    </a:lnTo>
                    <a:lnTo>
                      <a:pt x="120" y="9"/>
                    </a:lnTo>
                    <a:lnTo>
                      <a:pt x="123" y="18"/>
                    </a:lnTo>
                    <a:lnTo>
                      <a:pt x="125" y="21"/>
                    </a:lnTo>
                    <a:lnTo>
                      <a:pt x="127" y="18"/>
                    </a:lnTo>
                    <a:lnTo>
                      <a:pt x="127" y="14"/>
                    </a:lnTo>
                    <a:lnTo>
                      <a:pt x="130" y="9"/>
                    </a:lnTo>
                    <a:lnTo>
                      <a:pt x="130" y="6"/>
                    </a:lnTo>
                    <a:lnTo>
                      <a:pt x="133" y="1"/>
                    </a:lnTo>
                    <a:lnTo>
                      <a:pt x="148" y="1"/>
                    </a:lnTo>
                    <a:lnTo>
                      <a:pt x="160" y="1"/>
                    </a:lnTo>
                    <a:lnTo>
                      <a:pt x="165" y="6"/>
                    </a:lnTo>
                    <a:lnTo>
                      <a:pt x="170" y="11"/>
                    </a:lnTo>
                    <a:lnTo>
                      <a:pt x="175" y="13"/>
                    </a:lnTo>
                    <a:lnTo>
                      <a:pt x="181" y="21"/>
                    </a:lnTo>
                    <a:lnTo>
                      <a:pt x="196" y="36"/>
                    </a:lnTo>
                    <a:lnTo>
                      <a:pt x="201" y="36"/>
                    </a:lnTo>
                    <a:lnTo>
                      <a:pt x="208" y="41"/>
                    </a:lnTo>
                    <a:lnTo>
                      <a:pt x="211" y="46"/>
                    </a:lnTo>
                    <a:lnTo>
                      <a:pt x="226" y="49"/>
                    </a:lnTo>
                    <a:lnTo>
                      <a:pt x="236" y="54"/>
                    </a:lnTo>
                    <a:lnTo>
                      <a:pt x="240" y="54"/>
                    </a:lnTo>
                    <a:lnTo>
                      <a:pt x="251" y="63"/>
                    </a:lnTo>
                    <a:lnTo>
                      <a:pt x="261" y="68"/>
                    </a:lnTo>
                    <a:lnTo>
                      <a:pt x="276" y="69"/>
                    </a:lnTo>
                    <a:lnTo>
                      <a:pt x="281" y="76"/>
                    </a:lnTo>
                    <a:lnTo>
                      <a:pt x="289" y="81"/>
                    </a:lnTo>
                    <a:lnTo>
                      <a:pt x="291" y="86"/>
                    </a:lnTo>
                    <a:lnTo>
                      <a:pt x="291" y="91"/>
                    </a:lnTo>
                    <a:lnTo>
                      <a:pt x="286" y="96"/>
                    </a:lnTo>
                    <a:lnTo>
                      <a:pt x="283" y="99"/>
                    </a:lnTo>
                    <a:lnTo>
                      <a:pt x="279" y="103"/>
                    </a:lnTo>
                    <a:lnTo>
                      <a:pt x="281" y="107"/>
                    </a:lnTo>
                    <a:lnTo>
                      <a:pt x="278" y="116"/>
                    </a:lnTo>
                    <a:lnTo>
                      <a:pt x="271" y="122"/>
                    </a:lnTo>
                    <a:lnTo>
                      <a:pt x="269" y="127"/>
                    </a:lnTo>
                    <a:lnTo>
                      <a:pt x="273" y="127"/>
                    </a:lnTo>
                    <a:lnTo>
                      <a:pt x="291" y="126"/>
                    </a:lnTo>
                    <a:lnTo>
                      <a:pt x="304" y="129"/>
                    </a:lnTo>
                    <a:lnTo>
                      <a:pt x="314" y="134"/>
                    </a:lnTo>
                    <a:lnTo>
                      <a:pt x="321" y="132"/>
                    </a:lnTo>
                    <a:lnTo>
                      <a:pt x="324" y="132"/>
                    </a:lnTo>
                    <a:lnTo>
                      <a:pt x="326" y="136"/>
                    </a:lnTo>
                    <a:lnTo>
                      <a:pt x="331" y="129"/>
                    </a:lnTo>
                    <a:lnTo>
                      <a:pt x="333" y="127"/>
                    </a:lnTo>
                    <a:lnTo>
                      <a:pt x="339" y="129"/>
                    </a:lnTo>
                    <a:lnTo>
                      <a:pt x="343" y="124"/>
                    </a:lnTo>
                    <a:lnTo>
                      <a:pt x="344" y="119"/>
                    </a:lnTo>
                    <a:lnTo>
                      <a:pt x="356" y="112"/>
                    </a:lnTo>
                    <a:lnTo>
                      <a:pt x="358" y="107"/>
                    </a:lnTo>
                    <a:lnTo>
                      <a:pt x="361" y="103"/>
                    </a:lnTo>
                    <a:lnTo>
                      <a:pt x="364" y="99"/>
                    </a:lnTo>
                    <a:lnTo>
                      <a:pt x="366" y="91"/>
                    </a:lnTo>
                    <a:lnTo>
                      <a:pt x="364" y="89"/>
                    </a:lnTo>
                    <a:lnTo>
                      <a:pt x="366" y="83"/>
                    </a:lnTo>
                    <a:lnTo>
                      <a:pt x="371" y="79"/>
                    </a:lnTo>
                    <a:lnTo>
                      <a:pt x="382" y="81"/>
                    </a:lnTo>
                    <a:lnTo>
                      <a:pt x="382" y="84"/>
                    </a:lnTo>
                    <a:lnTo>
                      <a:pt x="387" y="94"/>
                    </a:lnTo>
                    <a:lnTo>
                      <a:pt x="386" y="101"/>
                    </a:lnTo>
                    <a:lnTo>
                      <a:pt x="387" y="111"/>
                    </a:lnTo>
                    <a:lnTo>
                      <a:pt x="389" y="117"/>
                    </a:lnTo>
                    <a:lnTo>
                      <a:pt x="387" y="121"/>
                    </a:lnTo>
                    <a:lnTo>
                      <a:pt x="382" y="121"/>
                    </a:lnTo>
                    <a:lnTo>
                      <a:pt x="376" y="124"/>
                    </a:lnTo>
                    <a:lnTo>
                      <a:pt x="376" y="126"/>
                    </a:lnTo>
                    <a:lnTo>
                      <a:pt x="372" y="127"/>
                    </a:lnTo>
                    <a:lnTo>
                      <a:pt x="371" y="127"/>
                    </a:lnTo>
                    <a:lnTo>
                      <a:pt x="361" y="134"/>
                    </a:lnTo>
                    <a:lnTo>
                      <a:pt x="358" y="136"/>
                    </a:lnTo>
                    <a:lnTo>
                      <a:pt x="354" y="137"/>
                    </a:lnTo>
                    <a:lnTo>
                      <a:pt x="346" y="144"/>
                    </a:lnTo>
                    <a:lnTo>
                      <a:pt x="343" y="146"/>
                    </a:lnTo>
                    <a:lnTo>
                      <a:pt x="343" y="151"/>
                    </a:lnTo>
                    <a:lnTo>
                      <a:pt x="339" y="151"/>
                    </a:lnTo>
                    <a:lnTo>
                      <a:pt x="336" y="151"/>
                    </a:lnTo>
                    <a:lnTo>
                      <a:pt x="328" y="159"/>
                    </a:lnTo>
                    <a:lnTo>
                      <a:pt x="326" y="162"/>
                    </a:lnTo>
                    <a:lnTo>
                      <a:pt x="328" y="167"/>
                    </a:lnTo>
                    <a:lnTo>
                      <a:pt x="323" y="169"/>
                    </a:lnTo>
                    <a:lnTo>
                      <a:pt x="321" y="171"/>
                    </a:lnTo>
                    <a:lnTo>
                      <a:pt x="316" y="179"/>
                    </a:lnTo>
                    <a:lnTo>
                      <a:pt x="313" y="182"/>
                    </a:lnTo>
                    <a:lnTo>
                      <a:pt x="309" y="189"/>
                    </a:lnTo>
                    <a:lnTo>
                      <a:pt x="309" y="191"/>
                    </a:lnTo>
                    <a:lnTo>
                      <a:pt x="304" y="194"/>
                    </a:lnTo>
                    <a:lnTo>
                      <a:pt x="303" y="197"/>
                    </a:lnTo>
                    <a:lnTo>
                      <a:pt x="301" y="202"/>
                    </a:lnTo>
                    <a:lnTo>
                      <a:pt x="296" y="207"/>
                    </a:lnTo>
                    <a:lnTo>
                      <a:pt x="298" y="214"/>
                    </a:lnTo>
                    <a:lnTo>
                      <a:pt x="296" y="217"/>
                    </a:lnTo>
                    <a:lnTo>
                      <a:pt x="298" y="220"/>
                    </a:lnTo>
                    <a:lnTo>
                      <a:pt x="298" y="230"/>
                    </a:lnTo>
                    <a:lnTo>
                      <a:pt x="296" y="234"/>
                    </a:lnTo>
                    <a:lnTo>
                      <a:pt x="296" y="237"/>
                    </a:lnTo>
                    <a:lnTo>
                      <a:pt x="293" y="242"/>
                    </a:lnTo>
                    <a:lnTo>
                      <a:pt x="296" y="249"/>
                    </a:lnTo>
                    <a:lnTo>
                      <a:pt x="293" y="252"/>
                    </a:lnTo>
                    <a:lnTo>
                      <a:pt x="294" y="260"/>
                    </a:lnTo>
                    <a:lnTo>
                      <a:pt x="296" y="269"/>
                    </a:lnTo>
                    <a:lnTo>
                      <a:pt x="296" y="272"/>
                    </a:lnTo>
                    <a:lnTo>
                      <a:pt x="291" y="274"/>
                    </a:lnTo>
                    <a:lnTo>
                      <a:pt x="291" y="275"/>
                    </a:lnTo>
                    <a:lnTo>
                      <a:pt x="291" y="277"/>
                    </a:lnTo>
                    <a:lnTo>
                      <a:pt x="291" y="277"/>
                    </a:lnTo>
                    <a:lnTo>
                      <a:pt x="289" y="285"/>
                    </a:lnTo>
                    <a:lnTo>
                      <a:pt x="291" y="294"/>
                    </a:lnTo>
                    <a:lnTo>
                      <a:pt x="291" y="295"/>
                    </a:lnTo>
                    <a:lnTo>
                      <a:pt x="293" y="299"/>
                    </a:lnTo>
                    <a:lnTo>
                      <a:pt x="294" y="302"/>
                    </a:lnTo>
                    <a:lnTo>
                      <a:pt x="293" y="303"/>
                    </a:lnTo>
                    <a:lnTo>
                      <a:pt x="294" y="307"/>
                    </a:lnTo>
                    <a:lnTo>
                      <a:pt x="304" y="315"/>
                    </a:lnTo>
                    <a:lnTo>
                      <a:pt x="314" y="318"/>
                    </a:lnTo>
                    <a:lnTo>
                      <a:pt x="328" y="327"/>
                    </a:lnTo>
                    <a:lnTo>
                      <a:pt x="329" y="330"/>
                    </a:lnTo>
                    <a:lnTo>
                      <a:pt x="329" y="335"/>
                    </a:lnTo>
                    <a:lnTo>
                      <a:pt x="324" y="345"/>
                    </a:lnTo>
                    <a:lnTo>
                      <a:pt x="323" y="348"/>
                    </a:lnTo>
                    <a:lnTo>
                      <a:pt x="328" y="355"/>
                    </a:lnTo>
                    <a:lnTo>
                      <a:pt x="333" y="358"/>
                    </a:lnTo>
                    <a:lnTo>
                      <a:pt x="339" y="358"/>
                    </a:lnTo>
                    <a:lnTo>
                      <a:pt x="343" y="355"/>
                    </a:lnTo>
                    <a:lnTo>
                      <a:pt x="343" y="357"/>
                    </a:lnTo>
                    <a:lnTo>
                      <a:pt x="344" y="360"/>
                    </a:lnTo>
                    <a:lnTo>
                      <a:pt x="344" y="368"/>
                    </a:lnTo>
                    <a:lnTo>
                      <a:pt x="343" y="373"/>
                    </a:lnTo>
                    <a:lnTo>
                      <a:pt x="338" y="380"/>
                    </a:lnTo>
                    <a:lnTo>
                      <a:pt x="336" y="387"/>
                    </a:lnTo>
                    <a:lnTo>
                      <a:pt x="334" y="390"/>
                    </a:lnTo>
                    <a:lnTo>
                      <a:pt x="334" y="387"/>
                    </a:lnTo>
                    <a:lnTo>
                      <a:pt x="333" y="388"/>
                    </a:lnTo>
                    <a:lnTo>
                      <a:pt x="329" y="395"/>
                    </a:lnTo>
                    <a:lnTo>
                      <a:pt x="331" y="400"/>
                    </a:lnTo>
                    <a:lnTo>
                      <a:pt x="329" y="405"/>
                    </a:lnTo>
                    <a:lnTo>
                      <a:pt x="316" y="411"/>
                    </a:lnTo>
                    <a:lnTo>
                      <a:pt x="306" y="415"/>
                    </a:lnTo>
                    <a:lnTo>
                      <a:pt x="304" y="413"/>
                    </a:lnTo>
                    <a:lnTo>
                      <a:pt x="303" y="415"/>
                    </a:lnTo>
                    <a:lnTo>
                      <a:pt x="288" y="421"/>
                    </a:lnTo>
                    <a:lnTo>
                      <a:pt x="271" y="425"/>
                    </a:lnTo>
                    <a:lnTo>
                      <a:pt x="261" y="425"/>
                    </a:lnTo>
                    <a:lnTo>
                      <a:pt x="253" y="425"/>
                    </a:lnTo>
                    <a:lnTo>
                      <a:pt x="246" y="425"/>
                    </a:lnTo>
                    <a:lnTo>
                      <a:pt x="241" y="425"/>
                    </a:lnTo>
                    <a:lnTo>
                      <a:pt x="236" y="423"/>
                    </a:lnTo>
                    <a:lnTo>
                      <a:pt x="230" y="420"/>
                    </a:lnTo>
                    <a:lnTo>
                      <a:pt x="226" y="420"/>
                    </a:lnTo>
                    <a:lnTo>
                      <a:pt x="223" y="418"/>
                    </a:lnTo>
                    <a:lnTo>
                      <a:pt x="221" y="420"/>
                    </a:lnTo>
                    <a:lnTo>
                      <a:pt x="221" y="423"/>
                    </a:lnTo>
                    <a:lnTo>
                      <a:pt x="223" y="425"/>
                    </a:lnTo>
                    <a:lnTo>
                      <a:pt x="223" y="433"/>
                    </a:lnTo>
                    <a:lnTo>
                      <a:pt x="225" y="436"/>
                    </a:lnTo>
                    <a:lnTo>
                      <a:pt x="225" y="438"/>
                    </a:lnTo>
                    <a:lnTo>
                      <a:pt x="230" y="438"/>
                    </a:lnTo>
                    <a:lnTo>
                      <a:pt x="230" y="443"/>
                    </a:lnTo>
                    <a:lnTo>
                      <a:pt x="230" y="445"/>
                    </a:lnTo>
                    <a:lnTo>
                      <a:pt x="228" y="446"/>
                    </a:lnTo>
                    <a:lnTo>
                      <a:pt x="228" y="448"/>
                    </a:lnTo>
                    <a:lnTo>
                      <a:pt x="223" y="451"/>
                    </a:lnTo>
                    <a:lnTo>
                      <a:pt x="225" y="453"/>
                    </a:lnTo>
                    <a:lnTo>
                      <a:pt x="223" y="456"/>
                    </a:lnTo>
                    <a:lnTo>
                      <a:pt x="223" y="460"/>
                    </a:lnTo>
                    <a:lnTo>
                      <a:pt x="225" y="465"/>
                    </a:lnTo>
                    <a:lnTo>
                      <a:pt x="230" y="466"/>
                    </a:lnTo>
                    <a:lnTo>
                      <a:pt x="228" y="470"/>
                    </a:lnTo>
                    <a:lnTo>
                      <a:pt x="226" y="471"/>
                    </a:lnTo>
                    <a:lnTo>
                      <a:pt x="228" y="475"/>
                    </a:lnTo>
                    <a:lnTo>
                      <a:pt x="226" y="480"/>
                    </a:lnTo>
                    <a:lnTo>
                      <a:pt x="221" y="483"/>
                    </a:lnTo>
                    <a:lnTo>
                      <a:pt x="221" y="485"/>
                    </a:lnTo>
                    <a:lnTo>
                      <a:pt x="215" y="490"/>
                    </a:lnTo>
                    <a:lnTo>
                      <a:pt x="200" y="490"/>
                    </a:lnTo>
                    <a:lnTo>
                      <a:pt x="193" y="488"/>
                    </a:lnTo>
                    <a:lnTo>
                      <a:pt x="185" y="481"/>
                    </a:lnTo>
                    <a:lnTo>
                      <a:pt x="175" y="478"/>
                    </a:lnTo>
                    <a:lnTo>
                      <a:pt x="170" y="480"/>
                    </a:lnTo>
                    <a:lnTo>
                      <a:pt x="168" y="478"/>
                    </a:lnTo>
                    <a:lnTo>
                      <a:pt x="170" y="476"/>
                    </a:lnTo>
                    <a:lnTo>
                      <a:pt x="166" y="476"/>
                    </a:lnTo>
                    <a:lnTo>
                      <a:pt x="161" y="480"/>
                    </a:lnTo>
                    <a:lnTo>
                      <a:pt x="161" y="488"/>
                    </a:lnTo>
                    <a:lnTo>
                      <a:pt x="166" y="493"/>
                    </a:lnTo>
                    <a:lnTo>
                      <a:pt x="168" y="499"/>
                    </a:lnTo>
                    <a:lnTo>
                      <a:pt x="168" y="511"/>
                    </a:lnTo>
                    <a:lnTo>
                      <a:pt x="170" y="514"/>
                    </a:lnTo>
                    <a:lnTo>
                      <a:pt x="175" y="518"/>
                    </a:lnTo>
                    <a:lnTo>
                      <a:pt x="183" y="518"/>
                    </a:lnTo>
                    <a:lnTo>
                      <a:pt x="185" y="518"/>
                    </a:lnTo>
                    <a:lnTo>
                      <a:pt x="183" y="519"/>
                    </a:lnTo>
                    <a:lnTo>
                      <a:pt x="180" y="521"/>
                    </a:lnTo>
                    <a:lnTo>
                      <a:pt x="183" y="523"/>
                    </a:lnTo>
                    <a:lnTo>
                      <a:pt x="191" y="521"/>
                    </a:lnTo>
                    <a:lnTo>
                      <a:pt x="193" y="518"/>
                    </a:lnTo>
                    <a:lnTo>
                      <a:pt x="188" y="518"/>
                    </a:lnTo>
                    <a:lnTo>
                      <a:pt x="186" y="516"/>
                    </a:lnTo>
                    <a:lnTo>
                      <a:pt x="190" y="514"/>
                    </a:lnTo>
                    <a:lnTo>
                      <a:pt x="193" y="514"/>
                    </a:lnTo>
                    <a:lnTo>
                      <a:pt x="198" y="511"/>
                    </a:lnTo>
                    <a:lnTo>
                      <a:pt x="201" y="513"/>
                    </a:lnTo>
                    <a:lnTo>
                      <a:pt x="205" y="518"/>
                    </a:lnTo>
                    <a:lnTo>
                      <a:pt x="203" y="521"/>
                    </a:lnTo>
                    <a:lnTo>
                      <a:pt x="201" y="521"/>
                    </a:lnTo>
                    <a:lnTo>
                      <a:pt x="205" y="526"/>
                    </a:lnTo>
                    <a:lnTo>
                      <a:pt x="206" y="529"/>
                    </a:lnTo>
                    <a:lnTo>
                      <a:pt x="206" y="534"/>
                    </a:lnTo>
                    <a:lnTo>
                      <a:pt x="196" y="539"/>
                    </a:lnTo>
                    <a:lnTo>
                      <a:pt x="193" y="538"/>
                    </a:lnTo>
                    <a:lnTo>
                      <a:pt x="191" y="534"/>
                    </a:lnTo>
                    <a:lnTo>
                      <a:pt x="191" y="531"/>
                    </a:lnTo>
                    <a:lnTo>
                      <a:pt x="191" y="529"/>
                    </a:lnTo>
                    <a:lnTo>
                      <a:pt x="186" y="526"/>
                    </a:lnTo>
                    <a:lnTo>
                      <a:pt x="180" y="529"/>
                    </a:lnTo>
                    <a:lnTo>
                      <a:pt x="175" y="531"/>
                    </a:lnTo>
                    <a:lnTo>
                      <a:pt x="175" y="534"/>
                    </a:lnTo>
                    <a:lnTo>
                      <a:pt x="176" y="538"/>
                    </a:lnTo>
                    <a:lnTo>
                      <a:pt x="181" y="538"/>
                    </a:lnTo>
                    <a:lnTo>
                      <a:pt x="188" y="539"/>
                    </a:lnTo>
                    <a:lnTo>
                      <a:pt x="188" y="541"/>
                    </a:lnTo>
                    <a:lnTo>
                      <a:pt x="183" y="546"/>
                    </a:lnTo>
                    <a:lnTo>
                      <a:pt x="176" y="548"/>
                    </a:lnTo>
                    <a:lnTo>
                      <a:pt x="173" y="551"/>
                    </a:lnTo>
                    <a:lnTo>
                      <a:pt x="175" y="553"/>
                    </a:lnTo>
                    <a:lnTo>
                      <a:pt x="173" y="558"/>
                    </a:lnTo>
                    <a:lnTo>
                      <a:pt x="168" y="561"/>
                    </a:lnTo>
                    <a:lnTo>
                      <a:pt x="170" y="566"/>
                    </a:lnTo>
                    <a:lnTo>
                      <a:pt x="171" y="569"/>
                    </a:lnTo>
                    <a:lnTo>
                      <a:pt x="171" y="571"/>
                    </a:lnTo>
                    <a:lnTo>
                      <a:pt x="171" y="574"/>
                    </a:lnTo>
                    <a:lnTo>
                      <a:pt x="176" y="579"/>
                    </a:lnTo>
                    <a:lnTo>
                      <a:pt x="176" y="583"/>
                    </a:lnTo>
                    <a:lnTo>
                      <a:pt x="175" y="586"/>
                    </a:lnTo>
                    <a:lnTo>
                      <a:pt x="176" y="586"/>
                    </a:lnTo>
                    <a:lnTo>
                      <a:pt x="170" y="591"/>
                    </a:lnTo>
                    <a:lnTo>
                      <a:pt x="168" y="594"/>
                    </a:lnTo>
                    <a:lnTo>
                      <a:pt x="168" y="596"/>
                    </a:lnTo>
                    <a:lnTo>
                      <a:pt x="173" y="597"/>
                    </a:lnTo>
                    <a:lnTo>
                      <a:pt x="175" y="599"/>
                    </a:lnTo>
                    <a:lnTo>
                      <a:pt x="175" y="601"/>
                    </a:lnTo>
                    <a:lnTo>
                      <a:pt x="166" y="602"/>
                    </a:lnTo>
                    <a:lnTo>
                      <a:pt x="161" y="601"/>
                    </a:lnTo>
                    <a:lnTo>
                      <a:pt x="155" y="602"/>
                    </a:lnTo>
                    <a:lnTo>
                      <a:pt x="150" y="607"/>
                    </a:lnTo>
                    <a:lnTo>
                      <a:pt x="145" y="607"/>
                    </a:lnTo>
                    <a:lnTo>
                      <a:pt x="142" y="612"/>
                    </a:lnTo>
                    <a:lnTo>
                      <a:pt x="138" y="612"/>
                    </a:lnTo>
                    <a:lnTo>
                      <a:pt x="137" y="617"/>
                    </a:lnTo>
                    <a:lnTo>
                      <a:pt x="135" y="621"/>
                    </a:lnTo>
                    <a:lnTo>
                      <a:pt x="128" y="626"/>
                    </a:lnTo>
                    <a:lnTo>
                      <a:pt x="128" y="627"/>
                    </a:lnTo>
                    <a:lnTo>
                      <a:pt x="132" y="631"/>
                    </a:lnTo>
                    <a:lnTo>
                      <a:pt x="132" y="636"/>
                    </a:lnTo>
                    <a:lnTo>
                      <a:pt x="137" y="644"/>
                    </a:lnTo>
                    <a:lnTo>
                      <a:pt x="142" y="647"/>
                    </a:lnTo>
                    <a:lnTo>
                      <a:pt x="145" y="649"/>
                    </a:lnTo>
                    <a:lnTo>
                      <a:pt x="152" y="654"/>
                    </a:lnTo>
                    <a:lnTo>
                      <a:pt x="161" y="662"/>
                    </a:lnTo>
                    <a:lnTo>
                      <a:pt x="170" y="661"/>
                    </a:lnTo>
                    <a:lnTo>
                      <a:pt x="173" y="661"/>
                    </a:lnTo>
                    <a:lnTo>
                      <a:pt x="176" y="661"/>
                    </a:lnTo>
                    <a:lnTo>
                      <a:pt x="180" y="661"/>
                    </a:lnTo>
                    <a:lnTo>
                      <a:pt x="181" y="664"/>
                    </a:lnTo>
                    <a:lnTo>
                      <a:pt x="180" y="666"/>
                    </a:lnTo>
                    <a:lnTo>
                      <a:pt x="180" y="667"/>
                    </a:lnTo>
                    <a:lnTo>
                      <a:pt x="181" y="672"/>
                    </a:lnTo>
                    <a:lnTo>
                      <a:pt x="181" y="677"/>
                    </a:lnTo>
                    <a:lnTo>
                      <a:pt x="178" y="681"/>
                    </a:lnTo>
                    <a:lnTo>
                      <a:pt x="181" y="681"/>
                    </a:lnTo>
                    <a:lnTo>
                      <a:pt x="185" y="684"/>
                    </a:lnTo>
                    <a:lnTo>
                      <a:pt x="181" y="686"/>
                    </a:lnTo>
                    <a:lnTo>
                      <a:pt x="181" y="689"/>
                    </a:lnTo>
                    <a:lnTo>
                      <a:pt x="183" y="691"/>
                    </a:lnTo>
                    <a:lnTo>
                      <a:pt x="178" y="694"/>
                    </a:lnTo>
                    <a:lnTo>
                      <a:pt x="175" y="695"/>
                    </a:lnTo>
                    <a:lnTo>
                      <a:pt x="173" y="699"/>
                    </a:lnTo>
                    <a:lnTo>
                      <a:pt x="171" y="700"/>
                    </a:lnTo>
                    <a:lnTo>
                      <a:pt x="168" y="704"/>
                    </a:lnTo>
                    <a:lnTo>
                      <a:pt x="166" y="709"/>
                    </a:lnTo>
                    <a:lnTo>
                      <a:pt x="161" y="709"/>
                    </a:lnTo>
                    <a:lnTo>
                      <a:pt x="157" y="714"/>
                    </a:lnTo>
                    <a:lnTo>
                      <a:pt x="155" y="719"/>
                    </a:lnTo>
                    <a:lnTo>
                      <a:pt x="153" y="724"/>
                    </a:lnTo>
                    <a:lnTo>
                      <a:pt x="148" y="727"/>
                    </a:lnTo>
                    <a:lnTo>
                      <a:pt x="148" y="730"/>
                    </a:lnTo>
                    <a:lnTo>
                      <a:pt x="150" y="729"/>
                    </a:lnTo>
                    <a:lnTo>
                      <a:pt x="153" y="730"/>
                    </a:lnTo>
                    <a:lnTo>
                      <a:pt x="155" y="737"/>
                    </a:lnTo>
                    <a:lnTo>
                      <a:pt x="153" y="740"/>
                    </a:lnTo>
                    <a:lnTo>
                      <a:pt x="150" y="744"/>
                    </a:lnTo>
                    <a:lnTo>
                      <a:pt x="148" y="749"/>
                    </a:lnTo>
                    <a:lnTo>
                      <a:pt x="143" y="752"/>
                    </a:lnTo>
                    <a:lnTo>
                      <a:pt x="140" y="750"/>
                    </a:lnTo>
                    <a:lnTo>
                      <a:pt x="137" y="747"/>
                    </a:lnTo>
                    <a:lnTo>
                      <a:pt x="133" y="745"/>
                    </a:lnTo>
                    <a:lnTo>
                      <a:pt x="137" y="749"/>
                    </a:lnTo>
                    <a:lnTo>
                      <a:pt x="137" y="752"/>
                    </a:lnTo>
                    <a:lnTo>
                      <a:pt x="138" y="754"/>
                    </a:lnTo>
                    <a:lnTo>
                      <a:pt x="137" y="757"/>
                    </a:lnTo>
                    <a:lnTo>
                      <a:pt x="130" y="762"/>
                    </a:lnTo>
                    <a:lnTo>
                      <a:pt x="127" y="769"/>
                    </a:lnTo>
                    <a:lnTo>
                      <a:pt x="128" y="775"/>
                    </a:lnTo>
                    <a:lnTo>
                      <a:pt x="133" y="782"/>
                    </a:lnTo>
                    <a:lnTo>
                      <a:pt x="137" y="792"/>
                    </a:lnTo>
                    <a:lnTo>
                      <a:pt x="137" y="795"/>
                    </a:lnTo>
                    <a:lnTo>
                      <a:pt x="138" y="797"/>
                    </a:lnTo>
                    <a:lnTo>
                      <a:pt x="137" y="798"/>
                    </a:lnTo>
                    <a:lnTo>
                      <a:pt x="133" y="802"/>
                    </a:lnTo>
                    <a:lnTo>
                      <a:pt x="137" y="803"/>
                    </a:lnTo>
                    <a:lnTo>
                      <a:pt x="138" y="803"/>
                    </a:lnTo>
                    <a:lnTo>
                      <a:pt x="143" y="807"/>
                    </a:lnTo>
                    <a:lnTo>
                      <a:pt x="143" y="810"/>
                    </a:lnTo>
                    <a:lnTo>
                      <a:pt x="152" y="815"/>
                    </a:lnTo>
                    <a:lnTo>
                      <a:pt x="157" y="818"/>
                    </a:lnTo>
                    <a:lnTo>
                      <a:pt x="158" y="823"/>
                    </a:lnTo>
                    <a:lnTo>
                      <a:pt x="155" y="822"/>
                    </a:lnTo>
                    <a:lnTo>
                      <a:pt x="150" y="820"/>
                    </a:lnTo>
                    <a:lnTo>
                      <a:pt x="143" y="815"/>
                    </a:lnTo>
                    <a:lnTo>
                      <a:pt x="138" y="813"/>
                    </a:lnTo>
                    <a:lnTo>
                      <a:pt x="137" y="812"/>
                    </a:lnTo>
                    <a:lnTo>
                      <a:pt x="105" y="812"/>
                    </a:lnTo>
                    <a:lnTo>
                      <a:pt x="88" y="815"/>
                    </a:lnTo>
                    <a:lnTo>
                      <a:pt x="83" y="813"/>
                    </a:lnTo>
                    <a:lnTo>
                      <a:pt x="72" y="812"/>
                    </a:lnTo>
                    <a:lnTo>
                      <a:pt x="68" y="803"/>
                    </a:lnTo>
                    <a:lnTo>
                      <a:pt x="65" y="795"/>
                    </a:lnTo>
                    <a:lnTo>
                      <a:pt x="60" y="790"/>
                    </a:lnTo>
                    <a:lnTo>
                      <a:pt x="59" y="779"/>
                    </a:lnTo>
                    <a:lnTo>
                      <a:pt x="59" y="772"/>
                    </a:lnTo>
                    <a:lnTo>
                      <a:pt x="54" y="772"/>
                    </a:lnTo>
                    <a:lnTo>
                      <a:pt x="45" y="775"/>
                    </a:lnTo>
                    <a:lnTo>
                      <a:pt x="42" y="780"/>
                    </a:lnTo>
                    <a:lnTo>
                      <a:pt x="37" y="780"/>
                    </a:lnTo>
                    <a:lnTo>
                      <a:pt x="27" y="760"/>
                    </a:lnTo>
                    <a:lnTo>
                      <a:pt x="25" y="754"/>
                    </a:lnTo>
                    <a:lnTo>
                      <a:pt x="29" y="734"/>
                    </a:lnTo>
                    <a:lnTo>
                      <a:pt x="34" y="727"/>
                    </a:lnTo>
                    <a:lnTo>
                      <a:pt x="42" y="720"/>
                    </a:lnTo>
                    <a:lnTo>
                      <a:pt x="44" y="709"/>
                    </a:lnTo>
                    <a:lnTo>
                      <a:pt x="42" y="697"/>
                    </a:lnTo>
                    <a:lnTo>
                      <a:pt x="39" y="689"/>
                    </a:lnTo>
                    <a:lnTo>
                      <a:pt x="40" y="679"/>
                    </a:lnTo>
                    <a:lnTo>
                      <a:pt x="45" y="674"/>
                    </a:lnTo>
                    <a:lnTo>
                      <a:pt x="40" y="664"/>
                    </a:lnTo>
                    <a:lnTo>
                      <a:pt x="40" y="659"/>
                    </a:lnTo>
                    <a:lnTo>
                      <a:pt x="45" y="654"/>
                    </a:lnTo>
                    <a:lnTo>
                      <a:pt x="42" y="644"/>
                    </a:lnTo>
                    <a:lnTo>
                      <a:pt x="40" y="632"/>
                    </a:lnTo>
                    <a:lnTo>
                      <a:pt x="37" y="627"/>
                    </a:lnTo>
                    <a:lnTo>
                      <a:pt x="39" y="622"/>
                    </a:lnTo>
                    <a:lnTo>
                      <a:pt x="44" y="617"/>
                    </a:lnTo>
                    <a:lnTo>
                      <a:pt x="44" y="612"/>
                    </a:lnTo>
                    <a:lnTo>
                      <a:pt x="39" y="604"/>
                    </a:lnTo>
                    <a:lnTo>
                      <a:pt x="30" y="599"/>
                    </a:lnTo>
                    <a:lnTo>
                      <a:pt x="25" y="599"/>
                    </a:lnTo>
                    <a:lnTo>
                      <a:pt x="24" y="601"/>
                    </a:lnTo>
                    <a:lnTo>
                      <a:pt x="22" y="597"/>
                    </a:lnTo>
                    <a:lnTo>
                      <a:pt x="24" y="594"/>
                    </a:lnTo>
                    <a:lnTo>
                      <a:pt x="34" y="594"/>
                    </a:lnTo>
                    <a:lnTo>
                      <a:pt x="40" y="589"/>
                    </a:lnTo>
                    <a:lnTo>
                      <a:pt x="39" y="584"/>
                    </a:lnTo>
                    <a:lnTo>
                      <a:pt x="35" y="583"/>
                    </a:lnTo>
                    <a:lnTo>
                      <a:pt x="32" y="584"/>
                    </a:lnTo>
                    <a:lnTo>
                      <a:pt x="27" y="584"/>
                    </a:lnTo>
                    <a:lnTo>
                      <a:pt x="25" y="574"/>
                    </a:lnTo>
                    <a:lnTo>
                      <a:pt x="20" y="564"/>
                    </a:lnTo>
                    <a:lnTo>
                      <a:pt x="20" y="559"/>
                    </a:lnTo>
                    <a:lnTo>
                      <a:pt x="20" y="551"/>
                    </a:lnTo>
                    <a:lnTo>
                      <a:pt x="14" y="549"/>
                    </a:lnTo>
                    <a:lnTo>
                      <a:pt x="10" y="543"/>
                    </a:lnTo>
                    <a:lnTo>
                      <a:pt x="10" y="526"/>
                    </a:lnTo>
                    <a:lnTo>
                      <a:pt x="15" y="523"/>
                    </a:lnTo>
                    <a:lnTo>
                      <a:pt x="17" y="518"/>
                    </a:lnTo>
                    <a:lnTo>
                      <a:pt x="14" y="513"/>
                    </a:lnTo>
                    <a:lnTo>
                      <a:pt x="10" y="511"/>
                    </a:lnTo>
                    <a:lnTo>
                      <a:pt x="7" y="499"/>
                    </a:lnTo>
                    <a:lnTo>
                      <a:pt x="7" y="486"/>
                    </a:lnTo>
                    <a:lnTo>
                      <a:pt x="9" y="470"/>
                    </a:lnTo>
                    <a:lnTo>
                      <a:pt x="4" y="463"/>
                    </a:lnTo>
                    <a:lnTo>
                      <a:pt x="2" y="455"/>
                    </a:lnTo>
                    <a:lnTo>
                      <a:pt x="12" y="445"/>
                    </a:lnTo>
                    <a:lnTo>
                      <a:pt x="14" y="433"/>
                    </a:lnTo>
                    <a:lnTo>
                      <a:pt x="19" y="430"/>
                    </a:lnTo>
                    <a:lnTo>
                      <a:pt x="24" y="426"/>
                    </a:lnTo>
                    <a:lnTo>
                      <a:pt x="9" y="400"/>
                    </a:lnTo>
                    <a:lnTo>
                      <a:pt x="10" y="392"/>
                    </a:lnTo>
                    <a:lnTo>
                      <a:pt x="10" y="385"/>
                    </a:lnTo>
                    <a:lnTo>
                      <a:pt x="10" y="370"/>
                    </a:lnTo>
                    <a:lnTo>
                      <a:pt x="15" y="362"/>
                    </a:lnTo>
                    <a:lnTo>
                      <a:pt x="20" y="355"/>
                    </a:lnTo>
                    <a:lnTo>
                      <a:pt x="20" y="348"/>
                    </a:lnTo>
                    <a:lnTo>
                      <a:pt x="15" y="340"/>
                    </a:lnTo>
                    <a:lnTo>
                      <a:pt x="12" y="338"/>
                    </a:lnTo>
                    <a:lnTo>
                      <a:pt x="17" y="330"/>
                    </a:lnTo>
                    <a:lnTo>
                      <a:pt x="15" y="322"/>
                    </a:lnTo>
                    <a:lnTo>
                      <a:pt x="20" y="313"/>
                    </a:lnTo>
                    <a:lnTo>
                      <a:pt x="24" y="312"/>
                    </a:lnTo>
                    <a:lnTo>
                      <a:pt x="25" y="302"/>
                    </a:lnTo>
                    <a:lnTo>
                      <a:pt x="24" y="284"/>
                    </a:lnTo>
                    <a:lnTo>
                      <a:pt x="20" y="282"/>
                    </a:lnTo>
                    <a:lnTo>
                      <a:pt x="17" y="269"/>
                    </a:lnTo>
                    <a:lnTo>
                      <a:pt x="14" y="262"/>
                    </a:lnTo>
                    <a:lnTo>
                      <a:pt x="7" y="254"/>
                    </a:lnTo>
                    <a:lnTo>
                      <a:pt x="7" y="250"/>
                    </a:lnTo>
                    <a:lnTo>
                      <a:pt x="2" y="244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9" y="222"/>
                    </a:lnTo>
                    <a:lnTo>
                      <a:pt x="9" y="212"/>
                    </a:lnTo>
                    <a:lnTo>
                      <a:pt x="12" y="207"/>
                    </a:lnTo>
                    <a:lnTo>
                      <a:pt x="12" y="197"/>
                    </a:lnTo>
                    <a:lnTo>
                      <a:pt x="9" y="191"/>
                    </a:lnTo>
                    <a:lnTo>
                      <a:pt x="7" y="176"/>
                    </a:lnTo>
                    <a:lnTo>
                      <a:pt x="10" y="174"/>
                    </a:lnTo>
                    <a:lnTo>
                      <a:pt x="12" y="157"/>
                    </a:lnTo>
                    <a:lnTo>
                      <a:pt x="17" y="152"/>
                    </a:lnTo>
                    <a:lnTo>
                      <a:pt x="24" y="137"/>
                    </a:lnTo>
                    <a:lnTo>
                      <a:pt x="30" y="131"/>
                    </a:lnTo>
                    <a:lnTo>
                      <a:pt x="34" y="129"/>
                    </a:lnTo>
                    <a:lnTo>
                      <a:pt x="39" y="124"/>
                    </a:lnTo>
                    <a:lnTo>
                      <a:pt x="35" y="122"/>
                    </a:lnTo>
                    <a:lnTo>
                      <a:pt x="35" y="116"/>
                    </a:lnTo>
                    <a:lnTo>
                      <a:pt x="34" y="114"/>
                    </a:lnTo>
                    <a:lnTo>
                      <a:pt x="30" y="111"/>
                    </a:lnTo>
                    <a:lnTo>
                      <a:pt x="32" y="107"/>
                    </a:lnTo>
                    <a:lnTo>
                      <a:pt x="35" y="104"/>
                    </a:lnTo>
                    <a:lnTo>
                      <a:pt x="35" y="99"/>
                    </a:lnTo>
                    <a:lnTo>
                      <a:pt x="30" y="93"/>
                    </a:lnTo>
                    <a:lnTo>
                      <a:pt x="29" y="84"/>
                    </a:lnTo>
                    <a:lnTo>
                      <a:pt x="32" y="81"/>
                    </a:lnTo>
                    <a:lnTo>
                      <a:pt x="30" y="76"/>
                    </a:lnTo>
                    <a:lnTo>
                      <a:pt x="25" y="73"/>
                    </a:lnTo>
                    <a:lnTo>
                      <a:pt x="29" y="68"/>
                    </a:lnTo>
                    <a:lnTo>
                      <a:pt x="57" y="53"/>
                    </a:lnTo>
                    <a:lnTo>
                      <a:pt x="63" y="28"/>
                    </a:lnTo>
                    <a:lnTo>
                      <a:pt x="60" y="23"/>
                    </a:lnTo>
                    <a:lnTo>
                      <a:pt x="60" y="23"/>
                    </a:lnTo>
                    <a:close/>
                    <a:moveTo>
                      <a:pt x="259" y="896"/>
                    </a:moveTo>
                    <a:lnTo>
                      <a:pt x="263" y="900"/>
                    </a:lnTo>
                    <a:lnTo>
                      <a:pt x="268" y="896"/>
                    </a:lnTo>
                    <a:lnTo>
                      <a:pt x="273" y="896"/>
                    </a:lnTo>
                    <a:lnTo>
                      <a:pt x="278" y="891"/>
                    </a:lnTo>
                    <a:lnTo>
                      <a:pt x="271" y="891"/>
                    </a:lnTo>
                    <a:lnTo>
                      <a:pt x="268" y="895"/>
                    </a:lnTo>
                    <a:lnTo>
                      <a:pt x="261" y="895"/>
                    </a:lnTo>
                    <a:lnTo>
                      <a:pt x="259" y="896"/>
                    </a:lnTo>
                    <a:lnTo>
                      <a:pt x="259" y="896"/>
                    </a:lnTo>
                    <a:close/>
                    <a:moveTo>
                      <a:pt x="150" y="827"/>
                    </a:moveTo>
                    <a:lnTo>
                      <a:pt x="152" y="827"/>
                    </a:lnTo>
                    <a:lnTo>
                      <a:pt x="155" y="832"/>
                    </a:lnTo>
                    <a:lnTo>
                      <a:pt x="163" y="838"/>
                    </a:lnTo>
                    <a:lnTo>
                      <a:pt x="165" y="850"/>
                    </a:lnTo>
                    <a:lnTo>
                      <a:pt x="163" y="847"/>
                    </a:lnTo>
                    <a:lnTo>
                      <a:pt x="160" y="848"/>
                    </a:lnTo>
                    <a:lnTo>
                      <a:pt x="158" y="852"/>
                    </a:lnTo>
                    <a:lnTo>
                      <a:pt x="150" y="827"/>
                    </a:lnTo>
                    <a:lnTo>
                      <a:pt x="150" y="827"/>
                    </a:lnTo>
                    <a:close/>
                    <a:moveTo>
                      <a:pt x="158" y="853"/>
                    </a:moveTo>
                    <a:lnTo>
                      <a:pt x="163" y="855"/>
                    </a:lnTo>
                    <a:lnTo>
                      <a:pt x="168" y="855"/>
                    </a:lnTo>
                    <a:lnTo>
                      <a:pt x="171" y="858"/>
                    </a:lnTo>
                    <a:lnTo>
                      <a:pt x="175" y="867"/>
                    </a:lnTo>
                    <a:lnTo>
                      <a:pt x="180" y="867"/>
                    </a:lnTo>
                    <a:lnTo>
                      <a:pt x="186" y="872"/>
                    </a:lnTo>
                    <a:lnTo>
                      <a:pt x="186" y="877"/>
                    </a:lnTo>
                    <a:lnTo>
                      <a:pt x="191" y="878"/>
                    </a:lnTo>
                    <a:lnTo>
                      <a:pt x="211" y="883"/>
                    </a:lnTo>
                    <a:lnTo>
                      <a:pt x="213" y="885"/>
                    </a:lnTo>
                    <a:lnTo>
                      <a:pt x="220" y="888"/>
                    </a:lnTo>
                    <a:lnTo>
                      <a:pt x="226" y="893"/>
                    </a:lnTo>
                    <a:lnTo>
                      <a:pt x="231" y="893"/>
                    </a:lnTo>
                    <a:lnTo>
                      <a:pt x="240" y="891"/>
                    </a:lnTo>
                    <a:lnTo>
                      <a:pt x="245" y="893"/>
                    </a:lnTo>
                    <a:lnTo>
                      <a:pt x="245" y="896"/>
                    </a:lnTo>
                    <a:lnTo>
                      <a:pt x="240" y="900"/>
                    </a:lnTo>
                    <a:lnTo>
                      <a:pt x="236" y="898"/>
                    </a:lnTo>
                    <a:lnTo>
                      <a:pt x="231" y="900"/>
                    </a:lnTo>
                    <a:lnTo>
                      <a:pt x="231" y="903"/>
                    </a:lnTo>
                    <a:lnTo>
                      <a:pt x="226" y="906"/>
                    </a:lnTo>
                    <a:lnTo>
                      <a:pt x="221" y="908"/>
                    </a:lnTo>
                    <a:lnTo>
                      <a:pt x="215" y="906"/>
                    </a:lnTo>
                    <a:lnTo>
                      <a:pt x="210" y="903"/>
                    </a:lnTo>
                    <a:lnTo>
                      <a:pt x="200" y="903"/>
                    </a:lnTo>
                    <a:lnTo>
                      <a:pt x="193" y="903"/>
                    </a:lnTo>
                    <a:lnTo>
                      <a:pt x="183" y="903"/>
                    </a:lnTo>
                    <a:lnTo>
                      <a:pt x="175" y="905"/>
                    </a:lnTo>
                    <a:lnTo>
                      <a:pt x="171" y="905"/>
                    </a:lnTo>
                    <a:lnTo>
                      <a:pt x="170" y="896"/>
                    </a:lnTo>
                    <a:lnTo>
                      <a:pt x="181" y="896"/>
                    </a:lnTo>
                    <a:lnTo>
                      <a:pt x="188" y="895"/>
                    </a:lnTo>
                    <a:lnTo>
                      <a:pt x="191" y="893"/>
                    </a:lnTo>
                    <a:lnTo>
                      <a:pt x="193" y="891"/>
                    </a:lnTo>
                    <a:lnTo>
                      <a:pt x="186" y="893"/>
                    </a:lnTo>
                    <a:lnTo>
                      <a:pt x="180" y="893"/>
                    </a:lnTo>
                    <a:lnTo>
                      <a:pt x="171" y="895"/>
                    </a:lnTo>
                    <a:lnTo>
                      <a:pt x="170" y="895"/>
                    </a:lnTo>
                    <a:lnTo>
                      <a:pt x="158" y="8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  <p:sp>
            <p:nvSpPr>
              <p:cNvPr id="91" name="Freeform 175">
                <a:extLst>
                  <a:ext uri="{FF2B5EF4-FFF2-40B4-BE49-F238E27FC236}">
                    <a16:creationId xmlns:a16="http://schemas.microsoft.com/office/drawing/2014/main" id="{3E2AD01C-58C6-C64F-BAF9-0112D99A7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444" y="3476194"/>
                <a:ext cx="140202" cy="539546"/>
              </a:xfrm>
              <a:custGeom>
                <a:avLst/>
                <a:gdLst/>
                <a:ahLst/>
                <a:cxnLst>
                  <a:cxn ang="0">
                    <a:pos x="178" y="997"/>
                  </a:cxn>
                  <a:cxn ang="0">
                    <a:pos x="176" y="1013"/>
                  </a:cxn>
                  <a:cxn ang="0">
                    <a:pos x="224" y="1007"/>
                  </a:cxn>
                  <a:cxn ang="0">
                    <a:pos x="171" y="954"/>
                  </a:cxn>
                  <a:cxn ang="0">
                    <a:pos x="203" y="922"/>
                  </a:cxn>
                  <a:cxn ang="0">
                    <a:pos x="97" y="811"/>
                  </a:cxn>
                  <a:cxn ang="0">
                    <a:pos x="92" y="686"/>
                  </a:cxn>
                  <a:cxn ang="0">
                    <a:pos x="72" y="532"/>
                  </a:cxn>
                  <a:cxn ang="0">
                    <a:pos x="55" y="346"/>
                  </a:cxn>
                  <a:cxn ang="0">
                    <a:pos x="88" y="201"/>
                  </a:cxn>
                  <a:cxn ang="0">
                    <a:pos x="58" y="23"/>
                  </a:cxn>
                  <a:cxn ang="0">
                    <a:pos x="30" y="68"/>
                  </a:cxn>
                  <a:cxn ang="0">
                    <a:pos x="30" y="203"/>
                  </a:cxn>
                  <a:cxn ang="0">
                    <a:pos x="20" y="311"/>
                  </a:cxn>
                  <a:cxn ang="0">
                    <a:pos x="28" y="414"/>
                  </a:cxn>
                  <a:cxn ang="0">
                    <a:pos x="7" y="492"/>
                  </a:cxn>
                  <a:cxn ang="0">
                    <a:pos x="15" y="575"/>
                  </a:cxn>
                  <a:cxn ang="0">
                    <a:pos x="48" y="623"/>
                  </a:cxn>
                  <a:cxn ang="0">
                    <a:pos x="50" y="668"/>
                  </a:cxn>
                  <a:cxn ang="0">
                    <a:pos x="43" y="739"/>
                  </a:cxn>
                  <a:cxn ang="0">
                    <a:pos x="17" y="733"/>
                  </a:cxn>
                  <a:cxn ang="0">
                    <a:pos x="23" y="763"/>
                  </a:cxn>
                  <a:cxn ang="0">
                    <a:pos x="53" y="789"/>
                  </a:cxn>
                  <a:cxn ang="0">
                    <a:pos x="48" y="819"/>
                  </a:cxn>
                  <a:cxn ang="0">
                    <a:pos x="55" y="861"/>
                  </a:cxn>
                  <a:cxn ang="0">
                    <a:pos x="85" y="905"/>
                  </a:cxn>
                  <a:cxn ang="0">
                    <a:pos x="95" y="907"/>
                  </a:cxn>
                  <a:cxn ang="0">
                    <a:pos x="107" y="922"/>
                  </a:cxn>
                  <a:cxn ang="0">
                    <a:pos x="100" y="952"/>
                  </a:cxn>
                  <a:cxn ang="0">
                    <a:pos x="145" y="937"/>
                  </a:cxn>
                  <a:cxn ang="0">
                    <a:pos x="128" y="964"/>
                  </a:cxn>
                  <a:cxn ang="0">
                    <a:pos x="143" y="965"/>
                  </a:cxn>
                  <a:cxn ang="0">
                    <a:pos x="163" y="942"/>
                  </a:cxn>
                  <a:cxn ang="0">
                    <a:pos x="25" y="640"/>
                  </a:cxn>
                  <a:cxn ang="0">
                    <a:pos x="15" y="616"/>
                  </a:cxn>
                  <a:cxn ang="0">
                    <a:pos x="10" y="675"/>
                  </a:cxn>
                  <a:cxn ang="0">
                    <a:pos x="22" y="675"/>
                  </a:cxn>
                  <a:cxn ang="0">
                    <a:pos x="37" y="695"/>
                  </a:cxn>
                  <a:cxn ang="0">
                    <a:pos x="18" y="698"/>
                  </a:cxn>
                  <a:cxn ang="0">
                    <a:pos x="42" y="690"/>
                  </a:cxn>
                  <a:cxn ang="0">
                    <a:pos x="25" y="703"/>
                  </a:cxn>
                  <a:cxn ang="0">
                    <a:pos x="25" y="724"/>
                  </a:cxn>
                  <a:cxn ang="0">
                    <a:pos x="37" y="816"/>
                  </a:cxn>
                  <a:cxn ang="0">
                    <a:pos x="23" y="819"/>
                  </a:cxn>
                  <a:cxn ang="0">
                    <a:pos x="32" y="846"/>
                  </a:cxn>
                  <a:cxn ang="0">
                    <a:pos x="50" y="831"/>
                  </a:cxn>
                  <a:cxn ang="0">
                    <a:pos x="42" y="874"/>
                  </a:cxn>
                  <a:cxn ang="0">
                    <a:pos x="60" y="882"/>
                  </a:cxn>
                  <a:cxn ang="0">
                    <a:pos x="67" y="900"/>
                  </a:cxn>
                  <a:cxn ang="0">
                    <a:pos x="67" y="912"/>
                  </a:cxn>
                  <a:cxn ang="0">
                    <a:pos x="72" y="925"/>
                  </a:cxn>
                  <a:cxn ang="0">
                    <a:pos x="80" y="930"/>
                  </a:cxn>
                  <a:cxn ang="0">
                    <a:pos x="93" y="967"/>
                  </a:cxn>
                  <a:cxn ang="0">
                    <a:pos x="90" y="969"/>
                  </a:cxn>
                  <a:cxn ang="0">
                    <a:pos x="107" y="975"/>
                  </a:cxn>
                  <a:cxn ang="0">
                    <a:pos x="141" y="990"/>
                  </a:cxn>
                  <a:cxn ang="0">
                    <a:pos x="150" y="984"/>
                  </a:cxn>
                  <a:cxn ang="0">
                    <a:pos x="178" y="985"/>
                  </a:cxn>
                  <a:cxn ang="0">
                    <a:pos x="263" y="1033"/>
                  </a:cxn>
                  <a:cxn ang="0">
                    <a:pos x="241" y="1018"/>
                  </a:cxn>
                  <a:cxn ang="0">
                    <a:pos x="216" y="1025"/>
                  </a:cxn>
                </a:cxnLst>
                <a:rect l="0" t="0" r="r" b="b"/>
                <a:pathLst>
                  <a:path w="263" h="1040">
                    <a:moveTo>
                      <a:pt x="224" y="1007"/>
                    </a:moveTo>
                    <a:lnTo>
                      <a:pt x="223" y="998"/>
                    </a:lnTo>
                    <a:lnTo>
                      <a:pt x="219" y="998"/>
                    </a:lnTo>
                    <a:lnTo>
                      <a:pt x="216" y="995"/>
                    </a:lnTo>
                    <a:lnTo>
                      <a:pt x="206" y="993"/>
                    </a:lnTo>
                    <a:lnTo>
                      <a:pt x="195" y="990"/>
                    </a:lnTo>
                    <a:lnTo>
                      <a:pt x="190" y="989"/>
                    </a:lnTo>
                    <a:lnTo>
                      <a:pt x="190" y="990"/>
                    </a:lnTo>
                    <a:lnTo>
                      <a:pt x="190" y="992"/>
                    </a:lnTo>
                    <a:lnTo>
                      <a:pt x="188" y="993"/>
                    </a:lnTo>
                    <a:lnTo>
                      <a:pt x="186" y="992"/>
                    </a:lnTo>
                    <a:lnTo>
                      <a:pt x="178" y="989"/>
                    </a:lnTo>
                    <a:lnTo>
                      <a:pt x="175" y="987"/>
                    </a:lnTo>
                    <a:lnTo>
                      <a:pt x="173" y="989"/>
                    </a:lnTo>
                    <a:lnTo>
                      <a:pt x="175" y="990"/>
                    </a:lnTo>
                    <a:lnTo>
                      <a:pt x="185" y="995"/>
                    </a:lnTo>
                    <a:lnTo>
                      <a:pt x="186" y="997"/>
                    </a:lnTo>
                    <a:lnTo>
                      <a:pt x="183" y="997"/>
                    </a:lnTo>
                    <a:lnTo>
                      <a:pt x="181" y="997"/>
                    </a:lnTo>
                    <a:lnTo>
                      <a:pt x="181" y="998"/>
                    </a:lnTo>
                    <a:lnTo>
                      <a:pt x="180" y="998"/>
                    </a:lnTo>
                    <a:lnTo>
                      <a:pt x="178" y="997"/>
                    </a:lnTo>
                    <a:lnTo>
                      <a:pt x="173" y="993"/>
                    </a:lnTo>
                    <a:lnTo>
                      <a:pt x="171" y="995"/>
                    </a:lnTo>
                    <a:lnTo>
                      <a:pt x="171" y="998"/>
                    </a:lnTo>
                    <a:lnTo>
                      <a:pt x="170" y="998"/>
                    </a:lnTo>
                    <a:lnTo>
                      <a:pt x="161" y="998"/>
                    </a:lnTo>
                    <a:lnTo>
                      <a:pt x="160" y="1000"/>
                    </a:lnTo>
                    <a:lnTo>
                      <a:pt x="161" y="1002"/>
                    </a:lnTo>
                    <a:lnTo>
                      <a:pt x="160" y="1002"/>
                    </a:lnTo>
                    <a:lnTo>
                      <a:pt x="156" y="1002"/>
                    </a:lnTo>
                    <a:lnTo>
                      <a:pt x="151" y="1003"/>
                    </a:lnTo>
                    <a:lnTo>
                      <a:pt x="153" y="1005"/>
                    </a:lnTo>
                    <a:lnTo>
                      <a:pt x="158" y="1007"/>
                    </a:lnTo>
                    <a:lnTo>
                      <a:pt x="163" y="1007"/>
                    </a:lnTo>
                    <a:lnTo>
                      <a:pt x="163" y="1003"/>
                    </a:lnTo>
                    <a:lnTo>
                      <a:pt x="165" y="1003"/>
                    </a:lnTo>
                    <a:lnTo>
                      <a:pt x="168" y="1003"/>
                    </a:lnTo>
                    <a:lnTo>
                      <a:pt x="173" y="1007"/>
                    </a:lnTo>
                    <a:lnTo>
                      <a:pt x="175" y="1007"/>
                    </a:lnTo>
                    <a:lnTo>
                      <a:pt x="176" y="1008"/>
                    </a:lnTo>
                    <a:lnTo>
                      <a:pt x="176" y="1010"/>
                    </a:lnTo>
                    <a:lnTo>
                      <a:pt x="180" y="1012"/>
                    </a:lnTo>
                    <a:lnTo>
                      <a:pt x="176" y="1013"/>
                    </a:lnTo>
                    <a:lnTo>
                      <a:pt x="173" y="1017"/>
                    </a:lnTo>
                    <a:lnTo>
                      <a:pt x="176" y="1020"/>
                    </a:lnTo>
                    <a:lnTo>
                      <a:pt x="180" y="1020"/>
                    </a:lnTo>
                    <a:lnTo>
                      <a:pt x="183" y="1022"/>
                    </a:lnTo>
                    <a:lnTo>
                      <a:pt x="186" y="1025"/>
                    </a:lnTo>
                    <a:lnTo>
                      <a:pt x="190" y="1025"/>
                    </a:lnTo>
                    <a:lnTo>
                      <a:pt x="190" y="1023"/>
                    </a:lnTo>
                    <a:lnTo>
                      <a:pt x="186" y="1022"/>
                    </a:lnTo>
                    <a:lnTo>
                      <a:pt x="181" y="1018"/>
                    </a:lnTo>
                    <a:lnTo>
                      <a:pt x="181" y="1017"/>
                    </a:lnTo>
                    <a:lnTo>
                      <a:pt x="183" y="1017"/>
                    </a:lnTo>
                    <a:lnTo>
                      <a:pt x="186" y="1018"/>
                    </a:lnTo>
                    <a:lnTo>
                      <a:pt x="190" y="1015"/>
                    </a:lnTo>
                    <a:lnTo>
                      <a:pt x="190" y="1013"/>
                    </a:lnTo>
                    <a:lnTo>
                      <a:pt x="186" y="1013"/>
                    </a:lnTo>
                    <a:lnTo>
                      <a:pt x="185" y="1012"/>
                    </a:lnTo>
                    <a:lnTo>
                      <a:pt x="195" y="1008"/>
                    </a:lnTo>
                    <a:lnTo>
                      <a:pt x="198" y="1007"/>
                    </a:lnTo>
                    <a:lnTo>
                      <a:pt x="218" y="1010"/>
                    </a:lnTo>
                    <a:lnTo>
                      <a:pt x="219" y="1008"/>
                    </a:lnTo>
                    <a:lnTo>
                      <a:pt x="219" y="1007"/>
                    </a:lnTo>
                    <a:lnTo>
                      <a:pt x="224" y="1007"/>
                    </a:lnTo>
                    <a:lnTo>
                      <a:pt x="224" y="1007"/>
                    </a:lnTo>
                    <a:close/>
                    <a:moveTo>
                      <a:pt x="223" y="997"/>
                    </a:moveTo>
                    <a:lnTo>
                      <a:pt x="216" y="995"/>
                    </a:lnTo>
                    <a:lnTo>
                      <a:pt x="205" y="989"/>
                    </a:lnTo>
                    <a:lnTo>
                      <a:pt x="196" y="985"/>
                    </a:lnTo>
                    <a:lnTo>
                      <a:pt x="193" y="985"/>
                    </a:lnTo>
                    <a:lnTo>
                      <a:pt x="188" y="984"/>
                    </a:lnTo>
                    <a:lnTo>
                      <a:pt x="183" y="979"/>
                    </a:lnTo>
                    <a:lnTo>
                      <a:pt x="183" y="977"/>
                    </a:lnTo>
                    <a:lnTo>
                      <a:pt x="183" y="975"/>
                    </a:lnTo>
                    <a:lnTo>
                      <a:pt x="190" y="972"/>
                    </a:lnTo>
                    <a:lnTo>
                      <a:pt x="191" y="970"/>
                    </a:lnTo>
                    <a:lnTo>
                      <a:pt x="196" y="969"/>
                    </a:lnTo>
                    <a:lnTo>
                      <a:pt x="200" y="964"/>
                    </a:lnTo>
                    <a:lnTo>
                      <a:pt x="198" y="960"/>
                    </a:lnTo>
                    <a:lnTo>
                      <a:pt x="193" y="959"/>
                    </a:lnTo>
                    <a:lnTo>
                      <a:pt x="185" y="964"/>
                    </a:lnTo>
                    <a:lnTo>
                      <a:pt x="181" y="967"/>
                    </a:lnTo>
                    <a:lnTo>
                      <a:pt x="178" y="967"/>
                    </a:lnTo>
                    <a:lnTo>
                      <a:pt x="173" y="962"/>
                    </a:lnTo>
                    <a:lnTo>
                      <a:pt x="173" y="957"/>
                    </a:lnTo>
                    <a:lnTo>
                      <a:pt x="171" y="954"/>
                    </a:lnTo>
                    <a:lnTo>
                      <a:pt x="176" y="950"/>
                    </a:lnTo>
                    <a:lnTo>
                      <a:pt x="176" y="947"/>
                    </a:lnTo>
                    <a:lnTo>
                      <a:pt x="173" y="947"/>
                    </a:lnTo>
                    <a:lnTo>
                      <a:pt x="170" y="945"/>
                    </a:lnTo>
                    <a:lnTo>
                      <a:pt x="173" y="942"/>
                    </a:lnTo>
                    <a:lnTo>
                      <a:pt x="176" y="942"/>
                    </a:lnTo>
                    <a:lnTo>
                      <a:pt x="181" y="945"/>
                    </a:lnTo>
                    <a:lnTo>
                      <a:pt x="181" y="942"/>
                    </a:lnTo>
                    <a:lnTo>
                      <a:pt x="186" y="939"/>
                    </a:lnTo>
                    <a:lnTo>
                      <a:pt x="186" y="937"/>
                    </a:lnTo>
                    <a:lnTo>
                      <a:pt x="186" y="934"/>
                    </a:lnTo>
                    <a:lnTo>
                      <a:pt x="188" y="930"/>
                    </a:lnTo>
                    <a:lnTo>
                      <a:pt x="191" y="930"/>
                    </a:lnTo>
                    <a:lnTo>
                      <a:pt x="195" y="934"/>
                    </a:lnTo>
                    <a:lnTo>
                      <a:pt x="196" y="932"/>
                    </a:lnTo>
                    <a:lnTo>
                      <a:pt x="203" y="929"/>
                    </a:lnTo>
                    <a:lnTo>
                      <a:pt x="211" y="954"/>
                    </a:lnTo>
                    <a:lnTo>
                      <a:pt x="210" y="955"/>
                    </a:lnTo>
                    <a:lnTo>
                      <a:pt x="211" y="955"/>
                    </a:lnTo>
                    <a:lnTo>
                      <a:pt x="223" y="997"/>
                    </a:lnTo>
                    <a:lnTo>
                      <a:pt x="223" y="997"/>
                    </a:lnTo>
                    <a:close/>
                    <a:moveTo>
                      <a:pt x="203" y="922"/>
                    </a:moveTo>
                    <a:lnTo>
                      <a:pt x="196" y="917"/>
                    </a:lnTo>
                    <a:lnTo>
                      <a:pt x="191" y="915"/>
                    </a:lnTo>
                    <a:lnTo>
                      <a:pt x="190" y="914"/>
                    </a:lnTo>
                    <a:lnTo>
                      <a:pt x="158" y="914"/>
                    </a:lnTo>
                    <a:lnTo>
                      <a:pt x="141" y="917"/>
                    </a:lnTo>
                    <a:lnTo>
                      <a:pt x="136" y="915"/>
                    </a:lnTo>
                    <a:lnTo>
                      <a:pt x="125" y="914"/>
                    </a:lnTo>
                    <a:lnTo>
                      <a:pt x="121" y="905"/>
                    </a:lnTo>
                    <a:lnTo>
                      <a:pt x="118" y="897"/>
                    </a:lnTo>
                    <a:lnTo>
                      <a:pt x="113" y="892"/>
                    </a:lnTo>
                    <a:lnTo>
                      <a:pt x="112" y="881"/>
                    </a:lnTo>
                    <a:lnTo>
                      <a:pt x="112" y="874"/>
                    </a:lnTo>
                    <a:lnTo>
                      <a:pt x="107" y="874"/>
                    </a:lnTo>
                    <a:lnTo>
                      <a:pt x="98" y="877"/>
                    </a:lnTo>
                    <a:lnTo>
                      <a:pt x="95" y="882"/>
                    </a:lnTo>
                    <a:lnTo>
                      <a:pt x="90" y="882"/>
                    </a:lnTo>
                    <a:lnTo>
                      <a:pt x="80" y="862"/>
                    </a:lnTo>
                    <a:lnTo>
                      <a:pt x="78" y="856"/>
                    </a:lnTo>
                    <a:lnTo>
                      <a:pt x="82" y="836"/>
                    </a:lnTo>
                    <a:lnTo>
                      <a:pt x="87" y="829"/>
                    </a:lnTo>
                    <a:lnTo>
                      <a:pt x="95" y="822"/>
                    </a:lnTo>
                    <a:lnTo>
                      <a:pt x="97" y="811"/>
                    </a:lnTo>
                    <a:lnTo>
                      <a:pt x="95" y="799"/>
                    </a:lnTo>
                    <a:lnTo>
                      <a:pt x="92" y="791"/>
                    </a:lnTo>
                    <a:lnTo>
                      <a:pt x="93" y="781"/>
                    </a:lnTo>
                    <a:lnTo>
                      <a:pt x="98" y="776"/>
                    </a:lnTo>
                    <a:lnTo>
                      <a:pt x="93" y="766"/>
                    </a:lnTo>
                    <a:lnTo>
                      <a:pt x="93" y="761"/>
                    </a:lnTo>
                    <a:lnTo>
                      <a:pt x="98" y="756"/>
                    </a:lnTo>
                    <a:lnTo>
                      <a:pt x="95" y="746"/>
                    </a:lnTo>
                    <a:lnTo>
                      <a:pt x="93" y="734"/>
                    </a:lnTo>
                    <a:lnTo>
                      <a:pt x="90" y="729"/>
                    </a:lnTo>
                    <a:lnTo>
                      <a:pt x="92" y="724"/>
                    </a:lnTo>
                    <a:lnTo>
                      <a:pt x="97" y="719"/>
                    </a:lnTo>
                    <a:lnTo>
                      <a:pt x="97" y="714"/>
                    </a:lnTo>
                    <a:lnTo>
                      <a:pt x="92" y="706"/>
                    </a:lnTo>
                    <a:lnTo>
                      <a:pt x="83" y="701"/>
                    </a:lnTo>
                    <a:lnTo>
                      <a:pt x="78" y="701"/>
                    </a:lnTo>
                    <a:lnTo>
                      <a:pt x="77" y="703"/>
                    </a:lnTo>
                    <a:lnTo>
                      <a:pt x="75" y="699"/>
                    </a:lnTo>
                    <a:lnTo>
                      <a:pt x="77" y="696"/>
                    </a:lnTo>
                    <a:lnTo>
                      <a:pt x="87" y="696"/>
                    </a:lnTo>
                    <a:lnTo>
                      <a:pt x="93" y="691"/>
                    </a:lnTo>
                    <a:lnTo>
                      <a:pt x="92" y="686"/>
                    </a:lnTo>
                    <a:lnTo>
                      <a:pt x="88" y="685"/>
                    </a:lnTo>
                    <a:lnTo>
                      <a:pt x="85" y="686"/>
                    </a:lnTo>
                    <a:lnTo>
                      <a:pt x="80" y="686"/>
                    </a:lnTo>
                    <a:lnTo>
                      <a:pt x="78" y="676"/>
                    </a:lnTo>
                    <a:lnTo>
                      <a:pt x="73" y="666"/>
                    </a:lnTo>
                    <a:lnTo>
                      <a:pt x="73" y="661"/>
                    </a:lnTo>
                    <a:lnTo>
                      <a:pt x="73" y="653"/>
                    </a:lnTo>
                    <a:lnTo>
                      <a:pt x="67" y="651"/>
                    </a:lnTo>
                    <a:lnTo>
                      <a:pt x="63" y="645"/>
                    </a:lnTo>
                    <a:lnTo>
                      <a:pt x="63" y="628"/>
                    </a:lnTo>
                    <a:lnTo>
                      <a:pt x="68" y="625"/>
                    </a:lnTo>
                    <a:lnTo>
                      <a:pt x="70" y="620"/>
                    </a:lnTo>
                    <a:lnTo>
                      <a:pt x="67" y="615"/>
                    </a:lnTo>
                    <a:lnTo>
                      <a:pt x="63" y="613"/>
                    </a:lnTo>
                    <a:lnTo>
                      <a:pt x="60" y="601"/>
                    </a:lnTo>
                    <a:lnTo>
                      <a:pt x="60" y="588"/>
                    </a:lnTo>
                    <a:lnTo>
                      <a:pt x="62" y="572"/>
                    </a:lnTo>
                    <a:lnTo>
                      <a:pt x="57" y="565"/>
                    </a:lnTo>
                    <a:lnTo>
                      <a:pt x="55" y="557"/>
                    </a:lnTo>
                    <a:lnTo>
                      <a:pt x="65" y="547"/>
                    </a:lnTo>
                    <a:lnTo>
                      <a:pt x="67" y="535"/>
                    </a:lnTo>
                    <a:lnTo>
                      <a:pt x="72" y="532"/>
                    </a:lnTo>
                    <a:lnTo>
                      <a:pt x="77" y="528"/>
                    </a:lnTo>
                    <a:lnTo>
                      <a:pt x="62" y="502"/>
                    </a:lnTo>
                    <a:lnTo>
                      <a:pt x="63" y="494"/>
                    </a:lnTo>
                    <a:lnTo>
                      <a:pt x="63" y="487"/>
                    </a:lnTo>
                    <a:lnTo>
                      <a:pt x="63" y="472"/>
                    </a:lnTo>
                    <a:lnTo>
                      <a:pt x="68" y="464"/>
                    </a:lnTo>
                    <a:lnTo>
                      <a:pt x="73" y="457"/>
                    </a:lnTo>
                    <a:lnTo>
                      <a:pt x="73" y="450"/>
                    </a:lnTo>
                    <a:lnTo>
                      <a:pt x="68" y="442"/>
                    </a:lnTo>
                    <a:lnTo>
                      <a:pt x="65" y="440"/>
                    </a:lnTo>
                    <a:lnTo>
                      <a:pt x="70" y="432"/>
                    </a:lnTo>
                    <a:lnTo>
                      <a:pt x="68" y="424"/>
                    </a:lnTo>
                    <a:lnTo>
                      <a:pt x="73" y="415"/>
                    </a:lnTo>
                    <a:lnTo>
                      <a:pt x="77" y="414"/>
                    </a:lnTo>
                    <a:lnTo>
                      <a:pt x="78" y="404"/>
                    </a:lnTo>
                    <a:lnTo>
                      <a:pt x="77" y="386"/>
                    </a:lnTo>
                    <a:lnTo>
                      <a:pt x="73" y="384"/>
                    </a:lnTo>
                    <a:lnTo>
                      <a:pt x="70" y="371"/>
                    </a:lnTo>
                    <a:lnTo>
                      <a:pt x="67" y="364"/>
                    </a:lnTo>
                    <a:lnTo>
                      <a:pt x="60" y="356"/>
                    </a:lnTo>
                    <a:lnTo>
                      <a:pt x="60" y="352"/>
                    </a:lnTo>
                    <a:lnTo>
                      <a:pt x="55" y="346"/>
                    </a:lnTo>
                    <a:lnTo>
                      <a:pt x="53" y="336"/>
                    </a:lnTo>
                    <a:lnTo>
                      <a:pt x="53" y="327"/>
                    </a:lnTo>
                    <a:lnTo>
                      <a:pt x="62" y="324"/>
                    </a:lnTo>
                    <a:lnTo>
                      <a:pt x="62" y="314"/>
                    </a:lnTo>
                    <a:lnTo>
                      <a:pt x="65" y="309"/>
                    </a:lnTo>
                    <a:lnTo>
                      <a:pt x="65" y="299"/>
                    </a:lnTo>
                    <a:lnTo>
                      <a:pt x="62" y="293"/>
                    </a:lnTo>
                    <a:lnTo>
                      <a:pt x="60" y="278"/>
                    </a:lnTo>
                    <a:lnTo>
                      <a:pt x="63" y="276"/>
                    </a:lnTo>
                    <a:lnTo>
                      <a:pt x="65" y="259"/>
                    </a:lnTo>
                    <a:lnTo>
                      <a:pt x="70" y="254"/>
                    </a:lnTo>
                    <a:lnTo>
                      <a:pt x="77" y="239"/>
                    </a:lnTo>
                    <a:lnTo>
                      <a:pt x="83" y="233"/>
                    </a:lnTo>
                    <a:lnTo>
                      <a:pt x="87" y="231"/>
                    </a:lnTo>
                    <a:lnTo>
                      <a:pt x="92" y="226"/>
                    </a:lnTo>
                    <a:lnTo>
                      <a:pt x="88" y="224"/>
                    </a:lnTo>
                    <a:lnTo>
                      <a:pt x="88" y="218"/>
                    </a:lnTo>
                    <a:lnTo>
                      <a:pt x="87" y="216"/>
                    </a:lnTo>
                    <a:lnTo>
                      <a:pt x="83" y="213"/>
                    </a:lnTo>
                    <a:lnTo>
                      <a:pt x="85" y="209"/>
                    </a:lnTo>
                    <a:lnTo>
                      <a:pt x="88" y="206"/>
                    </a:lnTo>
                    <a:lnTo>
                      <a:pt x="88" y="201"/>
                    </a:lnTo>
                    <a:lnTo>
                      <a:pt x="83" y="195"/>
                    </a:lnTo>
                    <a:lnTo>
                      <a:pt x="82" y="186"/>
                    </a:lnTo>
                    <a:lnTo>
                      <a:pt x="85" y="183"/>
                    </a:lnTo>
                    <a:lnTo>
                      <a:pt x="83" y="178"/>
                    </a:lnTo>
                    <a:lnTo>
                      <a:pt x="78" y="175"/>
                    </a:lnTo>
                    <a:lnTo>
                      <a:pt x="82" y="170"/>
                    </a:lnTo>
                    <a:lnTo>
                      <a:pt x="110" y="155"/>
                    </a:lnTo>
                    <a:lnTo>
                      <a:pt x="116" y="130"/>
                    </a:lnTo>
                    <a:lnTo>
                      <a:pt x="113" y="125"/>
                    </a:lnTo>
                    <a:lnTo>
                      <a:pt x="110" y="125"/>
                    </a:lnTo>
                    <a:lnTo>
                      <a:pt x="108" y="128"/>
                    </a:lnTo>
                    <a:lnTo>
                      <a:pt x="102" y="128"/>
                    </a:lnTo>
                    <a:lnTo>
                      <a:pt x="83" y="85"/>
                    </a:lnTo>
                    <a:lnTo>
                      <a:pt x="72" y="75"/>
                    </a:lnTo>
                    <a:lnTo>
                      <a:pt x="68" y="70"/>
                    </a:lnTo>
                    <a:lnTo>
                      <a:pt x="73" y="58"/>
                    </a:lnTo>
                    <a:lnTo>
                      <a:pt x="72" y="53"/>
                    </a:lnTo>
                    <a:lnTo>
                      <a:pt x="75" y="47"/>
                    </a:lnTo>
                    <a:lnTo>
                      <a:pt x="73" y="43"/>
                    </a:lnTo>
                    <a:lnTo>
                      <a:pt x="63" y="37"/>
                    </a:lnTo>
                    <a:lnTo>
                      <a:pt x="58" y="32"/>
                    </a:lnTo>
                    <a:lnTo>
                      <a:pt x="58" y="23"/>
                    </a:lnTo>
                    <a:lnTo>
                      <a:pt x="57" y="22"/>
                    </a:lnTo>
                    <a:lnTo>
                      <a:pt x="58" y="17"/>
                    </a:lnTo>
                    <a:lnTo>
                      <a:pt x="57" y="13"/>
                    </a:lnTo>
                    <a:lnTo>
                      <a:pt x="55" y="10"/>
                    </a:lnTo>
                    <a:lnTo>
                      <a:pt x="50" y="7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42" y="4"/>
                    </a:lnTo>
                    <a:lnTo>
                      <a:pt x="40" y="9"/>
                    </a:lnTo>
                    <a:lnTo>
                      <a:pt x="45" y="12"/>
                    </a:lnTo>
                    <a:lnTo>
                      <a:pt x="43" y="15"/>
                    </a:lnTo>
                    <a:lnTo>
                      <a:pt x="38" y="18"/>
                    </a:lnTo>
                    <a:lnTo>
                      <a:pt x="35" y="17"/>
                    </a:lnTo>
                    <a:lnTo>
                      <a:pt x="30" y="20"/>
                    </a:lnTo>
                    <a:lnTo>
                      <a:pt x="23" y="23"/>
                    </a:lnTo>
                    <a:lnTo>
                      <a:pt x="27" y="25"/>
                    </a:lnTo>
                    <a:lnTo>
                      <a:pt x="27" y="32"/>
                    </a:lnTo>
                    <a:lnTo>
                      <a:pt x="25" y="35"/>
                    </a:lnTo>
                    <a:lnTo>
                      <a:pt x="27" y="42"/>
                    </a:lnTo>
                    <a:lnTo>
                      <a:pt x="30" y="58"/>
                    </a:lnTo>
                    <a:lnTo>
                      <a:pt x="30" y="65"/>
                    </a:lnTo>
                    <a:lnTo>
                      <a:pt x="30" y="68"/>
                    </a:lnTo>
                    <a:lnTo>
                      <a:pt x="27" y="72"/>
                    </a:lnTo>
                    <a:lnTo>
                      <a:pt x="28" y="80"/>
                    </a:lnTo>
                    <a:lnTo>
                      <a:pt x="32" y="88"/>
                    </a:lnTo>
                    <a:lnTo>
                      <a:pt x="35" y="95"/>
                    </a:lnTo>
                    <a:lnTo>
                      <a:pt x="35" y="107"/>
                    </a:lnTo>
                    <a:lnTo>
                      <a:pt x="33" y="110"/>
                    </a:lnTo>
                    <a:lnTo>
                      <a:pt x="32" y="111"/>
                    </a:lnTo>
                    <a:lnTo>
                      <a:pt x="33" y="126"/>
                    </a:lnTo>
                    <a:lnTo>
                      <a:pt x="33" y="130"/>
                    </a:lnTo>
                    <a:lnTo>
                      <a:pt x="30" y="133"/>
                    </a:lnTo>
                    <a:lnTo>
                      <a:pt x="27" y="135"/>
                    </a:lnTo>
                    <a:lnTo>
                      <a:pt x="27" y="143"/>
                    </a:lnTo>
                    <a:lnTo>
                      <a:pt x="28" y="145"/>
                    </a:lnTo>
                    <a:lnTo>
                      <a:pt x="32" y="143"/>
                    </a:lnTo>
                    <a:lnTo>
                      <a:pt x="33" y="145"/>
                    </a:lnTo>
                    <a:lnTo>
                      <a:pt x="30" y="148"/>
                    </a:lnTo>
                    <a:lnTo>
                      <a:pt x="30" y="170"/>
                    </a:lnTo>
                    <a:lnTo>
                      <a:pt x="35" y="180"/>
                    </a:lnTo>
                    <a:lnTo>
                      <a:pt x="35" y="186"/>
                    </a:lnTo>
                    <a:lnTo>
                      <a:pt x="33" y="191"/>
                    </a:lnTo>
                    <a:lnTo>
                      <a:pt x="30" y="198"/>
                    </a:lnTo>
                    <a:lnTo>
                      <a:pt x="30" y="203"/>
                    </a:lnTo>
                    <a:lnTo>
                      <a:pt x="35" y="209"/>
                    </a:lnTo>
                    <a:lnTo>
                      <a:pt x="33" y="214"/>
                    </a:lnTo>
                    <a:lnTo>
                      <a:pt x="33" y="226"/>
                    </a:lnTo>
                    <a:lnTo>
                      <a:pt x="30" y="229"/>
                    </a:lnTo>
                    <a:lnTo>
                      <a:pt x="30" y="236"/>
                    </a:lnTo>
                    <a:lnTo>
                      <a:pt x="32" y="239"/>
                    </a:lnTo>
                    <a:lnTo>
                      <a:pt x="32" y="243"/>
                    </a:lnTo>
                    <a:lnTo>
                      <a:pt x="28" y="248"/>
                    </a:lnTo>
                    <a:lnTo>
                      <a:pt x="27" y="253"/>
                    </a:lnTo>
                    <a:lnTo>
                      <a:pt x="25" y="256"/>
                    </a:lnTo>
                    <a:lnTo>
                      <a:pt x="27" y="264"/>
                    </a:lnTo>
                    <a:lnTo>
                      <a:pt x="25" y="266"/>
                    </a:lnTo>
                    <a:lnTo>
                      <a:pt x="22" y="274"/>
                    </a:lnTo>
                    <a:lnTo>
                      <a:pt x="22" y="278"/>
                    </a:lnTo>
                    <a:lnTo>
                      <a:pt x="25" y="284"/>
                    </a:lnTo>
                    <a:lnTo>
                      <a:pt x="27" y="291"/>
                    </a:lnTo>
                    <a:lnTo>
                      <a:pt x="30" y="294"/>
                    </a:lnTo>
                    <a:lnTo>
                      <a:pt x="27" y="298"/>
                    </a:lnTo>
                    <a:lnTo>
                      <a:pt x="23" y="303"/>
                    </a:lnTo>
                    <a:lnTo>
                      <a:pt x="27" y="306"/>
                    </a:lnTo>
                    <a:lnTo>
                      <a:pt x="23" y="309"/>
                    </a:lnTo>
                    <a:lnTo>
                      <a:pt x="20" y="311"/>
                    </a:lnTo>
                    <a:lnTo>
                      <a:pt x="20" y="316"/>
                    </a:lnTo>
                    <a:lnTo>
                      <a:pt x="22" y="321"/>
                    </a:lnTo>
                    <a:lnTo>
                      <a:pt x="22" y="326"/>
                    </a:lnTo>
                    <a:lnTo>
                      <a:pt x="27" y="339"/>
                    </a:lnTo>
                    <a:lnTo>
                      <a:pt x="27" y="346"/>
                    </a:lnTo>
                    <a:lnTo>
                      <a:pt x="25" y="349"/>
                    </a:lnTo>
                    <a:lnTo>
                      <a:pt x="25" y="352"/>
                    </a:lnTo>
                    <a:lnTo>
                      <a:pt x="30" y="359"/>
                    </a:lnTo>
                    <a:lnTo>
                      <a:pt x="32" y="367"/>
                    </a:lnTo>
                    <a:lnTo>
                      <a:pt x="30" y="372"/>
                    </a:lnTo>
                    <a:lnTo>
                      <a:pt x="30" y="374"/>
                    </a:lnTo>
                    <a:lnTo>
                      <a:pt x="30" y="379"/>
                    </a:lnTo>
                    <a:lnTo>
                      <a:pt x="30" y="382"/>
                    </a:lnTo>
                    <a:lnTo>
                      <a:pt x="28" y="386"/>
                    </a:lnTo>
                    <a:lnTo>
                      <a:pt x="30" y="387"/>
                    </a:lnTo>
                    <a:lnTo>
                      <a:pt x="35" y="394"/>
                    </a:lnTo>
                    <a:lnTo>
                      <a:pt x="37" y="399"/>
                    </a:lnTo>
                    <a:lnTo>
                      <a:pt x="33" y="402"/>
                    </a:lnTo>
                    <a:lnTo>
                      <a:pt x="30" y="404"/>
                    </a:lnTo>
                    <a:lnTo>
                      <a:pt x="27" y="410"/>
                    </a:lnTo>
                    <a:lnTo>
                      <a:pt x="27" y="412"/>
                    </a:lnTo>
                    <a:lnTo>
                      <a:pt x="28" y="414"/>
                    </a:lnTo>
                    <a:lnTo>
                      <a:pt x="27" y="419"/>
                    </a:lnTo>
                    <a:lnTo>
                      <a:pt x="23" y="422"/>
                    </a:lnTo>
                    <a:lnTo>
                      <a:pt x="23" y="425"/>
                    </a:lnTo>
                    <a:lnTo>
                      <a:pt x="23" y="432"/>
                    </a:lnTo>
                    <a:lnTo>
                      <a:pt x="22" y="435"/>
                    </a:lnTo>
                    <a:lnTo>
                      <a:pt x="22" y="440"/>
                    </a:lnTo>
                    <a:lnTo>
                      <a:pt x="20" y="442"/>
                    </a:lnTo>
                    <a:lnTo>
                      <a:pt x="20" y="447"/>
                    </a:lnTo>
                    <a:lnTo>
                      <a:pt x="17" y="450"/>
                    </a:lnTo>
                    <a:lnTo>
                      <a:pt x="18" y="452"/>
                    </a:lnTo>
                    <a:lnTo>
                      <a:pt x="20" y="455"/>
                    </a:lnTo>
                    <a:lnTo>
                      <a:pt x="17" y="459"/>
                    </a:lnTo>
                    <a:lnTo>
                      <a:pt x="17" y="465"/>
                    </a:lnTo>
                    <a:lnTo>
                      <a:pt x="15" y="469"/>
                    </a:lnTo>
                    <a:lnTo>
                      <a:pt x="12" y="470"/>
                    </a:lnTo>
                    <a:lnTo>
                      <a:pt x="12" y="474"/>
                    </a:lnTo>
                    <a:lnTo>
                      <a:pt x="10" y="477"/>
                    </a:lnTo>
                    <a:lnTo>
                      <a:pt x="10" y="480"/>
                    </a:lnTo>
                    <a:lnTo>
                      <a:pt x="12" y="484"/>
                    </a:lnTo>
                    <a:lnTo>
                      <a:pt x="12" y="489"/>
                    </a:lnTo>
                    <a:lnTo>
                      <a:pt x="10" y="492"/>
                    </a:lnTo>
                    <a:lnTo>
                      <a:pt x="7" y="492"/>
                    </a:lnTo>
                    <a:lnTo>
                      <a:pt x="4" y="490"/>
                    </a:lnTo>
                    <a:lnTo>
                      <a:pt x="0" y="490"/>
                    </a:lnTo>
                    <a:lnTo>
                      <a:pt x="0" y="494"/>
                    </a:lnTo>
                    <a:lnTo>
                      <a:pt x="0" y="499"/>
                    </a:lnTo>
                    <a:lnTo>
                      <a:pt x="0" y="505"/>
                    </a:lnTo>
                    <a:lnTo>
                      <a:pt x="4" y="510"/>
                    </a:lnTo>
                    <a:lnTo>
                      <a:pt x="9" y="513"/>
                    </a:lnTo>
                    <a:lnTo>
                      <a:pt x="10" y="518"/>
                    </a:lnTo>
                    <a:lnTo>
                      <a:pt x="9" y="523"/>
                    </a:lnTo>
                    <a:lnTo>
                      <a:pt x="17" y="535"/>
                    </a:lnTo>
                    <a:lnTo>
                      <a:pt x="18" y="538"/>
                    </a:lnTo>
                    <a:lnTo>
                      <a:pt x="20" y="542"/>
                    </a:lnTo>
                    <a:lnTo>
                      <a:pt x="20" y="548"/>
                    </a:lnTo>
                    <a:lnTo>
                      <a:pt x="18" y="558"/>
                    </a:lnTo>
                    <a:lnTo>
                      <a:pt x="17" y="560"/>
                    </a:lnTo>
                    <a:lnTo>
                      <a:pt x="18" y="562"/>
                    </a:lnTo>
                    <a:lnTo>
                      <a:pt x="17" y="565"/>
                    </a:lnTo>
                    <a:lnTo>
                      <a:pt x="15" y="565"/>
                    </a:lnTo>
                    <a:lnTo>
                      <a:pt x="12" y="565"/>
                    </a:lnTo>
                    <a:lnTo>
                      <a:pt x="10" y="568"/>
                    </a:lnTo>
                    <a:lnTo>
                      <a:pt x="12" y="573"/>
                    </a:lnTo>
                    <a:lnTo>
                      <a:pt x="15" y="575"/>
                    </a:lnTo>
                    <a:lnTo>
                      <a:pt x="12" y="585"/>
                    </a:lnTo>
                    <a:lnTo>
                      <a:pt x="14" y="588"/>
                    </a:lnTo>
                    <a:lnTo>
                      <a:pt x="12" y="590"/>
                    </a:lnTo>
                    <a:lnTo>
                      <a:pt x="14" y="593"/>
                    </a:lnTo>
                    <a:lnTo>
                      <a:pt x="14" y="595"/>
                    </a:lnTo>
                    <a:lnTo>
                      <a:pt x="12" y="597"/>
                    </a:lnTo>
                    <a:lnTo>
                      <a:pt x="14" y="600"/>
                    </a:lnTo>
                    <a:lnTo>
                      <a:pt x="20" y="610"/>
                    </a:lnTo>
                    <a:lnTo>
                      <a:pt x="23" y="611"/>
                    </a:lnTo>
                    <a:lnTo>
                      <a:pt x="25" y="615"/>
                    </a:lnTo>
                    <a:lnTo>
                      <a:pt x="32" y="618"/>
                    </a:lnTo>
                    <a:lnTo>
                      <a:pt x="38" y="616"/>
                    </a:lnTo>
                    <a:lnTo>
                      <a:pt x="38" y="610"/>
                    </a:lnTo>
                    <a:lnTo>
                      <a:pt x="40" y="608"/>
                    </a:lnTo>
                    <a:lnTo>
                      <a:pt x="45" y="608"/>
                    </a:lnTo>
                    <a:lnTo>
                      <a:pt x="48" y="613"/>
                    </a:lnTo>
                    <a:lnTo>
                      <a:pt x="50" y="611"/>
                    </a:lnTo>
                    <a:lnTo>
                      <a:pt x="53" y="611"/>
                    </a:lnTo>
                    <a:lnTo>
                      <a:pt x="50" y="615"/>
                    </a:lnTo>
                    <a:lnTo>
                      <a:pt x="45" y="620"/>
                    </a:lnTo>
                    <a:lnTo>
                      <a:pt x="45" y="621"/>
                    </a:lnTo>
                    <a:lnTo>
                      <a:pt x="48" y="623"/>
                    </a:lnTo>
                    <a:lnTo>
                      <a:pt x="52" y="621"/>
                    </a:lnTo>
                    <a:lnTo>
                      <a:pt x="52" y="625"/>
                    </a:lnTo>
                    <a:lnTo>
                      <a:pt x="53" y="633"/>
                    </a:lnTo>
                    <a:lnTo>
                      <a:pt x="55" y="635"/>
                    </a:lnTo>
                    <a:lnTo>
                      <a:pt x="53" y="636"/>
                    </a:lnTo>
                    <a:lnTo>
                      <a:pt x="52" y="635"/>
                    </a:lnTo>
                    <a:lnTo>
                      <a:pt x="50" y="631"/>
                    </a:lnTo>
                    <a:lnTo>
                      <a:pt x="47" y="630"/>
                    </a:lnTo>
                    <a:lnTo>
                      <a:pt x="45" y="631"/>
                    </a:lnTo>
                    <a:lnTo>
                      <a:pt x="47" y="635"/>
                    </a:lnTo>
                    <a:lnTo>
                      <a:pt x="50" y="636"/>
                    </a:lnTo>
                    <a:lnTo>
                      <a:pt x="52" y="640"/>
                    </a:lnTo>
                    <a:lnTo>
                      <a:pt x="48" y="640"/>
                    </a:lnTo>
                    <a:lnTo>
                      <a:pt x="47" y="641"/>
                    </a:lnTo>
                    <a:lnTo>
                      <a:pt x="47" y="646"/>
                    </a:lnTo>
                    <a:lnTo>
                      <a:pt x="50" y="651"/>
                    </a:lnTo>
                    <a:lnTo>
                      <a:pt x="47" y="655"/>
                    </a:lnTo>
                    <a:lnTo>
                      <a:pt x="47" y="658"/>
                    </a:lnTo>
                    <a:lnTo>
                      <a:pt x="48" y="658"/>
                    </a:lnTo>
                    <a:lnTo>
                      <a:pt x="43" y="663"/>
                    </a:lnTo>
                    <a:lnTo>
                      <a:pt x="45" y="665"/>
                    </a:lnTo>
                    <a:lnTo>
                      <a:pt x="50" y="668"/>
                    </a:lnTo>
                    <a:lnTo>
                      <a:pt x="48" y="671"/>
                    </a:lnTo>
                    <a:lnTo>
                      <a:pt x="48" y="676"/>
                    </a:lnTo>
                    <a:lnTo>
                      <a:pt x="45" y="680"/>
                    </a:lnTo>
                    <a:lnTo>
                      <a:pt x="45" y="683"/>
                    </a:lnTo>
                    <a:lnTo>
                      <a:pt x="47" y="685"/>
                    </a:lnTo>
                    <a:lnTo>
                      <a:pt x="52" y="685"/>
                    </a:lnTo>
                    <a:lnTo>
                      <a:pt x="55" y="688"/>
                    </a:lnTo>
                    <a:lnTo>
                      <a:pt x="55" y="691"/>
                    </a:lnTo>
                    <a:lnTo>
                      <a:pt x="60" y="691"/>
                    </a:lnTo>
                    <a:lnTo>
                      <a:pt x="62" y="695"/>
                    </a:lnTo>
                    <a:lnTo>
                      <a:pt x="62" y="701"/>
                    </a:lnTo>
                    <a:lnTo>
                      <a:pt x="57" y="706"/>
                    </a:lnTo>
                    <a:lnTo>
                      <a:pt x="52" y="709"/>
                    </a:lnTo>
                    <a:lnTo>
                      <a:pt x="48" y="709"/>
                    </a:lnTo>
                    <a:lnTo>
                      <a:pt x="48" y="714"/>
                    </a:lnTo>
                    <a:lnTo>
                      <a:pt x="50" y="719"/>
                    </a:lnTo>
                    <a:lnTo>
                      <a:pt x="48" y="721"/>
                    </a:lnTo>
                    <a:lnTo>
                      <a:pt x="48" y="723"/>
                    </a:lnTo>
                    <a:lnTo>
                      <a:pt x="50" y="724"/>
                    </a:lnTo>
                    <a:lnTo>
                      <a:pt x="47" y="728"/>
                    </a:lnTo>
                    <a:lnTo>
                      <a:pt x="43" y="734"/>
                    </a:lnTo>
                    <a:lnTo>
                      <a:pt x="43" y="739"/>
                    </a:lnTo>
                    <a:lnTo>
                      <a:pt x="47" y="741"/>
                    </a:lnTo>
                    <a:lnTo>
                      <a:pt x="45" y="744"/>
                    </a:lnTo>
                    <a:lnTo>
                      <a:pt x="45" y="751"/>
                    </a:lnTo>
                    <a:lnTo>
                      <a:pt x="42" y="753"/>
                    </a:lnTo>
                    <a:lnTo>
                      <a:pt x="40" y="758"/>
                    </a:lnTo>
                    <a:lnTo>
                      <a:pt x="38" y="754"/>
                    </a:lnTo>
                    <a:lnTo>
                      <a:pt x="40" y="753"/>
                    </a:lnTo>
                    <a:lnTo>
                      <a:pt x="42" y="746"/>
                    </a:lnTo>
                    <a:lnTo>
                      <a:pt x="42" y="743"/>
                    </a:lnTo>
                    <a:lnTo>
                      <a:pt x="42" y="741"/>
                    </a:lnTo>
                    <a:lnTo>
                      <a:pt x="40" y="739"/>
                    </a:lnTo>
                    <a:lnTo>
                      <a:pt x="33" y="741"/>
                    </a:lnTo>
                    <a:lnTo>
                      <a:pt x="30" y="744"/>
                    </a:lnTo>
                    <a:lnTo>
                      <a:pt x="27" y="744"/>
                    </a:lnTo>
                    <a:lnTo>
                      <a:pt x="27" y="743"/>
                    </a:lnTo>
                    <a:lnTo>
                      <a:pt x="32" y="741"/>
                    </a:lnTo>
                    <a:lnTo>
                      <a:pt x="33" y="739"/>
                    </a:lnTo>
                    <a:lnTo>
                      <a:pt x="33" y="733"/>
                    </a:lnTo>
                    <a:lnTo>
                      <a:pt x="32" y="731"/>
                    </a:lnTo>
                    <a:lnTo>
                      <a:pt x="27" y="733"/>
                    </a:lnTo>
                    <a:lnTo>
                      <a:pt x="18" y="734"/>
                    </a:lnTo>
                    <a:lnTo>
                      <a:pt x="17" y="733"/>
                    </a:lnTo>
                    <a:lnTo>
                      <a:pt x="14" y="734"/>
                    </a:lnTo>
                    <a:lnTo>
                      <a:pt x="12" y="736"/>
                    </a:lnTo>
                    <a:lnTo>
                      <a:pt x="15" y="741"/>
                    </a:lnTo>
                    <a:lnTo>
                      <a:pt x="17" y="741"/>
                    </a:lnTo>
                    <a:lnTo>
                      <a:pt x="18" y="744"/>
                    </a:lnTo>
                    <a:lnTo>
                      <a:pt x="15" y="744"/>
                    </a:lnTo>
                    <a:lnTo>
                      <a:pt x="14" y="749"/>
                    </a:lnTo>
                    <a:lnTo>
                      <a:pt x="10" y="751"/>
                    </a:lnTo>
                    <a:lnTo>
                      <a:pt x="9" y="754"/>
                    </a:lnTo>
                    <a:lnTo>
                      <a:pt x="2" y="758"/>
                    </a:lnTo>
                    <a:lnTo>
                      <a:pt x="2" y="761"/>
                    </a:lnTo>
                    <a:lnTo>
                      <a:pt x="9" y="768"/>
                    </a:lnTo>
                    <a:lnTo>
                      <a:pt x="12" y="768"/>
                    </a:lnTo>
                    <a:lnTo>
                      <a:pt x="14" y="766"/>
                    </a:lnTo>
                    <a:lnTo>
                      <a:pt x="14" y="764"/>
                    </a:lnTo>
                    <a:lnTo>
                      <a:pt x="10" y="763"/>
                    </a:lnTo>
                    <a:lnTo>
                      <a:pt x="9" y="761"/>
                    </a:lnTo>
                    <a:lnTo>
                      <a:pt x="12" y="756"/>
                    </a:lnTo>
                    <a:lnTo>
                      <a:pt x="17" y="756"/>
                    </a:lnTo>
                    <a:lnTo>
                      <a:pt x="18" y="754"/>
                    </a:lnTo>
                    <a:lnTo>
                      <a:pt x="20" y="759"/>
                    </a:lnTo>
                    <a:lnTo>
                      <a:pt x="23" y="763"/>
                    </a:lnTo>
                    <a:lnTo>
                      <a:pt x="30" y="761"/>
                    </a:lnTo>
                    <a:lnTo>
                      <a:pt x="32" y="759"/>
                    </a:lnTo>
                    <a:lnTo>
                      <a:pt x="35" y="761"/>
                    </a:lnTo>
                    <a:lnTo>
                      <a:pt x="37" y="763"/>
                    </a:lnTo>
                    <a:lnTo>
                      <a:pt x="43" y="766"/>
                    </a:lnTo>
                    <a:lnTo>
                      <a:pt x="45" y="769"/>
                    </a:lnTo>
                    <a:lnTo>
                      <a:pt x="43" y="769"/>
                    </a:lnTo>
                    <a:lnTo>
                      <a:pt x="42" y="771"/>
                    </a:lnTo>
                    <a:lnTo>
                      <a:pt x="43" y="774"/>
                    </a:lnTo>
                    <a:lnTo>
                      <a:pt x="40" y="776"/>
                    </a:lnTo>
                    <a:lnTo>
                      <a:pt x="38" y="779"/>
                    </a:lnTo>
                    <a:lnTo>
                      <a:pt x="40" y="781"/>
                    </a:lnTo>
                    <a:lnTo>
                      <a:pt x="45" y="784"/>
                    </a:lnTo>
                    <a:lnTo>
                      <a:pt x="43" y="784"/>
                    </a:lnTo>
                    <a:lnTo>
                      <a:pt x="40" y="783"/>
                    </a:lnTo>
                    <a:lnTo>
                      <a:pt x="38" y="781"/>
                    </a:lnTo>
                    <a:lnTo>
                      <a:pt x="35" y="781"/>
                    </a:lnTo>
                    <a:lnTo>
                      <a:pt x="35" y="784"/>
                    </a:lnTo>
                    <a:lnTo>
                      <a:pt x="38" y="788"/>
                    </a:lnTo>
                    <a:lnTo>
                      <a:pt x="40" y="791"/>
                    </a:lnTo>
                    <a:lnTo>
                      <a:pt x="47" y="793"/>
                    </a:lnTo>
                    <a:lnTo>
                      <a:pt x="53" y="789"/>
                    </a:lnTo>
                    <a:lnTo>
                      <a:pt x="57" y="791"/>
                    </a:lnTo>
                    <a:lnTo>
                      <a:pt x="58" y="791"/>
                    </a:lnTo>
                    <a:lnTo>
                      <a:pt x="63" y="789"/>
                    </a:lnTo>
                    <a:lnTo>
                      <a:pt x="60" y="793"/>
                    </a:lnTo>
                    <a:lnTo>
                      <a:pt x="62" y="794"/>
                    </a:lnTo>
                    <a:lnTo>
                      <a:pt x="60" y="794"/>
                    </a:lnTo>
                    <a:lnTo>
                      <a:pt x="55" y="794"/>
                    </a:lnTo>
                    <a:lnTo>
                      <a:pt x="55" y="796"/>
                    </a:lnTo>
                    <a:lnTo>
                      <a:pt x="52" y="794"/>
                    </a:lnTo>
                    <a:lnTo>
                      <a:pt x="43" y="796"/>
                    </a:lnTo>
                    <a:lnTo>
                      <a:pt x="42" y="799"/>
                    </a:lnTo>
                    <a:lnTo>
                      <a:pt x="43" y="801"/>
                    </a:lnTo>
                    <a:lnTo>
                      <a:pt x="48" y="804"/>
                    </a:lnTo>
                    <a:lnTo>
                      <a:pt x="48" y="807"/>
                    </a:lnTo>
                    <a:lnTo>
                      <a:pt x="53" y="809"/>
                    </a:lnTo>
                    <a:lnTo>
                      <a:pt x="57" y="807"/>
                    </a:lnTo>
                    <a:lnTo>
                      <a:pt x="55" y="809"/>
                    </a:lnTo>
                    <a:lnTo>
                      <a:pt x="52" y="812"/>
                    </a:lnTo>
                    <a:lnTo>
                      <a:pt x="52" y="814"/>
                    </a:lnTo>
                    <a:lnTo>
                      <a:pt x="53" y="816"/>
                    </a:lnTo>
                    <a:lnTo>
                      <a:pt x="52" y="819"/>
                    </a:lnTo>
                    <a:lnTo>
                      <a:pt x="48" y="819"/>
                    </a:lnTo>
                    <a:lnTo>
                      <a:pt x="48" y="822"/>
                    </a:lnTo>
                    <a:lnTo>
                      <a:pt x="52" y="832"/>
                    </a:lnTo>
                    <a:lnTo>
                      <a:pt x="53" y="836"/>
                    </a:lnTo>
                    <a:lnTo>
                      <a:pt x="53" y="841"/>
                    </a:lnTo>
                    <a:lnTo>
                      <a:pt x="57" y="844"/>
                    </a:lnTo>
                    <a:lnTo>
                      <a:pt x="60" y="846"/>
                    </a:lnTo>
                    <a:lnTo>
                      <a:pt x="60" y="839"/>
                    </a:lnTo>
                    <a:lnTo>
                      <a:pt x="63" y="831"/>
                    </a:lnTo>
                    <a:lnTo>
                      <a:pt x="67" y="829"/>
                    </a:lnTo>
                    <a:lnTo>
                      <a:pt x="67" y="831"/>
                    </a:lnTo>
                    <a:lnTo>
                      <a:pt x="65" y="831"/>
                    </a:lnTo>
                    <a:lnTo>
                      <a:pt x="62" y="839"/>
                    </a:lnTo>
                    <a:lnTo>
                      <a:pt x="63" y="842"/>
                    </a:lnTo>
                    <a:lnTo>
                      <a:pt x="67" y="844"/>
                    </a:lnTo>
                    <a:lnTo>
                      <a:pt x="70" y="844"/>
                    </a:lnTo>
                    <a:lnTo>
                      <a:pt x="68" y="846"/>
                    </a:lnTo>
                    <a:lnTo>
                      <a:pt x="63" y="846"/>
                    </a:lnTo>
                    <a:lnTo>
                      <a:pt x="58" y="851"/>
                    </a:lnTo>
                    <a:lnTo>
                      <a:pt x="60" y="852"/>
                    </a:lnTo>
                    <a:lnTo>
                      <a:pt x="58" y="856"/>
                    </a:lnTo>
                    <a:lnTo>
                      <a:pt x="58" y="861"/>
                    </a:lnTo>
                    <a:lnTo>
                      <a:pt x="55" y="861"/>
                    </a:lnTo>
                    <a:lnTo>
                      <a:pt x="53" y="866"/>
                    </a:lnTo>
                    <a:lnTo>
                      <a:pt x="53" y="867"/>
                    </a:lnTo>
                    <a:lnTo>
                      <a:pt x="60" y="872"/>
                    </a:lnTo>
                    <a:lnTo>
                      <a:pt x="70" y="874"/>
                    </a:lnTo>
                    <a:lnTo>
                      <a:pt x="73" y="877"/>
                    </a:lnTo>
                    <a:lnTo>
                      <a:pt x="73" y="879"/>
                    </a:lnTo>
                    <a:lnTo>
                      <a:pt x="72" y="879"/>
                    </a:lnTo>
                    <a:lnTo>
                      <a:pt x="72" y="882"/>
                    </a:lnTo>
                    <a:lnTo>
                      <a:pt x="73" y="886"/>
                    </a:lnTo>
                    <a:lnTo>
                      <a:pt x="78" y="881"/>
                    </a:lnTo>
                    <a:lnTo>
                      <a:pt x="78" y="884"/>
                    </a:lnTo>
                    <a:lnTo>
                      <a:pt x="77" y="887"/>
                    </a:lnTo>
                    <a:lnTo>
                      <a:pt x="73" y="889"/>
                    </a:lnTo>
                    <a:lnTo>
                      <a:pt x="70" y="892"/>
                    </a:lnTo>
                    <a:lnTo>
                      <a:pt x="72" y="894"/>
                    </a:lnTo>
                    <a:lnTo>
                      <a:pt x="77" y="894"/>
                    </a:lnTo>
                    <a:lnTo>
                      <a:pt x="77" y="895"/>
                    </a:lnTo>
                    <a:lnTo>
                      <a:pt x="80" y="900"/>
                    </a:lnTo>
                    <a:lnTo>
                      <a:pt x="82" y="900"/>
                    </a:lnTo>
                    <a:lnTo>
                      <a:pt x="85" y="897"/>
                    </a:lnTo>
                    <a:lnTo>
                      <a:pt x="85" y="902"/>
                    </a:lnTo>
                    <a:lnTo>
                      <a:pt x="85" y="905"/>
                    </a:lnTo>
                    <a:lnTo>
                      <a:pt x="83" y="905"/>
                    </a:lnTo>
                    <a:lnTo>
                      <a:pt x="82" y="904"/>
                    </a:lnTo>
                    <a:lnTo>
                      <a:pt x="78" y="904"/>
                    </a:lnTo>
                    <a:lnTo>
                      <a:pt x="78" y="907"/>
                    </a:lnTo>
                    <a:lnTo>
                      <a:pt x="82" y="912"/>
                    </a:lnTo>
                    <a:lnTo>
                      <a:pt x="83" y="912"/>
                    </a:lnTo>
                    <a:lnTo>
                      <a:pt x="85" y="917"/>
                    </a:lnTo>
                    <a:lnTo>
                      <a:pt x="88" y="919"/>
                    </a:lnTo>
                    <a:lnTo>
                      <a:pt x="92" y="922"/>
                    </a:lnTo>
                    <a:lnTo>
                      <a:pt x="95" y="922"/>
                    </a:lnTo>
                    <a:lnTo>
                      <a:pt x="93" y="917"/>
                    </a:lnTo>
                    <a:lnTo>
                      <a:pt x="93" y="914"/>
                    </a:lnTo>
                    <a:lnTo>
                      <a:pt x="93" y="910"/>
                    </a:lnTo>
                    <a:lnTo>
                      <a:pt x="97" y="914"/>
                    </a:lnTo>
                    <a:lnTo>
                      <a:pt x="97" y="917"/>
                    </a:lnTo>
                    <a:lnTo>
                      <a:pt x="100" y="920"/>
                    </a:lnTo>
                    <a:lnTo>
                      <a:pt x="102" y="915"/>
                    </a:lnTo>
                    <a:lnTo>
                      <a:pt x="105" y="914"/>
                    </a:lnTo>
                    <a:lnTo>
                      <a:pt x="105" y="910"/>
                    </a:lnTo>
                    <a:lnTo>
                      <a:pt x="102" y="909"/>
                    </a:lnTo>
                    <a:lnTo>
                      <a:pt x="95" y="909"/>
                    </a:lnTo>
                    <a:lnTo>
                      <a:pt x="95" y="907"/>
                    </a:lnTo>
                    <a:lnTo>
                      <a:pt x="100" y="907"/>
                    </a:lnTo>
                    <a:lnTo>
                      <a:pt x="107" y="909"/>
                    </a:lnTo>
                    <a:lnTo>
                      <a:pt x="108" y="910"/>
                    </a:lnTo>
                    <a:lnTo>
                      <a:pt x="113" y="910"/>
                    </a:lnTo>
                    <a:lnTo>
                      <a:pt x="112" y="907"/>
                    </a:lnTo>
                    <a:lnTo>
                      <a:pt x="107" y="905"/>
                    </a:lnTo>
                    <a:lnTo>
                      <a:pt x="98" y="904"/>
                    </a:lnTo>
                    <a:lnTo>
                      <a:pt x="98" y="902"/>
                    </a:lnTo>
                    <a:lnTo>
                      <a:pt x="102" y="902"/>
                    </a:lnTo>
                    <a:lnTo>
                      <a:pt x="108" y="904"/>
                    </a:lnTo>
                    <a:lnTo>
                      <a:pt x="116" y="909"/>
                    </a:lnTo>
                    <a:lnTo>
                      <a:pt x="116" y="914"/>
                    </a:lnTo>
                    <a:lnTo>
                      <a:pt x="115" y="917"/>
                    </a:lnTo>
                    <a:lnTo>
                      <a:pt x="113" y="920"/>
                    </a:lnTo>
                    <a:lnTo>
                      <a:pt x="116" y="925"/>
                    </a:lnTo>
                    <a:lnTo>
                      <a:pt x="116" y="929"/>
                    </a:lnTo>
                    <a:lnTo>
                      <a:pt x="113" y="930"/>
                    </a:lnTo>
                    <a:lnTo>
                      <a:pt x="115" y="925"/>
                    </a:lnTo>
                    <a:lnTo>
                      <a:pt x="112" y="919"/>
                    </a:lnTo>
                    <a:lnTo>
                      <a:pt x="108" y="917"/>
                    </a:lnTo>
                    <a:lnTo>
                      <a:pt x="107" y="919"/>
                    </a:lnTo>
                    <a:lnTo>
                      <a:pt x="107" y="922"/>
                    </a:lnTo>
                    <a:lnTo>
                      <a:pt x="108" y="925"/>
                    </a:lnTo>
                    <a:lnTo>
                      <a:pt x="107" y="929"/>
                    </a:lnTo>
                    <a:lnTo>
                      <a:pt x="105" y="927"/>
                    </a:lnTo>
                    <a:lnTo>
                      <a:pt x="103" y="924"/>
                    </a:lnTo>
                    <a:lnTo>
                      <a:pt x="102" y="924"/>
                    </a:lnTo>
                    <a:lnTo>
                      <a:pt x="98" y="925"/>
                    </a:lnTo>
                    <a:lnTo>
                      <a:pt x="92" y="925"/>
                    </a:lnTo>
                    <a:lnTo>
                      <a:pt x="88" y="927"/>
                    </a:lnTo>
                    <a:lnTo>
                      <a:pt x="92" y="930"/>
                    </a:lnTo>
                    <a:lnTo>
                      <a:pt x="92" y="935"/>
                    </a:lnTo>
                    <a:lnTo>
                      <a:pt x="93" y="939"/>
                    </a:lnTo>
                    <a:lnTo>
                      <a:pt x="95" y="940"/>
                    </a:lnTo>
                    <a:lnTo>
                      <a:pt x="93" y="944"/>
                    </a:lnTo>
                    <a:lnTo>
                      <a:pt x="95" y="945"/>
                    </a:lnTo>
                    <a:lnTo>
                      <a:pt x="97" y="945"/>
                    </a:lnTo>
                    <a:lnTo>
                      <a:pt x="100" y="942"/>
                    </a:lnTo>
                    <a:lnTo>
                      <a:pt x="102" y="944"/>
                    </a:lnTo>
                    <a:lnTo>
                      <a:pt x="105" y="944"/>
                    </a:lnTo>
                    <a:lnTo>
                      <a:pt x="105" y="945"/>
                    </a:lnTo>
                    <a:lnTo>
                      <a:pt x="102" y="947"/>
                    </a:lnTo>
                    <a:lnTo>
                      <a:pt x="98" y="950"/>
                    </a:lnTo>
                    <a:lnTo>
                      <a:pt x="100" y="952"/>
                    </a:lnTo>
                    <a:lnTo>
                      <a:pt x="105" y="952"/>
                    </a:lnTo>
                    <a:lnTo>
                      <a:pt x="112" y="955"/>
                    </a:lnTo>
                    <a:lnTo>
                      <a:pt x="113" y="955"/>
                    </a:lnTo>
                    <a:lnTo>
                      <a:pt x="116" y="952"/>
                    </a:lnTo>
                    <a:lnTo>
                      <a:pt x="115" y="947"/>
                    </a:lnTo>
                    <a:lnTo>
                      <a:pt x="115" y="944"/>
                    </a:lnTo>
                    <a:lnTo>
                      <a:pt x="113" y="940"/>
                    </a:lnTo>
                    <a:lnTo>
                      <a:pt x="112" y="942"/>
                    </a:lnTo>
                    <a:lnTo>
                      <a:pt x="108" y="942"/>
                    </a:lnTo>
                    <a:lnTo>
                      <a:pt x="110" y="940"/>
                    </a:lnTo>
                    <a:lnTo>
                      <a:pt x="113" y="939"/>
                    </a:lnTo>
                    <a:lnTo>
                      <a:pt x="113" y="935"/>
                    </a:lnTo>
                    <a:lnTo>
                      <a:pt x="115" y="935"/>
                    </a:lnTo>
                    <a:lnTo>
                      <a:pt x="120" y="937"/>
                    </a:lnTo>
                    <a:lnTo>
                      <a:pt x="121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6" y="937"/>
                    </a:lnTo>
                    <a:lnTo>
                      <a:pt x="131" y="935"/>
                    </a:lnTo>
                    <a:lnTo>
                      <a:pt x="135" y="937"/>
                    </a:lnTo>
                    <a:lnTo>
                      <a:pt x="140" y="937"/>
                    </a:lnTo>
                    <a:lnTo>
                      <a:pt x="145" y="937"/>
                    </a:lnTo>
                    <a:lnTo>
                      <a:pt x="145" y="939"/>
                    </a:lnTo>
                    <a:lnTo>
                      <a:pt x="141" y="939"/>
                    </a:lnTo>
                    <a:lnTo>
                      <a:pt x="140" y="942"/>
                    </a:lnTo>
                    <a:lnTo>
                      <a:pt x="138" y="942"/>
                    </a:lnTo>
                    <a:lnTo>
                      <a:pt x="135" y="939"/>
                    </a:lnTo>
                    <a:lnTo>
                      <a:pt x="131" y="940"/>
                    </a:lnTo>
                    <a:lnTo>
                      <a:pt x="123" y="945"/>
                    </a:lnTo>
                    <a:lnTo>
                      <a:pt x="121" y="947"/>
                    </a:lnTo>
                    <a:lnTo>
                      <a:pt x="120" y="945"/>
                    </a:lnTo>
                    <a:lnTo>
                      <a:pt x="116" y="949"/>
                    </a:lnTo>
                    <a:lnTo>
                      <a:pt x="118" y="952"/>
                    </a:lnTo>
                    <a:lnTo>
                      <a:pt x="116" y="954"/>
                    </a:lnTo>
                    <a:lnTo>
                      <a:pt x="115" y="955"/>
                    </a:lnTo>
                    <a:lnTo>
                      <a:pt x="115" y="957"/>
                    </a:lnTo>
                    <a:lnTo>
                      <a:pt x="116" y="959"/>
                    </a:lnTo>
                    <a:lnTo>
                      <a:pt x="115" y="960"/>
                    </a:lnTo>
                    <a:lnTo>
                      <a:pt x="115" y="962"/>
                    </a:lnTo>
                    <a:lnTo>
                      <a:pt x="121" y="965"/>
                    </a:lnTo>
                    <a:lnTo>
                      <a:pt x="126" y="969"/>
                    </a:lnTo>
                    <a:lnTo>
                      <a:pt x="128" y="969"/>
                    </a:lnTo>
                    <a:lnTo>
                      <a:pt x="130" y="967"/>
                    </a:lnTo>
                    <a:lnTo>
                      <a:pt x="128" y="964"/>
                    </a:lnTo>
                    <a:lnTo>
                      <a:pt x="131" y="960"/>
                    </a:lnTo>
                    <a:lnTo>
                      <a:pt x="135" y="960"/>
                    </a:lnTo>
                    <a:lnTo>
                      <a:pt x="135" y="959"/>
                    </a:lnTo>
                    <a:lnTo>
                      <a:pt x="131" y="954"/>
                    </a:lnTo>
                    <a:lnTo>
                      <a:pt x="138" y="954"/>
                    </a:lnTo>
                    <a:lnTo>
                      <a:pt x="141" y="950"/>
                    </a:lnTo>
                    <a:lnTo>
                      <a:pt x="146" y="944"/>
                    </a:lnTo>
                    <a:lnTo>
                      <a:pt x="148" y="942"/>
                    </a:lnTo>
                    <a:lnTo>
                      <a:pt x="150" y="944"/>
                    </a:lnTo>
                    <a:lnTo>
                      <a:pt x="153" y="945"/>
                    </a:lnTo>
                    <a:lnTo>
                      <a:pt x="156" y="945"/>
                    </a:lnTo>
                    <a:lnTo>
                      <a:pt x="156" y="947"/>
                    </a:lnTo>
                    <a:lnTo>
                      <a:pt x="153" y="947"/>
                    </a:lnTo>
                    <a:lnTo>
                      <a:pt x="150" y="952"/>
                    </a:lnTo>
                    <a:lnTo>
                      <a:pt x="150" y="954"/>
                    </a:lnTo>
                    <a:lnTo>
                      <a:pt x="145" y="957"/>
                    </a:lnTo>
                    <a:lnTo>
                      <a:pt x="145" y="962"/>
                    </a:lnTo>
                    <a:lnTo>
                      <a:pt x="146" y="965"/>
                    </a:lnTo>
                    <a:lnTo>
                      <a:pt x="145" y="967"/>
                    </a:lnTo>
                    <a:lnTo>
                      <a:pt x="141" y="969"/>
                    </a:lnTo>
                    <a:lnTo>
                      <a:pt x="141" y="967"/>
                    </a:lnTo>
                    <a:lnTo>
                      <a:pt x="143" y="965"/>
                    </a:lnTo>
                    <a:lnTo>
                      <a:pt x="143" y="960"/>
                    </a:lnTo>
                    <a:lnTo>
                      <a:pt x="141" y="960"/>
                    </a:lnTo>
                    <a:lnTo>
                      <a:pt x="140" y="962"/>
                    </a:lnTo>
                    <a:lnTo>
                      <a:pt x="138" y="964"/>
                    </a:lnTo>
                    <a:lnTo>
                      <a:pt x="136" y="964"/>
                    </a:lnTo>
                    <a:lnTo>
                      <a:pt x="133" y="964"/>
                    </a:lnTo>
                    <a:lnTo>
                      <a:pt x="131" y="965"/>
                    </a:lnTo>
                    <a:lnTo>
                      <a:pt x="135" y="969"/>
                    </a:lnTo>
                    <a:lnTo>
                      <a:pt x="143" y="977"/>
                    </a:lnTo>
                    <a:lnTo>
                      <a:pt x="150" y="977"/>
                    </a:lnTo>
                    <a:lnTo>
                      <a:pt x="153" y="980"/>
                    </a:lnTo>
                    <a:lnTo>
                      <a:pt x="156" y="979"/>
                    </a:lnTo>
                    <a:lnTo>
                      <a:pt x="160" y="980"/>
                    </a:lnTo>
                    <a:lnTo>
                      <a:pt x="161" y="979"/>
                    </a:lnTo>
                    <a:lnTo>
                      <a:pt x="165" y="974"/>
                    </a:lnTo>
                    <a:lnTo>
                      <a:pt x="163" y="967"/>
                    </a:lnTo>
                    <a:lnTo>
                      <a:pt x="163" y="964"/>
                    </a:lnTo>
                    <a:lnTo>
                      <a:pt x="163" y="962"/>
                    </a:lnTo>
                    <a:lnTo>
                      <a:pt x="163" y="955"/>
                    </a:lnTo>
                    <a:lnTo>
                      <a:pt x="165" y="949"/>
                    </a:lnTo>
                    <a:lnTo>
                      <a:pt x="163" y="944"/>
                    </a:lnTo>
                    <a:lnTo>
                      <a:pt x="163" y="942"/>
                    </a:lnTo>
                    <a:lnTo>
                      <a:pt x="170" y="939"/>
                    </a:lnTo>
                    <a:lnTo>
                      <a:pt x="175" y="932"/>
                    </a:lnTo>
                    <a:lnTo>
                      <a:pt x="178" y="930"/>
                    </a:lnTo>
                    <a:lnTo>
                      <a:pt x="183" y="930"/>
                    </a:lnTo>
                    <a:lnTo>
                      <a:pt x="185" y="929"/>
                    </a:lnTo>
                    <a:lnTo>
                      <a:pt x="185" y="924"/>
                    </a:lnTo>
                    <a:lnTo>
                      <a:pt x="188" y="922"/>
                    </a:lnTo>
                    <a:lnTo>
                      <a:pt x="193" y="920"/>
                    </a:lnTo>
                    <a:lnTo>
                      <a:pt x="200" y="924"/>
                    </a:lnTo>
                    <a:lnTo>
                      <a:pt x="203" y="922"/>
                    </a:lnTo>
                    <a:lnTo>
                      <a:pt x="203" y="922"/>
                    </a:lnTo>
                    <a:lnTo>
                      <a:pt x="203" y="922"/>
                    </a:lnTo>
                    <a:close/>
                    <a:moveTo>
                      <a:pt x="251" y="1038"/>
                    </a:moveTo>
                    <a:lnTo>
                      <a:pt x="253" y="1040"/>
                    </a:lnTo>
                    <a:lnTo>
                      <a:pt x="256" y="1037"/>
                    </a:lnTo>
                    <a:lnTo>
                      <a:pt x="254" y="1037"/>
                    </a:lnTo>
                    <a:lnTo>
                      <a:pt x="254" y="1037"/>
                    </a:lnTo>
                    <a:lnTo>
                      <a:pt x="251" y="1038"/>
                    </a:lnTo>
                    <a:lnTo>
                      <a:pt x="251" y="1038"/>
                    </a:lnTo>
                    <a:close/>
                    <a:moveTo>
                      <a:pt x="32" y="641"/>
                    </a:moveTo>
                    <a:lnTo>
                      <a:pt x="27" y="638"/>
                    </a:lnTo>
                    <a:lnTo>
                      <a:pt x="25" y="640"/>
                    </a:lnTo>
                    <a:lnTo>
                      <a:pt x="25" y="641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33" y="653"/>
                    </a:lnTo>
                    <a:lnTo>
                      <a:pt x="32" y="653"/>
                    </a:lnTo>
                    <a:lnTo>
                      <a:pt x="28" y="651"/>
                    </a:lnTo>
                    <a:lnTo>
                      <a:pt x="25" y="655"/>
                    </a:lnTo>
                    <a:lnTo>
                      <a:pt x="27" y="660"/>
                    </a:lnTo>
                    <a:lnTo>
                      <a:pt x="27" y="661"/>
                    </a:lnTo>
                    <a:lnTo>
                      <a:pt x="18" y="663"/>
                    </a:lnTo>
                    <a:lnTo>
                      <a:pt x="12" y="660"/>
                    </a:lnTo>
                    <a:lnTo>
                      <a:pt x="15" y="655"/>
                    </a:lnTo>
                    <a:lnTo>
                      <a:pt x="14" y="641"/>
                    </a:lnTo>
                    <a:lnTo>
                      <a:pt x="12" y="636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10" y="630"/>
                    </a:lnTo>
                    <a:lnTo>
                      <a:pt x="14" y="628"/>
                    </a:lnTo>
                    <a:lnTo>
                      <a:pt x="14" y="625"/>
                    </a:lnTo>
                    <a:lnTo>
                      <a:pt x="12" y="621"/>
                    </a:lnTo>
                    <a:lnTo>
                      <a:pt x="12" y="620"/>
                    </a:lnTo>
                    <a:lnTo>
                      <a:pt x="15" y="616"/>
                    </a:lnTo>
                    <a:lnTo>
                      <a:pt x="20" y="616"/>
                    </a:lnTo>
                    <a:lnTo>
                      <a:pt x="25" y="618"/>
                    </a:lnTo>
                    <a:lnTo>
                      <a:pt x="30" y="625"/>
                    </a:lnTo>
                    <a:lnTo>
                      <a:pt x="28" y="630"/>
                    </a:lnTo>
                    <a:lnTo>
                      <a:pt x="30" y="631"/>
                    </a:lnTo>
                    <a:lnTo>
                      <a:pt x="30" y="636"/>
                    </a:lnTo>
                    <a:lnTo>
                      <a:pt x="25" y="635"/>
                    </a:lnTo>
                    <a:lnTo>
                      <a:pt x="30" y="638"/>
                    </a:lnTo>
                    <a:lnTo>
                      <a:pt x="32" y="640"/>
                    </a:lnTo>
                    <a:lnTo>
                      <a:pt x="32" y="641"/>
                    </a:lnTo>
                    <a:lnTo>
                      <a:pt x="32" y="641"/>
                    </a:lnTo>
                    <a:close/>
                    <a:moveTo>
                      <a:pt x="35" y="630"/>
                    </a:moveTo>
                    <a:lnTo>
                      <a:pt x="38" y="630"/>
                    </a:lnTo>
                    <a:lnTo>
                      <a:pt x="42" y="631"/>
                    </a:lnTo>
                    <a:lnTo>
                      <a:pt x="40" y="633"/>
                    </a:lnTo>
                    <a:lnTo>
                      <a:pt x="35" y="630"/>
                    </a:lnTo>
                    <a:lnTo>
                      <a:pt x="35" y="630"/>
                    </a:lnTo>
                    <a:close/>
                    <a:moveTo>
                      <a:pt x="7" y="671"/>
                    </a:moveTo>
                    <a:lnTo>
                      <a:pt x="9" y="670"/>
                    </a:lnTo>
                    <a:lnTo>
                      <a:pt x="12" y="670"/>
                    </a:lnTo>
                    <a:lnTo>
                      <a:pt x="15" y="671"/>
                    </a:lnTo>
                    <a:lnTo>
                      <a:pt x="10" y="675"/>
                    </a:lnTo>
                    <a:lnTo>
                      <a:pt x="7" y="671"/>
                    </a:lnTo>
                    <a:lnTo>
                      <a:pt x="7" y="671"/>
                    </a:lnTo>
                    <a:close/>
                    <a:moveTo>
                      <a:pt x="40" y="676"/>
                    </a:moveTo>
                    <a:lnTo>
                      <a:pt x="45" y="673"/>
                    </a:lnTo>
                    <a:lnTo>
                      <a:pt x="45" y="676"/>
                    </a:lnTo>
                    <a:lnTo>
                      <a:pt x="42" y="680"/>
                    </a:lnTo>
                    <a:lnTo>
                      <a:pt x="40" y="676"/>
                    </a:lnTo>
                    <a:lnTo>
                      <a:pt x="40" y="676"/>
                    </a:lnTo>
                    <a:close/>
                    <a:moveTo>
                      <a:pt x="33" y="676"/>
                    </a:moveTo>
                    <a:lnTo>
                      <a:pt x="37" y="676"/>
                    </a:lnTo>
                    <a:lnTo>
                      <a:pt x="37" y="681"/>
                    </a:lnTo>
                    <a:lnTo>
                      <a:pt x="33" y="683"/>
                    </a:lnTo>
                    <a:lnTo>
                      <a:pt x="33" y="680"/>
                    </a:lnTo>
                    <a:lnTo>
                      <a:pt x="30" y="678"/>
                    </a:lnTo>
                    <a:lnTo>
                      <a:pt x="33" y="676"/>
                    </a:lnTo>
                    <a:lnTo>
                      <a:pt x="33" y="676"/>
                    </a:lnTo>
                    <a:close/>
                    <a:moveTo>
                      <a:pt x="22" y="675"/>
                    </a:moveTo>
                    <a:lnTo>
                      <a:pt x="23" y="673"/>
                    </a:lnTo>
                    <a:lnTo>
                      <a:pt x="30" y="675"/>
                    </a:lnTo>
                    <a:lnTo>
                      <a:pt x="25" y="678"/>
                    </a:lnTo>
                    <a:lnTo>
                      <a:pt x="22" y="675"/>
                    </a:lnTo>
                    <a:lnTo>
                      <a:pt x="22" y="675"/>
                    </a:lnTo>
                    <a:close/>
                    <a:moveTo>
                      <a:pt x="23" y="683"/>
                    </a:moveTo>
                    <a:lnTo>
                      <a:pt x="25" y="681"/>
                    </a:lnTo>
                    <a:lnTo>
                      <a:pt x="27" y="683"/>
                    </a:lnTo>
                    <a:lnTo>
                      <a:pt x="27" y="685"/>
                    </a:lnTo>
                    <a:lnTo>
                      <a:pt x="23" y="683"/>
                    </a:lnTo>
                    <a:lnTo>
                      <a:pt x="23" y="683"/>
                    </a:lnTo>
                    <a:close/>
                    <a:moveTo>
                      <a:pt x="17" y="688"/>
                    </a:moveTo>
                    <a:lnTo>
                      <a:pt x="18" y="685"/>
                    </a:lnTo>
                    <a:lnTo>
                      <a:pt x="23" y="686"/>
                    </a:lnTo>
                    <a:lnTo>
                      <a:pt x="25" y="688"/>
                    </a:lnTo>
                    <a:lnTo>
                      <a:pt x="25" y="690"/>
                    </a:lnTo>
                    <a:lnTo>
                      <a:pt x="22" y="691"/>
                    </a:lnTo>
                    <a:lnTo>
                      <a:pt x="18" y="690"/>
                    </a:lnTo>
                    <a:lnTo>
                      <a:pt x="17" y="688"/>
                    </a:lnTo>
                    <a:lnTo>
                      <a:pt x="17" y="688"/>
                    </a:lnTo>
                    <a:close/>
                    <a:moveTo>
                      <a:pt x="14" y="696"/>
                    </a:moveTo>
                    <a:lnTo>
                      <a:pt x="17" y="698"/>
                    </a:lnTo>
                    <a:lnTo>
                      <a:pt x="14" y="699"/>
                    </a:lnTo>
                    <a:lnTo>
                      <a:pt x="12" y="698"/>
                    </a:lnTo>
                    <a:lnTo>
                      <a:pt x="14" y="696"/>
                    </a:lnTo>
                    <a:lnTo>
                      <a:pt x="14" y="696"/>
                    </a:lnTo>
                    <a:close/>
                    <a:moveTo>
                      <a:pt x="37" y="695"/>
                    </a:moveTo>
                    <a:lnTo>
                      <a:pt x="38" y="699"/>
                    </a:lnTo>
                    <a:lnTo>
                      <a:pt x="35" y="699"/>
                    </a:lnTo>
                    <a:lnTo>
                      <a:pt x="37" y="695"/>
                    </a:lnTo>
                    <a:lnTo>
                      <a:pt x="37" y="695"/>
                    </a:lnTo>
                    <a:close/>
                    <a:moveTo>
                      <a:pt x="28" y="693"/>
                    </a:moveTo>
                    <a:lnTo>
                      <a:pt x="33" y="691"/>
                    </a:lnTo>
                    <a:lnTo>
                      <a:pt x="33" y="696"/>
                    </a:lnTo>
                    <a:lnTo>
                      <a:pt x="28" y="693"/>
                    </a:lnTo>
                    <a:lnTo>
                      <a:pt x="28" y="693"/>
                    </a:lnTo>
                    <a:close/>
                    <a:moveTo>
                      <a:pt x="18" y="726"/>
                    </a:moveTo>
                    <a:lnTo>
                      <a:pt x="20" y="726"/>
                    </a:lnTo>
                    <a:lnTo>
                      <a:pt x="22" y="731"/>
                    </a:lnTo>
                    <a:lnTo>
                      <a:pt x="18" y="729"/>
                    </a:lnTo>
                    <a:lnTo>
                      <a:pt x="18" y="726"/>
                    </a:lnTo>
                    <a:lnTo>
                      <a:pt x="18" y="726"/>
                    </a:lnTo>
                    <a:close/>
                    <a:moveTo>
                      <a:pt x="18" y="698"/>
                    </a:moveTo>
                    <a:lnTo>
                      <a:pt x="18" y="695"/>
                    </a:lnTo>
                    <a:lnTo>
                      <a:pt x="18" y="693"/>
                    </a:lnTo>
                    <a:lnTo>
                      <a:pt x="23" y="693"/>
                    </a:lnTo>
                    <a:lnTo>
                      <a:pt x="25" y="696"/>
                    </a:lnTo>
                    <a:lnTo>
                      <a:pt x="22" y="698"/>
                    </a:lnTo>
                    <a:lnTo>
                      <a:pt x="18" y="698"/>
                    </a:lnTo>
                    <a:lnTo>
                      <a:pt x="18" y="698"/>
                    </a:lnTo>
                    <a:close/>
                    <a:moveTo>
                      <a:pt x="9" y="706"/>
                    </a:moveTo>
                    <a:lnTo>
                      <a:pt x="2" y="703"/>
                    </a:lnTo>
                    <a:lnTo>
                      <a:pt x="4" y="699"/>
                    </a:lnTo>
                    <a:lnTo>
                      <a:pt x="9" y="699"/>
                    </a:lnTo>
                    <a:lnTo>
                      <a:pt x="10" y="703"/>
                    </a:lnTo>
                    <a:lnTo>
                      <a:pt x="9" y="706"/>
                    </a:lnTo>
                    <a:lnTo>
                      <a:pt x="9" y="706"/>
                    </a:lnTo>
                    <a:close/>
                    <a:moveTo>
                      <a:pt x="27" y="719"/>
                    </a:moveTo>
                    <a:lnTo>
                      <a:pt x="30" y="719"/>
                    </a:lnTo>
                    <a:lnTo>
                      <a:pt x="30" y="724"/>
                    </a:lnTo>
                    <a:lnTo>
                      <a:pt x="27" y="719"/>
                    </a:lnTo>
                    <a:lnTo>
                      <a:pt x="27" y="719"/>
                    </a:lnTo>
                    <a:close/>
                    <a:moveTo>
                      <a:pt x="32" y="726"/>
                    </a:moveTo>
                    <a:lnTo>
                      <a:pt x="37" y="724"/>
                    </a:lnTo>
                    <a:lnTo>
                      <a:pt x="35" y="728"/>
                    </a:lnTo>
                    <a:lnTo>
                      <a:pt x="32" y="726"/>
                    </a:lnTo>
                    <a:lnTo>
                      <a:pt x="32" y="726"/>
                    </a:lnTo>
                    <a:close/>
                    <a:moveTo>
                      <a:pt x="42" y="686"/>
                    </a:moveTo>
                    <a:lnTo>
                      <a:pt x="43" y="686"/>
                    </a:lnTo>
                    <a:lnTo>
                      <a:pt x="47" y="690"/>
                    </a:lnTo>
                    <a:lnTo>
                      <a:pt x="42" y="690"/>
                    </a:lnTo>
                    <a:lnTo>
                      <a:pt x="42" y="686"/>
                    </a:lnTo>
                    <a:lnTo>
                      <a:pt x="42" y="686"/>
                    </a:lnTo>
                    <a:close/>
                    <a:moveTo>
                      <a:pt x="48" y="691"/>
                    </a:moveTo>
                    <a:lnTo>
                      <a:pt x="53" y="691"/>
                    </a:lnTo>
                    <a:lnTo>
                      <a:pt x="55" y="695"/>
                    </a:lnTo>
                    <a:lnTo>
                      <a:pt x="58" y="698"/>
                    </a:lnTo>
                    <a:lnTo>
                      <a:pt x="55" y="701"/>
                    </a:lnTo>
                    <a:lnTo>
                      <a:pt x="55" y="704"/>
                    </a:lnTo>
                    <a:lnTo>
                      <a:pt x="52" y="704"/>
                    </a:lnTo>
                    <a:lnTo>
                      <a:pt x="48" y="704"/>
                    </a:lnTo>
                    <a:lnTo>
                      <a:pt x="47" y="703"/>
                    </a:lnTo>
                    <a:lnTo>
                      <a:pt x="43" y="706"/>
                    </a:lnTo>
                    <a:lnTo>
                      <a:pt x="43" y="703"/>
                    </a:lnTo>
                    <a:lnTo>
                      <a:pt x="42" y="698"/>
                    </a:lnTo>
                    <a:lnTo>
                      <a:pt x="43" y="693"/>
                    </a:lnTo>
                    <a:lnTo>
                      <a:pt x="48" y="691"/>
                    </a:lnTo>
                    <a:lnTo>
                      <a:pt x="48" y="691"/>
                    </a:lnTo>
                    <a:close/>
                    <a:moveTo>
                      <a:pt x="22" y="703"/>
                    </a:moveTo>
                    <a:lnTo>
                      <a:pt x="23" y="699"/>
                    </a:lnTo>
                    <a:lnTo>
                      <a:pt x="33" y="699"/>
                    </a:lnTo>
                    <a:lnTo>
                      <a:pt x="30" y="703"/>
                    </a:lnTo>
                    <a:lnTo>
                      <a:pt x="25" y="703"/>
                    </a:lnTo>
                    <a:lnTo>
                      <a:pt x="23" y="704"/>
                    </a:lnTo>
                    <a:lnTo>
                      <a:pt x="23" y="704"/>
                    </a:lnTo>
                    <a:lnTo>
                      <a:pt x="22" y="703"/>
                    </a:lnTo>
                    <a:lnTo>
                      <a:pt x="22" y="703"/>
                    </a:lnTo>
                    <a:close/>
                    <a:moveTo>
                      <a:pt x="27" y="711"/>
                    </a:moveTo>
                    <a:lnTo>
                      <a:pt x="25" y="709"/>
                    </a:lnTo>
                    <a:lnTo>
                      <a:pt x="30" y="708"/>
                    </a:lnTo>
                    <a:lnTo>
                      <a:pt x="33" y="708"/>
                    </a:lnTo>
                    <a:lnTo>
                      <a:pt x="33" y="711"/>
                    </a:lnTo>
                    <a:lnTo>
                      <a:pt x="27" y="711"/>
                    </a:lnTo>
                    <a:lnTo>
                      <a:pt x="27" y="711"/>
                    </a:lnTo>
                    <a:close/>
                    <a:moveTo>
                      <a:pt x="30" y="714"/>
                    </a:moveTo>
                    <a:lnTo>
                      <a:pt x="33" y="713"/>
                    </a:lnTo>
                    <a:lnTo>
                      <a:pt x="38" y="713"/>
                    </a:lnTo>
                    <a:lnTo>
                      <a:pt x="40" y="719"/>
                    </a:lnTo>
                    <a:lnTo>
                      <a:pt x="37" y="723"/>
                    </a:lnTo>
                    <a:lnTo>
                      <a:pt x="33" y="721"/>
                    </a:lnTo>
                    <a:lnTo>
                      <a:pt x="32" y="716"/>
                    </a:lnTo>
                    <a:lnTo>
                      <a:pt x="30" y="714"/>
                    </a:lnTo>
                    <a:lnTo>
                      <a:pt x="30" y="714"/>
                    </a:lnTo>
                    <a:close/>
                    <a:moveTo>
                      <a:pt x="22" y="726"/>
                    </a:moveTo>
                    <a:lnTo>
                      <a:pt x="25" y="724"/>
                    </a:lnTo>
                    <a:lnTo>
                      <a:pt x="25" y="726"/>
                    </a:lnTo>
                    <a:lnTo>
                      <a:pt x="30" y="726"/>
                    </a:lnTo>
                    <a:lnTo>
                      <a:pt x="32" y="729"/>
                    </a:lnTo>
                    <a:lnTo>
                      <a:pt x="27" y="731"/>
                    </a:lnTo>
                    <a:lnTo>
                      <a:pt x="22" y="726"/>
                    </a:lnTo>
                    <a:lnTo>
                      <a:pt x="22" y="726"/>
                    </a:lnTo>
                    <a:close/>
                    <a:moveTo>
                      <a:pt x="35" y="811"/>
                    </a:moveTo>
                    <a:lnTo>
                      <a:pt x="38" y="809"/>
                    </a:lnTo>
                    <a:lnTo>
                      <a:pt x="37" y="807"/>
                    </a:lnTo>
                    <a:lnTo>
                      <a:pt x="35" y="809"/>
                    </a:lnTo>
                    <a:lnTo>
                      <a:pt x="28" y="801"/>
                    </a:lnTo>
                    <a:lnTo>
                      <a:pt x="25" y="797"/>
                    </a:lnTo>
                    <a:lnTo>
                      <a:pt x="27" y="794"/>
                    </a:lnTo>
                    <a:lnTo>
                      <a:pt x="30" y="794"/>
                    </a:lnTo>
                    <a:lnTo>
                      <a:pt x="35" y="793"/>
                    </a:lnTo>
                    <a:lnTo>
                      <a:pt x="35" y="799"/>
                    </a:lnTo>
                    <a:lnTo>
                      <a:pt x="40" y="801"/>
                    </a:lnTo>
                    <a:lnTo>
                      <a:pt x="40" y="806"/>
                    </a:lnTo>
                    <a:lnTo>
                      <a:pt x="43" y="809"/>
                    </a:lnTo>
                    <a:lnTo>
                      <a:pt x="47" y="816"/>
                    </a:lnTo>
                    <a:lnTo>
                      <a:pt x="42" y="816"/>
                    </a:lnTo>
                    <a:lnTo>
                      <a:pt x="37" y="816"/>
                    </a:lnTo>
                    <a:lnTo>
                      <a:pt x="35" y="811"/>
                    </a:lnTo>
                    <a:lnTo>
                      <a:pt x="35" y="811"/>
                    </a:lnTo>
                    <a:close/>
                    <a:moveTo>
                      <a:pt x="17" y="802"/>
                    </a:moveTo>
                    <a:lnTo>
                      <a:pt x="17" y="801"/>
                    </a:lnTo>
                    <a:lnTo>
                      <a:pt x="18" y="799"/>
                    </a:lnTo>
                    <a:lnTo>
                      <a:pt x="23" y="799"/>
                    </a:lnTo>
                    <a:lnTo>
                      <a:pt x="30" y="809"/>
                    </a:lnTo>
                    <a:lnTo>
                      <a:pt x="33" y="814"/>
                    </a:lnTo>
                    <a:lnTo>
                      <a:pt x="33" y="819"/>
                    </a:lnTo>
                    <a:lnTo>
                      <a:pt x="32" y="821"/>
                    </a:lnTo>
                    <a:lnTo>
                      <a:pt x="28" y="819"/>
                    </a:lnTo>
                    <a:lnTo>
                      <a:pt x="27" y="812"/>
                    </a:lnTo>
                    <a:lnTo>
                      <a:pt x="27" y="811"/>
                    </a:lnTo>
                    <a:lnTo>
                      <a:pt x="23" y="809"/>
                    </a:lnTo>
                    <a:lnTo>
                      <a:pt x="18" y="807"/>
                    </a:lnTo>
                    <a:lnTo>
                      <a:pt x="17" y="802"/>
                    </a:lnTo>
                    <a:lnTo>
                      <a:pt x="17" y="802"/>
                    </a:lnTo>
                    <a:close/>
                    <a:moveTo>
                      <a:pt x="18" y="811"/>
                    </a:moveTo>
                    <a:lnTo>
                      <a:pt x="20" y="811"/>
                    </a:lnTo>
                    <a:lnTo>
                      <a:pt x="23" y="812"/>
                    </a:lnTo>
                    <a:lnTo>
                      <a:pt x="25" y="816"/>
                    </a:lnTo>
                    <a:lnTo>
                      <a:pt x="23" y="819"/>
                    </a:lnTo>
                    <a:lnTo>
                      <a:pt x="22" y="821"/>
                    </a:lnTo>
                    <a:lnTo>
                      <a:pt x="22" y="817"/>
                    </a:lnTo>
                    <a:lnTo>
                      <a:pt x="18" y="816"/>
                    </a:lnTo>
                    <a:lnTo>
                      <a:pt x="18" y="811"/>
                    </a:lnTo>
                    <a:lnTo>
                      <a:pt x="18" y="811"/>
                    </a:lnTo>
                    <a:close/>
                    <a:moveTo>
                      <a:pt x="27" y="836"/>
                    </a:moveTo>
                    <a:lnTo>
                      <a:pt x="25" y="836"/>
                    </a:lnTo>
                    <a:lnTo>
                      <a:pt x="25" y="832"/>
                    </a:lnTo>
                    <a:lnTo>
                      <a:pt x="23" y="824"/>
                    </a:lnTo>
                    <a:lnTo>
                      <a:pt x="25" y="822"/>
                    </a:lnTo>
                    <a:lnTo>
                      <a:pt x="27" y="824"/>
                    </a:lnTo>
                    <a:lnTo>
                      <a:pt x="32" y="826"/>
                    </a:lnTo>
                    <a:lnTo>
                      <a:pt x="33" y="829"/>
                    </a:lnTo>
                    <a:lnTo>
                      <a:pt x="32" y="831"/>
                    </a:lnTo>
                    <a:lnTo>
                      <a:pt x="27" y="836"/>
                    </a:lnTo>
                    <a:lnTo>
                      <a:pt x="27" y="836"/>
                    </a:lnTo>
                    <a:close/>
                    <a:moveTo>
                      <a:pt x="33" y="852"/>
                    </a:moveTo>
                    <a:lnTo>
                      <a:pt x="30" y="856"/>
                    </a:lnTo>
                    <a:lnTo>
                      <a:pt x="28" y="852"/>
                    </a:lnTo>
                    <a:lnTo>
                      <a:pt x="28" y="851"/>
                    </a:lnTo>
                    <a:lnTo>
                      <a:pt x="27" y="847"/>
                    </a:lnTo>
                    <a:lnTo>
                      <a:pt x="32" y="846"/>
                    </a:lnTo>
                    <a:lnTo>
                      <a:pt x="35" y="849"/>
                    </a:lnTo>
                    <a:lnTo>
                      <a:pt x="33" y="852"/>
                    </a:lnTo>
                    <a:lnTo>
                      <a:pt x="33" y="852"/>
                    </a:lnTo>
                    <a:close/>
                    <a:moveTo>
                      <a:pt x="47" y="851"/>
                    </a:moveTo>
                    <a:lnTo>
                      <a:pt x="45" y="856"/>
                    </a:lnTo>
                    <a:lnTo>
                      <a:pt x="42" y="857"/>
                    </a:lnTo>
                    <a:lnTo>
                      <a:pt x="38" y="854"/>
                    </a:lnTo>
                    <a:lnTo>
                      <a:pt x="37" y="847"/>
                    </a:lnTo>
                    <a:lnTo>
                      <a:pt x="32" y="839"/>
                    </a:lnTo>
                    <a:lnTo>
                      <a:pt x="37" y="839"/>
                    </a:lnTo>
                    <a:lnTo>
                      <a:pt x="40" y="836"/>
                    </a:lnTo>
                    <a:lnTo>
                      <a:pt x="40" y="832"/>
                    </a:lnTo>
                    <a:lnTo>
                      <a:pt x="38" y="836"/>
                    </a:lnTo>
                    <a:lnTo>
                      <a:pt x="37" y="836"/>
                    </a:lnTo>
                    <a:lnTo>
                      <a:pt x="35" y="832"/>
                    </a:lnTo>
                    <a:lnTo>
                      <a:pt x="37" y="829"/>
                    </a:lnTo>
                    <a:lnTo>
                      <a:pt x="35" y="827"/>
                    </a:lnTo>
                    <a:lnTo>
                      <a:pt x="33" y="822"/>
                    </a:lnTo>
                    <a:lnTo>
                      <a:pt x="37" y="819"/>
                    </a:lnTo>
                    <a:lnTo>
                      <a:pt x="43" y="819"/>
                    </a:lnTo>
                    <a:lnTo>
                      <a:pt x="47" y="822"/>
                    </a:lnTo>
                    <a:lnTo>
                      <a:pt x="50" y="831"/>
                    </a:lnTo>
                    <a:lnTo>
                      <a:pt x="52" y="836"/>
                    </a:lnTo>
                    <a:lnTo>
                      <a:pt x="53" y="844"/>
                    </a:lnTo>
                    <a:lnTo>
                      <a:pt x="52" y="846"/>
                    </a:lnTo>
                    <a:lnTo>
                      <a:pt x="55" y="852"/>
                    </a:lnTo>
                    <a:lnTo>
                      <a:pt x="53" y="859"/>
                    </a:lnTo>
                    <a:lnTo>
                      <a:pt x="50" y="861"/>
                    </a:lnTo>
                    <a:lnTo>
                      <a:pt x="48" y="859"/>
                    </a:lnTo>
                    <a:lnTo>
                      <a:pt x="47" y="854"/>
                    </a:lnTo>
                    <a:lnTo>
                      <a:pt x="47" y="851"/>
                    </a:lnTo>
                    <a:lnTo>
                      <a:pt x="47" y="851"/>
                    </a:lnTo>
                    <a:close/>
                    <a:moveTo>
                      <a:pt x="42" y="874"/>
                    </a:moveTo>
                    <a:lnTo>
                      <a:pt x="40" y="871"/>
                    </a:lnTo>
                    <a:lnTo>
                      <a:pt x="38" y="867"/>
                    </a:lnTo>
                    <a:lnTo>
                      <a:pt x="40" y="866"/>
                    </a:lnTo>
                    <a:lnTo>
                      <a:pt x="40" y="862"/>
                    </a:lnTo>
                    <a:lnTo>
                      <a:pt x="42" y="862"/>
                    </a:lnTo>
                    <a:lnTo>
                      <a:pt x="43" y="864"/>
                    </a:lnTo>
                    <a:lnTo>
                      <a:pt x="48" y="864"/>
                    </a:lnTo>
                    <a:lnTo>
                      <a:pt x="47" y="867"/>
                    </a:lnTo>
                    <a:lnTo>
                      <a:pt x="47" y="871"/>
                    </a:lnTo>
                    <a:lnTo>
                      <a:pt x="45" y="874"/>
                    </a:lnTo>
                    <a:lnTo>
                      <a:pt x="42" y="874"/>
                    </a:lnTo>
                    <a:lnTo>
                      <a:pt x="42" y="874"/>
                    </a:lnTo>
                    <a:close/>
                    <a:moveTo>
                      <a:pt x="40" y="879"/>
                    </a:moveTo>
                    <a:lnTo>
                      <a:pt x="40" y="876"/>
                    </a:lnTo>
                    <a:lnTo>
                      <a:pt x="45" y="876"/>
                    </a:lnTo>
                    <a:lnTo>
                      <a:pt x="42" y="877"/>
                    </a:lnTo>
                    <a:lnTo>
                      <a:pt x="40" y="879"/>
                    </a:lnTo>
                    <a:lnTo>
                      <a:pt x="40" y="879"/>
                    </a:lnTo>
                    <a:close/>
                    <a:moveTo>
                      <a:pt x="48" y="877"/>
                    </a:moveTo>
                    <a:lnTo>
                      <a:pt x="50" y="879"/>
                    </a:lnTo>
                    <a:lnTo>
                      <a:pt x="50" y="884"/>
                    </a:lnTo>
                    <a:lnTo>
                      <a:pt x="48" y="886"/>
                    </a:lnTo>
                    <a:lnTo>
                      <a:pt x="47" y="881"/>
                    </a:lnTo>
                    <a:lnTo>
                      <a:pt x="48" y="877"/>
                    </a:lnTo>
                    <a:lnTo>
                      <a:pt x="48" y="877"/>
                    </a:lnTo>
                    <a:close/>
                    <a:moveTo>
                      <a:pt x="52" y="876"/>
                    </a:moveTo>
                    <a:lnTo>
                      <a:pt x="53" y="874"/>
                    </a:lnTo>
                    <a:lnTo>
                      <a:pt x="55" y="874"/>
                    </a:lnTo>
                    <a:lnTo>
                      <a:pt x="58" y="876"/>
                    </a:lnTo>
                    <a:lnTo>
                      <a:pt x="62" y="876"/>
                    </a:lnTo>
                    <a:lnTo>
                      <a:pt x="65" y="882"/>
                    </a:lnTo>
                    <a:lnTo>
                      <a:pt x="67" y="887"/>
                    </a:lnTo>
                    <a:lnTo>
                      <a:pt x="60" y="882"/>
                    </a:lnTo>
                    <a:lnTo>
                      <a:pt x="57" y="881"/>
                    </a:lnTo>
                    <a:lnTo>
                      <a:pt x="52" y="876"/>
                    </a:lnTo>
                    <a:lnTo>
                      <a:pt x="52" y="876"/>
                    </a:lnTo>
                    <a:close/>
                    <a:moveTo>
                      <a:pt x="52" y="882"/>
                    </a:moveTo>
                    <a:lnTo>
                      <a:pt x="55" y="882"/>
                    </a:lnTo>
                    <a:lnTo>
                      <a:pt x="60" y="884"/>
                    </a:lnTo>
                    <a:lnTo>
                      <a:pt x="65" y="891"/>
                    </a:lnTo>
                    <a:lnTo>
                      <a:pt x="63" y="894"/>
                    </a:lnTo>
                    <a:lnTo>
                      <a:pt x="58" y="894"/>
                    </a:lnTo>
                    <a:lnTo>
                      <a:pt x="53" y="887"/>
                    </a:lnTo>
                    <a:lnTo>
                      <a:pt x="52" y="882"/>
                    </a:lnTo>
                    <a:lnTo>
                      <a:pt x="52" y="882"/>
                    </a:lnTo>
                    <a:close/>
                    <a:moveTo>
                      <a:pt x="57" y="904"/>
                    </a:moveTo>
                    <a:lnTo>
                      <a:pt x="50" y="905"/>
                    </a:lnTo>
                    <a:lnTo>
                      <a:pt x="48" y="904"/>
                    </a:lnTo>
                    <a:lnTo>
                      <a:pt x="50" y="902"/>
                    </a:lnTo>
                    <a:lnTo>
                      <a:pt x="52" y="897"/>
                    </a:lnTo>
                    <a:lnTo>
                      <a:pt x="50" y="894"/>
                    </a:lnTo>
                    <a:lnTo>
                      <a:pt x="53" y="894"/>
                    </a:lnTo>
                    <a:lnTo>
                      <a:pt x="57" y="895"/>
                    </a:lnTo>
                    <a:lnTo>
                      <a:pt x="60" y="895"/>
                    </a:lnTo>
                    <a:lnTo>
                      <a:pt x="67" y="900"/>
                    </a:lnTo>
                    <a:lnTo>
                      <a:pt x="67" y="902"/>
                    </a:lnTo>
                    <a:lnTo>
                      <a:pt x="62" y="902"/>
                    </a:lnTo>
                    <a:lnTo>
                      <a:pt x="62" y="904"/>
                    </a:lnTo>
                    <a:lnTo>
                      <a:pt x="57" y="904"/>
                    </a:lnTo>
                    <a:lnTo>
                      <a:pt x="57" y="904"/>
                    </a:lnTo>
                    <a:close/>
                    <a:moveTo>
                      <a:pt x="63" y="922"/>
                    </a:moveTo>
                    <a:lnTo>
                      <a:pt x="60" y="922"/>
                    </a:lnTo>
                    <a:lnTo>
                      <a:pt x="58" y="920"/>
                    </a:lnTo>
                    <a:lnTo>
                      <a:pt x="57" y="917"/>
                    </a:lnTo>
                    <a:lnTo>
                      <a:pt x="57" y="915"/>
                    </a:lnTo>
                    <a:lnTo>
                      <a:pt x="60" y="914"/>
                    </a:lnTo>
                    <a:lnTo>
                      <a:pt x="58" y="912"/>
                    </a:lnTo>
                    <a:lnTo>
                      <a:pt x="57" y="910"/>
                    </a:lnTo>
                    <a:lnTo>
                      <a:pt x="62" y="910"/>
                    </a:lnTo>
                    <a:lnTo>
                      <a:pt x="63" y="914"/>
                    </a:lnTo>
                    <a:lnTo>
                      <a:pt x="63" y="917"/>
                    </a:lnTo>
                    <a:lnTo>
                      <a:pt x="60" y="919"/>
                    </a:lnTo>
                    <a:lnTo>
                      <a:pt x="63" y="922"/>
                    </a:lnTo>
                    <a:lnTo>
                      <a:pt x="63" y="922"/>
                    </a:lnTo>
                    <a:close/>
                    <a:moveTo>
                      <a:pt x="63" y="915"/>
                    </a:moveTo>
                    <a:lnTo>
                      <a:pt x="65" y="912"/>
                    </a:lnTo>
                    <a:lnTo>
                      <a:pt x="67" y="912"/>
                    </a:lnTo>
                    <a:lnTo>
                      <a:pt x="68" y="914"/>
                    </a:lnTo>
                    <a:lnTo>
                      <a:pt x="70" y="915"/>
                    </a:lnTo>
                    <a:lnTo>
                      <a:pt x="70" y="920"/>
                    </a:lnTo>
                    <a:lnTo>
                      <a:pt x="68" y="922"/>
                    </a:lnTo>
                    <a:lnTo>
                      <a:pt x="67" y="922"/>
                    </a:lnTo>
                    <a:lnTo>
                      <a:pt x="65" y="919"/>
                    </a:lnTo>
                    <a:lnTo>
                      <a:pt x="65" y="919"/>
                    </a:lnTo>
                    <a:lnTo>
                      <a:pt x="63" y="915"/>
                    </a:lnTo>
                    <a:lnTo>
                      <a:pt x="63" y="915"/>
                    </a:lnTo>
                    <a:close/>
                    <a:moveTo>
                      <a:pt x="72" y="917"/>
                    </a:moveTo>
                    <a:lnTo>
                      <a:pt x="77" y="919"/>
                    </a:lnTo>
                    <a:lnTo>
                      <a:pt x="78" y="922"/>
                    </a:lnTo>
                    <a:lnTo>
                      <a:pt x="77" y="922"/>
                    </a:lnTo>
                    <a:lnTo>
                      <a:pt x="73" y="920"/>
                    </a:lnTo>
                    <a:lnTo>
                      <a:pt x="72" y="917"/>
                    </a:lnTo>
                    <a:lnTo>
                      <a:pt x="72" y="917"/>
                    </a:lnTo>
                    <a:close/>
                    <a:moveTo>
                      <a:pt x="70" y="932"/>
                    </a:moveTo>
                    <a:lnTo>
                      <a:pt x="68" y="932"/>
                    </a:lnTo>
                    <a:lnTo>
                      <a:pt x="67" y="932"/>
                    </a:lnTo>
                    <a:lnTo>
                      <a:pt x="68" y="930"/>
                    </a:lnTo>
                    <a:lnTo>
                      <a:pt x="68" y="925"/>
                    </a:lnTo>
                    <a:lnTo>
                      <a:pt x="72" y="925"/>
                    </a:lnTo>
                    <a:lnTo>
                      <a:pt x="72" y="927"/>
                    </a:lnTo>
                    <a:lnTo>
                      <a:pt x="70" y="932"/>
                    </a:lnTo>
                    <a:lnTo>
                      <a:pt x="70" y="932"/>
                    </a:lnTo>
                    <a:close/>
                    <a:moveTo>
                      <a:pt x="83" y="920"/>
                    </a:moveTo>
                    <a:lnTo>
                      <a:pt x="78" y="919"/>
                    </a:lnTo>
                    <a:lnTo>
                      <a:pt x="75" y="915"/>
                    </a:lnTo>
                    <a:lnTo>
                      <a:pt x="75" y="909"/>
                    </a:lnTo>
                    <a:lnTo>
                      <a:pt x="77" y="909"/>
                    </a:lnTo>
                    <a:lnTo>
                      <a:pt x="80" y="914"/>
                    </a:lnTo>
                    <a:lnTo>
                      <a:pt x="83" y="917"/>
                    </a:lnTo>
                    <a:lnTo>
                      <a:pt x="85" y="920"/>
                    </a:lnTo>
                    <a:lnTo>
                      <a:pt x="83" y="920"/>
                    </a:lnTo>
                    <a:lnTo>
                      <a:pt x="83" y="920"/>
                    </a:lnTo>
                    <a:close/>
                    <a:moveTo>
                      <a:pt x="83" y="927"/>
                    </a:moveTo>
                    <a:lnTo>
                      <a:pt x="80" y="924"/>
                    </a:lnTo>
                    <a:lnTo>
                      <a:pt x="80" y="922"/>
                    </a:lnTo>
                    <a:lnTo>
                      <a:pt x="83" y="924"/>
                    </a:lnTo>
                    <a:lnTo>
                      <a:pt x="85" y="927"/>
                    </a:lnTo>
                    <a:lnTo>
                      <a:pt x="83" y="927"/>
                    </a:lnTo>
                    <a:lnTo>
                      <a:pt x="83" y="927"/>
                    </a:lnTo>
                    <a:close/>
                    <a:moveTo>
                      <a:pt x="85" y="935"/>
                    </a:moveTo>
                    <a:lnTo>
                      <a:pt x="80" y="930"/>
                    </a:lnTo>
                    <a:lnTo>
                      <a:pt x="78" y="927"/>
                    </a:lnTo>
                    <a:lnTo>
                      <a:pt x="80" y="925"/>
                    </a:lnTo>
                    <a:lnTo>
                      <a:pt x="87" y="932"/>
                    </a:lnTo>
                    <a:lnTo>
                      <a:pt x="87" y="935"/>
                    </a:lnTo>
                    <a:lnTo>
                      <a:pt x="85" y="935"/>
                    </a:lnTo>
                    <a:lnTo>
                      <a:pt x="85" y="935"/>
                    </a:lnTo>
                    <a:close/>
                    <a:moveTo>
                      <a:pt x="90" y="945"/>
                    </a:moveTo>
                    <a:lnTo>
                      <a:pt x="88" y="944"/>
                    </a:lnTo>
                    <a:lnTo>
                      <a:pt x="87" y="942"/>
                    </a:lnTo>
                    <a:lnTo>
                      <a:pt x="85" y="940"/>
                    </a:lnTo>
                    <a:lnTo>
                      <a:pt x="80" y="940"/>
                    </a:lnTo>
                    <a:lnTo>
                      <a:pt x="78" y="939"/>
                    </a:lnTo>
                    <a:lnTo>
                      <a:pt x="83" y="939"/>
                    </a:lnTo>
                    <a:lnTo>
                      <a:pt x="87" y="939"/>
                    </a:lnTo>
                    <a:lnTo>
                      <a:pt x="92" y="937"/>
                    </a:lnTo>
                    <a:lnTo>
                      <a:pt x="93" y="942"/>
                    </a:lnTo>
                    <a:lnTo>
                      <a:pt x="90" y="945"/>
                    </a:lnTo>
                    <a:lnTo>
                      <a:pt x="90" y="945"/>
                    </a:lnTo>
                    <a:close/>
                    <a:moveTo>
                      <a:pt x="105" y="967"/>
                    </a:moveTo>
                    <a:lnTo>
                      <a:pt x="98" y="965"/>
                    </a:lnTo>
                    <a:lnTo>
                      <a:pt x="97" y="967"/>
                    </a:lnTo>
                    <a:lnTo>
                      <a:pt x="93" y="967"/>
                    </a:lnTo>
                    <a:lnTo>
                      <a:pt x="90" y="964"/>
                    </a:lnTo>
                    <a:lnTo>
                      <a:pt x="83" y="960"/>
                    </a:lnTo>
                    <a:lnTo>
                      <a:pt x="78" y="960"/>
                    </a:lnTo>
                    <a:lnTo>
                      <a:pt x="77" y="955"/>
                    </a:lnTo>
                    <a:lnTo>
                      <a:pt x="75" y="950"/>
                    </a:lnTo>
                    <a:lnTo>
                      <a:pt x="77" y="949"/>
                    </a:lnTo>
                    <a:lnTo>
                      <a:pt x="78" y="950"/>
                    </a:lnTo>
                    <a:lnTo>
                      <a:pt x="83" y="955"/>
                    </a:lnTo>
                    <a:lnTo>
                      <a:pt x="87" y="957"/>
                    </a:lnTo>
                    <a:lnTo>
                      <a:pt x="92" y="957"/>
                    </a:lnTo>
                    <a:lnTo>
                      <a:pt x="95" y="959"/>
                    </a:lnTo>
                    <a:lnTo>
                      <a:pt x="100" y="960"/>
                    </a:lnTo>
                    <a:lnTo>
                      <a:pt x="105" y="960"/>
                    </a:lnTo>
                    <a:lnTo>
                      <a:pt x="107" y="962"/>
                    </a:lnTo>
                    <a:lnTo>
                      <a:pt x="112" y="965"/>
                    </a:lnTo>
                    <a:lnTo>
                      <a:pt x="113" y="967"/>
                    </a:lnTo>
                    <a:lnTo>
                      <a:pt x="115" y="969"/>
                    </a:lnTo>
                    <a:lnTo>
                      <a:pt x="115" y="969"/>
                    </a:lnTo>
                    <a:lnTo>
                      <a:pt x="110" y="969"/>
                    </a:lnTo>
                    <a:lnTo>
                      <a:pt x="105" y="967"/>
                    </a:lnTo>
                    <a:lnTo>
                      <a:pt x="105" y="967"/>
                    </a:lnTo>
                    <a:close/>
                    <a:moveTo>
                      <a:pt x="90" y="969"/>
                    </a:moveTo>
                    <a:lnTo>
                      <a:pt x="90" y="969"/>
                    </a:lnTo>
                    <a:lnTo>
                      <a:pt x="93" y="972"/>
                    </a:lnTo>
                    <a:lnTo>
                      <a:pt x="87" y="970"/>
                    </a:lnTo>
                    <a:lnTo>
                      <a:pt x="90" y="969"/>
                    </a:lnTo>
                    <a:lnTo>
                      <a:pt x="90" y="969"/>
                    </a:lnTo>
                    <a:close/>
                    <a:moveTo>
                      <a:pt x="123" y="989"/>
                    </a:moveTo>
                    <a:lnTo>
                      <a:pt x="125" y="990"/>
                    </a:lnTo>
                    <a:lnTo>
                      <a:pt x="126" y="989"/>
                    </a:lnTo>
                    <a:lnTo>
                      <a:pt x="125" y="987"/>
                    </a:lnTo>
                    <a:lnTo>
                      <a:pt x="121" y="989"/>
                    </a:lnTo>
                    <a:lnTo>
                      <a:pt x="123" y="989"/>
                    </a:lnTo>
                    <a:lnTo>
                      <a:pt x="123" y="989"/>
                    </a:lnTo>
                    <a:close/>
                    <a:moveTo>
                      <a:pt x="135" y="990"/>
                    </a:moveTo>
                    <a:lnTo>
                      <a:pt x="131" y="992"/>
                    </a:lnTo>
                    <a:lnTo>
                      <a:pt x="128" y="990"/>
                    </a:lnTo>
                    <a:lnTo>
                      <a:pt x="128" y="987"/>
                    </a:lnTo>
                    <a:lnTo>
                      <a:pt x="126" y="985"/>
                    </a:lnTo>
                    <a:lnTo>
                      <a:pt x="120" y="987"/>
                    </a:lnTo>
                    <a:lnTo>
                      <a:pt x="116" y="985"/>
                    </a:lnTo>
                    <a:lnTo>
                      <a:pt x="112" y="980"/>
                    </a:lnTo>
                    <a:lnTo>
                      <a:pt x="108" y="980"/>
                    </a:lnTo>
                    <a:lnTo>
                      <a:pt x="107" y="975"/>
                    </a:lnTo>
                    <a:lnTo>
                      <a:pt x="102" y="974"/>
                    </a:lnTo>
                    <a:lnTo>
                      <a:pt x="102" y="972"/>
                    </a:lnTo>
                    <a:lnTo>
                      <a:pt x="103" y="970"/>
                    </a:lnTo>
                    <a:lnTo>
                      <a:pt x="107" y="969"/>
                    </a:lnTo>
                    <a:lnTo>
                      <a:pt x="108" y="972"/>
                    </a:lnTo>
                    <a:lnTo>
                      <a:pt x="112" y="972"/>
                    </a:lnTo>
                    <a:lnTo>
                      <a:pt x="115" y="970"/>
                    </a:lnTo>
                    <a:lnTo>
                      <a:pt x="120" y="970"/>
                    </a:lnTo>
                    <a:lnTo>
                      <a:pt x="126" y="975"/>
                    </a:lnTo>
                    <a:lnTo>
                      <a:pt x="130" y="975"/>
                    </a:lnTo>
                    <a:lnTo>
                      <a:pt x="131" y="979"/>
                    </a:lnTo>
                    <a:lnTo>
                      <a:pt x="136" y="977"/>
                    </a:lnTo>
                    <a:lnTo>
                      <a:pt x="140" y="979"/>
                    </a:lnTo>
                    <a:lnTo>
                      <a:pt x="141" y="982"/>
                    </a:lnTo>
                    <a:lnTo>
                      <a:pt x="138" y="982"/>
                    </a:lnTo>
                    <a:lnTo>
                      <a:pt x="135" y="982"/>
                    </a:lnTo>
                    <a:lnTo>
                      <a:pt x="138" y="984"/>
                    </a:lnTo>
                    <a:lnTo>
                      <a:pt x="138" y="985"/>
                    </a:lnTo>
                    <a:lnTo>
                      <a:pt x="133" y="989"/>
                    </a:lnTo>
                    <a:lnTo>
                      <a:pt x="135" y="990"/>
                    </a:lnTo>
                    <a:lnTo>
                      <a:pt x="135" y="990"/>
                    </a:lnTo>
                    <a:close/>
                    <a:moveTo>
                      <a:pt x="141" y="990"/>
                    </a:moveTo>
                    <a:lnTo>
                      <a:pt x="138" y="993"/>
                    </a:lnTo>
                    <a:lnTo>
                      <a:pt x="138" y="995"/>
                    </a:lnTo>
                    <a:lnTo>
                      <a:pt x="141" y="995"/>
                    </a:lnTo>
                    <a:lnTo>
                      <a:pt x="143" y="992"/>
                    </a:lnTo>
                    <a:lnTo>
                      <a:pt x="145" y="990"/>
                    </a:lnTo>
                    <a:lnTo>
                      <a:pt x="143" y="989"/>
                    </a:lnTo>
                    <a:lnTo>
                      <a:pt x="141" y="990"/>
                    </a:lnTo>
                    <a:lnTo>
                      <a:pt x="141" y="990"/>
                    </a:lnTo>
                    <a:close/>
                    <a:moveTo>
                      <a:pt x="168" y="985"/>
                    </a:moveTo>
                    <a:lnTo>
                      <a:pt x="166" y="990"/>
                    </a:lnTo>
                    <a:lnTo>
                      <a:pt x="168" y="992"/>
                    </a:lnTo>
                    <a:lnTo>
                      <a:pt x="165" y="993"/>
                    </a:lnTo>
                    <a:lnTo>
                      <a:pt x="161" y="993"/>
                    </a:lnTo>
                    <a:lnTo>
                      <a:pt x="160" y="990"/>
                    </a:lnTo>
                    <a:lnTo>
                      <a:pt x="156" y="992"/>
                    </a:lnTo>
                    <a:lnTo>
                      <a:pt x="155" y="990"/>
                    </a:lnTo>
                    <a:lnTo>
                      <a:pt x="150" y="990"/>
                    </a:lnTo>
                    <a:lnTo>
                      <a:pt x="148" y="992"/>
                    </a:lnTo>
                    <a:lnTo>
                      <a:pt x="146" y="989"/>
                    </a:lnTo>
                    <a:lnTo>
                      <a:pt x="143" y="987"/>
                    </a:lnTo>
                    <a:lnTo>
                      <a:pt x="143" y="984"/>
                    </a:lnTo>
                    <a:lnTo>
                      <a:pt x="150" y="984"/>
                    </a:lnTo>
                    <a:lnTo>
                      <a:pt x="151" y="982"/>
                    </a:lnTo>
                    <a:lnTo>
                      <a:pt x="160" y="985"/>
                    </a:lnTo>
                    <a:lnTo>
                      <a:pt x="161" y="987"/>
                    </a:lnTo>
                    <a:lnTo>
                      <a:pt x="163" y="985"/>
                    </a:lnTo>
                    <a:lnTo>
                      <a:pt x="166" y="985"/>
                    </a:lnTo>
                    <a:lnTo>
                      <a:pt x="168" y="985"/>
                    </a:lnTo>
                    <a:lnTo>
                      <a:pt x="168" y="985"/>
                    </a:lnTo>
                    <a:close/>
                    <a:moveTo>
                      <a:pt x="181" y="985"/>
                    </a:moveTo>
                    <a:lnTo>
                      <a:pt x="176" y="980"/>
                    </a:lnTo>
                    <a:lnTo>
                      <a:pt x="180" y="979"/>
                    </a:lnTo>
                    <a:lnTo>
                      <a:pt x="178" y="975"/>
                    </a:lnTo>
                    <a:lnTo>
                      <a:pt x="178" y="974"/>
                    </a:lnTo>
                    <a:lnTo>
                      <a:pt x="175" y="970"/>
                    </a:lnTo>
                    <a:lnTo>
                      <a:pt x="175" y="965"/>
                    </a:lnTo>
                    <a:lnTo>
                      <a:pt x="171" y="964"/>
                    </a:lnTo>
                    <a:lnTo>
                      <a:pt x="170" y="969"/>
                    </a:lnTo>
                    <a:lnTo>
                      <a:pt x="168" y="972"/>
                    </a:lnTo>
                    <a:lnTo>
                      <a:pt x="171" y="975"/>
                    </a:lnTo>
                    <a:lnTo>
                      <a:pt x="170" y="979"/>
                    </a:lnTo>
                    <a:lnTo>
                      <a:pt x="170" y="982"/>
                    </a:lnTo>
                    <a:lnTo>
                      <a:pt x="173" y="984"/>
                    </a:lnTo>
                    <a:lnTo>
                      <a:pt x="178" y="985"/>
                    </a:lnTo>
                    <a:lnTo>
                      <a:pt x="180" y="987"/>
                    </a:lnTo>
                    <a:lnTo>
                      <a:pt x="181" y="985"/>
                    </a:lnTo>
                    <a:lnTo>
                      <a:pt x="181" y="985"/>
                    </a:lnTo>
                    <a:close/>
                    <a:moveTo>
                      <a:pt x="163" y="1017"/>
                    </a:moveTo>
                    <a:lnTo>
                      <a:pt x="168" y="1015"/>
                    </a:lnTo>
                    <a:lnTo>
                      <a:pt x="170" y="1017"/>
                    </a:lnTo>
                    <a:lnTo>
                      <a:pt x="166" y="1020"/>
                    </a:lnTo>
                    <a:lnTo>
                      <a:pt x="163" y="1017"/>
                    </a:lnTo>
                    <a:lnTo>
                      <a:pt x="163" y="1017"/>
                    </a:lnTo>
                    <a:close/>
                    <a:moveTo>
                      <a:pt x="165" y="1013"/>
                    </a:moveTo>
                    <a:lnTo>
                      <a:pt x="163" y="1012"/>
                    </a:lnTo>
                    <a:lnTo>
                      <a:pt x="165" y="1008"/>
                    </a:lnTo>
                    <a:lnTo>
                      <a:pt x="168" y="1010"/>
                    </a:lnTo>
                    <a:lnTo>
                      <a:pt x="168" y="1013"/>
                    </a:lnTo>
                    <a:lnTo>
                      <a:pt x="165" y="1013"/>
                    </a:lnTo>
                    <a:lnTo>
                      <a:pt x="165" y="1013"/>
                    </a:lnTo>
                    <a:close/>
                    <a:moveTo>
                      <a:pt x="259" y="1037"/>
                    </a:moveTo>
                    <a:lnTo>
                      <a:pt x="258" y="1033"/>
                    </a:lnTo>
                    <a:lnTo>
                      <a:pt x="261" y="1030"/>
                    </a:lnTo>
                    <a:lnTo>
                      <a:pt x="259" y="1028"/>
                    </a:lnTo>
                    <a:lnTo>
                      <a:pt x="263" y="1030"/>
                    </a:lnTo>
                    <a:lnTo>
                      <a:pt x="263" y="1033"/>
                    </a:lnTo>
                    <a:lnTo>
                      <a:pt x="263" y="1037"/>
                    </a:lnTo>
                    <a:lnTo>
                      <a:pt x="259" y="1037"/>
                    </a:lnTo>
                    <a:lnTo>
                      <a:pt x="259" y="1037"/>
                    </a:lnTo>
                    <a:close/>
                    <a:moveTo>
                      <a:pt x="200" y="1013"/>
                    </a:moveTo>
                    <a:lnTo>
                      <a:pt x="203" y="1013"/>
                    </a:lnTo>
                    <a:lnTo>
                      <a:pt x="208" y="1013"/>
                    </a:lnTo>
                    <a:lnTo>
                      <a:pt x="210" y="1012"/>
                    </a:lnTo>
                    <a:lnTo>
                      <a:pt x="214" y="1013"/>
                    </a:lnTo>
                    <a:lnTo>
                      <a:pt x="226" y="1010"/>
                    </a:lnTo>
                    <a:lnTo>
                      <a:pt x="233" y="1008"/>
                    </a:lnTo>
                    <a:lnTo>
                      <a:pt x="241" y="1008"/>
                    </a:lnTo>
                    <a:lnTo>
                      <a:pt x="246" y="1008"/>
                    </a:lnTo>
                    <a:lnTo>
                      <a:pt x="254" y="1008"/>
                    </a:lnTo>
                    <a:lnTo>
                      <a:pt x="258" y="1008"/>
                    </a:lnTo>
                    <a:lnTo>
                      <a:pt x="259" y="1013"/>
                    </a:lnTo>
                    <a:lnTo>
                      <a:pt x="261" y="1015"/>
                    </a:lnTo>
                    <a:lnTo>
                      <a:pt x="259" y="1017"/>
                    </a:lnTo>
                    <a:lnTo>
                      <a:pt x="256" y="1020"/>
                    </a:lnTo>
                    <a:lnTo>
                      <a:pt x="253" y="1017"/>
                    </a:lnTo>
                    <a:lnTo>
                      <a:pt x="251" y="1015"/>
                    </a:lnTo>
                    <a:lnTo>
                      <a:pt x="246" y="1018"/>
                    </a:lnTo>
                    <a:lnTo>
                      <a:pt x="241" y="1018"/>
                    </a:lnTo>
                    <a:lnTo>
                      <a:pt x="238" y="1017"/>
                    </a:lnTo>
                    <a:lnTo>
                      <a:pt x="236" y="1012"/>
                    </a:lnTo>
                    <a:lnTo>
                      <a:pt x="233" y="1012"/>
                    </a:lnTo>
                    <a:lnTo>
                      <a:pt x="229" y="1015"/>
                    </a:lnTo>
                    <a:lnTo>
                      <a:pt x="226" y="1015"/>
                    </a:lnTo>
                    <a:lnTo>
                      <a:pt x="219" y="1017"/>
                    </a:lnTo>
                    <a:lnTo>
                      <a:pt x="224" y="1020"/>
                    </a:lnTo>
                    <a:lnTo>
                      <a:pt x="226" y="1018"/>
                    </a:lnTo>
                    <a:lnTo>
                      <a:pt x="231" y="1020"/>
                    </a:lnTo>
                    <a:lnTo>
                      <a:pt x="234" y="1022"/>
                    </a:lnTo>
                    <a:lnTo>
                      <a:pt x="233" y="1023"/>
                    </a:lnTo>
                    <a:lnTo>
                      <a:pt x="236" y="1025"/>
                    </a:lnTo>
                    <a:lnTo>
                      <a:pt x="241" y="1028"/>
                    </a:lnTo>
                    <a:lnTo>
                      <a:pt x="241" y="1033"/>
                    </a:lnTo>
                    <a:lnTo>
                      <a:pt x="239" y="1032"/>
                    </a:lnTo>
                    <a:lnTo>
                      <a:pt x="234" y="1028"/>
                    </a:lnTo>
                    <a:lnTo>
                      <a:pt x="231" y="1027"/>
                    </a:lnTo>
                    <a:lnTo>
                      <a:pt x="226" y="1028"/>
                    </a:lnTo>
                    <a:lnTo>
                      <a:pt x="223" y="1027"/>
                    </a:lnTo>
                    <a:lnTo>
                      <a:pt x="221" y="1023"/>
                    </a:lnTo>
                    <a:lnTo>
                      <a:pt x="216" y="1023"/>
                    </a:lnTo>
                    <a:lnTo>
                      <a:pt x="216" y="1025"/>
                    </a:lnTo>
                    <a:lnTo>
                      <a:pt x="219" y="1027"/>
                    </a:lnTo>
                    <a:lnTo>
                      <a:pt x="219" y="1030"/>
                    </a:lnTo>
                    <a:lnTo>
                      <a:pt x="218" y="1030"/>
                    </a:lnTo>
                    <a:lnTo>
                      <a:pt x="211" y="1028"/>
                    </a:lnTo>
                    <a:lnTo>
                      <a:pt x="208" y="1030"/>
                    </a:lnTo>
                    <a:lnTo>
                      <a:pt x="208" y="1027"/>
                    </a:lnTo>
                    <a:lnTo>
                      <a:pt x="205" y="1027"/>
                    </a:lnTo>
                    <a:lnTo>
                      <a:pt x="206" y="1023"/>
                    </a:lnTo>
                    <a:lnTo>
                      <a:pt x="203" y="1025"/>
                    </a:lnTo>
                    <a:lnTo>
                      <a:pt x="198" y="1023"/>
                    </a:lnTo>
                    <a:lnTo>
                      <a:pt x="198" y="1022"/>
                    </a:lnTo>
                    <a:lnTo>
                      <a:pt x="203" y="1020"/>
                    </a:lnTo>
                    <a:lnTo>
                      <a:pt x="210" y="1017"/>
                    </a:lnTo>
                    <a:lnTo>
                      <a:pt x="206" y="1015"/>
                    </a:lnTo>
                    <a:lnTo>
                      <a:pt x="203" y="1017"/>
                    </a:lnTo>
                    <a:lnTo>
                      <a:pt x="200" y="10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ar-SA"/>
              </a:p>
            </p:txBody>
          </p:sp>
        </p:grpSp>
        <p:sp>
          <p:nvSpPr>
            <p:cNvPr id="11" name="Rectangle 176">
              <a:extLst>
                <a:ext uri="{FF2B5EF4-FFF2-40B4-BE49-F238E27FC236}">
                  <a16:creationId xmlns:a16="http://schemas.microsoft.com/office/drawing/2014/main" id="{F9D52CEC-0579-554D-B956-162699D1F6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2" name="Rectangle 177">
              <a:extLst>
                <a:ext uri="{FF2B5EF4-FFF2-40B4-BE49-F238E27FC236}">
                  <a16:creationId xmlns:a16="http://schemas.microsoft.com/office/drawing/2014/main" id="{05902AF9-70EC-3141-AC02-CA12C731D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3" name="Rectangle 178">
              <a:extLst>
                <a:ext uri="{FF2B5EF4-FFF2-40B4-BE49-F238E27FC236}">
                  <a16:creationId xmlns:a16="http://schemas.microsoft.com/office/drawing/2014/main" id="{80815B5C-D17E-EF4E-ADA8-DCBFAEFD1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4" name="Rectangle 179">
              <a:extLst>
                <a:ext uri="{FF2B5EF4-FFF2-40B4-BE49-F238E27FC236}">
                  <a16:creationId xmlns:a16="http://schemas.microsoft.com/office/drawing/2014/main" id="{BD05C477-8B48-A04E-9C28-6005EE0AB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5" name="Rectangle 180">
              <a:extLst>
                <a:ext uri="{FF2B5EF4-FFF2-40B4-BE49-F238E27FC236}">
                  <a16:creationId xmlns:a16="http://schemas.microsoft.com/office/drawing/2014/main" id="{AF23E984-0EDD-DA4A-B5DE-09B3E76F3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6" name="Rectangle 181">
              <a:extLst>
                <a:ext uri="{FF2B5EF4-FFF2-40B4-BE49-F238E27FC236}">
                  <a16:creationId xmlns:a16="http://schemas.microsoft.com/office/drawing/2014/main" id="{D84EB05C-6B58-1046-BA65-933C31D4D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7" name="Rectangle 182">
              <a:extLst>
                <a:ext uri="{FF2B5EF4-FFF2-40B4-BE49-F238E27FC236}">
                  <a16:creationId xmlns:a16="http://schemas.microsoft.com/office/drawing/2014/main" id="{1886A315-C06E-E64D-B6B3-3481B6087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8" name="Rectangle 183">
              <a:extLst>
                <a:ext uri="{FF2B5EF4-FFF2-40B4-BE49-F238E27FC236}">
                  <a16:creationId xmlns:a16="http://schemas.microsoft.com/office/drawing/2014/main" id="{F5BAF422-FA8B-F147-923C-9F54F80133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19" name="Rectangle 184">
              <a:extLst>
                <a:ext uri="{FF2B5EF4-FFF2-40B4-BE49-F238E27FC236}">
                  <a16:creationId xmlns:a16="http://schemas.microsoft.com/office/drawing/2014/main" id="{FA45B686-5E05-FB48-8A69-7F238A165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0" name="Rectangle 185">
              <a:extLst>
                <a:ext uri="{FF2B5EF4-FFF2-40B4-BE49-F238E27FC236}">
                  <a16:creationId xmlns:a16="http://schemas.microsoft.com/office/drawing/2014/main" id="{BA3BD114-582F-D44D-A18D-068339E24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1" name="Rectangle 186">
              <a:extLst>
                <a:ext uri="{FF2B5EF4-FFF2-40B4-BE49-F238E27FC236}">
                  <a16:creationId xmlns:a16="http://schemas.microsoft.com/office/drawing/2014/main" id="{FA726E7F-0743-674F-9010-5DF5E407DA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2" name="Rectangle 187">
              <a:extLst>
                <a:ext uri="{FF2B5EF4-FFF2-40B4-BE49-F238E27FC236}">
                  <a16:creationId xmlns:a16="http://schemas.microsoft.com/office/drawing/2014/main" id="{13515D12-FC5E-BA49-806E-EDDA4B449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3" name="Rectangle 188">
              <a:extLst>
                <a:ext uri="{FF2B5EF4-FFF2-40B4-BE49-F238E27FC236}">
                  <a16:creationId xmlns:a16="http://schemas.microsoft.com/office/drawing/2014/main" id="{271622A3-58AD-A54A-B14D-71A3AC866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4" name="Rectangle 189">
              <a:extLst>
                <a:ext uri="{FF2B5EF4-FFF2-40B4-BE49-F238E27FC236}">
                  <a16:creationId xmlns:a16="http://schemas.microsoft.com/office/drawing/2014/main" id="{3C7B6098-70B5-0C46-B824-B3999EFA0E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5" name="Rectangle 190">
              <a:extLst>
                <a:ext uri="{FF2B5EF4-FFF2-40B4-BE49-F238E27FC236}">
                  <a16:creationId xmlns:a16="http://schemas.microsoft.com/office/drawing/2014/main" id="{2C156044-A866-054D-9584-3165EFBF5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6" name="Rectangle 191">
              <a:extLst>
                <a:ext uri="{FF2B5EF4-FFF2-40B4-BE49-F238E27FC236}">
                  <a16:creationId xmlns:a16="http://schemas.microsoft.com/office/drawing/2014/main" id="{6EB92536-4992-5544-8A55-7441300F2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F1194258-7E83-994D-ACDB-BB93AEB0E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8" name="Rectangle 193">
              <a:extLst>
                <a:ext uri="{FF2B5EF4-FFF2-40B4-BE49-F238E27FC236}">
                  <a16:creationId xmlns:a16="http://schemas.microsoft.com/office/drawing/2014/main" id="{F04071D0-7B86-4D40-9A30-89FE4F016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29" name="Rectangle 194">
              <a:extLst>
                <a:ext uri="{FF2B5EF4-FFF2-40B4-BE49-F238E27FC236}">
                  <a16:creationId xmlns:a16="http://schemas.microsoft.com/office/drawing/2014/main" id="{D8D6A077-4283-A94D-8516-EF3B637D1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0" name="Rectangle 195">
              <a:extLst>
                <a:ext uri="{FF2B5EF4-FFF2-40B4-BE49-F238E27FC236}">
                  <a16:creationId xmlns:a16="http://schemas.microsoft.com/office/drawing/2014/main" id="{671E78C6-67DF-1743-AFCB-E76373B7F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1" name="Rectangle 196">
              <a:extLst>
                <a:ext uri="{FF2B5EF4-FFF2-40B4-BE49-F238E27FC236}">
                  <a16:creationId xmlns:a16="http://schemas.microsoft.com/office/drawing/2014/main" id="{E6226684-1502-A547-9B46-D2AC1A54AE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2" name="Rectangle 197">
              <a:extLst>
                <a:ext uri="{FF2B5EF4-FFF2-40B4-BE49-F238E27FC236}">
                  <a16:creationId xmlns:a16="http://schemas.microsoft.com/office/drawing/2014/main" id="{844F13B6-EC6B-A148-88D8-D9030493DA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3" name="Rectangle 198">
              <a:extLst>
                <a:ext uri="{FF2B5EF4-FFF2-40B4-BE49-F238E27FC236}">
                  <a16:creationId xmlns:a16="http://schemas.microsoft.com/office/drawing/2014/main" id="{534CB98F-6481-6E41-9DDA-700D3AF7AD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4" name="Rectangle 199">
              <a:extLst>
                <a:ext uri="{FF2B5EF4-FFF2-40B4-BE49-F238E27FC236}">
                  <a16:creationId xmlns:a16="http://schemas.microsoft.com/office/drawing/2014/main" id="{31AB2E68-6650-F042-9DEE-B484FB2EA8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5" name="Rectangle 200">
              <a:extLst>
                <a:ext uri="{FF2B5EF4-FFF2-40B4-BE49-F238E27FC236}">
                  <a16:creationId xmlns:a16="http://schemas.microsoft.com/office/drawing/2014/main" id="{7A054571-786E-2C49-B45D-B0B2543BE5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6" name="Rectangle 201">
              <a:extLst>
                <a:ext uri="{FF2B5EF4-FFF2-40B4-BE49-F238E27FC236}">
                  <a16:creationId xmlns:a16="http://schemas.microsoft.com/office/drawing/2014/main" id="{15356775-7F8F-D149-A16F-F19795538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7" name="Rectangle 202">
              <a:extLst>
                <a:ext uri="{FF2B5EF4-FFF2-40B4-BE49-F238E27FC236}">
                  <a16:creationId xmlns:a16="http://schemas.microsoft.com/office/drawing/2014/main" id="{1FEA4EFD-E00B-CC4F-9275-14C212DB5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8" name="Rectangle 203">
              <a:extLst>
                <a:ext uri="{FF2B5EF4-FFF2-40B4-BE49-F238E27FC236}">
                  <a16:creationId xmlns:a16="http://schemas.microsoft.com/office/drawing/2014/main" id="{7A957281-36B5-AC4F-A604-3076296AD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39" name="Rectangle 204">
              <a:extLst>
                <a:ext uri="{FF2B5EF4-FFF2-40B4-BE49-F238E27FC236}">
                  <a16:creationId xmlns:a16="http://schemas.microsoft.com/office/drawing/2014/main" id="{DA6EA183-CE12-7D4F-A899-33405D7BD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0" name="Rectangle 206">
              <a:extLst>
                <a:ext uri="{FF2B5EF4-FFF2-40B4-BE49-F238E27FC236}">
                  <a16:creationId xmlns:a16="http://schemas.microsoft.com/office/drawing/2014/main" id="{1EBEEFF2-B34D-C040-B48E-ED3E3EAB3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1" name="Rectangle 207">
              <a:extLst>
                <a:ext uri="{FF2B5EF4-FFF2-40B4-BE49-F238E27FC236}">
                  <a16:creationId xmlns:a16="http://schemas.microsoft.com/office/drawing/2014/main" id="{CC5AC9A2-6D8F-554B-9C46-9943E121D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2" name="Rectangle 208">
              <a:extLst>
                <a:ext uri="{FF2B5EF4-FFF2-40B4-BE49-F238E27FC236}">
                  <a16:creationId xmlns:a16="http://schemas.microsoft.com/office/drawing/2014/main" id="{6E9D2161-1823-8B4D-995E-18EE1C317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3" name="Rectangle 209">
              <a:extLst>
                <a:ext uri="{FF2B5EF4-FFF2-40B4-BE49-F238E27FC236}">
                  <a16:creationId xmlns:a16="http://schemas.microsoft.com/office/drawing/2014/main" id="{F3A963A1-60D3-4343-8799-DC7A4ADC17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4" name="Rectangle 210">
              <a:extLst>
                <a:ext uri="{FF2B5EF4-FFF2-40B4-BE49-F238E27FC236}">
                  <a16:creationId xmlns:a16="http://schemas.microsoft.com/office/drawing/2014/main" id="{D5D5FBF3-3F5C-5A45-A6FA-367F1BCFD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5" name="Rectangle 211">
              <a:extLst>
                <a:ext uri="{FF2B5EF4-FFF2-40B4-BE49-F238E27FC236}">
                  <a16:creationId xmlns:a16="http://schemas.microsoft.com/office/drawing/2014/main" id="{3E17D5E0-1D89-DA44-A3D1-74A94FB82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6" name="Rectangle 212">
              <a:extLst>
                <a:ext uri="{FF2B5EF4-FFF2-40B4-BE49-F238E27FC236}">
                  <a16:creationId xmlns:a16="http://schemas.microsoft.com/office/drawing/2014/main" id="{6D557C05-F10E-7D44-B1BE-05DA83EF4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7" name="Rectangle 213">
              <a:extLst>
                <a:ext uri="{FF2B5EF4-FFF2-40B4-BE49-F238E27FC236}">
                  <a16:creationId xmlns:a16="http://schemas.microsoft.com/office/drawing/2014/main" id="{6F42AC95-D250-2C4E-A0D9-A6F08A9CA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8" name="Rectangle 214">
              <a:extLst>
                <a:ext uri="{FF2B5EF4-FFF2-40B4-BE49-F238E27FC236}">
                  <a16:creationId xmlns:a16="http://schemas.microsoft.com/office/drawing/2014/main" id="{F8A5BA03-2AA3-CA42-9C06-B8F44FE725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49" name="Rectangle 215">
              <a:extLst>
                <a:ext uri="{FF2B5EF4-FFF2-40B4-BE49-F238E27FC236}">
                  <a16:creationId xmlns:a16="http://schemas.microsoft.com/office/drawing/2014/main" id="{45CCCC5A-36BC-A74D-8979-D1B576732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0" name="Rectangle 216">
              <a:extLst>
                <a:ext uri="{FF2B5EF4-FFF2-40B4-BE49-F238E27FC236}">
                  <a16:creationId xmlns:a16="http://schemas.microsoft.com/office/drawing/2014/main" id="{217B5780-4F44-5345-88B7-52FFDD5E0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1" name="Rectangle 217">
              <a:extLst>
                <a:ext uri="{FF2B5EF4-FFF2-40B4-BE49-F238E27FC236}">
                  <a16:creationId xmlns:a16="http://schemas.microsoft.com/office/drawing/2014/main" id="{731221D3-344B-4F45-BE07-5C7E64816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2" name="Rectangle 218">
              <a:extLst>
                <a:ext uri="{FF2B5EF4-FFF2-40B4-BE49-F238E27FC236}">
                  <a16:creationId xmlns:a16="http://schemas.microsoft.com/office/drawing/2014/main" id="{54898FD2-3AD6-3F4B-A2D4-45B8959BB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3" name="Rectangle 219">
              <a:extLst>
                <a:ext uri="{FF2B5EF4-FFF2-40B4-BE49-F238E27FC236}">
                  <a16:creationId xmlns:a16="http://schemas.microsoft.com/office/drawing/2014/main" id="{A86772BE-627B-E44C-AFDB-74F2874DB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4" name="Rectangle 220">
              <a:extLst>
                <a:ext uri="{FF2B5EF4-FFF2-40B4-BE49-F238E27FC236}">
                  <a16:creationId xmlns:a16="http://schemas.microsoft.com/office/drawing/2014/main" id="{2AE480A1-500A-EB41-8D5F-025A9C02B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5" name="Rectangle 221">
              <a:extLst>
                <a:ext uri="{FF2B5EF4-FFF2-40B4-BE49-F238E27FC236}">
                  <a16:creationId xmlns:a16="http://schemas.microsoft.com/office/drawing/2014/main" id="{0E3E3EB3-D841-E143-BACC-A501095428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6" name="Rectangle 222">
              <a:extLst>
                <a:ext uri="{FF2B5EF4-FFF2-40B4-BE49-F238E27FC236}">
                  <a16:creationId xmlns:a16="http://schemas.microsoft.com/office/drawing/2014/main" id="{ABC420D2-A7B3-BD4F-86C3-840817768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7" name="Rectangle 223">
              <a:extLst>
                <a:ext uri="{FF2B5EF4-FFF2-40B4-BE49-F238E27FC236}">
                  <a16:creationId xmlns:a16="http://schemas.microsoft.com/office/drawing/2014/main" id="{89BEF008-DB88-2446-BE52-43799EC557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8" name="Rectangle 224">
              <a:extLst>
                <a:ext uri="{FF2B5EF4-FFF2-40B4-BE49-F238E27FC236}">
                  <a16:creationId xmlns:a16="http://schemas.microsoft.com/office/drawing/2014/main" id="{2A23F31B-E55B-C04E-9197-6B8B05748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9" name="Rectangle 225">
              <a:extLst>
                <a:ext uri="{FF2B5EF4-FFF2-40B4-BE49-F238E27FC236}">
                  <a16:creationId xmlns:a16="http://schemas.microsoft.com/office/drawing/2014/main" id="{707E524E-1944-104E-B84C-00835352D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0" name="Rectangle 226">
              <a:extLst>
                <a:ext uri="{FF2B5EF4-FFF2-40B4-BE49-F238E27FC236}">
                  <a16:creationId xmlns:a16="http://schemas.microsoft.com/office/drawing/2014/main" id="{D022566F-461D-7F44-976E-BBB886D98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1" name="Rectangle 227">
              <a:extLst>
                <a:ext uri="{FF2B5EF4-FFF2-40B4-BE49-F238E27FC236}">
                  <a16:creationId xmlns:a16="http://schemas.microsoft.com/office/drawing/2014/main" id="{87918953-37EF-C047-B131-BC15D19A3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2" name="Rectangle 228">
              <a:extLst>
                <a:ext uri="{FF2B5EF4-FFF2-40B4-BE49-F238E27FC236}">
                  <a16:creationId xmlns:a16="http://schemas.microsoft.com/office/drawing/2014/main" id="{C3007053-F9E0-3C46-9C51-873864FE2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3" name="Rectangle 229">
              <a:extLst>
                <a:ext uri="{FF2B5EF4-FFF2-40B4-BE49-F238E27FC236}">
                  <a16:creationId xmlns:a16="http://schemas.microsoft.com/office/drawing/2014/main" id="{6E928DAD-1DCF-DC45-8AEE-79F2A77F1D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4" name="Rectangle 230">
              <a:extLst>
                <a:ext uri="{FF2B5EF4-FFF2-40B4-BE49-F238E27FC236}">
                  <a16:creationId xmlns:a16="http://schemas.microsoft.com/office/drawing/2014/main" id="{072B82EA-6F3E-6E4B-9342-74D21691E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5" name="Rectangle 231">
              <a:extLst>
                <a:ext uri="{FF2B5EF4-FFF2-40B4-BE49-F238E27FC236}">
                  <a16:creationId xmlns:a16="http://schemas.microsoft.com/office/drawing/2014/main" id="{1D6F44A0-0D8E-6B4E-B7CD-8D4CFC06B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6" name="Rectangle 232">
              <a:extLst>
                <a:ext uri="{FF2B5EF4-FFF2-40B4-BE49-F238E27FC236}">
                  <a16:creationId xmlns:a16="http://schemas.microsoft.com/office/drawing/2014/main" id="{24026EE7-786C-3345-AF76-B7F020B72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7" name="Rectangle 233">
              <a:extLst>
                <a:ext uri="{FF2B5EF4-FFF2-40B4-BE49-F238E27FC236}">
                  <a16:creationId xmlns:a16="http://schemas.microsoft.com/office/drawing/2014/main" id="{37FD0FFF-2DEE-3948-B645-E7759317C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8" name="Rectangle 234">
              <a:extLst>
                <a:ext uri="{FF2B5EF4-FFF2-40B4-BE49-F238E27FC236}">
                  <a16:creationId xmlns:a16="http://schemas.microsoft.com/office/drawing/2014/main" id="{D2A5AEAD-A82E-6245-B1DA-127AC7196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9" name="Rectangle 235">
              <a:extLst>
                <a:ext uri="{FF2B5EF4-FFF2-40B4-BE49-F238E27FC236}">
                  <a16:creationId xmlns:a16="http://schemas.microsoft.com/office/drawing/2014/main" id="{9753479D-C769-C643-BF8A-358B0132E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0" name="Rectangle 236">
              <a:extLst>
                <a:ext uri="{FF2B5EF4-FFF2-40B4-BE49-F238E27FC236}">
                  <a16:creationId xmlns:a16="http://schemas.microsoft.com/office/drawing/2014/main" id="{A2E66925-A4F9-5F41-8829-ACB7D3CEB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1" name="Rectangle 237">
              <a:extLst>
                <a:ext uri="{FF2B5EF4-FFF2-40B4-BE49-F238E27FC236}">
                  <a16:creationId xmlns:a16="http://schemas.microsoft.com/office/drawing/2014/main" id="{0C163796-5A5D-6B45-838D-EE9951EB71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2" name="Rectangle 238">
              <a:extLst>
                <a:ext uri="{FF2B5EF4-FFF2-40B4-BE49-F238E27FC236}">
                  <a16:creationId xmlns:a16="http://schemas.microsoft.com/office/drawing/2014/main" id="{006B73C8-E4A2-564D-AA1C-DBBC9A044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3" name="Rectangle 239">
              <a:extLst>
                <a:ext uri="{FF2B5EF4-FFF2-40B4-BE49-F238E27FC236}">
                  <a16:creationId xmlns:a16="http://schemas.microsoft.com/office/drawing/2014/main" id="{D3C47321-E165-114B-9841-304A21A4C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4" name="Rectangle 240">
              <a:extLst>
                <a:ext uri="{FF2B5EF4-FFF2-40B4-BE49-F238E27FC236}">
                  <a16:creationId xmlns:a16="http://schemas.microsoft.com/office/drawing/2014/main" id="{2E96C783-83F6-EB46-9631-13EFABC07E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916" y="2306833"/>
              <a:ext cx="1070" cy="1038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sp>
        <p:nvSpPr>
          <p:cNvPr id="245" name="Oval 244">
            <a:extLst>
              <a:ext uri="{FF2B5EF4-FFF2-40B4-BE49-F238E27FC236}">
                <a16:creationId xmlns:a16="http://schemas.microsoft.com/office/drawing/2014/main" id="{E8B127E7-67B8-F547-8722-56C446D5A884}"/>
              </a:ext>
            </a:extLst>
          </p:cNvPr>
          <p:cNvSpPr/>
          <p:nvPr userDrawn="1"/>
        </p:nvSpPr>
        <p:spPr>
          <a:xfrm>
            <a:off x="506954" y="1909647"/>
            <a:ext cx="1266824" cy="12668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3A57C6B8-F9CD-B94B-8912-335DF9FBB93E}"/>
              </a:ext>
            </a:extLst>
          </p:cNvPr>
          <p:cNvSpPr/>
          <p:nvPr userDrawn="1"/>
        </p:nvSpPr>
        <p:spPr>
          <a:xfrm>
            <a:off x="1880081" y="4480646"/>
            <a:ext cx="1266824" cy="12668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0E86A566-3E94-8340-9B91-5D03AAA7C2FC}"/>
              </a:ext>
            </a:extLst>
          </p:cNvPr>
          <p:cNvSpPr/>
          <p:nvPr userDrawn="1"/>
        </p:nvSpPr>
        <p:spPr>
          <a:xfrm>
            <a:off x="5179959" y="4061530"/>
            <a:ext cx="1266824" cy="12668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D8EB0404-F86C-CA4B-9CC5-E2A061A24806}"/>
              </a:ext>
            </a:extLst>
          </p:cNvPr>
          <p:cNvSpPr/>
          <p:nvPr userDrawn="1"/>
        </p:nvSpPr>
        <p:spPr>
          <a:xfrm>
            <a:off x="7233482" y="4861527"/>
            <a:ext cx="871956" cy="8719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1C407B4D-3603-7342-81FC-3A1581E8F130}"/>
              </a:ext>
            </a:extLst>
          </p:cNvPr>
          <p:cNvSpPr/>
          <p:nvPr userDrawn="1"/>
        </p:nvSpPr>
        <p:spPr>
          <a:xfrm>
            <a:off x="10752363" y="4421519"/>
            <a:ext cx="1071346" cy="107134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AB748CA9-765E-A847-A761-2D4DADE63BC6}"/>
              </a:ext>
            </a:extLst>
          </p:cNvPr>
          <p:cNvSpPr/>
          <p:nvPr userDrawn="1"/>
        </p:nvSpPr>
        <p:spPr>
          <a:xfrm>
            <a:off x="10687154" y="2321218"/>
            <a:ext cx="1266824" cy="12668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9" name="Group 245">
            <a:extLst>
              <a:ext uri="{FF2B5EF4-FFF2-40B4-BE49-F238E27FC236}">
                <a16:creationId xmlns:a16="http://schemas.microsoft.com/office/drawing/2014/main" id="{7BCA5716-DB28-DD4E-871B-CA4CAB6443E3}"/>
              </a:ext>
            </a:extLst>
          </p:cNvPr>
          <p:cNvGrpSpPr/>
          <p:nvPr userDrawn="1"/>
        </p:nvGrpSpPr>
        <p:grpSpPr>
          <a:xfrm>
            <a:off x="2832481" y="2481379"/>
            <a:ext cx="331382" cy="331370"/>
            <a:chOff x="2925294" y="2112932"/>
            <a:chExt cx="331382" cy="331370"/>
          </a:xfrm>
          <a:solidFill>
            <a:schemeClr val="tx1"/>
          </a:solidFill>
        </p:grpSpPr>
        <p:sp>
          <p:nvSpPr>
            <p:cNvPr id="270" name="Oval 269">
              <a:extLst>
                <a:ext uri="{FF2B5EF4-FFF2-40B4-BE49-F238E27FC236}">
                  <a16:creationId xmlns:a16="http://schemas.microsoft.com/office/drawing/2014/main" id="{402F989D-9109-234F-8CE9-CD3F1313012D}"/>
                </a:ext>
              </a:extLst>
            </p:cNvPr>
            <p:cNvSpPr/>
            <p:nvPr/>
          </p:nvSpPr>
          <p:spPr>
            <a:xfrm>
              <a:off x="2925294" y="2112932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1" name="Oval 270">
              <a:extLst>
                <a:ext uri="{FF2B5EF4-FFF2-40B4-BE49-F238E27FC236}">
                  <a16:creationId xmlns:a16="http://schemas.microsoft.com/office/drawing/2014/main" id="{DC0CAD64-FCFD-D24A-8F91-8D534DDC852C}"/>
                </a:ext>
              </a:extLst>
            </p:cNvPr>
            <p:cNvSpPr/>
            <p:nvPr/>
          </p:nvSpPr>
          <p:spPr>
            <a:xfrm>
              <a:off x="3055469" y="2243102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72" name="Group 246">
            <a:extLst>
              <a:ext uri="{FF2B5EF4-FFF2-40B4-BE49-F238E27FC236}">
                <a16:creationId xmlns:a16="http://schemas.microsoft.com/office/drawing/2014/main" id="{B848AF6B-08EA-0949-9272-321CDF574530}"/>
              </a:ext>
            </a:extLst>
          </p:cNvPr>
          <p:cNvGrpSpPr/>
          <p:nvPr userDrawn="1"/>
        </p:nvGrpSpPr>
        <p:grpSpPr>
          <a:xfrm>
            <a:off x="3901498" y="4485110"/>
            <a:ext cx="331382" cy="331370"/>
            <a:chOff x="3348892" y="2968192"/>
            <a:chExt cx="331382" cy="331370"/>
          </a:xfrm>
          <a:solidFill>
            <a:schemeClr val="tx1"/>
          </a:solidFill>
        </p:grpSpPr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D2E46939-56BE-0144-96FC-BF3219E7F474}"/>
                </a:ext>
              </a:extLst>
            </p:cNvPr>
            <p:cNvSpPr/>
            <p:nvPr/>
          </p:nvSpPr>
          <p:spPr>
            <a:xfrm>
              <a:off x="3348892" y="2968192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B27750F7-CED4-074B-8F21-A74A94224352}"/>
                </a:ext>
              </a:extLst>
            </p:cNvPr>
            <p:cNvSpPr/>
            <p:nvPr/>
          </p:nvSpPr>
          <p:spPr>
            <a:xfrm>
              <a:off x="3479067" y="3098362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75" name="Group 253">
            <a:extLst>
              <a:ext uri="{FF2B5EF4-FFF2-40B4-BE49-F238E27FC236}">
                <a16:creationId xmlns:a16="http://schemas.microsoft.com/office/drawing/2014/main" id="{DB219A34-F638-4841-B3FE-FCB2FE00E296}"/>
              </a:ext>
            </a:extLst>
          </p:cNvPr>
          <p:cNvGrpSpPr/>
          <p:nvPr userDrawn="1"/>
        </p:nvGrpSpPr>
        <p:grpSpPr>
          <a:xfrm>
            <a:off x="7019867" y="4364309"/>
            <a:ext cx="331382" cy="331370"/>
            <a:chOff x="4725566" y="2706095"/>
            <a:chExt cx="331382" cy="331370"/>
          </a:xfrm>
          <a:solidFill>
            <a:schemeClr val="tx1"/>
          </a:solidFill>
        </p:grpSpPr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AFF3C913-9590-2C48-AA57-9A664562C5DE}"/>
                </a:ext>
              </a:extLst>
            </p:cNvPr>
            <p:cNvSpPr/>
            <p:nvPr/>
          </p:nvSpPr>
          <p:spPr>
            <a:xfrm>
              <a:off x="4725566" y="2706095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FA2C3CB3-4253-DE4D-B405-14D6B148070E}"/>
                </a:ext>
              </a:extLst>
            </p:cNvPr>
            <p:cNvSpPr/>
            <p:nvPr/>
          </p:nvSpPr>
          <p:spPr>
            <a:xfrm>
              <a:off x="4855741" y="2836265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78" name="Group 251">
            <a:extLst>
              <a:ext uri="{FF2B5EF4-FFF2-40B4-BE49-F238E27FC236}">
                <a16:creationId xmlns:a16="http://schemas.microsoft.com/office/drawing/2014/main" id="{ECC74C6F-EBFB-AA4A-B49E-3DF8565B70D3}"/>
              </a:ext>
            </a:extLst>
          </p:cNvPr>
          <p:cNvGrpSpPr/>
          <p:nvPr userDrawn="1"/>
        </p:nvGrpSpPr>
        <p:grpSpPr>
          <a:xfrm>
            <a:off x="6199259" y="3148794"/>
            <a:ext cx="331382" cy="331370"/>
            <a:chOff x="4646588" y="2093143"/>
            <a:chExt cx="331382" cy="331370"/>
          </a:xfrm>
          <a:solidFill>
            <a:schemeClr val="tx1"/>
          </a:solidFill>
        </p:grpSpPr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F69FAF77-265C-974F-AD5D-18D46605F61B}"/>
                </a:ext>
              </a:extLst>
            </p:cNvPr>
            <p:cNvSpPr/>
            <p:nvPr/>
          </p:nvSpPr>
          <p:spPr>
            <a:xfrm>
              <a:off x="4646588" y="2093143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Oval 279">
              <a:extLst>
                <a:ext uri="{FF2B5EF4-FFF2-40B4-BE49-F238E27FC236}">
                  <a16:creationId xmlns:a16="http://schemas.microsoft.com/office/drawing/2014/main" id="{55A56D1D-91AF-5545-A562-5C0F9114A66D}"/>
                </a:ext>
              </a:extLst>
            </p:cNvPr>
            <p:cNvSpPr/>
            <p:nvPr/>
          </p:nvSpPr>
          <p:spPr>
            <a:xfrm>
              <a:off x="4776763" y="2223313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81" name="Group 255">
            <a:extLst>
              <a:ext uri="{FF2B5EF4-FFF2-40B4-BE49-F238E27FC236}">
                <a16:creationId xmlns:a16="http://schemas.microsoft.com/office/drawing/2014/main" id="{1A8E37BE-D666-2242-9FA0-A171BF658CEC}"/>
              </a:ext>
            </a:extLst>
          </p:cNvPr>
          <p:cNvGrpSpPr/>
          <p:nvPr userDrawn="1"/>
        </p:nvGrpSpPr>
        <p:grpSpPr>
          <a:xfrm>
            <a:off x="9028138" y="3036875"/>
            <a:ext cx="331382" cy="331370"/>
            <a:chOff x="5619548" y="2256857"/>
            <a:chExt cx="331382" cy="331370"/>
          </a:xfrm>
          <a:solidFill>
            <a:schemeClr val="tx1"/>
          </a:solidFill>
        </p:grpSpPr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401C4065-7DDC-684B-A5CE-07C49219AB89}"/>
                </a:ext>
              </a:extLst>
            </p:cNvPr>
            <p:cNvSpPr/>
            <p:nvPr/>
          </p:nvSpPr>
          <p:spPr>
            <a:xfrm>
              <a:off x="5619548" y="2256857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61A769D3-38FC-F94D-B3AD-54B4B0B65CDB}"/>
                </a:ext>
              </a:extLst>
            </p:cNvPr>
            <p:cNvSpPr/>
            <p:nvPr/>
          </p:nvSpPr>
          <p:spPr>
            <a:xfrm>
              <a:off x="5749723" y="2387027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4" name="Group 256">
            <a:extLst>
              <a:ext uri="{FF2B5EF4-FFF2-40B4-BE49-F238E27FC236}">
                <a16:creationId xmlns:a16="http://schemas.microsoft.com/office/drawing/2014/main" id="{EC8C1EB5-4416-D449-9F90-F881490BD685}"/>
              </a:ext>
            </a:extLst>
          </p:cNvPr>
          <p:cNvGrpSpPr/>
          <p:nvPr userDrawn="1"/>
        </p:nvGrpSpPr>
        <p:grpSpPr>
          <a:xfrm>
            <a:off x="10006255" y="4295912"/>
            <a:ext cx="331382" cy="331370"/>
            <a:chOff x="6449735" y="2978011"/>
            <a:chExt cx="331382" cy="331370"/>
          </a:xfrm>
          <a:solidFill>
            <a:schemeClr val="tx1"/>
          </a:solidFill>
        </p:grpSpPr>
        <p:sp>
          <p:nvSpPr>
            <p:cNvPr id="285" name="Oval 284">
              <a:extLst>
                <a:ext uri="{FF2B5EF4-FFF2-40B4-BE49-F238E27FC236}">
                  <a16:creationId xmlns:a16="http://schemas.microsoft.com/office/drawing/2014/main" id="{273805DB-83FF-2148-91CC-E4165AC6EE41}"/>
                </a:ext>
              </a:extLst>
            </p:cNvPr>
            <p:cNvSpPr/>
            <p:nvPr/>
          </p:nvSpPr>
          <p:spPr>
            <a:xfrm>
              <a:off x="6449735" y="2978011"/>
              <a:ext cx="331382" cy="33137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Oval 285">
              <a:extLst>
                <a:ext uri="{FF2B5EF4-FFF2-40B4-BE49-F238E27FC236}">
                  <a16:creationId xmlns:a16="http://schemas.microsoft.com/office/drawing/2014/main" id="{3D09D308-E734-7E46-B635-2BBFB25A28DC}"/>
                </a:ext>
              </a:extLst>
            </p:cNvPr>
            <p:cNvSpPr/>
            <p:nvPr/>
          </p:nvSpPr>
          <p:spPr>
            <a:xfrm>
              <a:off x="6579910" y="3108181"/>
              <a:ext cx="71032" cy="7103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287" name="Elbow Connector 252">
            <a:extLst>
              <a:ext uri="{FF2B5EF4-FFF2-40B4-BE49-F238E27FC236}">
                <a16:creationId xmlns:a16="http://schemas.microsoft.com/office/drawing/2014/main" id="{C5222521-ABDE-A24C-BC9F-9106ED82367A}"/>
              </a:ext>
            </a:extLst>
          </p:cNvPr>
          <p:cNvCxnSpPr>
            <a:stCxn id="271" idx="2"/>
            <a:endCxn id="245" idx="6"/>
          </p:cNvCxnSpPr>
          <p:nvPr userDrawn="1"/>
        </p:nvCxnSpPr>
        <p:spPr>
          <a:xfrm rot="10800000">
            <a:off x="1773778" y="2543060"/>
            <a:ext cx="1188878" cy="104005"/>
          </a:xfrm>
          <a:prstGeom prst="bentConnector3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Elbow Connector 254">
            <a:extLst>
              <a:ext uri="{FF2B5EF4-FFF2-40B4-BE49-F238E27FC236}">
                <a16:creationId xmlns:a16="http://schemas.microsoft.com/office/drawing/2014/main" id="{83E4C5A0-F76A-1F47-863C-8450D6ABC8CF}"/>
              </a:ext>
            </a:extLst>
          </p:cNvPr>
          <p:cNvCxnSpPr>
            <a:cxnSpLocks/>
            <a:stCxn id="274" idx="4"/>
            <a:endCxn id="249" idx="6"/>
          </p:cNvCxnSpPr>
          <p:nvPr userDrawn="1"/>
        </p:nvCxnSpPr>
        <p:spPr>
          <a:xfrm rot="5400000">
            <a:off x="3393173" y="4440042"/>
            <a:ext cx="427748" cy="920284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Elbow Connector 258">
            <a:extLst>
              <a:ext uri="{FF2B5EF4-FFF2-40B4-BE49-F238E27FC236}">
                <a16:creationId xmlns:a16="http://schemas.microsoft.com/office/drawing/2014/main" id="{09EF05D8-F407-F344-9546-F4000E957760}"/>
              </a:ext>
            </a:extLst>
          </p:cNvPr>
          <p:cNvCxnSpPr>
            <a:stCxn id="280" idx="2"/>
            <a:endCxn id="253" idx="0"/>
          </p:cNvCxnSpPr>
          <p:nvPr userDrawn="1"/>
        </p:nvCxnSpPr>
        <p:spPr>
          <a:xfrm rot="10800000" flipV="1">
            <a:off x="5813372" y="3314478"/>
            <a:ext cx="516063" cy="747051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Elbow Connector 260">
            <a:extLst>
              <a:ext uri="{FF2B5EF4-FFF2-40B4-BE49-F238E27FC236}">
                <a16:creationId xmlns:a16="http://schemas.microsoft.com/office/drawing/2014/main" id="{CADC0759-90E2-814A-B4C8-E6C7091A086E}"/>
              </a:ext>
            </a:extLst>
          </p:cNvPr>
          <p:cNvCxnSpPr>
            <a:stCxn id="257" idx="0"/>
            <a:endCxn id="277" idx="6"/>
          </p:cNvCxnSpPr>
          <p:nvPr userDrawn="1"/>
        </p:nvCxnSpPr>
        <p:spPr>
          <a:xfrm rot="16200000" flipV="1">
            <a:off x="7279501" y="4471568"/>
            <a:ext cx="331533" cy="448386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Elbow Connector 263">
            <a:extLst>
              <a:ext uri="{FF2B5EF4-FFF2-40B4-BE49-F238E27FC236}">
                <a16:creationId xmlns:a16="http://schemas.microsoft.com/office/drawing/2014/main" id="{AA1344C5-9F2B-9147-9F0C-BBF7B965566F}"/>
              </a:ext>
            </a:extLst>
          </p:cNvPr>
          <p:cNvCxnSpPr>
            <a:stCxn id="265" idx="2"/>
            <a:endCxn id="283" idx="6"/>
          </p:cNvCxnSpPr>
          <p:nvPr userDrawn="1"/>
        </p:nvCxnSpPr>
        <p:spPr>
          <a:xfrm rot="10800000" flipV="1">
            <a:off x="9229346" y="2954630"/>
            <a:ext cx="1457809" cy="247930"/>
          </a:xfrm>
          <a:prstGeom prst="bentConnector3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Elbow Connector 265">
            <a:extLst>
              <a:ext uri="{FF2B5EF4-FFF2-40B4-BE49-F238E27FC236}">
                <a16:creationId xmlns:a16="http://schemas.microsoft.com/office/drawing/2014/main" id="{EDD41F35-AC24-AB41-8D36-671C795B2147}"/>
              </a:ext>
            </a:extLst>
          </p:cNvPr>
          <p:cNvCxnSpPr>
            <a:stCxn id="261" idx="2"/>
            <a:endCxn id="286" idx="4"/>
          </p:cNvCxnSpPr>
          <p:nvPr userDrawn="1"/>
        </p:nvCxnSpPr>
        <p:spPr>
          <a:xfrm rot="10800000">
            <a:off x="10171947" y="4497112"/>
            <a:ext cx="580417" cy="46008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Textplatzhalter 3">
            <a:extLst>
              <a:ext uri="{FF2B5EF4-FFF2-40B4-BE49-F238E27FC236}">
                <a16:creationId xmlns:a16="http://schemas.microsoft.com/office/drawing/2014/main" id="{148D0D16-E352-0F4C-A35B-326E83C031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72628" y="4642895"/>
            <a:ext cx="1266824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294" name="Textplatzhalter 3">
            <a:extLst>
              <a:ext uri="{FF2B5EF4-FFF2-40B4-BE49-F238E27FC236}">
                <a16:creationId xmlns:a16="http://schemas.microsoft.com/office/drawing/2014/main" id="{280EB3BF-0B0D-EF43-BA17-29C7D97BA28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72628" y="4316762"/>
            <a:ext cx="1274154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EUROPE</a:t>
            </a:r>
          </a:p>
        </p:txBody>
      </p:sp>
      <p:sp>
        <p:nvSpPr>
          <p:cNvPr id="295" name="Textplatzhalter 3">
            <a:extLst>
              <a:ext uri="{FF2B5EF4-FFF2-40B4-BE49-F238E27FC236}">
                <a16:creationId xmlns:a16="http://schemas.microsoft.com/office/drawing/2014/main" id="{049F25CA-866A-9A47-BBA1-7205AE03446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683490" y="2847409"/>
            <a:ext cx="1266824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296" name="Textplatzhalter 3">
            <a:extLst>
              <a:ext uri="{FF2B5EF4-FFF2-40B4-BE49-F238E27FC236}">
                <a16:creationId xmlns:a16="http://schemas.microsoft.com/office/drawing/2014/main" id="{5DB74FD4-D941-B540-9424-6C08C0E7CF1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683490" y="2521276"/>
            <a:ext cx="1274154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SIA</a:t>
            </a:r>
          </a:p>
        </p:txBody>
      </p:sp>
      <p:sp>
        <p:nvSpPr>
          <p:cNvPr id="298" name="Textplatzhalter 3">
            <a:extLst>
              <a:ext uri="{FF2B5EF4-FFF2-40B4-BE49-F238E27FC236}">
                <a16:creationId xmlns:a16="http://schemas.microsoft.com/office/drawing/2014/main" id="{BC7D9C38-9A86-C842-BC5A-EEFF614A883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759560" y="4830994"/>
            <a:ext cx="1064149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OCEANIA</a:t>
            </a:r>
          </a:p>
        </p:txBody>
      </p:sp>
      <p:sp>
        <p:nvSpPr>
          <p:cNvPr id="300" name="Textplatzhalter 3">
            <a:extLst>
              <a:ext uri="{FF2B5EF4-FFF2-40B4-BE49-F238E27FC236}">
                <a16:creationId xmlns:a16="http://schemas.microsoft.com/office/drawing/2014/main" id="{CD22D2C6-0509-0F40-8B1F-6B88451E62A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33481" y="5201939"/>
            <a:ext cx="871958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AFRICA</a:t>
            </a:r>
          </a:p>
        </p:txBody>
      </p:sp>
      <p:sp>
        <p:nvSpPr>
          <p:cNvPr id="301" name="Textplatzhalter 3">
            <a:extLst>
              <a:ext uri="{FF2B5EF4-FFF2-40B4-BE49-F238E27FC236}">
                <a16:creationId xmlns:a16="http://schemas.microsoft.com/office/drawing/2014/main" id="{58E9BCA6-FEE1-8743-96F6-881D8FAC50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880062" y="5012443"/>
            <a:ext cx="1266824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302" name="Textplatzhalter 3">
            <a:extLst>
              <a:ext uri="{FF2B5EF4-FFF2-40B4-BE49-F238E27FC236}">
                <a16:creationId xmlns:a16="http://schemas.microsoft.com/office/drawing/2014/main" id="{F5A59B92-5663-6249-ADB2-AF892C89BEF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880062" y="4686310"/>
            <a:ext cx="1274154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S. AMERIKA</a:t>
            </a:r>
          </a:p>
        </p:txBody>
      </p:sp>
      <p:sp>
        <p:nvSpPr>
          <p:cNvPr id="308" name="Textplatzhalter 3">
            <a:extLst>
              <a:ext uri="{FF2B5EF4-FFF2-40B4-BE49-F238E27FC236}">
                <a16:creationId xmlns:a16="http://schemas.microsoft.com/office/drawing/2014/main" id="{C352BE9E-0842-2A4A-AD32-35642A9889C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3289" y="2431759"/>
            <a:ext cx="1266824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309" name="Textplatzhalter 3">
            <a:extLst>
              <a:ext uri="{FF2B5EF4-FFF2-40B4-BE49-F238E27FC236}">
                <a16:creationId xmlns:a16="http://schemas.microsoft.com/office/drawing/2014/main" id="{EF969770-B33D-5945-BA38-949E18B3731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03289" y="2105626"/>
            <a:ext cx="1274154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N. AMERIKA</a:t>
            </a:r>
          </a:p>
        </p:txBody>
      </p:sp>
      <p:sp>
        <p:nvSpPr>
          <p:cNvPr id="310" name="Datumsplatzhalter 309">
            <a:extLst>
              <a:ext uri="{FF2B5EF4-FFF2-40B4-BE49-F238E27FC236}">
                <a16:creationId xmlns:a16="http://schemas.microsoft.com/office/drawing/2014/main" id="{0A0891E0-6F90-6D40-ABA4-C701F86ABEEA}"/>
              </a:ext>
            </a:extLst>
          </p:cNvPr>
          <p:cNvSpPr>
            <a:spLocks noGrp="1"/>
          </p:cNvSpPr>
          <p:nvPr>
            <p:ph type="dt" sz="half" idx="48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11" name="Fußzeilenplatzhalter 310">
            <a:extLst>
              <a:ext uri="{FF2B5EF4-FFF2-40B4-BE49-F238E27FC236}">
                <a16:creationId xmlns:a16="http://schemas.microsoft.com/office/drawing/2014/main" id="{9D428462-3C66-564D-92B1-1434A215F6FE}"/>
              </a:ext>
            </a:extLst>
          </p:cNvPr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2" name="Foliennummernplatzhalter 311">
            <a:extLst>
              <a:ext uri="{FF2B5EF4-FFF2-40B4-BE49-F238E27FC236}">
                <a16:creationId xmlns:a16="http://schemas.microsoft.com/office/drawing/2014/main" id="{B89DF28D-6A53-6340-9523-4806485B0E88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97" name="Textplatzhalter 3">
            <a:extLst>
              <a:ext uri="{FF2B5EF4-FFF2-40B4-BE49-F238E27FC236}">
                <a16:creationId xmlns:a16="http://schemas.microsoft.com/office/drawing/2014/main" id="{95F7520F-7FF7-9740-A7A6-E03C573C10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812074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" grpId="0" animBg="1"/>
      <p:bldP spid="249" grpId="0" animBg="1"/>
      <p:bldP spid="253" grpId="0" animBg="1"/>
      <p:bldP spid="257" grpId="0" animBg="1"/>
      <p:bldP spid="261" grpId="0" animBg="1"/>
      <p:bldP spid="26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" name="Rounded Rectangle 111">
            <a:extLst>
              <a:ext uri="{FF2B5EF4-FFF2-40B4-BE49-F238E27FC236}">
                <a16:creationId xmlns:a16="http://schemas.microsoft.com/office/drawing/2014/main" id="{E6B47DDF-D130-454C-9894-794866F8E2A5}"/>
              </a:ext>
            </a:extLst>
          </p:cNvPr>
          <p:cNvSpPr/>
          <p:nvPr userDrawn="1"/>
        </p:nvSpPr>
        <p:spPr>
          <a:xfrm>
            <a:off x="517051" y="970220"/>
            <a:ext cx="8074820" cy="774943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en-US" sz="1400" dirty="0">
              <a:solidFill>
                <a:schemeClr val="tx1"/>
              </a:solidFill>
              <a:latin typeface="Res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7" name="Isosceles Triangle 30">
            <a:extLst>
              <a:ext uri="{FF2B5EF4-FFF2-40B4-BE49-F238E27FC236}">
                <a16:creationId xmlns:a16="http://schemas.microsoft.com/office/drawing/2014/main" id="{B3405A4B-64B3-754B-82C7-34B48CFFB5B8}"/>
              </a:ext>
            </a:extLst>
          </p:cNvPr>
          <p:cNvSpPr/>
          <p:nvPr userDrawn="1"/>
        </p:nvSpPr>
        <p:spPr>
          <a:xfrm rot="16200000" flipV="1">
            <a:off x="154146" y="974715"/>
            <a:ext cx="252000" cy="252000"/>
          </a:xfrm>
          <a:prstGeom prst="triangle">
            <a:avLst/>
          </a:prstGeom>
          <a:solidFill>
            <a:srgbClr val="FFB81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8" name="Straight Connector 18">
            <a:extLst>
              <a:ext uri="{FF2B5EF4-FFF2-40B4-BE49-F238E27FC236}">
                <a16:creationId xmlns:a16="http://schemas.microsoft.com/office/drawing/2014/main" id="{C268482C-9AC3-C843-AB81-2A7645C0C188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17052" y="970219"/>
            <a:ext cx="9258" cy="774942"/>
          </a:xfrm>
          <a:prstGeom prst="line">
            <a:avLst/>
          </a:prstGeom>
          <a:ln w="1905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C53CAC0E-28D0-4A4D-8E04-5EE631EBBA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320" y="1069805"/>
            <a:ext cx="3632037" cy="594803"/>
          </a:xfrm>
          <a:prstGeom prst="rect">
            <a:avLst/>
          </a:prstGeom>
        </p:spPr>
        <p:txBody>
          <a:bodyPr lIns="144000" tIns="72000" rIns="144000" bIns="0" anchor="t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ustertext, Mustertext, </a:t>
            </a:r>
            <a:br>
              <a:rPr lang="de-DE" dirty="0"/>
            </a:br>
            <a:r>
              <a:rPr lang="de-DE" dirty="0"/>
              <a:t>Mustertext, Mustertext, </a:t>
            </a:r>
          </a:p>
        </p:txBody>
      </p:sp>
      <p:grpSp>
        <p:nvGrpSpPr>
          <p:cNvPr id="47" name="Group 25">
            <a:extLst>
              <a:ext uri="{FF2B5EF4-FFF2-40B4-BE49-F238E27FC236}">
                <a16:creationId xmlns:a16="http://schemas.microsoft.com/office/drawing/2014/main" id="{91A25F98-AE90-0045-8EFF-FEE6DE66C655}"/>
              </a:ext>
            </a:extLst>
          </p:cNvPr>
          <p:cNvGrpSpPr/>
          <p:nvPr userDrawn="1"/>
        </p:nvGrpSpPr>
        <p:grpSpPr>
          <a:xfrm>
            <a:off x="7354362" y="2390113"/>
            <a:ext cx="4105998" cy="3497667"/>
            <a:chOff x="1163497" y="2132398"/>
            <a:chExt cx="2445256" cy="2082975"/>
          </a:xfrm>
        </p:grpSpPr>
        <p:grpSp>
          <p:nvGrpSpPr>
            <p:cNvPr id="48" name="Group 4">
              <a:extLst>
                <a:ext uri="{FF2B5EF4-FFF2-40B4-BE49-F238E27FC236}">
                  <a16:creationId xmlns:a16="http://schemas.microsoft.com/office/drawing/2014/main" id="{5E38989E-67DD-164D-ACCA-244C59D65EAB}"/>
                </a:ext>
              </a:extLst>
            </p:cNvPr>
            <p:cNvGrpSpPr/>
            <p:nvPr/>
          </p:nvGrpSpPr>
          <p:grpSpPr>
            <a:xfrm>
              <a:off x="1163497" y="2132398"/>
              <a:ext cx="2445256" cy="2082975"/>
              <a:chOff x="763588" y="1930400"/>
              <a:chExt cx="1919287" cy="1822451"/>
            </a:xfrm>
          </p:grpSpPr>
          <p:sp>
            <p:nvSpPr>
              <p:cNvPr id="58" name="Freeform 5">
                <a:extLst>
                  <a:ext uri="{FF2B5EF4-FFF2-40B4-BE49-F238E27FC236}">
                    <a16:creationId xmlns:a16="http://schemas.microsoft.com/office/drawing/2014/main" id="{7BD5FDBD-CA26-4F4B-98AF-D55CDEC1C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588" y="2092325"/>
                <a:ext cx="784225" cy="1204913"/>
              </a:xfrm>
              <a:custGeom>
                <a:avLst/>
                <a:gdLst>
                  <a:gd name="T0" fmla="*/ 464 w 494"/>
                  <a:gd name="T1" fmla="*/ 630 h 759"/>
                  <a:gd name="T2" fmla="*/ 407 w 494"/>
                  <a:gd name="T3" fmla="*/ 639 h 759"/>
                  <a:gd name="T4" fmla="*/ 356 w 494"/>
                  <a:gd name="T5" fmla="*/ 665 h 759"/>
                  <a:gd name="T6" fmla="*/ 330 w 494"/>
                  <a:gd name="T7" fmla="*/ 705 h 759"/>
                  <a:gd name="T8" fmla="*/ 312 w 494"/>
                  <a:gd name="T9" fmla="*/ 705 h 759"/>
                  <a:gd name="T10" fmla="*/ 292 w 494"/>
                  <a:gd name="T11" fmla="*/ 701 h 759"/>
                  <a:gd name="T12" fmla="*/ 252 w 494"/>
                  <a:gd name="T13" fmla="*/ 709 h 759"/>
                  <a:gd name="T14" fmla="*/ 231 w 494"/>
                  <a:gd name="T15" fmla="*/ 714 h 759"/>
                  <a:gd name="T16" fmla="*/ 214 w 494"/>
                  <a:gd name="T17" fmla="*/ 730 h 759"/>
                  <a:gd name="T18" fmla="*/ 177 w 494"/>
                  <a:gd name="T19" fmla="*/ 759 h 759"/>
                  <a:gd name="T20" fmla="*/ 137 w 494"/>
                  <a:gd name="T21" fmla="*/ 754 h 759"/>
                  <a:gd name="T22" fmla="*/ 120 w 494"/>
                  <a:gd name="T23" fmla="*/ 745 h 759"/>
                  <a:gd name="T24" fmla="*/ 99 w 494"/>
                  <a:gd name="T25" fmla="*/ 723 h 759"/>
                  <a:gd name="T26" fmla="*/ 115 w 494"/>
                  <a:gd name="T27" fmla="*/ 711 h 759"/>
                  <a:gd name="T28" fmla="*/ 110 w 494"/>
                  <a:gd name="T29" fmla="*/ 674 h 759"/>
                  <a:gd name="T30" fmla="*/ 99 w 494"/>
                  <a:gd name="T31" fmla="*/ 632 h 759"/>
                  <a:gd name="T32" fmla="*/ 76 w 494"/>
                  <a:gd name="T33" fmla="*/ 566 h 759"/>
                  <a:gd name="T34" fmla="*/ 49 w 494"/>
                  <a:gd name="T35" fmla="*/ 525 h 759"/>
                  <a:gd name="T36" fmla="*/ 14 w 494"/>
                  <a:gd name="T37" fmla="*/ 475 h 759"/>
                  <a:gd name="T38" fmla="*/ 6 w 494"/>
                  <a:gd name="T39" fmla="*/ 456 h 759"/>
                  <a:gd name="T40" fmla="*/ 29 w 494"/>
                  <a:gd name="T41" fmla="*/ 479 h 759"/>
                  <a:gd name="T42" fmla="*/ 14 w 494"/>
                  <a:gd name="T43" fmla="*/ 456 h 759"/>
                  <a:gd name="T44" fmla="*/ 38 w 494"/>
                  <a:gd name="T45" fmla="*/ 470 h 759"/>
                  <a:gd name="T46" fmla="*/ 7 w 494"/>
                  <a:gd name="T47" fmla="*/ 411 h 759"/>
                  <a:gd name="T48" fmla="*/ 11 w 494"/>
                  <a:gd name="T49" fmla="*/ 368 h 759"/>
                  <a:gd name="T50" fmla="*/ 9 w 494"/>
                  <a:gd name="T51" fmla="*/ 336 h 759"/>
                  <a:gd name="T52" fmla="*/ 18 w 494"/>
                  <a:gd name="T53" fmla="*/ 338 h 759"/>
                  <a:gd name="T54" fmla="*/ 37 w 494"/>
                  <a:gd name="T55" fmla="*/ 313 h 759"/>
                  <a:gd name="T56" fmla="*/ 78 w 494"/>
                  <a:gd name="T57" fmla="*/ 280 h 759"/>
                  <a:gd name="T58" fmla="*/ 108 w 494"/>
                  <a:gd name="T59" fmla="*/ 268 h 759"/>
                  <a:gd name="T60" fmla="*/ 134 w 494"/>
                  <a:gd name="T61" fmla="*/ 251 h 759"/>
                  <a:gd name="T62" fmla="*/ 161 w 494"/>
                  <a:gd name="T63" fmla="*/ 235 h 759"/>
                  <a:gd name="T64" fmla="*/ 218 w 494"/>
                  <a:gd name="T65" fmla="*/ 218 h 759"/>
                  <a:gd name="T66" fmla="*/ 249 w 494"/>
                  <a:gd name="T67" fmla="*/ 171 h 759"/>
                  <a:gd name="T68" fmla="*/ 252 w 494"/>
                  <a:gd name="T69" fmla="*/ 140 h 759"/>
                  <a:gd name="T70" fmla="*/ 275 w 494"/>
                  <a:gd name="T71" fmla="*/ 102 h 759"/>
                  <a:gd name="T72" fmla="*/ 287 w 494"/>
                  <a:gd name="T73" fmla="*/ 123 h 759"/>
                  <a:gd name="T74" fmla="*/ 300 w 494"/>
                  <a:gd name="T75" fmla="*/ 124 h 759"/>
                  <a:gd name="T76" fmla="*/ 298 w 494"/>
                  <a:gd name="T77" fmla="*/ 106 h 759"/>
                  <a:gd name="T78" fmla="*/ 284 w 494"/>
                  <a:gd name="T79" fmla="*/ 92 h 759"/>
                  <a:gd name="T80" fmla="*/ 308 w 494"/>
                  <a:gd name="T81" fmla="*/ 93 h 759"/>
                  <a:gd name="T82" fmla="*/ 324 w 494"/>
                  <a:gd name="T83" fmla="*/ 88 h 759"/>
                  <a:gd name="T84" fmla="*/ 322 w 494"/>
                  <a:gd name="T85" fmla="*/ 75 h 759"/>
                  <a:gd name="T86" fmla="*/ 322 w 494"/>
                  <a:gd name="T87" fmla="*/ 56 h 759"/>
                  <a:gd name="T88" fmla="*/ 344 w 494"/>
                  <a:gd name="T89" fmla="*/ 50 h 759"/>
                  <a:gd name="T90" fmla="*/ 341 w 494"/>
                  <a:gd name="T91" fmla="*/ 37 h 759"/>
                  <a:gd name="T92" fmla="*/ 359 w 494"/>
                  <a:gd name="T93" fmla="*/ 23 h 759"/>
                  <a:gd name="T94" fmla="*/ 376 w 494"/>
                  <a:gd name="T95" fmla="*/ 11 h 759"/>
                  <a:gd name="T96" fmla="*/ 389 w 494"/>
                  <a:gd name="T97" fmla="*/ 12 h 759"/>
                  <a:gd name="T98" fmla="*/ 403 w 494"/>
                  <a:gd name="T99" fmla="*/ 0 h 759"/>
                  <a:gd name="T100" fmla="*/ 440 w 494"/>
                  <a:gd name="T101" fmla="*/ 27 h 759"/>
                  <a:gd name="T102" fmla="*/ 446 w 494"/>
                  <a:gd name="T103" fmla="*/ 42 h 759"/>
                  <a:gd name="T104" fmla="*/ 468 w 494"/>
                  <a:gd name="T105" fmla="*/ 35 h 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4" h="759">
                    <a:moveTo>
                      <a:pt x="494" y="614"/>
                    </a:moveTo>
                    <a:lnTo>
                      <a:pt x="483" y="616"/>
                    </a:lnTo>
                    <a:lnTo>
                      <a:pt x="475" y="622"/>
                    </a:lnTo>
                    <a:lnTo>
                      <a:pt x="464" y="630"/>
                    </a:lnTo>
                    <a:lnTo>
                      <a:pt x="451" y="633"/>
                    </a:lnTo>
                    <a:lnTo>
                      <a:pt x="430" y="638"/>
                    </a:lnTo>
                    <a:lnTo>
                      <a:pt x="418" y="638"/>
                    </a:lnTo>
                    <a:lnTo>
                      <a:pt x="407" y="639"/>
                    </a:lnTo>
                    <a:lnTo>
                      <a:pt x="395" y="643"/>
                    </a:lnTo>
                    <a:lnTo>
                      <a:pt x="382" y="653"/>
                    </a:lnTo>
                    <a:lnTo>
                      <a:pt x="366" y="662"/>
                    </a:lnTo>
                    <a:lnTo>
                      <a:pt x="356" y="665"/>
                    </a:lnTo>
                    <a:lnTo>
                      <a:pt x="352" y="678"/>
                    </a:lnTo>
                    <a:lnTo>
                      <a:pt x="348" y="690"/>
                    </a:lnTo>
                    <a:lnTo>
                      <a:pt x="341" y="698"/>
                    </a:lnTo>
                    <a:lnTo>
                      <a:pt x="330" y="705"/>
                    </a:lnTo>
                    <a:lnTo>
                      <a:pt x="324" y="703"/>
                    </a:lnTo>
                    <a:lnTo>
                      <a:pt x="322" y="701"/>
                    </a:lnTo>
                    <a:lnTo>
                      <a:pt x="314" y="701"/>
                    </a:lnTo>
                    <a:lnTo>
                      <a:pt x="312" y="705"/>
                    </a:lnTo>
                    <a:lnTo>
                      <a:pt x="300" y="705"/>
                    </a:lnTo>
                    <a:lnTo>
                      <a:pt x="297" y="702"/>
                    </a:lnTo>
                    <a:lnTo>
                      <a:pt x="295" y="702"/>
                    </a:lnTo>
                    <a:lnTo>
                      <a:pt x="292" y="701"/>
                    </a:lnTo>
                    <a:lnTo>
                      <a:pt x="280" y="702"/>
                    </a:lnTo>
                    <a:lnTo>
                      <a:pt x="268" y="705"/>
                    </a:lnTo>
                    <a:lnTo>
                      <a:pt x="258" y="707"/>
                    </a:lnTo>
                    <a:lnTo>
                      <a:pt x="252" y="709"/>
                    </a:lnTo>
                    <a:lnTo>
                      <a:pt x="242" y="709"/>
                    </a:lnTo>
                    <a:lnTo>
                      <a:pt x="237" y="709"/>
                    </a:lnTo>
                    <a:lnTo>
                      <a:pt x="233" y="712"/>
                    </a:lnTo>
                    <a:lnTo>
                      <a:pt x="231" y="714"/>
                    </a:lnTo>
                    <a:lnTo>
                      <a:pt x="230" y="718"/>
                    </a:lnTo>
                    <a:lnTo>
                      <a:pt x="228" y="727"/>
                    </a:lnTo>
                    <a:lnTo>
                      <a:pt x="225" y="729"/>
                    </a:lnTo>
                    <a:lnTo>
                      <a:pt x="214" y="730"/>
                    </a:lnTo>
                    <a:lnTo>
                      <a:pt x="206" y="739"/>
                    </a:lnTo>
                    <a:lnTo>
                      <a:pt x="195" y="750"/>
                    </a:lnTo>
                    <a:lnTo>
                      <a:pt x="188" y="756"/>
                    </a:lnTo>
                    <a:lnTo>
                      <a:pt x="177" y="759"/>
                    </a:lnTo>
                    <a:lnTo>
                      <a:pt x="146" y="759"/>
                    </a:lnTo>
                    <a:lnTo>
                      <a:pt x="143" y="757"/>
                    </a:lnTo>
                    <a:lnTo>
                      <a:pt x="142" y="756"/>
                    </a:lnTo>
                    <a:lnTo>
                      <a:pt x="137" y="754"/>
                    </a:lnTo>
                    <a:lnTo>
                      <a:pt x="134" y="754"/>
                    </a:lnTo>
                    <a:lnTo>
                      <a:pt x="130" y="751"/>
                    </a:lnTo>
                    <a:lnTo>
                      <a:pt x="124" y="748"/>
                    </a:lnTo>
                    <a:lnTo>
                      <a:pt x="120" y="745"/>
                    </a:lnTo>
                    <a:lnTo>
                      <a:pt x="112" y="744"/>
                    </a:lnTo>
                    <a:lnTo>
                      <a:pt x="102" y="737"/>
                    </a:lnTo>
                    <a:lnTo>
                      <a:pt x="100" y="732"/>
                    </a:lnTo>
                    <a:lnTo>
                      <a:pt x="99" y="723"/>
                    </a:lnTo>
                    <a:lnTo>
                      <a:pt x="99" y="719"/>
                    </a:lnTo>
                    <a:lnTo>
                      <a:pt x="105" y="717"/>
                    </a:lnTo>
                    <a:lnTo>
                      <a:pt x="109" y="714"/>
                    </a:lnTo>
                    <a:lnTo>
                      <a:pt x="115" y="711"/>
                    </a:lnTo>
                    <a:lnTo>
                      <a:pt x="116" y="705"/>
                    </a:lnTo>
                    <a:lnTo>
                      <a:pt x="114" y="695"/>
                    </a:lnTo>
                    <a:lnTo>
                      <a:pt x="110" y="681"/>
                    </a:lnTo>
                    <a:lnTo>
                      <a:pt x="110" y="674"/>
                    </a:lnTo>
                    <a:lnTo>
                      <a:pt x="113" y="663"/>
                    </a:lnTo>
                    <a:lnTo>
                      <a:pt x="115" y="654"/>
                    </a:lnTo>
                    <a:lnTo>
                      <a:pt x="116" y="650"/>
                    </a:lnTo>
                    <a:lnTo>
                      <a:pt x="99" y="632"/>
                    </a:lnTo>
                    <a:lnTo>
                      <a:pt x="89" y="611"/>
                    </a:lnTo>
                    <a:lnTo>
                      <a:pt x="82" y="591"/>
                    </a:lnTo>
                    <a:lnTo>
                      <a:pt x="80" y="578"/>
                    </a:lnTo>
                    <a:lnTo>
                      <a:pt x="76" y="566"/>
                    </a:lnTo>
                    <a:lnTo>
                      <a:pt x="72" y="558"/>
                    </a:lnTo>
                    <a:lnTo>
                      <a:pt x="60" y="545"/>
                    </a:lnTo>
                    <a:lnTo>
                      <a:pt x="51" y="532"/>
                    </a:lnTo>
                    <a:lnTo>
                      <a:pt x="49" y="525"/>
                    </a:lnTo>
                    <a:lnTo>
                      <a:pt x="39" y="503"/>
                    </a:lnTo>
                    <a:lnTo>
                      <a:pt x="34" y="498"/>
                    </a:lnTo>
                    <a:lnTo>
                      <a:pt x="23" y="487"/>
                    </a:lnTo>
                    <a:lnTo>
                      <a:pt x="14" y="475"/>
                    </a:lnTo>
                    <a:lnTo>
                      <a:pt x="7" y="466"/>
                    </a:lnTo>
                    <a:lnTo>
                      <a:pt x="1" y="456"/>
                    </a:lnTo>
                    <a:lnTo>
                      <a:pt x="0" y="448"/>
                    </a:lnTo>
                    <a:lnTo>
                      <a:pt x="6" y="456"/>
                    </a:lnTo>
                    <a:lnTo>
                      <a:pt x="11" y="464"/>
                    </a:lnTo>
                    <a:lnTo>
                      <a:pt x="21" y="471"/>
                    </a:lnTo>
                    <a:lnTo>
                      <a:pt x="24" y="476"/>
                    </a:lnTo>
                    <a:lnTo>
                      <a:pt x="29" y="479"/>
                    </a:lnTo>
                    <a:lnTo>
                      <a:pt x="27" y="471"/>
                    </a:lnTo>
                    <a:lnTo>
                      <a:pt x="23" y="464"/>
                    </a:lnTo>
                    <a:lnTo>
                      <a:pt x="17" y="460"/>
                    </a:lnTo>
                    <a:lnTo>
                      <a:pt x="14" y="456"/>
                    </a:lnTo>
                    <a:lnTo>
                      <a:pt x="16" y="452"/>
                    </a:lnTo>
                    <a:lnTo>
                      <a:pt x="27" y="462"/>
                    </a:lnTo>
                    <a:lnTo>
                      <a:pt x="34" y="467"/>
                    </a:lnTo>
                    <a:lnTo>
                      <a:pt x="38" y="470"/>
                    </a:lnTo>
                    <a:lnTo>
                      <a:pt x="37" y="462"/>
                    </a:lnTo>
                    <a:lnTo>
                      <a:pt x="32" y="448"/>
                    </a:lnTo>
                    <a:lnTo>
                      <a:pt x="18" y="427"/>
                    </a:lnTo>
                    <a:lnTo>
                      <a:pt x="7" y="411"/>
                    </a:lnTo>
                    <a:lnTo>
                      <a:pt x="3" y="398"/>
                    </a:lnTo>
                    <a:lnTo>
                      <a:pt x="6" y="385"/>
                    </a:lnTo>
                    <a:lnTo>
                      <a:pt x="9" y="377"/>
                    </a:lnTo>
                    <a:lnTo>
                      <a:pt x="11" y="368"/>
                    </a:lnTo>
                    <a:lnTo>
                      <a:pt x="11" y="360"/>
                    </a:lnTo>
                    <a:lnTo>
                      <a:pt x="7" y="353"/>
                    </a:lnTo>
                    <a:lnTo>
                      <a:pt x="7" y="342"/>
                    </a:lnTo>
                    <a:lnTo>
                      <a:pt x="9" y="336"/>
                    </a:lnTo>
                    <a:lnTo>
                      <a:pt x="12" y="327"/>
                    </a:lnTo>
                    <a:lnTo>
                      <a:pt x="16" y="325"/>
                    </a:lnTo>
                    <a:lnTo>
                      <a:pt x="17" y="325"/>
                    </a:lnTo>
                    <a:lnTo>
                      <a:pt x="18" y="338"/>
                    </a:lnTo>
                    <a:lnTo>
                      <a:pt x="22" y="341"/>
                    </a:lnTo>
                    <a:lnTo>
                      <a:pt x="25" y="337"/>
                    </a:lnTo>
                    <a:lnTo>
                      <a:pt x="32" y="326"/>
                    </a:lnTo>
                    <a:lnTo>
                      <a:pt x="37" y="313"/>
                    </a:lnTo>
                    <a:lnTo>
                      <a:pt x="44" y="310"/>
                    </a:lnTo>
                    <a:lnTo>
                      <a:pt x="57" y="300"/>
                    </a:lnTo>
                    <a:lnTo>
                      <a:pt x="67" y="290"/>
                    </a:lnTo>
                    <a:lnTo>
                      <a:pt x="78" y="280"/>
                    </a:lnTo>
                    <a:lnTo>
                      <a:pt x="88" y="272"/>
                    </a:lnTo>
                    <a:lnTo>
                      <a:pt x="96" y="267"/>
                    </a:lnTo>
                    <a:lnTo>
                      <a:pt x="102" y="267"/>
                    </a:lnTo>
                    <a:lnTo>
                      <a:pt x="108" y="268"/>
                    </a:lnTo>
                    <a:lnTo>
                      <a:pt x="113" y="267"/>
                    </a:lnTo>
                    <a:lnTo>
                      <a:pt x="118" y="264"/>
                    </a:lnTo>
                    <a:lnTo>
                      <a:pt x="125" y="254"/>
                    </a:lnTo>
                    <a:lnTo>
                      <a:pt x="134" y="251"/>
                    </a:lnTo>
                    <a:lnTo>
                      <a:pt x="142" y="251"/>
                    </a:lnTo>
                    <a:lnTo>
                      <a:pt x="148" y="248"/>
                    </a:lnTo>
                    <a:lnTo>
                      <a:pt x="156" y="240"/>
                    </a:lnTo>
                    <a:lnTo>
                      <a:pt x="161" y="235"/>
                    </a:lnTo>
                    <a:lnTo>
                      <a:pt x="185" y="234"/>
                    </a:lnTo>
                    <a:lnTo>
                      <a:pt x="191" y="230"/>
                    </a:lnTo>
                    <a:lnTo>
                      <a:pt x="206" y="225"/>
                    </a:lnTo>
                    <a:lnTo>
                      <a:pt x="218" y="218"/>
                    </a:lnTo>
                    <a:lnTo>
                      <a:pt x="230" y="208"/>
                    </a:lnTo>
                    <a:lnTo>
                      <a:pt x="237" y="194"/>
                    </a:lnTo>
                    <a:lnTo>
                      <a:pt x="243" y="179"/>
                    </a:lnTo>
                    <a:lnTo>
                      <a:pt x="249" y="171"/>
                    </a:lnTo>
                    <a:lnTo>
                      <a:pt x="259" y="162"/>
                    </a:lnTo>
                    <a:lnTo>
                      <a:pt x="258" y="158"/>
                    </a:lnTo>
                    <a:lnTo>
                      <a:pt x="253" y="150"/>
                    </a:lnTo>
                    <a:lnTo>
                      <a:pt x="252" y="140"/>
                    </a:lnTo>
                    <a:lnTo>
                      <a:pt x="254" y="133"/>
                    </a:lnTo>
                    <a:lnTo>
                      <a:pt x="260" y="123"/>
                    </a:lnTo>
                    <a:lnTo>
                      <a:pt x="269" y="111"/>
                    </a:lnTo>
                    <a:lnTo>
                      <a:pt x="275" y="102"/>
                    </a:lnTo>
                    <a:lnTo>
                      <a:pt x="277" y="102"/>
                    </a:lnTo>
                    <a:lnTo>
                      <a:pt x="281" y="112"/>
                    </a:lnTo>
                    <a:lnTo>
                      <a:pt x="284" y="117"/>
                    </a:lnTo>
                    <a:lnTo>
                      <a:pt x="287" y="123"/>
                    </a:lnTo>
                    <a:lnTo>
                      <a:pt x="292" y="127"/>
                    </a:lnTo>
                    <a:lnTo>
                      <a:pt x="293" y="127"/>
                    </a:lnTo>
                    <a:lnTo>
                      <a:pt x="296" y="127"/>
                    </a:lnTo>
                    <a:lnTo>
                      <a:pt x="300" y="124"/>
                    </a:lnTo>
                    <a:lnTo>
                      <a:pt x="303" y="123"/>
                    </a:lnTo>
                    <a:lnTo>
                      <a:pt x="306" y="120"/>
                    </a:lnTo>
                    <a:lnTo>
                      <a:pt x="302" y="114"/>
                    </a:lnTo>
                    <a:lnTo>
                      <a:pt x="298" y="106"/>
                    </a:lnTo>
                    <a:lnTo>
                      <a:pt x="292" y="104"/>
                    </a:lnTo>
                    <a:lnTo>
                      <a:pt x="292" y="97"/>
                    </a:lnTo>
                    <a:lnTo>
                      <a:pt x="286" y="95"/>
                    </a:lnTo>
                    <a:lnTo>
                      <a:pt x="284" y="92"/>
                    </a:lnTo>
                    <a:lnTo>
                      <a:pt x="286" y="90"/>
                    </a:lnTo>
                    <a:lnTo>
                      <a:pt x="295" y="92"/>
                    </a:lnTo>
                    <a:lnTo>
                      <a:pt x="301" y="93"/>
                    </a:lnTo>
                    <a:lnTo>
                      <a:pt x="308" y="93"/>
                    </a:lnTo>
                    <a:lnTo>
                      <a:pt x="311" y="93"/>
                    </a:lnTo>
                    <a:lnTo>
                      <a:pt x="318" y="95"/>
                    </a:lnTo>
                    <a:lnTo>
                      <a:pt x="323" y="95"/>
                    </a:lnTo>
                    <a:lnTo>
                      <a:pt x="324" y="88"/>
                    </a:lnTo>
                    <a:lnTo>
                      <a:pt x="327" y="87"/>
                    </a:lnTo>
                    <a:lnTo>
                      <a:pt x="329" y="83"/>
                    </a:lnTo>
                    <a:lnTo>
                      <a:pt x="325" y="77"/>
                    </a:lnTo>
                    <a:lnTo>
                      <a:pt x="322" y="75"/>
                    </a:lnTo>
                    <a:lnTo>
                      <a:pt x="320" y="66"/>
                    </a:lnTo>
                    <a:lnTo>
                      <a:pt x="320" y="61"/>
                    </a:lnTo>
                    <a:lnTo>
                      <a:pt x="319" y="60"/>
                    </a:lnTo>
                    <a:lnTo>
                      <a:pt x="322" y="56"/>
                    </a:lnTo>
                    <a:lnTo>
                      <a:pt x="328" y="56"/>
                    </a:lnTo>
                    <a:lnTo>
                      <a:pt x="334" y="53"/>
                    </a:lnTo>
                    <a:lnTo>
                      <a:pt x="338" y="51"/>
                    </a:lnTo>
                    <a:lnTo>
                      <a:pt x="344" y="50"/>
                    </a:lnTo>
                    <a:lnTo>
                      <a:pt x="345" y="49"/>
                    </a:lnTo>
                    <a:lnTo>
                      <a:pt x="346" y="47"/>
                    </a:lnTo>
                    <a:lnTo>
                      <a:pt x="343" y="42"/>
                    </a:lnTo>
                    <a:lnTo>
                      <a:pt x="341" y="37"/>
                    </a:lnTo>
                    <a:lnTo>
                      <a:pt x="343" y="35"/>
                    </a:lnTo>
                    <a:lnTo>
                      <a:pt x="346" y="32"/>
                    </a:lnTo>
                    <a:lnTo>
                      <a:pt x="354" y="26"/>
                    </a:lnTo>
                    <a:lnTo>
                      <a:pt x="359" y="23"/>
                    </a:lnTo>
                    <a:lnTo>
                      <a:pt x="365" y="27"/>
                    </a:lnTo>
                    <a:lnTo>
                      <a:pt x="367" y="26"/>
                    </a:lnTo>
                    <a:lnTo>
                      <a:pt x="372" y="17"/>
                    </a:lnTo>
                    <a:lnTo>
                      <a:pt x="376" y="11"/>
                    </a:lnTo>
                    <a:lnTo>
                      <a:pt x="381" y="10"/>
                    </a:lnTo>
                    <a:lnTo>
                      <a:pt x="384" y="10"/>
                    </a:lnTo>
                    <a:lnTo>
                      <a:pt x="387" y="12"/>
                    </a:lnTo>
                    <a:lnTo>
                      <a:pt x="389" y="12"/>
                    </a:lnTo>
                    <a:lnTo>
                      <a:pt x="392" y="10"/>
                    </a:lnTo>
                    <a:lnTo>
                      <a:pt x="394" y="5"/>
                    </a:lnTo>
                    <a:lnTo>
                      <a:pt x="400" y="0"/>
                    </a:lnTo>
                    <a:lnTo>
                      <a:pt x="403" y="0"/>
                    </a:lnTo>
                    <a:lnTo>
                      <a:pt x="414" y="6"/>
                    </a:lnTo>
                    <a:lnTo>
                      <a:pt x="421" y="8"/>
                    </a:lnTo>
                    <a:lnTo>
                      <a:pt x="429" y="17"/>
                    </a:lnTo>
                    <a:lnTo>
                      <a:pt x="440" y="27"/>
                    </a:lnTo>
                    <a:lnTo>
                      <a:pt x="443" y="31"/>
                    </a:lnTo>
                    <a:lnTo>
                      <a:pt x="443" y="35"/>
                    </a:lnTo>
                    <a:lnTo>
                      <a:pt x="442" y="40"/>
                    </a:lnTo>
                    <a:lnTo>
                      <a:pt x="446" y="42"/>
                    </a:lnTo>
                    <a:lnTo>
                      <a:pt x="450" y="39"/>
                    </a:lnTo>
                    <a:lnTo>
                      <a:pt x="453" y="38"/>
                    </a:lnTo>
                    <a:lnTo>
                      <a:pt x="461" y="35"/>
                    </a:lnTo>
                    <a:lnTo>
                      <a:pt x="468" y="35"/>
                    </a:lnTo>
                    <a:lnTo>
                      <a:pt x="477" y="39"/>
                    </a:lnTo>
                    <a:lnTo>
                      <a:pt x="494" y="614"/>
                    </a:lnTo>
                    <a:close/>
                  </a:path>
                </a:pathLst>
              </a:custGeom>
              <a:solidFill>
                <a:schemeClr val="bg1">
                  <a:lumMod val="60000"/>
                  <a:lumOff val="40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6">
                <a:extLst>
                  <a:ext uri="{FF2B5EF4-FFF2-40B4-BE49-F238E27FC236}">
                    <a16:creationId xmlns:a16="http://schemas.microsoft.com/office/drawing/2014/main" id="{B1D7FB88-E188-E34A-85BB-1A9F4D597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0825" y="1938338"/>
                <a:ext cx="461962" cy="814388"/>
              </a:xfrm>
              <a:custGeom>
                <a:avLst/>
                <a:gdLst>
                  <a:gd name="T0" fmla="*/ 237 w 237"/>
                  <a:gd name="T1" fmla="*/ 159 h 417"/>
                  <a:gd name="T2" fmla="*/ 232 w 237"/>
                  <a:gd name="T3" fmla="*/ 154 h 417"/>
                  <a:gd name="T4" fmla="*/ 227 w 237"/>
                  <a:gd name="T5" fmla="*/ 148 h 417"/>
                  <a:gd name="T6" fmla="*/ 214 w 237"/>
                  <a:gd name="T7" fmla="*/ 138 h 417"/>
                  <a:gd name="T8" fmla="*/ 204 w 237"/>
                  <a:gd name="T9" fmla="*/ 134 h 417"/>
                  <a:gd name="T10" fmla="*/ 198 w 237"/>
                  <a:gd name="T11" fmla="*/ 128 h 417"/>
                  <a:gd name="T12" fmla="*/ 191 w 237"/>
                  <a:gd name="T13" fmla="*/ 128 h 417"/>
                  <a:gd name="T14" fmla="*/ 186 w 237"/>
                  <a:gd name="T15" fmla="*/ 124 h 417"/>
                  <a:gd name="T16" fmla="*/ 179 w 237"/>
                  <a:gd name="T17" fmla="*/ 114 h 417"/>
                  <a:gd name="T18" fmla="*/ 174 w 237"/>
                  <a:gd name="T19" fmla="*/ 104 h 417"/>
                  <a:gd name="T20" fmla="*/ 181 w 237"/>
                  <a:gd name="T21" fmla="*/ 90 h 417"/>
                  <a:gd name="T22" fmla="*/ 183 w 237"/>
                  <a:gd name="T23" fmla="*/ 77 h 417"/>
                  <a:gd name="T24" fmla="*/ 184 w 237"/>
                  <a:gd name="T25" fmla="*/ 70 h 417"/>
                  <a:gd name="T26" fmla="*/ 184 w 237"/>
                  <a:gd name="T27" fmla="*/ 62 h 417"/>
                  <a:gd name="T28" fmla="*/ 198 w 237"/>
                  <a:gd name="T29" fmla="*/ 60 h 417"/>
                  <a:gd name="T30" fmla="*/ 202 w 237"/>
                  <a:gd name="T31" fmla="*/ 47 h 417"/>
                  <a:gd name="T32" fmla="*/ 211 w 237"/>
                  <a:gd name="T33" fmla="*/ 35 h 417"/>
                  <a:gd name="T34" fmla="*/ 208 w 237"/>
                  <a:gd name="T35" fmla="*/ 28 h 417"/>
                  <a:gd name="T36" fmla="*/ 197 w 237"/>
                  <a:gd name="T37" fmla="*/ 27 h 417"/>
                  <a:gd name="T38" fmla="*/ 193 w 237"/>
                  <a:gd name="T39" fmla="*/ 29 h 417"/>
                  <a:gd name="T40" fmla="*/ 187 w 237"/>
                  <a:gd name="T41" fmla="*/ 27 h 417"/>
                  <a:gd name="T42" fmla="*/ 182 w 237"/>
                  <a:gd name="T43" fmla="*/ 27 h 417"/>
                  <a:gd name="T44" fmla="*/ 199 w 237"/>
                  <a:gd name="T45" fmla="*/ 14 h 417"/>
                  <a:gd name="T46" fmla="*/ 208 w 237"/>
                  <a:gd name="T47" fmla="*/ 2 h 417"/>
                  <a:gd name="T48" fmla="*/ 201 w 237"/>
                  <a:gd name="T49" fmla="*/ 3 h 417"/>
                  <a:gd name="T50" fmla="*/ 191 w 237"/>
                  <a:gd name="T51" fmla="*/ 12 h 417"/>
                  <a:gd name="T52" fmla="*/ 179 w 237"/>
                  <a:gd name="T53" fmla="*/ 22 h 417"/>
                  <a:gd name="T54" fmla="*/ 169 w 237"/>
                  <a:gd name="T55" fmla="*/ 29 h 417"/>
                  <a:gd name="T56" fmla="*/ 159 w 237"/>
                  <a:gd name="T57" fmla="*/ 25 h 417"/>
                  <a:gd name="T58" fmla="*/ 149 w 237"/>
                  <a:gd name="T59" fmla="*/ 25 h 417"/>
                  <a:gd name="T60" fmla="*/ 136 w 237"/>
                  <a:gd name="T61" fmla="*/ 23 h 417"/>
                  <a:gd name="T62" fmla="*/ 124 w 237"/>
                  <a:gd name="T63" fmla="*/ 17 h 417"/>
                  <a:gd name="T64" fmla="*/ 108 w 237"/>
                  <a:gd name="T65" fmla="*/ 15 h 417"/>
                  <a:gd name="T66" fmla="*/ 100 w 237"/>
                  <a:gd name="T67" fmla="*/ 8 h 417"/>
                  <a:gd name="T68" fmla="*/ 87 w 237"/>
                  <a:gd name="T69" fmla="*/ 0 h 417"/>
                  <a:gd name="T70" fmla="*/ 73 w 237"/>
                  <a:gd name="T71" fmla="*/ 4 h 417"/>
                  <a:gd name="T72" fmla="*/ 79 w 237"/>
                  <a:gd name="T73" fmla="*/ 10 h 417"/>
                  <a:gd name="T74" fmla="*/ 87 w 237"/>
                  <a:gd name="T75" fmla="*/ 12 h 417"/>
                  <a:gd name="T76" fmla="*/ 93 w 237"/>
                  <a:gd name="T77" fmla="*/ 21 h 417"/>
                  <a:gd name="T78" fmla="*/ 86 w 237"/>
                  <a:gd name="T79" fmla="*/ 28 h 417"/>
                  <a:gd name="T80" fmla="*/ 78 w 237"/>
                  <a:gd name="T81" fmla="*/ 31 h 417"/>
                  <a:gd name="T82" fmla="*/ 65 w 237"/>
                  <a:gd name="T83" fmla="*/ 31 h 417"/>
                  <a:gd name="T84" fmla="*/ 46 w 237"/>
                  <a:gd name="T85" fmla="*/ 29 h 417"/>
                  <a:gd name="T86" fmla="*/ 38 w 237"/>
                  <a:gd name="T87" fmla="*/ 37 h 417"/>
                  <a:gd name="T88" fmla="*/ 31 w 237"/>
                  <a:gd name="T89" fmla="*/ 45 h 417"/>
                  <a:gd name="T90" fmla="*/ 23 w 237"/>
                  <a:gd name="T91" fmla="*/ 52 h 417"/>
                  <a:gd name="T92" fmla="*/ 28 w 237"/>
                  <a:gd name="T93" fmla="*/ 62 h 417"/>
                  <a:gd name="T94" fmla="*/ 24 w 237"/>
                  <a:gd name="T95" fmla="*/ 68 h 417"/>
                  <a:gd name="T96" fmla="*/ 16 w 237"/>
                  <a:gd name="T97" fmla="*/ 78 h 417"/>
                  <a:gd name="T98" fmla="*/ 10 w 237"/>
                  <a:gd name="T99" fmla="*/ 86 h 417"/>
                  <a:gd name="T100" fmla="*/ 6 w 237"/>
                  <a:gd name="T101" fmla="*/ 100 h 417"/>
                  <a:gd name="T102" fmla="*/ 9 w 237"/>
                  <a:gd name="T103" fmla="*/ 113 h 417"/>
                  <a:gd name="T104" fmla="*/ 0 w 237"/>
                  <a:gd name="T105" fmla="*/ 111 h 417"/>
                  <a:gd name="T106" fmla="*/ 237 w 237"/>
                  <a:gd name="T107" fmla="*/ 160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7" h="417">
                    <a:moveTo>
                      <a:pt x="237" y="160"/>
                    </a:moveTo>
                    <a:cubicBezTo>
                      <a:pt x="237" y="160"/>
                      <a:pt x="237" y="160"/>
                      <a:pt x="237" y="160"/>
                    </a:cubicBezTo>
                    <a:cubicBezTo>
                      <a:pt x="237" y="159"/>
                      <a:pt x="237" y="159"/>
                      <a:pt x="237" y="159"/>
                    </a:cubicBezTo>
                    <a:cubicBezTo>
                      <a:pt x="234" y="157"/>
                      <a:pt x="234" y="157"/>
                      <a:pt x="234" y="157"/>
                    </a:cubicBezTo>
                    <a:cubicBezTo>
                      <a:pt x="233" y="156"/>
                      <a:pt x="233" y="156"/>
                      <a:pt x="233" y="156"/>
                    </a:cubicBezTo>
                    <a:cubicBezTo>
                      <a:pt x="232" y="154"/>
                      <a:pt x="232" y="154"/>
                      <a:pt x="232" y="154"/>
                    </a:cubicBezTo>
                    <a:cubicBezTo>
                      <a:pt x="231" y="150"/>
                      <a:pt x="231" y="150"/>
                      <a:pt x="231" y="150"/>
                    </a:cubicBezTo>
                    <a:cubicBezTo>
                      <a:pt x="230" y="149"/>
                      <a:pt x="230" y="149"/>
                      <a:pt x="230" y="149"/>
                    </a:cubicBezTo>
                    <a:cubicBezTo>
                      <a:pt x="227" y="148"/>
                      <a:pt x="227" y="148"/>
                      <a:pt x="227" y="148"/>
                    </a:cubicBezTo>
                    <a:cubicBezTo>
                      <a:pt x="223" y="148"/>
                      <a:pt x="223" y="148"/>
                      <a:pt x="223" y="148"/>
                    </a:cubicBezTo>
                    <a:cubicBezTo>
                      <a:pt x="218" y="142"/>
                      <a:pt x="218" y="142"/>
                      <a:pt x="218" y="142"/>
                    </a:cubicBezTo>
                    <a:cubicBezTo>
                      <a:pt x="214" y="138"/>
                      <a:pt x="214" y="138"/>
                      <a:pt x="214" y="138"/>
                    </a:cubicBezTo>
                    <a:cubicBezTo>
                      <a:pt x="211" y="138"/>
                      <a:pt x="211" y="138"/>
                      <a:pt x="211" y="138"/>
                    </a:cubicBezTo>
                    <a:cubicBezTo>
                      <a:pt x="206" y="137"/>
                      <a:pt x="206" y="137"/>
                      <a:pt x="206" y="137"/>
                    </a:cubicBezTo>
                    <a:cubicBezTo>
                      <a:pt x="204" y="134"/>
                      <a:pt x="204" y="134"/>
                      <a:pt x="204" y="134"/>
                    </a:cubicBezTo>
                    <a:cubicBezTo>
                      <a:pt x="200" y="128"/>
                      <a:pt x="200" y="128"/>
                      <a:pt x="200" y="128"/>
                    </a:cubicBezTo>
                    <a:cubicBezTo>
                      <a:pt x="199" y="128"/>
                      <a:pt x="199" y="128"/>
                      <a:pt x="199" y="128"/>
                    </a:cubicBezTo>
                    <a:cubicBezTo>
                      <a:pt x="198" y="128"/>
                      <a:pt x="198" y="128"/>
                      <a:pt x="198" y="128"/>
                    </a:cubicBezTo>
                    <a:cubicBezTo>
                      <a:pt x="196" y="127"/>
                      <a:pt x="196" y="127"/>
                      <a:pt x="196" y="127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1" y="128"/>
                      <a:pt x="191" y="128"/>
                      <a:pt x="191" y="128"/>
                    </a:cubicBezTo>
                    <a:cubicBezTo>
                      <a:pt x="189" y="128"/>
                      <a:pt x="189" y="128"/>
                      <a:pt x="189" y="128"/>
                    </a:cubicBezTo>
                    <a:cubicBezTo>
                      <a:pt x="188" y="125"/>
                      <a:pt x="188" y="125"/>
                      <a:pt x="188" y="125"/>
                    </a:cubicBezTo>
                    <a:cubicBezTo>
                      <a:pt x="186" y="124"/>
                      <a:pt x="186" y="124"/>
                      <a:pt x="186" y="124"/>
                    </a:cubicBezTo>
                    <a:cubicBezTo>
                      <a:pt x="184" y="121"/>
                      <a:pt x="184" y="121"/>
                      <a:pt x="184" y="121"/>
                    </a:cubicBezTo>
                    <a:cubicBezTo>
                      <a:pt x="182" y="119"/>
                      <a:pt x="182" y="119"/>
                      <a:pt x="182" y="119"/>
                    </a:cubicBezTo>
                    <a:cubicBezTo>
                      <a:pt x="179" y="114"/>
                      <a:pt x="179" y="114"/>
                      <a:pt x="179" y="114"/>
                    </a:cubicBezTo>
                    <a:cubicBezTo>
                      <a:pt x="175" y="111"/>
                      <a:pt x="175" y="111"/>
                      <a:pt x="175" y="111"/>
                    </a:cubicBezTo>
                    <a:cubicBezTo>
                      <a:pt x="172" y="107"/>
                      <a:pt x="172" y="107"/>
                      <a:pt x="172" y="107"/>
                    </a:cubicBezTo>
                    <a:cubicBezTo>
                      <a:pt x="174" y="104"/>
                      <a:pt x="174" y="104"/>
                      <a:pt x="174" y="104"/>
                    </a:cubicBezTo>
                    <a:cubicBezTo>
                      <a:pt x="177" y="101"/>
                      <a:pt x="177" y="101"/>
                      <a:pt x="177" y="101"/>
                    </a:cubicBezTo>
                    <a:cubicBezTo>
                      <a:pt x="178" y="94"/>
                      <a:pt x="178" y="94"/>
                      <a:pt x="178" y="94"/>
                    </a:cubicBezTo>
                    <a:cubicBezTo>
                      <a:pt x="181" y="90"/>
                      <a:pt x="181" y="90"/>
                      <a:pt x="181" y="90"/>
                    </a:cubicBezTo>
                    <a:cubicBezTo>
                      <a:pt x="180" y="84"/>
                      <a:pt x="180" y="84"/>
                      <a:pt x="180" y="84"/>
                    </a:cubicBezTo>
                    <a:cubicBezTo>
                      <a:pt x="181" y="81"/>
                      <a:pt x="181" y="81"/>
                      <a:pt x="181" y="81"/>
                    </a:cubicBezTo>
                    <a:cubicBezTo>
                      <a:pt x="183" y="77"/>
                      <a:pt x="183" y="77"/>
                      <a:pt x="183" y="77"/>
                    </a:cubicBezTo>
                    <a:cubicBezTo>
                      <a:pt x="185" y="74"/>
                      <a:pt x="185" y="74"/>
                      <a:pt x="185" y="74"/>
                    </a:cubicBezTo>
                    <a:cubicBezTo>
                      <a:pt x="186" y="71"/>
                      <a:pt x="186" y="71"/>
                      <a:pt x="186" y="71"/>
                    </a:cubicBezTo>
                    <a:cubicBezTo>
                      <a:pt x="184" y="70"/>
                      <a:pt x="184" y="70"/>
                      <a:pt x="184" y="70"/>
                    </a:cubicBezTo>
                    <a:cubicBezTo>
                      <a:pt x="183" y="69"/>
                      <a:pt x="183" y="69"/>
                      <a:pt x="183" y="69"/>
                    </a:cubicBezTo>
                    <a:cubicBezTo>
                      <a:pt x="183" y="65"/>
                      <a:pt x="183" y="65"/>
                      <a:pt x="183" y="65"/>
                    </a:cubicBezTo>
                    <a:cubicBezTo>
                      <a:pt x="184" y="62"/>
                      <a:pt x="184" y="62"/>
                      <a:pt x="184" y="62"/>
                    </a:cubicBezTo>
                    <a:cubicBezTo>
                      <a:pt x="187" y="61"/>
                      <a:pt x="187" y="61"/>
                      <a:pt x="187" y="61"/>
                    </a:cubicBezTo>
                    <a:cubicBezTo>
                      <a:pt x="194" y="61"/>
                      <a:pt x="194" y="61"/>
                      <a:pt x="194" y="61"/>
                    </a:cubicBezTo>
                    <a:cubicBezTo>
                      <a:pt x="198" y="60"/>
                      <a:pt x="198" y="60"/>
                      <a:pt x="198" y="60"/>
                    </a:cubicBezTo>
                    <a:cubicBezTo>
                      <a:pt x="199" y="56"/>
                      <a:pt x="199" y="56"/>
                      <a:pt x="199" y="56"/>
                    </a:cubicBezTo>
                    <a:cubicBezTo>
                      <a:pt x="200" y="51"/>
                      <a:pt x="200" y="51"/>
                      <a:pt x="200" y="51"/>
                    </a:cubicBezTo>
                    <a:cubicBezTo>
                      <a:pt x="202" y="47"/>
                      <a:pt x="202" y="47"/>
                      <a:pt x="202" y="47"/>
                    </a:cubicBezTo>
                    <a:cubicBezTo>
                      <a:pt x="204" y="44"/>
                      <a:pt x="204" y="44"/>
                      <a:pt x="204" y="44"/>
                    </a:cubicBezTo>
                    <a:cubicBezTo>
                      <a:pt x="207" y="39"/>
                      <a:pt x="207" y="39"/>
                      <a:pt x="207" y="39"/>
                    </a:cubicBezTo>
                    <a:cubicBezTo>
                      <a:pt x="211" y="35"/>
                      <a:pt x="211" y="35"/>
                      <a:pt x="211" y="35"/>
                    </a:cubicBezTo>
                    <a:cubicBezTo>
                      <a:pt x="211" y="30"/>
                      <a:pt x="211" y="30"/>
                      <a:pt x="211" y="30"/>
                    </a:cubicBezTo>
                    <a:cubicBezTo>
                      <a:pt x="210" y="28"/>
                      <a:pt x="210" y="28"/>
                      <a:pt x="210" y="28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05" y="28"/>
                      <a:pt x="205" y="28"/>
                      <a:pt x="205" y="28"/>
                    </a:cubicBezTo>
                    <a:cubicBezTo>
                      <a:pt x="201" y="29"/>
                      <a:pt x="201" y="29"/>
                      <a:pt x="201" y="29"/>
                    </a:cubicBezTo>
                    <a:cubicBezTo>
                      <a:pt x="197" y="27"/>
                      <a:pt x="197" y="27"/>
                      <a:pt x="197" y="27"/>
                    </a:cubicBezTo>
                    <a:cubicBezTo>
                      <a:pt x="197" y="27"/>
                      <a:pt x="196" y="27"/>
                      <a:pt x="195" y="27"/>
                    </a:cubicBezTo>
                    <a:cubicBezTo>
                      <a:pt x="195" y="27"/>
                      <a:pt x="194" y="28"/>
                      <a:pt x="194" y="28"/>
                    </a:cubicBezTo>
                    <a:cubicBezTo>
                      <a:pt x="193" y="29"/>
                      <a:pt x="193" y="29"/>
                      <a:pt x="193" y="29"/>
                    </a:cubicBezTo>
                    <a:cubicBezTo>
                      <a:pt x="193" y="29"/>
                      <a:pt x="192" y="28"/>
                      <a:pt x="191" y="28"/>
                    </a:cubicBezTo>
                    <a:cubicBezTo>
                      <a:pt x="190" y="27"/>
                      <a:pt x="189" y="28"/>
                      <a:pt x="189" y="28"/>
                    </a:cubicBezTo>
                    <a:cubicBezTo>
                      <a:pt x="187" y="27"/>
                      <a:pt x="187" y="27"/>
                      <a:pt x="187" y="27"/>
                    </a:cubicBezTo>
                    <a:cubicBezTo>
                      <a:pt x="186" y="27"/>
                      <a:pt x="186" y="27"/>
                      <a:pt x="186" y="27"/>
                    </a:cubicBezTo>
                    <a:cubicBezTo>
                      <a:pt x="182" y="28"/>
                      <a:pt x="182" y="28"/>
                      <a:pt x="182" y="28"/>
                    </a:cubicBezTo>
                    <a:cubicBezTo>
                      <a:pt x="182" y="27"/>
                      <a:pt x="182" y="27"/>
                      <a:pt x="182" y="27"/>
                    </a:cubicBezTo>
                    <a:cubicBezTo>
                      <a:pt x="186" y="24"/>
                      <a:pt x="186" y="24"/>
                      <a:pt x="186" y="24"/>
                    </a:cubicBezTo>
                    <a:cubicBezTo>
                      <a:pt x="190" y="21"/>
                      <a:pt x="190" y="21"/>
                      <a:pt x="190" y="21"/>
                    </a:cubicBezTo>
                    <a:cubicBezTo>
                      <a:pt x="199" y="14"/>
                      <a:pt x="199" y="14"/>
                      <a:pt x="199" y="14"/>
                    </a:cubicBezTo>
                    <a:cubicBezTo>
                      <a:pt x="203" y="9"/>
                      <a:pt x="203" y="9"/>
                      <a:pt x="203" y="9"/>
                    </a:cubicBezTo>
                    <a:cubicBezTo>
                      <a:pt x="206" y="5"/>
                      <a:pt x="206" y="5"/>
                      <a:pt x="206" y="5"/>
                    </a:cubicBezTo>
                    <a:cubicBezTo>
                      <a:pt x="208" y="2"/>
                      <a:pt x="208" y="2"/>
                      <a:pt x="208" y="2"/>
                    </a:cubicBezTo>
                    <a:cubicBezTo>
                      <a:pt x="207" y="0"/>
                      <a:pt x="207" y="0"/>
                      <a:pt x="207" y="0"/>
                    </a:cubicBezTo>
                    <a:cubicBezTo>
                      <a:pt x="204" y="1"/>
                      <a:pt x="204" y="1"/>
                      <a:pt x="204" y="1"/>
                    </a:cubicBezTo>
                    <a:cubicBezTo>
                      <a:pt x="201" y="3"/>
                      <a:pt x="201" y="3"/>
                      <a:pt x="201" y="3"/>
                    </a:cubicBezTo>
                    <a:cubicBezTo>
                      <a:pt x="199" y="7"/>
                      <a:pt x="199" y="7"/>
                      <a:pt x="199" y="7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91" y="12"/>
                      <a:pt x="191" y="12"/>
                      <a:pt x="191" y="12"/>
                    </a:cubicBezTo>
                    <a:cubicBezTo>
                      <a:pt x="189" y="14"/>
                      <a:pt x="189" y="14"/>
                      <a:pt x="189" y="14"/>
                    </a:cubicBezTo>
                    <a:cubicBezTo>
                      <a:pt x="184" y="18"/>
                      <a:pt x="184" y="18"/>
                      <a:pt x="184" y="18"/>
                    </a:cubicBezTo>
                    <a:cubicBezTo>
                      <a:pt x="179" y="22"/>
                      <a:pt x="179" y="22"/>
                      <a:pt x="179" y="22"/>
                    </a:cubicBezTo>
                    <a:cubicBezTo>
                      <a:pt x="175" y="25"/>
                      <a:pt x="175" y="25"/>
                      <a:pt x="175" y="25"/>
                    </a:cubicBezTo>
                    <a:cubicBezTo>
                      <a:pt x="172" y="27"/>
                      <a:pt x="172" y="27"/>
                      <a:pt x="172" y="27"/>
                    </a:cubicBezTo>
                    <a:cubicBezTo>
                      <a:pt x="169" y="29"/>
                      <a:pt x="169" y="29"/>
                      <a:pt x="169" y="29"/>
                    </a:cubicBezTo>
                    <a:cubicBezTo>
                      <a:pt x="164" y="29"/>
                      <a:pt x="164" y="29"/>
                      <a:pt x="164" y="29"/>
                    </a:cubicBezTo>
                    <a:cubicBezTo>
                      <a:pt x="161" y="29"/>
                      <a:pt x="161" y="29"/>
                      <a:pt x="161" y="29"/>
                    </a:cubicBezTo>
                    <a:cubicBezTo>
                      <a:pt x="159" y="25"/>
                      <a:pt x="159" y="25"/>
                      <a:pt x="159" y="25"/>
                    </a:cubicBezTo>
                    <a:cubicBezTo>
                      <a:pt x="154" y="23"/>
                      <a:pt x="154" y="23"/>
                      <a:pt x="154" y="23"/>
                    </a:cubicBezTo>
                    <a:cubicBezTo>
                      <a:pt x="152" y="24"/>
                      <a:pt x="152" y="24"/>
                      <a:pt x="152" y="24"/>
                    </a:cubicBezTo>
                    <a:cubicBezTo>
                      <a:pt x="149" y="25"/>
                      <a:pt x="149" y="25"/>
                      <a:pt x="149" y="25"/>
                    </a:cubicBezTo>
                    <a:cubicBezTo>
                      <a:pt x="146" y="25"/>
                      <a:pt x="146" y="25"/>
                      <a:pt x="146" y="25"/>
                    </a:cubicBezTo>
                    <a:cubicBezTo>
                      <a:pt x="143" y="25"/>
                      <a:pt x="143" y="25"/>
                      <a:pt x="143" y="25"/>
                    </a:cubicBezTo>
                    <a:cubicBezTo>
                      <a:pt x="136" y="23"/>
                      <a:pt x="136" y="23"/>
                      <a:pt x="136" y="23"/>
                    </a:cubicBezTo>
                    <a:cubicBezTo>
                      <a:pt x="130" y="19"/>
                      <a:pt x="130" y="19"/>
                      <a:pt x="130" y="19"/>
                    </a:cubicBezTo>
                    <a:cubicBezTo>
                      <a:pt x="126" y="16"/>
                      <a:pt x="126" y="16"/>
                      <a:pt x="126" y="16"/>
                    </a:cubicBezTo>
                    <a:cubicBezTo>
                      <a:pt x="124" y="17"/>
                      <a:pt x="124" y="17"/>
                      <a:pt x="124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8" y="15"/>
                      <a:pt x="108" y="15"/>
                      <a:pt x="108" y="15"/>
                    </a:cubicBezTo>
                    <a:cubicBezTo>
                      <a:pt x="105" y="12"/>
                      <a:pt x="105" y="12"/>
                      <a:pt x="105" y="12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93" y="8"/>
                      <a:pt x="93" y="8"/>
                      <a:pt x="93" y="8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77" y="2"/>
                      <a:pt x="77" y="2"/>
                      <a:pt x="77" y="2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7" y="12"/>
                      <a:pt x="87" y="12"/>
                      <a:pt x="87" y="12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92" y="18"/>
                      <a:pt x="92" y="18"/>
                      <a:pt x="92" y="18"/>
                    </a:cubicBezTo>
                    <a:cubicBezTo>
                      <a:pt x="93" y="21"/>
                      <a:pt x="93" y="21"/>
                      <a:pt x="93" y="21"/>
                    </a:cubicBezTo>
                    <a:cubicBezTo>
                      <a:pt x="92" y="25"/>
                      <a:pt x="92" y="25"/>
                      <a:pt x="92" y="25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86" y="28"/>
                      <a:pt x="86" y="28"/>
                      <a:pt x="86" y="28"/>
                    </a:cubicBezTo>
                    <a:cubicBezTo>
                      <a:pt x="85" y="29"/>
                      <a:pt x="85" y="29"/>
                      <a:pt x="85" y="29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3" y="28"/>
                      <a:pt x="53" y="28"/>
                      <a:pt x="53" y="28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29" y="48"/>
                      <a:pt x="29" y="48"/>
                      <a:pt x="29" y="48"/>
                    </a:cubicBezTo>
                    <a:cubicBezTo>
                      <a:pt x="26" y="50"/>
                      <a:pt x="26" y="50"/>
                      <a:pt x="26" y="50"/>
                    </a:cubicBezTo>
                    <a:cubicBezTo>
                      <a:pt x="23" y="52"/>
                      <a:pt x="23" y="52"/>
                      <a:pt x="23" y="52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6" y="58"/>
                      <a:pt x="26" y="58"/>
                      <a:pt x="26" y="58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0" y="68"/>
                      <a:pt x="20" y="68"/>
                      <a:pt x="20" y="68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8"/>
                      <a:pt x="16" y="78"/>
                      <a:pt x="16" y="78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5" y="91"/>
                      <a:pt x="5" y="91"/>
                      <a:pt x="5" y="91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11"/>
                      <a:pt x="10" y="111"/>
                      <a:pt x="10" y="111"/>
                    </a:cubicBezTo>
                    <a:cubicBezTo>
                      <a:pt x="9" y="113"/>
                      <a:pt x="9" y="113"/>
                      <a:pt x="9" y="113"/>
                    </a:cubicBezTo>
                    <a:cubicBezTo>
                      <a:pt x="6" y="113"/>
                      <a:pt x="6" y="113"/>
                      <a:pt x="6" y="113"/>
                    </a:cubicBezTo>
                    <a:cubicBezTo>
                      <a:pt x="3" y="113"/>
                      <a:pt x="3" y="113"/>
                      <a:pt x="3" y="113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9" y="416"/>
                      <a:pt x="9" y="416"/>
                      <a:pt x="9" y="416"/>
                    </a:cubicBezTo>
                    <a:cubicBezTo>
                      <a:pt x="229" y="417"/>
                      <a:pt x="229" y="417"/>
                      <a:pt x="229" y="417"/>
                    </a:cubicBezTo>
                    <a:cubicBezTo>
                      <a:pt x="237" y="160"/>
                      <a:pt x="237" y="160"/>
                      <a:pt x="237" y="160"/>
                    </a:cubicBezTo>
                    <a:close/>
                  </a:path>
                </a:pathLst>
              </a:custGeom>
              <a:solidFill>
                <a:schemeClr val="tx1"/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7">
                <a:extLst>
                  <a:ext uri="{FF2B5EF4-FFF2-40B4-BE49-F238E27FC236}">
                    <a16:creationId xmlns:a16="http://schemas.microsoft.com/office/drawing/2014/main" id="{B7BDA028-9B71-5844-9D85-23C573EBC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913" y="1930400"/>
                <a:ext cx="714375" cy="1047750"/>
              </a:xfrm>
              <a:custGeom>
                <a:avLst/>
                <a:gdLst>
                  <a:gd name="T0" fmla="*/ 365 w 366"/>
                  <a:gd name="T1" fmla="*/ 488 h 537"/>
                  <a:gd name="T2" fmla="*/ 365 w 366"/>
                  <a:gd name="T3" fmla="*/ 462 h 537"/>
                  <a:gd name="T4" fmla="*/ 363 w 366"/>
                  <a:gd name="T5" fmla="*/ 444 h 537"/>
                  <a:gd name="T6" fmla="*/ 350 w 366"/>
                  <a:gd name="T7" fmla="*/ 420 h 537"/>
                  <a:gd name="T8" fmla="*/ 334 w 366"/>
                  <a:gd name="T9" fmla="*/ 400 h 537"/>
                  <a:gd name="T10" fmla="*/ 330 w 366"/>
                  <a:gd name="T11" fmla="*/ 391 h 537"/>
                  <a:gd name="T12" fmla="*/ 324 w 366"/>
                  <a:gd name="T13" fmla="*/ 383 h 537"/>
                  <a:gd name="T14" fmla="*/ 322 w 366"/>
                  <a:gd name="T15" fmla="*/ 363 h 537"/>
                  <a:gd name="T16" fmla="*/ 316 w 366"/>
                  <a:gd name="T17" fmla="*/ 353 h 537"/>
                  <a:gd name="T18" fmla="*/ 304 w 366"/>
                  <a:gd name="T19" fmla="*/ 347 h 537"/>
                  <a:gd name="T20" fmla="*/ 299 w 366"/>
                  <a:gd name="T21" fmla="*/ 347 h 537"/>
                  <a:gd name="T22" fmla="*/ 293 w 366"/>
                  <a:gd name="T23" fmla="*/ 345 h 537"/>
                  <a:gd name="T24" fmla="*/ 291 w 366"/>
                  <a:gd name="T25" fmla="*/ 322 h 537"/>
                  <a:gd name="T26" fmla="*/ 279 w 366"/>
                  <a:gd name="T27" fmla="*/ 301 h 537"/>
                  <a:gd name="T28" fmla="*/ 274 w 366"/>
                  <a:gd name="T29" fmla="*/ 282 h 537"/>
                  <a:gd name="T30" fmla="*/ 255 w 366"/>
                  <a:gd name="T31" fmla="*/ 271 h 537"/>
                  <a:gd name="T32" fmla="*/ 250 w 366"/>
                  <a:gd name="T33" fmla="*/ 263 h 537"/>
                  <a:gd name="T34" fmla="*/ 239 w 366"/>
                  <a:gd name="T35" fmla="*/ 257 h 537"/>
                  <a:gd name="T36" fmla="*/ 227 w 366"/>
                  <a:gd name="T37" fmla="*/ 249 h 537"/>
                  <a:gd name="T38" fmla="*/ 221 w 366"/>
                  <a:gd name="T39" fmla="*/ 227 h 537"/>
                  <a:gd name="T40" fmla="*/ 217 w 366"/>
                  <a:gd name="T41" fmla="*/ 211 h 537"/>
                  <a:gd name="T42" fmla="*/ 215 w 366"/>
                  <a:gd name="T43" fmla="*/ 187 h 537"/>
                  <a:gd name="T44" fmla="*/ 205 w 366"/>
                  <a:gd name="T45" fmla="*/ 172 h 537"/>
                  <a:gd name="T46" fmla="*/ 203 w 366"/>
                  <a:gd name="T47" fmla="*/ 153 h 537"/>
                  <a:gd name="T48" fmla="*/ 202 w 366"/>
                  <a:gd name="T49" fmla="*/ 132 h 537"/>
                  <a:gd name="T50" fmla="*/ 199 w 366"/>
                  <a:gd name="T51" fmla="*/ 122 h 537"/>
                  <a:gd name="T52" fmla="*/ 186 w 366"/>
                  <a:gd name="T53" fmla="*/ 107 h 537"/>
                  <a:gd name="T54" fmla="*/ 171 w 366"/>
                  <a:gd name="T55" fmla="*/ 111 h 537"/>
                  <a:gd name="T56" fmla="*/ 163 w 366"/>
                  <a:gd name="T57" fmla="*/ 104 h 537"/>
                  <a:gd name="T58" fmla="*/ 161 w 366"/>
                  <a:gd name="T59" fmla="*/ 83 h 537"/>
                  <a:gd name="T60" fmla="*/ 158 w 366"/>
                  <a:gd name="T61" fmla="*/ 62 h 537"/>
                  <a:gd name="T62" fmla="*/ 155 w 366"/>
                  <a:gd name="T63" fmla="*/ 52 h 537"/>
                  <a:gd name="T64" fmla="*/ 151 w 366"/>
                  <a:gd name="T65" fmla="*/ 45 h 537"/>
                  <a:gd name="T66" fmla="*/ 150 w 366"/>
                  <a:gd name="T67" fmla="*/ 38 h 537"/>
                  <a:gd name="T68" fmla="*/ 145 w 366"/>
                  <a:gd name="T69" fmla="*/ 22 h 537"/>
                  <a:gd name="T70" fmla="*/ 139 w 366"/>
                  <a:gd name="T71" fmla="*/ 2 h 537"/>
                  <a:gd name="T72" fmla="*/ 129 w 366"/>
                  <a:gd name="T73" fmla="*/ 8 h 537"/>
                  <a:gd name="T74" fmla="*/ 122 w 366"/>
                  <a:gd name="T75" fmla="*/ 29 h 537"/>
                  <a:gd name="T76" fmla="*/ 112 w 366"/>
                  <a:gd name="T77" fmla="*/ 49 h 537"/>
                  <a:gd name="T78" fmla="*/ 112 w 366"/>
                  <a:gd name="T79" fmla="*/ 64 h 537"/>
                  <a:gd name="T80" fmla="*/ 106 w 366"/>
                  <a:gd name="T81" fmla="*/ 89 h 537"/>
                  <a:gd name="T82" fmla="*/ 102 w 366"/>
                  <a:gd name="T83" fmla="*/ 105 h 537"/>
                  <a:gd name="T84" fmla="*/ 106 w 366"/>
                  <a:gd name="T85" fmla="*/ 112 h 537"/>
                  <a:gd name="T86" fmla="*/ 101 w 366"/>
                  <a:gd name="T87" fmla="*/ 138 h 537"/>
                  <a:gd name="T88" fmla="*/ 94 w 366"/>
                  <a:gd name="T89" fmla="*/ 155 h 537"/>
                  <a:gd name="T90" fmla="*/ 86 w 366"/>
                  <a:gd name="T91" fmla="*/ 178 h 537"/>
                  <a:gd name="T92" fmla="*/ 69 w 366"/>
                  <a:gd name="T93" fmla="*/ 194 h 537"/>
                  <a:gd name="T94" fmla="*/ 53 w 366"/>
                  <a:gd name="T95" fmla="*/ 193 h 537"/>
                  <a:gd name="T96" fmla="*/ 39 w 366"/>
                  <a:gd name="T97" fmla="*/ 184 h 537"/>
                  <a:gd name="T98" fmla="*/ 26 w 366"/>
                  <a:gd name="T99" fmla="*/ 169 h 537"/>
                  <a:gd name="T100" fmla="*/ 9 w 366"/>
                  <a:gd name="T101" fmla="*/ 164 h 537"/>
                  <a:gd name="T102" fmla="*/ 250 w 366"/>
                  <a:gd name="T103" fmla="*/ 526 h 537"/>
                  <a:gd name="T104" fmla="*/ 270 w 366"/>
                  <a:gd name="T105" fmla="*/ 524 h 537"/>
                  <a:gd name="T106" fmla="*/ 290 w 366"/>
                  <a:gd name="T107" fmla="*/ 525 h 537"/>
                  <a:gd name="T108" fmla="*/ 306 w 366"/>
                  <a:gd name="T109" fmla="*/ 535 h 537"/>
                  <a:gd name="T110" fmla="*/ 319 w 366"/>
                  <a:gd name="T111" fmla="*/ 532 h 537"/>
                  <a:gd name="T112" fmla="*/ 338 w 366"/>
                  <a:gd name="T113" fmla="*/ 519 h 537"/>
                  <a:gd name="T114" fmla="*/ 363 w 366"/>
                  <a:gd name="T115" fmla="*/ 508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66" h="537">
                    <a:moveTo>
                      <a:pt x="363" y="505"/>
                    </a:moveTo>
                    <a:cubicBezTo>
                      <a:pt x="364" y="499"/>
                      <a:pt x="364" y="499"/>
                      <a:pt x="364" y="499"/>
                    </a:cubicBezTo>
                    <a:cubicBezTo>
                      <a:pt x="363" y="494"/>
                      <a:pt x="363" y="494"/>
                      <a:pt x="363" y="494"/>
                    </a:cubicBezTo>
                    <a:cubicBezTo>
                      <a:pt x="364" y="491"/>
                      <a:pt x="364" y="491"/>
                      <a:pt x="364" y="491"/>
                    </a:cubicBezTo>
                    <a:cubicBezTo>
                      <a:pt x="365" y="488"/>
                      <a:pt x="365" y="488"/>
                      <a:pt x="365" y="488"/>
                    </a:cubicBezTo>
                    <a:cubicBezTo>
                      <a:pt x="365" y="486"/>
                      <a:pt x="365" y="486"/>
                      <a:pt x="365" y="486"/>
                    </a:cubicBezTo>
                    <a:cubicBezTo>
                      <a:pt x="364" y="482"/>
                      <a:pt x="364" y="482"/>
                      <a:pt x="364" y="482"/>
                    </a:cubicBezTo>
                    <a:cubicBezTo>
                      <a:pt x="363" y="470"/>
                      <a:pt x="363" y="470"/>
                      <a:pt x="363" y="470"/>
                    </a:cubicBezTo>
                    <a:cubicBezTo>
                      <a:pt x="364" y="467"/>
                      <a:pt x="364" y="467"/>
                      <a:pt x="364" y="467"/>
                    </a:cubicBezTo>
                    <a:cubicBezTo>
                      <a:pt x="365" y="462"/>
                      <a:pt x="365" y="462"/>
                      <a:pt x="365" y="462"/>
                    </a:cubicBezTo>
                    <a:cubicBezTo>
                      <a:pt x="366" y="459"/>
                      <a:pt x="366" y="459"/>
                      <a:pt x="366" y="459"/>
                    </a:cubicBezTo>
                    <a:cubicBezTo>
                      <a:pt x="365" y="457"/>
                      <a:pt x="365" y="457"/>
                      <a:pt x="365" y="457"/>
                    </a:cubicBezTo>
                    <a:cubicBezTo>
                      <a:pt x="364" y="455"/>
                      <a:pt x="364" y="455"/>
                      <a:pt x="364" y="455"/>
                    </a:cubicBezTo>
                    <a:cubicBezTo>
                      <a:pt x="363" y="451"/>
                      <a:pt x="363" y="451"/>
                      <a:pt x="363" y="451"/>
                    </a:cubicBezTo>
                    <a:cubicBezTo>
                      <a:pt x="363" y="444"/>
                      <a:pt x="363" y="444"/>
                      <a:pt x="363" y="444"/>
                    </a:cubicBezTo>
                    <a:cubicBezTo>
                      <a:pt x="359" y="438"/>
                      <a:pt x="359" y="438"/>
                      <a:pt x="359" y="438"/>
                    </a:cubicBezTo>
                    <a:cubicBezTo>
                      <a:pt x="357" y="433"/>
                      <a:pt x="357" y="433"/>
                      <a:pt x="357" y="433"/>
                    </a:cubicBezTo>
                    <a:cubicBezTo>
                      <a:pt x="356" y="429"/>
                      <a:pt x="356" y="429"/>
                      <a:pt x="356" y="429"/>
                    </a:cubicBezTo>
                    <a:cubicBezTo>
                      <a:pt x="352" y="424"/>
                      <a:pt x="352" y="424"/>
                      <a:pt x="352" y="424"/>
                    </a:cubicBezTo>
                    <a:cubicBezTo>
                      <a:pt x="350" y="420"/>
                      <a:pt x="350" y="420"/>
                      <a:pt x="350" y="420"/>
                    </a:cubicBezTo>
                    <a:cubicBezTo>
                      <a:pt x="345" y="415"/>
                      <a:pt x="345" y="415"/>
                      <a:pt x="345" y="415"/>
                    </a:cubicBezTo>
                    <a:cubicBezTo>
                      <a:pt x="343" y="411"/>
                      <a:pt x="343" y="411"/>
                      <a:pt x="343" y="411"/>
                    </a:cubicBezTo>
                    <a:cubicBezTo>
                      <a:pt x="339" y="406"/>
                      <a:pt x="339" y="406"/>
                      <a:pt x="339" y="406"/>
                    </a:cubicBezTo>
                    <a:cubicBezTo>
                      <a:pt x="336" y="401"/>
                      <a:pt x="336" y="401"/>
                      <a:pt x="336" y="401"/>
                    </a:cubicBezTo>
                    <a:cubicBezTo>
                      <a:pt x="334" y="400"/>
                      <a:pt x="334" y="400"/>
                      <a:pt x="334" y="400"/>
                    </a:cubicBezTo>
                    <a:cubicBezTo>
                      <a:pt x="331" y="398"/>
                      <a:pt x="331" y="398"/>
                      <a:pt x="331" y="398"/>
                    </a:cubicBezTo>
                    <a:cubicBezTo>
                      <a:pt x="330" y="397"/>
                      <a:pt x="330" y="397"/>
                      <a:pt x="330" y="397"/>
                    </a:cubicBezTo>
                    <a:cubicBezTo>
                      <a:pt x="330" y="396"/>
                      <a:pt x="330" y="396"/>
                      <a:pt x="330" y="396"/>
                    </a:cubicBezTo>
                    <a:cubicBezTo>
                      <a:pt x="330" y="393"/>
                      <a:pt x="330" y="393"/>
                      <a:pt x="330" y="393"/>
                    </a:cubicBezTo>
                    <a:cubicBezTo>
                      <a:pt x="330" y="391"/>
                      <a:pt x="330" y="391"/>
                      <a:pt x="330" y="391"/>
                    </a:cubicBezTo>
                    <a:cubicBezTo>
                      <a:pt x="329" y="389"/>
                      <a:pt x="329" y="389"/>
                      <a:pt x="329" y="389"/>
                    </a:cubicBezTo>
                    <a:cubicBezTo>
                      <a:pt x="328" y="387"/>
                      <a:pt x="328" y="387"/>
                      <a:pt x="328" y="387"/>
                    </a:cubicBezTo>
                    <a:cubicBezTo>
                      <a:pt x="327" y="386"/>
                      <a:pt x="327" y="386"/>
                      <a:pt x="327" y="386"/>
                    </a:cubicBezTo>
                    <a:cubicBezTo>
                      <a:pt x="325" y="383"/>
                      <a:pt x="325" y="383"/>
                      <a:pt x="325" y="383"/>
                    </a:cubicBezTo>
                    <a:cubicBezTo>
                      <a:pt x="324" y="383"/>
                      <a:pt x="324" y="383"/>
                      <a:pt x="324" y="383"/>
                    </a:cubicBezTo>
                    <a:cubicBezTo>
                      <a:pt x="324" y="383"/>
                      <a:pt x="319" y="383"/>
                      <a:pt x="319" y="383"/>
                    </a:cubicBezTo>
                    <a:cubicBezTo>
                      <a:pt x="319" y="382"/>
                      <a:pt x="319" y="378"/>
                      <a:pt x="319" y="378"/>
                    </a:cubicBezTo>
                    <a:cubicBezTo>
                      <a:pt x="321" y="373"/>
                      <a:pt x="321" y="373"/>
                      <a:pt x="321" y="373"/>
                    </a:cubicBezTo>
                    <a:cubicBezTo>
                      <a:pt x="322" y="367"/>
                      <a:pt x="322" y="367"/>
                      <a:pt x="322" y="367"/>
                    </a:cubicBezTo>
                    <a:cubicBezTo>
                      <a:pt x="322" y="363"/>
                      <a:pt x="322" y="363"/>
                      <a:pt x="322" y="363"/>
                    </a:cubicBezTo>
                    <a:cubicBezTo>
                      <a:pt x="321" y="360"/>
                      <a:pt x="321" y="360"/>
                      <a:pt x="321" y="360"/>
                    </a:cubicBezTo>
                    <a:cubicBezTo>
                      <a:pt x="320" y="355"/>
                      <a:pt x="320" y="355"/>
                      <a:pt x="320" y="355"/>
                    </a:cubicBezTo>
                    <a:cubicBezTo>
                      <a:pt x="317" y="350"/>
                      <a:pt x="317" y="350"/>
                      <a:pt x="317" y="350"/>
                    </a:cubicBezTo>
                    <a:cubicBezTo>
                      <a:pt x="316" y="350"/>
                      <a:pt x="316" y="350"/>
                      <a:pt x="316" y="350"/>
                    </a:cubicBezTo>
                    <a:cubicBezTo>
                      <a:pt x="316" y="353"/>
                      <a:pt x="316" y="353"/>
                      <a:pt x="316" y="353"/>
                    </a:cubicBezTo>
                    <a:cubicBezTo>
                      <a:pt x="315" y="354"/>
                      <a:pt x="315" y="354"/>
                      <a:pt x="315" y="354"/>
                    </a:cubicBezTo>
                    <a:cubicBezTo>
                      <a:pt x="314" y="355"/>
                      <a:pt x="314" y="355"/>
                      <a:pt x="314" y="355"/>
                    </a:cubicBezTo>
                    <a:cubicBezTo>
                      <a:pt x="310" y="353"/>
                      <a:pt x="310" y="353"/>
                      <a:pt x="310" y="353"/>
                    </a:cubicBezTo>
                    <a:cubicBezTo>
                      <a:pt x="305" y="350"/>
                      <a:pt x="305" y="350"/>
                      <a:pt x="305" y="350"/>
                    </a:cubicBezTo>
                    <a:cubicBezTo>
                      <a:pt x="304" y="347"/>
                      <a:pt x="304" y="347"/>
                      <a:pt x="304" y="347"/>
                    </a:cubicBezTo>
                    <a:cubicBezTo>
                      <a:pt x="302" y="345"/>
                      <a:pt x="302" y="345"/>
                      <a:pt x="302" y="345"/>
                    </a:cubicBezTo>
                    <a:cubicBezTo>
                      <a:pt x="302" y="345"/>
                      <a:pt x="302" y="345"/>
                      <a:pt x="302" y="345"/>
                    </a:cubicBezTo>
                    <a:cubicBezTo>
                      <a:pt x="301" y="344"/>
                      <a:pt x="301" y="344"/>
                      <a:pt x="301" y="344"/>
                    </a:cubicBezTo>
                    <a:cubicBezTo>
                      <a:pt x="300" y="345"/>
                      <a:pt x="300" y="345"/>
                      <a:pt x="300" y="345"/>
                    </a:cubicBezTo>
                    <a:cubicBezTo>
                      <a:pt x="299" y="347"/>
                      <a:pt x="299" y="347"/>
                      <a:pt x="299" y="347"/>
                    </a:cubicBezTo>
                    <a:cubicBezTo>
                      <a:pt x="301" y="350"/>
                      <a:pt x="301" y="350"/>
                      <a:pt x="301" y="350"/>
                    </a:cubicBezTo>
                    <a:cubicBezTo>
                      <a:pt x="300" y="353"/>
                      <a:pt x="300" y="353"/>
                      <a:pt x="300" y="353"/>
                    </a:cubicBezTo>
                    <a:cubicBezTo>
                      <a:pt x="297" y="351"/>
                      <a:pt x="297" y="351"/>
                      <a:pt x="297" y="351"/>
                    </a:cubicBezTo>
                    <a:cubicBezTo>
                      <a:pt x="295" y="349"/>
                      <a:pt x="295" y="349"/>
                      <a:pt x="295" y="349"/>
                    </a:cubicBezTo>
                    <a:cubicBezTo>
                      <a:pt x="295" y="349"/>
                      <a:pt x="293" y="345"/>
                      <a:pt x="293" y="345"/>
                    </a:cubicBezTo>
                    <a:cubicBezTo>
                      <a:pt x="293" y="345"/>
                      <a:pt x="292" y="344"/>
                      <a:pt x="292" y="344"/>
                    </a:cubicBezTo>
                    <a:cubicBezTo>
                      <a:pt x="292" y="339"/>
                      <a:pt x="292" y="339"/>
                      <a:pt x="292" y="339"/>
                    </a:cubicBezTo>
                    <a:cubicBezTo>
                      <a:pt x="292" y="329"/>
                      <a:pt x="292" y="329"/>
                      <a:pt x="292" y="329"/>
                    </a:cubicBezTo>
                    <a:cubicBezTo>
                      <a:pt x="292" y="326"/>
                      <a:pt x="292" y="326"/>
                      <a:pt x="292" y="326"/>
                    </a:cubicBezTo>
                    <a:cubicBezTo>
                      <a:pt x="291" y="322"/>
                      <a:pt x="291" y="322"/>
                      <a:pt x="291" y="322"/>
                    </a:cubicBezTo>
                    <a:cubicBezTo>
                      <a:pt x="289" y="318"/>
                      <a:pt x="289" y="318"/>
                      <a:pt x="289" y="318"/>
                    </a:cubicBezTo>
                    <a:cubicBezTo>
                      <a:pt x="286" y="312"/>
                      <a:pt x="286" y="312"/>
                      <a:pt x="286" y="312"/>
                    </a:cubicBezTo>
                    <a:cubicBezTo>
                      <a:pt x="283" y="307"/>
                      <a:pt x="283" y="307"/>
                      <a:pt x="283" y="307"/>
                    </a:cubicBezTo>
                    <a:cubicBezTo>
                      <a:pt x="280" y="302"/>
                      <a:pt x="280" y="302"/>
                      <a:pt x="280" y="302"/>
                    </a:cubicBezTo>
                    <a:cubicBezTo>
                      <a:pt x="279" y="301"/>
                      <a:pt x="279" y="301"/>
                      <a:pt x="279" y="301"/>
                    </a:cubicBezTo>
                    <a:cubicBezTo>
                      <a:pt x="278" y="294"/>
                      <a:pt x="278" y="294"/>
                      <a:pt x="278" y="294"/>
                    </a:cubicBezTo>
                    <a:cubicBezTo>
                      <a:pt x="277" y="290"/>
                      <a:pt x="277" y="290"/>
                      <a:pt x="277" y="290"/>
                    </a:cubicBezTo>
                    <a:cubicBezTo>
                      <a:pt x="277" y="287"/>
                      <a:pt x="277" y="287"/>
                      <a:pt x="277" y="287"/>
                    </a:cubicBezTo>
                    <a:cubicBezTo>
                      <a:pt x="275" y="284"/>
                      <a:pt x="275" y="284"/>
                      <a:pt x="275" y="284"/>
                    </a:cubicBezTo>
                    <a:cubicBezTo>
                      <a:pt x="274" y="282"/>
                      <a:pt x="274" y="282"/>
                      <a:pt x="274" y="282"/>
                    </a:cubicBezTo>
                    <a:cubicBezTo>
                      <a:pt x="272" y="282"/>
                      <a:pt x="272" y="282"/>
                      <a:pt x="272" y="282"/>
                    </a:cubicBezTo>
                    <a:cubicBezTo>
                      <a:pt x="269" y="280"/>
                      <a:pt x="269" y="280"/>
                      <a:pt x="269" y="280"/>
                    </a:cubicBezTo>
                    <a:cubicBezTo>
                      <a:pt x="263" y="277"/>
                      <a:pt x="263" y="277"/>
                      <a:pt x="263" y="277"/>
                    </a:cubicBezTo>
                    <a:cubicBezTo>
                      <a:pt x="258" y="272"/>
                      <a:pt x="258" y="272"/>
                      <a:pt x="258" y="272"/>
                    </a:cubicBezTo>
                    <a:cubicBezTo>
                      <a:pt x="255" y="271"/>
                      <a:pt x="255" y="271"/>
                      <a:pt x="255" y="271"/>
                    </a:cubicBezTo>
                    <a:cubicBezTo>
                      <a:pt x="255" y="271"/>
                      <a:pt x="254" y="271"/>
                      <a:pt x="254" y="270"/>
                    </a:cubicBezTo>
                    <a:cubicBezTo>
                      <a:pt x="253" y="270"/>
                      <a:pt x="253" y="269"/>
                      <a:pt x="253" y="269"/>
                    </a:cubicBezTo>
                    <a:cubicBezTo>
                      <a:pt x="253" y="269"/>
                      <a:pt x="252" y="268"/>
                      <a:pt x="251" y="267"/>
                    </a:cubicBezTo>
                    <a:cubicBezTo>
                      <a:pt x="250" y="265"/>
                      <a:pt x="251" y="266"/>
                      <a:pt x="251" y="266"/>
                    </a:cubicBezTo>
                    <a:cubicBezTo>
                      <a:pt x="250" y="263"/>
                      <a:pt x="250" y="263"/>
                      <a:pt x="250" y="263"/>
                    </a:cubicBezTo>
                    <a:cubicBezTo>
                      <a:pt x="250" y="260"/>
                      <a:pt x="250" y="260"/>
                      <a:pt x="250" y="260"/>
                    </a:cubicBezTo>
                    <a:cubicBezTo>
                      <a:pt x="249" y="260"/>
                      <a:pt x="249" y="260"/>
                      <a:pt x="249" y="260"/>
                    </a:cubicBezTo>
                    <a:cubicBezTo>
                      <a:pt x="245" y="260"/>
                      <a:pt x="245" y="260"/>
                      <a:pt x="245" y="260"/>
                    </a:cubicBezTo>
                    <a:cubicBezTo>
                      <a:pt x="242" y="259"/>
                      <a:pt x="242" y="259"/>
                      <a:pt x="242" y="259"/>
                    </a:cubicBezTo>
                    <a:cubicBezTo>
                      <a:pt x="239" y="257"/>
                      <a:pt x="239" y="257"/>
                      <a:pt x="239" y="257"/>
                    </a:cubicBezTo>
                    <a:cubicBezTo>
                      <a:pt x="236" y="253"/>
                      <a:pt x="236" y="253"/>
                      <a:pt x="236" y="253"/>
                    </a:cubicBezTo>
                    <a:cubicBezTo>
                      <a:pt x="235" y="253"/>
                      <a:pt x="235" y="253"/>
                      <a:pt x="235" y="253"/>
                    </a:cubicBezTo>
                    <a:cubicBezTo>
                      <a:pt x="232" y="252"/>
                      <a:pt x="232" y="252"/>
                      <a:pt x="232" y="252"/>
                    </a:cubicBezTo>
                    <a:cubicBezTo>
                      <a:pt x="230" y="251"/>
                      <a:pt x="230" y="251"/>
                      <a:pt x="230" y="251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4" y="244"/>
                      <a:pt x="224" y="244"/>
                      <a:pt x="224" y="244"/>
                    </a:cubicBezTo>
                    <a:cubicBezTo>
                      <a:pt x="221" y="240"/>
                      <a:pt x="221" y="240"/>
                      <a:pt x="221" y="240"/>
                    </a:cubicBezTo>
                    <a:cubicBezTo>
                      <a:pt x="221" y="237"/>
                      <a:pt x="221" y="237"/>
                      <a:pt x="221" y="237"/>
                    </a:cubicBezTo>
                    <a:cubicBezTo>
                      <a:pt x="221" y="234"/>
                      <a:pt x="221" y="234"/>
                      <a:pt x="221" y="234"/>
                    </a:cubicBezTo>
                    <a:cubicBezTo>
                      <a:pt x="221" y="227"/>
                      <a:pt x="221" y="227"/>
                      <a:pt x="221" y="227"/>
                    </a:cubicBezTo>
                    <a:cubicBezTo>
                      <a:pt x="221" y="225"/>
                      <a:pt x="221" y="225"/>
                      <a:pt x="221" y="225"/>
                    </a:cubicBezTo>
                    <a:cubicBezTo>
                      <a:pt x="218" y="223"/>
                      <a:pt x="218" y="223"/>
                      <a:pt x="218" y="223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5" y="216"/>
                      <a:pt x="215" y="216"/>
                      <a:pt x="215" y="216"/>
                    </a:cubicBezTo>
                    <a:cubicBezTo>
                      <a:pt x="217" y="211"/>
                      <a:pt x="217" y="211"/>
                      <a:pt x="217" y="211"/>
                    </a:cubicBezTo>
                    <a:cubicBezTo>
                      <a:pt x="219" y="207"/>
                      <a:pt x="219" y="207"/>
                      <a:pt x="219" y="207"/>
                    </a:cubicBezTo>
                    <a:cubicBezTo>
                      <a:pt x="217" y="203"/>
                      <a:pt x="217" y="203"/>
                      <a:pt x="217" y="203"/>
                    </a:cubicBezTo>
                    <a:cubicBezTo>
                      <a:pt x="216" y="199"/>
                      <a:pt x="216" y="199"/>
                      <a:pt x="216" y="199"/>
                    </a:cubicBezTo>
                    <a:cubicBezTo>
                      <a:pt x="215" y="193"/>
                      <a:pt x="215" y="193"/>
                      <a:pt x="215" y="193"/>
                    </a:cubicBezTo>
                    <a:cubicBezTo>
                      <a:pt x="215" y="187"/>
                      <a:pt x="215" y="187"/>
                      <a:pt x="215" y="187"/>
                    </a:cubicBezTo>
                    <a:cubicBezTo>
                      <a:pt x="215" y="184"/>
                      <a:pt x="215" y="184"/>
                      <a:pt x="215" y="184"/>
                    </a:cubicBezTo>
                    <a:cubicBezTo>
                      <a:pt x="214" y="183"/>
                      <a:pt x="214" y="183"/>
                      <a:pt x="214" y="183"/>
                    </a:cubicBezTo>
                    <a:cubicBezTo>
                      <a:pt x="211" y="181"/>
                      <a:pt x="211" y="181"/>
                      <a:pt x="211" y="181"/>
                    </a:cubicBezTo>
                    <a:cubicBezTo>
                      <a:pt x="205" y="174"/>
                      <a:pt x="205" y="174"/>
                      <a:pt x="205" y="174"/>
                    </a:cubicBezTo>
                    <a:cubicBezTo>
                      <a:pt x="205" y="172"/>
                      <a:pt x="205" y="172"/>
                      <a:pt x="205" y="172"/>
                    </a:cubicBezTo>
                    <a:cubicBezTo>
                      <a:pt x="205" y="166"/>
                      <a:pt x="205" y="166"/>
                      <a:pt x="205" y="166"/>
                    </a:cubicBezTo>
                    <a:cubicBezTo>
                      <a:pt x="205" y="164"/>
                      <a:pt x="205" y="164"/>
                      <a:pt x="205" y="164"/>
                    </a:cubicBezTo>
                    <a:cubicBezTo>
                      <a:pt x="205" y="159"/>
                      <a:pt x="205" y="159"/>
                      <a:pt x="205" y="159"/>
                    </a:cubicBezTo>
                    <a:cubicBezTo>
                      <a:pt x="204" y="156"/>
                      <a:pt x="204" y="156"/>
                      <a:pt x="204" y="156"/>
                    </a:cubicBezTo>
                    <a:cubicBezTo>
                      <a:pt x="203" y="153"/>
                      <a:pt x="203" y="153"/>
                      <a:pt x="203" y="153"/>
                    </a:cubicBezTo>
                    <a:cubicBezTo>
                      <a:pt x="203" y="151"/>
                      <a:pt x="203" y="151"/>
                      <a:pt x="203" y="151"/>
                    </a:cubicBezTo>
                    <a:cubicBezTo>
                      <a:pt x="202" y="146"/>
                      <a:pt x="202" y="146"/>
                      <a:pt x="202" y="146"/>
                    </a:cubicBezTo>
                    <a:cubicBezTo>
                      <a:pt x="201" y="140"/>
                      <a:pt x="201" y="140"/>
                      <a:pt x="201" y="140"/>
                    </a:cubicBezTo>
                    <a:cubicBezTo>
                      <a:pt x="200" y="134"/>
                      <a:pt x="200" y="134"/>
                      <a:pt x="200" y="134"/>
                    </a:cubicBezTo>
                    <a:cubicBezTo>
                      <a:pt x="202" y="132"/>
                      <a:pt x="202" y="132"/>
                      <a:pt x="202" y="132"/>
                    </a:cubicBezTo>
                    <a:cubicBezTo>
                      <a:pt x="203" y="130"/>
                      <a:pt x="203" y="130"/>
                      <a:pt x="203" y="130"/>
                    </a:cubicBezTo>
                    <a:cubicBezTo>
                      <a:pt x="204" y="128"/>
                      <a:pt x="204" y="128"/>
                      <a:pt x="204" y="128"/>
                    </a:cubicBezTo>
                    <a:cubicBezTo>
                      <a:pt x="203" y="126"/>
                      <a:pt x="203" y="126"/>
                      <a:pt x="203" y="126"/>
                    </a:cubicBezTo>
                    <a:cubicBezTo>
                      <a:pt x="201" y="124"/>
                      <a:pt x="201" y="124"/>
                      <a:pt x="201" y="124"/>
                    </a:cubicBezTo>
                    <a:cubicBezTo>
                      <a:pt x="199" y="122"/>
                      <a:pt x="199" y="122"/>
                      <a:pt x="199" y="122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0" y="113"/>
                      <a:pt x="190" y="113"/>
                      <a:pt x="190" y="113"/>
                    </a:cubicBezTo>
                    <a:cubicBezTo>
                      <a:pt x="187" y="111"/>
                      <a:pt x="187" y="111"/>
                      <a:pt x="187" y="111"/>
                    </a:cubicBezTo>
                    <a:cubicBezTo>
                      <a:pt x="186" y="110"/>
                      <a:pt x="186" y="110"/>
                      <a:pt x="186" y="110"/>
                    </a:cubicBezTo>
                    <a:cubicBezTo>
                      <a:pt x="186" y="107"/>
                      <a:pt x="186" y="107"/>
                      <a:pt x="186" y="107"/>
                    </a:cubicBezTo>
                    <a:cubicBezTo>
                      <a:pt x="181" y="106"/>
                      <a:pt x="181" y="106"/>
                      <a:pt x="181" y="106"/>
                    </a:cubicBezTo>
                    <a:cubicBezTo>
                      <a:pt x="178" y="106"/>
                      <a:pt x="178" y="106"/>
                      <a:pt x="178" y="106"/>
                    </a:cubicBezTo>
                    <a:cubicBezTo>
                      <a:pt x="174" y="108"/>
                      <a:pt x="174" y="108"/>
                      <a:pt x="174" y="108"/>
                    </a:cubicBezTo>
                    <a:cubicBezTo>
                      <a:pt x="173" y="109"/>
                      <a:pt x="173" y="109"/>
                      <a:pt x="173" y="109"/>
                    </a:cubicBezTo>
                    <a:cubicBezTo>
                      <a:pt x="171" y="111"/>
                      <a:pt x="171" y="111"/>
                      <a:pt x="171" y="111"/>
                    </a:cubicBezTo>
                    <a:cubicBezTo>
                      <a:pt x="169" y="112"/>
                      <a:pt x="169" y="112"/>
                      <a:pt x="169" y="112"/>
                    </a:cubicBezTo>
                    <a:cubicBezTo>
                      <a:pt x="166" y="111"/>
                      <a:pt x="166" y="111"/>
                      <a:pt x="166" y="111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4" y="105"/>
                      <a:pt x="164" y="105"/>
                      <a:pt x="164" y="105"/>
                    </a:cubicBezTo>
                    <a:cubicBezTo>
                      <a:pt x="163" y="104"/>
                      <a:pt x="163" y="104"/>
                      <a:pt x="163" y="104"/>
                    </a:cubicBezTo>
                    <a:cubicBezTo>
                      <a:pt x="163" y="101"/>
                      <a:pt x="163" y="101"/>
                      <a:pt x="163" y="101"/>
                    </a:cubicBezTo>
                    <a:cubicBezTo>
                      <a:pt x="163" y="95"/>
                      <a:pt x="163" y="95"/>
                      <a:pt x="163" y="95"/>
                    </a:cubicBezTo>
                    <a:cubicBezTo>
                      <a:pt x="162" y="89"/>
                      <a:pt x="162" y="89"/>
                      <a:pt x="162" y="89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61" y="83"/>
                      <a:pt x="161" y="83"/>
                      <a:pt x="161" y="83"/>
                    </a:cubicBezTo>
                    <a:cubicBezTo>
                      <a:pt x="161" y="77"/>
                      <a:pt x="161" y="77"/>
                      <a:pt x="161" y="77"/>
                    </a:cubicBezTo>
                    <a:cubicBezTo>
                      <a:pt x="161" y="69"/>
                      <a:pt x="161" y="69"/>
                      <a:pt x="161" y="69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59" y="67"/>
                      <a:pt x="159" y="67"/>
                      <a:pt x="159" y="67"/>
                    </a:cubicBezTo>
                    <a:cubicBezTo>
                      <a:pt x="158" y="62"/>
                      <a:pt x="158" y="62"/>
                      <a:pt x="158" y="62"/>
                    </a:cubicBezTo>
                    <a:cubicBezTo>
                      <a:pt x="159" y="60"/>
                      <a:pt x="159" y="60"/>
                      <a:pt x="159" y="60"/>
                    </a:cubicBezTo>
                    <a:cubicBezTo>
                      <a:pt x="159" y="58"/>
                      <a:pt x="159" y="58"/>
                      <a:pt x="159" y="58"/>
                    </a:cubicBezTo>
                    <a:cubicBezTo>
                      <a:pt x="158" y="56"/>
                      <a:pt x="158" y="56"/>
                      <a:pt x="158" y="56"/>
                    </a:cubicBezTo>
                    <a:cubicBezTo>
                      <a:pt x="156" y="54"/>
                      <a:pt x="156" y="54"/>
                      <a:pt x="156" y="54"/>
                    </a:cubicBezTo>
                    <a:cubicBezTo>
                      <a:pt x="155" y="52"/>
                      <a:pt x="155" y="52"/>
                      <a:pt x="155" y="52"/>
                    </a:cubicBezTo>
                    <a:cubicBezTo>
                      <a:pt x="154" y="51"/>
                      <a:pt x="154" y="51"/>
                      <a:pt x="154" y="51"/>
                    </a:cubicBezTo>
                    <a:cubicBezTo>
                      <a:pt x="153" y="51"/>
                      <a:pt x="153" y="51"/>
                      <a:pt x="153" y="51"/>
                    </a:cubicBezTo>
                    <a:cubicBezTo>
                      <a:pt x="151" y="50"/>
                      <a:pt x="151" y="50"/>
                      <a:pt x="151" y="50"/>
                    </a:cubicBezTo>
                    <a:cubicBezTo>
                      <a:pt x="150" y="48"/>
                      <a:pt x="150" y="48"/>
                      <a:pt x="150" y="48"/>
                    </a:cubicBezTo>
                    <a:cubicBezTo>
                      <a:pt x="151" y="45"/>
                      <a:pt x="151" y="45"/>
                      <a:pt x="151" y="45"/>
                    </a:cubicBezTo>
                    <a:cubicBezTo>
                      <a:pt x="153" y="44"/>
                      <a:pt x="153" y="44"/>
                      <a:pt x="153" y="44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4" y="41"/>
                      <a:pt x="154" y="41"/>
                      <a:pt x="154" y="41"/>
                    </a:cubicBezTo>
                    <a:cubicBezTo>
                      <a:pt x="153" y="40"/>
                      <a:pt x="153" y="40"/>
                      <a:pt x="153" y="40"/>
                    </a:cubicBezTo>
                    <a:cubicBezTo>
                      <a:pt x="150" y="38"/>
                      <a:pt x="150" y="38"/>
                      <a:pt x="150" y="38"/>
                    </a:cubicBezTo>
                    <a:cubicBezTo>
                      <a:pt x="148" y="38"/>
                      <a:pt x="148" y="38"/>
                      <a:pt x="148" y="38"/>
                    </a:cubicBezTo>
                    <a:cubicBezTo>
                      <a:pt x="148" y="35"/>
                      <a:pt x="148" y="35"/>
                      <a:pt x="148" y="3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46" y="29"/>
                      <a:pt x="146" y="29"/>
                      <a:pt x="146" y="29"/>
                    </a:cubicBezTo>
                    <a:cubicBezTo>
                      <a:pt x="145" y="22"/>
                      <a:pt x="145" y="22"/>
                      <a:pt x="145" y="22"/>
                    </a:cubicBezTo>
                    <a:cubicBezTo>
                      <a:pt x="146" y="17"/>
                      <a:pt x="146" y="17"/>
                      <a:pt x="146" y="17"/>
                    </a:cubicBezTo>
                    <a:cubicBezTo>
                      <a:pt x="143" y="11"/>
                      <a:pt x="143" y="11"/>
                      <a:pt x="143" y="11"/>
                    </a:cubicBezTo>
                    <a:cubicBezTo>
                      <a:pt x="142" y="8"/>
                      <a:pt x="142" y="8"/>
                      <a:pt x="142" y="8"/>
                    </a:cubicBezTo>
                    <a:cubicBezTo>
                      <a:pt x="140" y="6"/>
                      <a:pt x="140" y="6"/>
                      <a:pt x="140" y="6"/>
                    </a:cubicBezTo>
                    <a:cubicBezTo>
                      <a:pt x="139" y="2"/>
                      <a:pt x="139" y="2"/>
                      <a:pt x="139" y="2"/>
                    </a:cubicBezTo>
                    <a:cubicBezTo>
                      <a:pt x="139" y="1"/>
                      <a:pt x="139" y="1"/>
                      <a:pt x="139" y="1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0" y="6"/>
                      <a:pt x="130" y="6"/>
                      <a:pt x="130" y="6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18"/>
                      <a:pt x="127" y="18"/>
                      <a:pt x="127" y="18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22" y="29"/>
                      <a:pt x="122" y="29"/>
                      <a:pt x="122" y="29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6" y="37"/>
                      <a:pt x="116" y="37"/>
                      <a:pt x="116" y="37"/>
                    </a:cubicBezTo>
                    <a:cubicBezTo>
                      <a:pt x="114" y="41"/>
                      <a:pt x="114" y="41"/>
                      <a:pt x="114" y="41"/>
                    </a:cubicBezTo>
                    <a:cubicBezTo>
                      <a:pt x="113" y="44"/>
                      <a:pt x="113" y="44"/>
                      <a:pt x="113" y="44"/>
                    </a:cubicBezTo>
                    <a:cubicBezTo>
                      <a:pt x="112" y="49"/>
                      <a:pt x="112" y="49"/>
                      <a:pt x="112" y="49"/>
                    </a:cubicBezTo>
                    <a:cubicBezTo>
                      <a:pt x="112" y="53"/>
                      <a:pt x="112" y="53"/>
                      <a:pt x="112" y="53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14" y="55"/>
                      <a:pt x="114" y="55"/>
                      <a:pt x="114" y="55"/>
                    </a:cubicBezTo>
                    <a:cubicBezTo>
                      <a:pt x="114" y="62"/>
                      <a:pt x="114" y="62"/>
                      <a:pt x="114" y="62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1" y="66"/>
                      <a:pt x="111" y="66"/>
                      <a:pt x="111" y="66"/>
                    </a:cubicBezTo>
                    <a:cubicBezTo>
                      <a:pt x="110" y="68"/>
                      <a:pt x="110" y="68"/>
                      <a:pt x="110" y="68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6" y="84"/>
                      <a:pt x="106" y="84"/>
                      <a:pt x="106" y="84"/>
                    </a:cubicBezTo>
                    <a:cubicBezTo>
                      <a:pt x="106" y="89"/>
                      <a:pt x="106" y="89"/>
                      <a:pt x="106" y="89"/>
                    </a:cubicBezTo>
                    <a:cubicBezTo>
                      <a:pt x="106" y="97"/>
                      <a:pt x="106" y="97"/>
                      <a:pt x="106" y="97"/>
                    </a:cubicBezTo>
                    <a:cubicBezTo>
                      <a:pt x="106" y="100"/>
                      <a:pt x="106" y="100"/>
                      <a:pt x="106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2" y="105"/>
                      <a:pt x="102" y="105"/>
                      <a:pt x="102" y="105"/>
                    </a:cubicBezTo>
                    <a:cubicBezTo>
                      <a:pt x="104" y="106"/>
                      <a:pt x="104" y="106"/>
                      <a:pt x="104" y="106"/>
                    </a:cubicBezTo>
                    <a:cubicBezTo>
                      <a:pt x="104" y="108"/>
                      <a:pt x="104" y="108"/>
                      <a:pt x="104" y="108"/>
                    </a:cubicBezTo>
                    <a:cubicBezTo>
                      <a:pt x="105" y="109"/>
                      <a:pt x="105" y="109"/>
                      <a:pt x="105" y="109"/>
                    </a:cubicBezTo>
                    <a:cubicBezTo>
                      <a:pt x="106" y="110"/>
                      <a:pt x="106" y="110"/>
                      <a:pt x="106" y="110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6" y="116"/>
                      <a:pt x="106" y="116"/>
                      <a:pt x="106" y="116"/>
                    </a:cubicBezTo>
                    <a:cubicBezTo>
                      <a:pt x="106" y="121"/>
                      <a:pt x="106" y="121"/>
                      <a:pt x="106" y="121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2" y="134"/>
                      <a:pt x="102" y="134"/>
                      <a:pt x="102" y="134"/>
                    </a:cubicBezTo>
                    <a:cubicBezTo>
                      <a:pt x="101" y="138"/>
                      <a:pt x="101" y="138"/>
                      <a:pt x="101" y="138"/>
                    </a:cubicBezTo>
                    <a:cubicBezTo>
                      <a:pt x="101" y="141"/>
                      <a:pt x="101" y="141"/>
                      <a:pt x="101" y="141"/>
                    </a:cubicBezTo>
                    <a:cubicBezTo>
                      <a:pt x="100" y="146"/>
                      <a:pt x="100" y="146"/>
                      <a:pt x="100" y="146"/>
                    </a:cubicBezTo>
                    <a:cubicBezTo>
                      <a:pt x="99" y="150"/>
                      <a:pt x="99" y="150"/>
                      <a:pt x="99" y="150"/>
                    </a:cubicBezTo>
                    <a:cubicBezTo>
                      <a:pt x="96" y="153"/>
                      <a:pt x="96" y="153"/>
                      <a:pt x="96" y="153"/>
                    </a:cubicBezTo>
                    <a:cubicBezTo>
                      <a:pt x="94" y="155"/>
                      <a:pt x="94" y="155"/>
                      <a:pt x="94" y="155"/>
                    </a:cubicBezTo>
                    <a:cubicBezTo>
                      <a:pt x="94" y="157"/>
                      <a:pt x="94" y="157"/>
                      <a:pt x="94" y="157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2" y="167"/>
                      <a:pt x="92" y="167"/>
                      <a:pt x="92" y="167"/>
                    </a:cubicBezTo>
                    <a:cubicBezTo>
                      <a:pt x="89" y="173"/>
                      <a:pt x="89" y="173"/>
                      <a:pt x="89" y="173"/>
                    </a:cubicBezTo>
                    <a:cubicBezTo>
                      <a:pt x="86" y="178"/>
                      <a:pt x="86" y="178"/>
                      <a:pt x="86" y="178"/>
                    </a:cubicBezTo>
                    <a:cubicBezTo>
                      <a:pt x="81" y="185"/>
                      <a:pt x="81" y="185"/>
                      <a:pt x="81" y="185"/>
                    </a:cubicBezTo>
                    <a:cubicBezTo>
                      <a:pt x="77" y="190"/>
                      <a:pt x="77" y="190"/>
                      <a:pt x="77" y="190"/>
                    </a:cubicBezTo>
                    <a:cubicBezTo>
                      <a:pt x="74" y="191"/>
                      <a:pt x="74" y="191"/>
                      <a:pt x="74" y="191"/>
                    </a:cubicBezTo>
                    <a:cubicBezTo>
                      <a:pt x="71" y="193"/>
                      <a:pt x="71" y="193"/>
                      <a:pt x="71" y="193"/>
                    </a:cubicBezTo>
                    <a:cubicBezTo>
                      <a:pt x="69" y="194"/>
                      <a:pt x="69" y="194"/>
                      <a:pt x="69" y="194"/>
                    </a:cubicBezTo>
                    <a:cubicBezTo>
                      <a:pt x="66" y="195"/>
                      <a:pt x="66" y="195"/>
                      <a:pt x="66" y="195"/>
                    </a:cubicBezTo>
                    <a:cubicBezTo>
                      <a:pt x="63" y="195"/>
                      <a:pt x="63" y="195"/>
                      <a:pt x="63" y="195"/>
                    </a:cubicBezTo>
                    <a:cubicBezTo>
                      <a:pt x="60" y="195"/>
                      <a:pt x="60" y="195"/>
                      <a:pt x="60" y="195"/>
                    </a:cubicBezTo>
                    <a:cubicBezTo>
                      <a:pt x="56" y="195"/>
                      <a:pt x="56" y="195"/>
                      <a:pt x="56" y="195"/>
                    </a:cubicBezTo>
                    <a:cubicBezTo>
                      <a:pt x="53" y="193"/>
                      <a:pt x="53" y="193"/>
                      <a:pt x="53" y="193"/>
                    </a:cubicBezTo>
                    <a:cubicBezTo>
                      <a:pt x="51" y="191"/>
                      <a:pt x="51" y="191"/>
                      <a:pt x="51" y="191"/>
                    </a:cubicBezTo>
                    <a:cubicBezTo>
                      <a:pt x="46" y="189"/>
                      <a:pt x="46" y="189"/>
                      <a:pt x="46" y="189"/>
                    </a:cubicBezTo>
                    <a:cubicBezTo>
                      <a:pt x="43" y="187"/>
                      <a:pt x="43" y="187"/>
                      <a:pt x="43" y="187"/>
                    </a:cubicBezTo>
                    <a:cubicBezTo>
                      <a:pt x="40" y="187"/>
                      <a:pt x="40" y="187"/>
                      <a:pt x="40" y="187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38" y="178"/>
                      <a:pt x="38" y="178"/>
                      <a:pt x="38" y="178"/>
                    </a:cubicBezTo>
                    <a:cubicBezTo>
                      <a:pt x="37" y="176"/>
                      <a:pt x="37" y="176"/>
                      <a:pt x="37" y="176"/>
                    </a:cubicBezTo>
                    <a:cubicBezTo>
                      <a:pt x="33" y="172"/>
                      <a:pt x="33" y="172"/>
                      <a:pt x="33" y="172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2" y="168"/>
                      <a:pt x="22" y="168"/>
                      <a:pt x="22" y="168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6" y="167"/>
                      <a:pt x="16" y="167"/>
                      <a:pt x="16" y="167"/>
                    </a:cubicBezTo>
                    <a:cubicBezTo>
                      <a:pt x="12" y="165"/>
                      <a:pt x="12" y="165"/>
                      <a:pt x="12" y="165"/>
                    </a:cubicBezTo>
                    <a:cubicBezTo>
                      <a:pt x="9" y="164"/>
                      <a:pt x="9" y="164"/>
                      <a:pt x="9" y="164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70" y="427"/>
                      <a:pt x="70" y="427"/>
                      <a:pt x="70" y="427"/>
                    </a:cubicBezTo>
                    <a:cubicBezTo>
                      <a:pt x="66" y="509"/>
                      <a:pt x="66" y="509"/>
                      <a:pt x="66" y="509"/>
                    </a:cubicBezTo>
                    <a:cubicBezTo>
                      <a:pt x="250" y="526"/>
                      <a:pt x="250" y="526"/>
                      <a:pt x="250" y="526"/>
                    </a:cubicBezTo>
                    <a:cubicBezTo>
                      <a:pt x="251" y="526"/>
                      <a:pt x="251" y="526"/>
                      <a:pt x="251" y="526"/>
                    </a:cubicBezTo>
                    <a:cubicBezTo>
                      <a:pt x="258" y="523"/>
                      <a:pt x="258" y="523"/>
                      <a:pt x="258" y="523"/>
                    </a:cubicBezTo>
                    <a:cubicBezTo>
                      <a:pt x="260" y="523"/>
                      <a:pt x="260" y="523"/>
                      <a:pt x="260" y="523"/>
                    </a:cubicBezTo>
                    <a:cubicBezTo>
                      <a:pt x="265" y="524"/>
                      <a:pt x="265" y="524"/>
                      <a:pt x="265" y="524"/>
                    </a:cubicBezTo>
                    <a:cubicBezTo>
                      <a:pt x="270" y="524"/>
                      <a:pt x="270" y="524"/>
                      <a:pt x="270" y="524"/>
                    </a:cubicBezTo>
                    <a:cubicBezTo>
                      <a:pt x="273" y="522"/>
                      <a:pt x="273" y="522"/>
                      <a:pt x="273" y="522"/>
                    </a:cubicBezTo>
                    <a:cubicBezTo>
                      <a:pt x="277" y="521"/>
                      <a:pt x="277" y="521"/>
                      <a:pt x="277" y="521"/>
                    </a:cubicBezTo>
                    <a:cubicBezTo>
                      <a:pt x="281" y="521"/>
                      <a:pt x="281" y="521"/>
                      <a:pt x="281" y="521"/>
                    </a:cubicBezTo>
                    <a:cubicBezTo>
                      <a:pt x="285" y="523"/>
                      <a:pt x="285" y="523"/>
                      <a:pt x="285" y="523"/>
                    </a:cubicBezTo>
                    <a:cubicBezTo>
                      <a:pt x="290" y="525"/>
                      <a:pt x="290" y="525"/>
                      <a:pt x="290" y="525"/>
                    </a:cubicBezTo>
                    <a:cubicBezTo>
                      <a:pt x="295" y="525"/>
                      <a:pt x="295" y="525"/>
                      <a:pt x="295" y="525"/>
                    </a:cubicBezTo>
                    <a:cubicBezTo>
                      <a:pt x="299" y="525"/>
                      <a:pt x="299" y="525"/>
                      <a:pt x="299" y="525"/>
                    </a:cubicBezTo>
                    <a:cubicBezTo>
                      <a:pt x="301" y="529"/>
                      <a:pt x="301" y="529"/>
                      <a:pt x="301" y="529"/>
                    </a:cubicBezTo>
                    <a:cubicBezTo>
                      <a:pt x="304" y="532"/>
                      <a:pt x="304" y="532"/>
                      <a:pt x="304" y="532"/>
                    </a:cubicBezTo>
                    <a:cubicBezTo>
                      <a:pt x="306" y="535"/>
                      <a:pt x="306" y="535"/>
                      <a:pt x="306" y="535"/>
                    </a:cubicBezTo>
                    <a:cubicBezTo>
                      <a:pt x="308" y="537"/>
                      <a:pt x="308" y="537"/>
                      <a:pt x="308" y="537"/>
                    </a:cubicBezTo>
                    <a:cubicBezTo>
                      <a:pt x="313" y="537"/>
                      <a:pt x="313" y="537"/>
                      <a:pt x="313" y="537"/>
                    </a:cubicBezTo>
                    <a:cubicBezTo>
                      <a:pt x="315" y="534"/>
                      <a:pt x="315" y="534"/>
                      <a:pt x="315" y="534"/>
                    </a:cubicBezTo>
                    <a:cubicBezTo>
                      <a:pt x="317" y="534"/>
                      <a:pt x="317" y="534"/>
                      <a:pt x="317" y="534"/>
                    </a:cubicBezTo>
                    <a:cubicBezTo>
                      <a:pt x="319" y="532"/>
                      <a:pt x="319" y="532"/>
                      <a:pt x="319" y="532"/>
                    </a:cubicBezTo>
                    <a:cubicBezTo>
                      <a:pt x="324" y="532"/>
                      <a:pt x="324" y="532"/>
                      <a:pt x="324" y="532"/>
                    </a:cubicBezTo>
                    <a:cubicBezTo>
                      <a:pt x="328" y="529"/>
                      <a:pt x="328" y="529"/>
                      <a:pt x="328" y="529"/>
                    </a:cubicBezTo>
                    <a:cubicBezTo>
                      <a:pt x="330" y="524"/>
                      <a:pt x="330" y="524"/>
                      <a:pt x="330" y="524"/>
                    </a:cubicBezTo>
                    <a:cubicBezTo>
                      <a:pt x="333" y="520"/>
                      <a:pt x="333" y="520"/>
                      <a:pt x="333" y="520"/>
                    </a:cubicBezTo>
                    <a:cubicBezTo>
                      <a:pt x="338" y="519"/>
                      <a:pt x="338" y="519"/>
                      <a:pt x="338" y="519"/>
                    </a:cubicBezTo>
                    <a:cubicBezTo>
                      <a:pt x="350" y="520"/>
                      <a:pt x="350" y="520"/>
                      <a:pt x="350" y="520"/>
                    </a:cubicBezTo>
                    <a:cubicBezTo>
                      <a:pt x="353" y="513"/>
                      <a:pt x="353" y="513"/>
                      <a:pt x="353" y="513"/>
                    </a:cubicBezTo>
                    <a:cubicBezTo>
                      <a:pt x="354" y="508"/>
                      <a:pt x="354" y="508"/>
                      <a:pt x="354" y="508"/>
                    </a:cubicBezTo>
                    <a:cubicBezTo>
                      <a:pt x="357" y="505"/>
                      <a:pt x="357" y="505"/>
                      <a:pt x="357" y="505"/>
                    </a:cubicBezTo>
                    <a:cubicBezTo>
                      <a:pt x="363" y="508"/>
                      <a:pt x="363" y="508"/>
                      <a:pt x="363" y="508"/>
                    </a:cubicBezTo>
                    <a:cubicBezTo>
                      <a:pt x="363" y="507"/>
                      <a:pt x="363" y="507"/>
                      <a:pt x="363" y="507"/>
                    </a:cubicBezTo>
                    <a:cubicBezTo>
                      <a:pt x="363" y="506"/>
                      <a:pt x="363" y="506"/>
                      <a:pt x="363" y="506"/>
                    </a:cubicBezTo>
                    <a:lnTo>
                      <a:pt x="363" y="505"/>
                    </a:lnTo>
                    <a:close/>
                  </a:path>
                </a:pathLst>
              </a:custGeom>
              <a:solidFill>
                <a:schemeClr val="bg1">
                  <a:lumMod val="60000"/>
                  <a:lumOff val="40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8">
                <a:extLst>
                  <a:ext uri="{FF2B5EF4-FFF2-40B4-BE49-F238E27FC236}">
                    <a16:creationId xmlns:a16="http://schemas.microsoft.com/office/drawing/2014/main" id="{43FA6648-8E03-534A-AB08-D9A4620D3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3525" y="2586038"/>
                <a:ext cx="569912" cy="846138"/>
              </a:xfrm>
              <a:custGeom>
                <a:avLst/>
                <a:gdLst>
                  <a:gd name="T0" fmla="*/ 0 w 292"/>
                  <a:gd name="T1" fmla="*/ 0 h 433"/>
                  <a:gd name="T2" fmla="*/ 9 w 292"/>
                  <a:gd name="T3" fmla="*/ 244 h 433"/>
                  <a:gd name="T4" fmla="*/ 24 w 292"/>
                  <a:gd name="T5" fmla="*/ 243 h 433"/>
                  <a:gd name="T6" fmla="*/ 40 w 292"/>
                  <a:gd name="T7" fmla="*/ 243 h 433"/>
                  <a:gd name="T8" fmla="*/ 46 w 292"/>
                  <a:gd name="T9" fmla="*/ 242 h 433"/>
                  <a:gd name="T10" fmla="*/ 64 w 292"/>
                  <a:gd name="T11" fmla="*/ 244 h 433"/>
                  <a:gd name="T12" fmla="*/ 80 w 292"/>
                  <a:gd name="T13" fmla="*/ 254 h 433"/>
                  <a:gd name="T14" fmla="*/ 90 w 292"/>
                  <a:gd name="T15" fmla="*/ 253 h 433"/>
                  <a:gd name="T16" fmla="*/ 102 w 292"/>
                  <a:gd name="T17" fmla="*/ 261 h 433"/>
                  <a:gd name="T18" fmla="*/ 121 w 292"/>
                  <a:gd name="T19" fmla="*/ 270 h 433"/>
                  <a:gd name="T20" fmla="*/ 122 w 292"/>
                  <a:gd name="T21" fmla="*/ 282 h 433"/>
                  <a:gd name="T22" fmla="*/ 131 w 292"/>
                  <a:gd name="T23" fmla="*/ 290 h 433"/>
                  <a:gd name="T24" fmla="*/ 139 w 292"/>
                  <a:gd name="T25" fmla="*/ 302 h 433"/>
                  <a:gd name="T26" fmla="*/ 146 w 292"/>
                  <a:gd name="T27" fmla="*/ 313 h 433"/>
                  <a:gd name="T28" fmla="*/ 149 w 292"/>
                  <a:gd name="T29" fmla="*/ 328 h 433"/>
                  <a:gd name="T30" fmla="*/ 151 w 292"/>
                  <a:gd name="T31" fmla="*/ 336 h 433"/>
                  <a:gd name="T32" fmla="*/ 159 w 292"/>
                  <a:gd name="T33" fmla="*/ 335 h 433"/>
                  <a:gd name="T34" fmla="*/ 163 w 292"/>
                  <a:gd name="T35" fmla="*/ 325 h 433"/>
                  <a:gd name="T36" fmla="*/ 170 w 292"/>
                  <a:gd name="T37" fmla="*/ 316 h 433"/>
                  <a:gd name="T38" fmla="*/ 177 w 292"/>
                  <a:gd name="T39" fmla="*/ 306 h 433"/>
                  <a:gd name="T40" fmla="*/ 191 w 292"/>
                  <a:gd name="T41" fmla="*/ 297 h 433"/>
                  <a:gd name="T42" fmla="*/ 202 w 292"/>
                  <a:gd name="T43" fmla="*/ 282 h 433"/>
                  <a:gd name="T44" fmla="*/ 208 w 292"/>
                  <a:gd name="T45" fmla="*/ 276 h 433"/>
                  <a:gd name="T46" fmla="*/ 205 w 292"/>
                  <a:gd name="T47" fmla="*/ 287 h 433"/>
                  <a:gd name="T48" fmla="*/ 205 w 292"/>
                  <a:gd name="T49" fmla="*/ 301 h 433"/>
                  <a:gd name="T50" fmla="*/ 198 w 292"/>
                  <a:gd name="T51" fmla="*/ 317 h 433"/>
                  <a:gd name="T52" fmla="*/ 195 w 292"/>
                  <a:gd name="T53" fmla="*/ 333 h 433"/>
                  <a:gd name="T54" fmla="*/ 184 w 292"/>
                  <a:gd name="T55" fmla="*/ 336 h 433"/>
                  <a:gd name="T56" fmla="*/ 181 w 292"/>
                  <a:gd name="T57" fmla="*/ 343 h 433"/>
                  <a:gd name="T58" fmla="*/ 188 w 292"/>
                  <a:gd name="T59" fmla="*/ 347 h 433"/>
                  <a:gd name="T60" fmla="*/ 198 w 292"/>
                  <a:gd name="T61" fmla="*/ 345 h 433"/>
                  <a:gd name="T62" fmla="*/ 202 w 292"/>
                  <a:gd name="T63" fmla="*/ 336 h 433"/>
                  <a:gd name="T64" fmla="*/ 206 w 292"/>
                  <a:gd name="T65" fmla="*/ 329 h 433"/>
                  <a:gd name="T66" fmla="*/ 206 w 292"/>
                  <a:gd name="T67" fmla="*/ 322 h 433"/>
                  <a:gd name="T68" fmla="*/ 210 w 292"/>
                  <a:gd name="T69" fmla="*/ 318 h 433"/>
                  <a:gd name="T70" fmla="*/ 215 w 292"/>
                  <a:gd name="T71" fmla="*/ 328 h 433"/>
                  <a:gd name="T72" fmla="*/ 222 w 292"/>
                  <a:gd name="T73" fmla="*/ 341 h 433"/>
                  <a:gd name="T74" fmla="*/ 214 w 292"/>
                  <a:gd name="T75" fmla="*/ 352 h 433"/>
                  <a:gd name="T76" fmla="*/ 218 w 292"/>
                  <a:gd name="T77" fmla="*/ 359 h 433"/>
                  <a:gd name="T78" fmla="*/ 231 w 292"/>
                  <a:gd name="T79" fmla="*/ 353 h 433"/>
                  <a:gd name="T80" fmla="*/ 234 w 292"/>
                  <a:gd name="T81" fmla="*/ 362 h 433"/>
                  <a:gd name="T82" fmla="*/ 240 w 292"/>
                  <a:gd name="T83" fmla="*/ 376 h 433"/>
                  <a:gd name="T84" fmla="*/ 245 w 292"/>
                  <a:gd name="T85" fmla="*/ 397 h 433"/>
                  <a:gd name="T86" fmla="*/ 247 w 292"/>
                  <a:gd name="T87" fmla="*/ 411 h 433"/>
                  <a:gd name="T88" fmla="*/ 262 w 292"/>
                  <a:gd name="T89" fmla="*/ 430 h 433"/>
                  <a:gd name="T90" fmla="*/ 270 w 292"/>
                  <a:gd name="T91" fmla="*/ 432 h 433"/>
                  <a:gd name="T92" fmla="*/ 292 w 292"/>
                  <a:gd name="T93" fmla="*/ 91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92" h="433">
                    <a:moveTo>
                      <a:pt x="222" y="85"/>
                    </a:moveTo>
                    <a:cubicBezTo>
                      <a:pt x="2" y="84"/>
                      <a:pt x="2" y="84"/>
                      <a:pt x="2" y="8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246"/>
                      <a:pt x="7" y="246"/>
                      <a:pt x="7" y="246"/>
                    </a:cubicBezTo>
                    <a:cubicBezTo>
                      <a:pt x="9" y="244"/>
                      <a:pt x="9" y="244"/>
                      <a:pt x="9" y="244"/>
                    </a:cubicBezTo>
                    <a:cubicBezTo>
                      <a:pt x="11" y="244"/>
                      <a:pt x="11" y="244"/>
                      <a:pt x="11" y="244"/>
                    </a:cubicBezTo>
                    <a:cubicBezTo>
                      <a:pt x="17" y="243"/>
                      <a:pt x="17" y="243"/>
                      <a:pt x="17" y="243"/>
                    </a:cubicBezTo>
                    <a:cubicBezTo>
                      <a:pt x="24" y="243"/>
                      <a:pt x="24" y="243"/>
                      <a:pt x="24" y="243"/>
                    </a:cubicBezTo>
                    <a:cubicBezTo>
                      <a:pt x="32" y="243"/>
                      <a:pt x="32" y="243"/>
                      <a:pt x="32" y="243"/>
                    </a:cubicBezTo>
                    <a:cubicBezTo>
                      <a:pt x="36" y="243"/>
                      <a:pt x="36" y="243"/>
                      <a:pt x="36" y="243"/>
                    </a:cubicBezTo>
                    <a:cubicBezTo>
                      <a:pt x="40" y="243"/>
                      <a:pt x="40" y="243"/>
                      <a:pt x="40" y="243"/>
                    </a:cubicBezTo>
                    <a:cubicBezTo>
                      <a:pt x="41" y="243"/>
                      <a:pt x="41" y="243"/>
                      <a:pt x="41" y="243"/>
                    </a:cubicBezTo>
                    <a:cubicBezTo>
                      <a:pt x="43" y="242"/>
                      <a:pt x="43" y="242"/>
                      <a:pt x="43" y="242"/>
                    </a:cubicBezTo>
                    <a:cubicBezTo>
                      <a:pt x="46" y="242"/>
                      <a:pt x="46" y="242"/>
                      <a:pt x="46" y="242"/>
                    </a:cubicBezTo>
                    <a:cubicBezTo>
                      <a:pt x="49" y="240"/>
                      <a:pt x="49" y="240"/>
                      <a:pt x="49" y="240"/>
                    </a:cubicBezTo>
                    <a:cubicBezTo>
                      <a:pt x="55" y="240"/>
                      <a:pt x="55" y="240"/>
                      <a:pt x="55" y="240"/>
                    </a:cubicBezTo>
                    <a:cubicBezTo>
                      <a:pt x="64" y="244"/>
                      <a:pt x="64" y="244"/>
                      <a:pt x="64" y="244"/>
                    </a:cubicBezTo>
                    <a:cubicBezTo>
                      <a:pt x="68" y="246"/>
                      <a:pt x="68" y="246"/>
                      <a:pt x="68" y="246"/>
                    </a:cubicBezTo>
                    <a:cubicBezTo>
                      <a:pt x="75" y="252"/>
                      <a:pt x="75" y="252"/>
                      <a:pt x="75" y="252"/>
                    </a:cubicBezTo>
                    <a:cubicBezTo>
                      <a:pt x="80" y="254"/>
                      <a:pt x="80" y="254"/>
                      <a:pt x="80" y="254"/>
                    </a:cubicBezTo>
                    <a:cubicBezTo>
                      <a:pt x="83" y="254"/>
                      <a:pt x="83" y="254"/>
                      <a:pt x="83" y="254"/>
                    </a:cubicBezTo>
                    <a:cubicBezTo>
                      <a:pt x="85" y="253"/>
                      <a:pt x="85" y="253"/>
                      <a:pt x="85" y="253"/>
                    </a:cubicBezTo>
                    <a:cubicBezTo>
                      <a:pt x="90" y="253"/>
                      <a:pt x="90" y="253"/>
                      <a:pt x="90" y="253"/>
                    </a:cubicBezTo>
                    <a:cubicBezTo>
                      <a:pt x="94" y="257"/>
                      <a:pt x="94" y="257"/>
                      <a:pt x="94" y="257"/>
                    </a:cubicBezTo>
                    <a:cubicBezTo>
                      <a:pt x="99" y="260"/>
                      <a:pt x="99" y="260"/>
                      <a:pt x="99" y="260"/>
                    </a:cubicBezTo>
                    <a:cubicBezTo>
                      <a:pt x="102" y="261"/>
                      <a:pt x="102" y="261"/>
                      <a:pt x="102" y="261"/>
                    </a:cubicBezTo>
                    <a:cubicBezTo>
                      <a:pt x="111" y="261"/>
                      <a:pt x="111" y="261"/>
                      <a:pt x="111" y="261"/>
                    </a:cubicBezTo>
                    <a:cubicBezTo>
                      <a:pt x="114" y="264"/>
                      <a:pt x="114" y="264"/>
                      <a:pt x="114" y="264"/>
                    </a:cubicBezTo>
                    <a:cubicBezTo>
                      <a:pt x="121" y="270"/>
                      <a:pt x="121" y="270"/>
                      <a:pt x="121" y="270"/>
                    </a:cubicBezTo>
                    <a:cubicBezTo>
                      <a:pt x="120" y="275"/>
                      <a:pt x="120" y="275"/>
                      <a:pt x="120" y="275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2" y="282"/>
                      <a:pt x="122" y="282"/>
                      <a:pt x="122" y="282"/>
                    </a:cubicBezTo>
                    <a:cubicBezTo>
                      <a:pt x="124" y="285"/>
                      <a:pt x="124" y="285"/>
                      <a:pt x="124" y="285"/>
                    </a:cubicBezTo>
                    <a:cubicBezTo>
                      <a:pt x="128" y="287"/>
                      <a:pt x="128" y="287"/>
                      <a:pt x="128" y="287"/>
                    </a:cubicBezTo>
                    <a:cubicBezTo>
                      <a:pt x="131" y="290"/>
                      <a:pt x="131" y="290"/>
                      <a:pt x="131" y="290"/>
                    </a:cubicBezTo>
                    <a:cubicBezTo>
                      <a:pt x="134" y="292"/>
                      <a:pt x="134" y="292"/>
                      <a:pt x="134" y="292"/>
                    </a:cubicBezTo>
                    <a:cubicBezTo>
                      <a:pt x="135" y="298"/>
                      <a:pt x="135" y="298"/>
                      <a:pt x="135" y="298"/>
                    </a:cubicBezTo>
                    <a:cubicBezTo>
                      <a:pt x="139" y="302"/>
                      <a:pt x="139" y="302"/>
                      <a:pt x="139" y="302"/>
                    </a:cubicBezTo>
                    <a:cubicBezTo>
                      <a:pt x="144" y="306"/>
                      <a:pt x="144" y="306"/>
                      <a:pt x="144" y="306"/>
                    </a:cubicBezTo>
                    <a:cubicBezTo>
                      <a:pt x="144" y="311"/>
                      <a:pt x="144" y="311"/>
                      <a:pt x="144" y="311"/>
                    </a:cubicBezTo>
                    <a:cubicBezTo>
                      <a:pt x="146" y="313"/>
                      <a:pt x="146" y="313"/>
                      <a:pt x="146" y="313"/>
                    </a:cubicBezTo>
                    <a:cubicBezTo>
                      <a:pt x="148" y="316"/>
                      <a:pt x="148" y="316"/>
                      <a:pt x="148" y="316"/>
                    </a:cubicBezTo>
                    <a:cubicBezTo>
                      <a:pt x="149" y="319"/>
                      <a:pt x="149" y="319"/>
                      <a:pt x="149" y="319"/>
                    </a:cubicBezTo>
                    <a:cubicBezTo>
                      <a:pt x="149" y="328"/>
                      <a:pt x="149" y="328"/>
                      <a:pt x="149" y="328"/>
                    </a:cubicBezTo>
                    <a:cubicBezTo>
                      <a:pt x="151" y="332"/>
                      <a:pt x="151" y="332"/>
                      <a:pt x="151" y="332"/>
                    </a:cubicBezTo>
                    <a:cubicBezTo>
                      <a:pt x="151" y="333"/>
                      <a:pt x="151" y="333"/>
                      <a:pt x="151" y="333"/>
                    </a:cubicBezTo>
                    <a:cubicBezTo>
                      <a:pt x="151" y="336"/>
                      <a:pt x="151" y="336"/>
                      <a:pt x="151" y="336"/>
                    </a:cubicBezTo>
                    <a:cubicBezTo>
                      <a:pt x="152" y="336"/>
                      <a:pt x="152" y="336"/>
                      <a:pt x="152" y="336"/>
                    </a:cubicBezTo>
                    <a:cubicBezTo>
                      <a:pt x="157" y="337"/>
                      <a:pt x="157" y="337"/>
                      <a:pt x="157" y="337"/>
                    </a:cubicBezTo>
                    <a:cubicBezTo>
                      <a:pt x="159" y="335"/>
                      <a:pt x="159" y="335"/>
                      <a:pt x="159" y="335"/>
                    </a:cubicBezTo>
                    <a:cubicBezTo>
                      <a:pt x="162" y="333"/>
                      <a:pt x="162" y="333"/>
                      <a:pt x="162" y="333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3" y="325"/>
                      <a:pt x="163" y="325"/>
                      <a:pt x="163" y="325"/>
                    </a:cubicBezTo>
                    <a:cubicBezTo>
                      <a:pt x="165" y="322"/>
                      <a:pt x="165" y="322"/>
                      <a:pt x="165" y="322"/>
                    </a:cubicBezTo>
                    <a:cubicBezTo>
                      <a:pt x="167" y="319"/>
                      <a:pt x="167" y="319"/>
                      <a:pt x="167" y="319"/>
                    </a:cubicBezTo>
                    <a:cubicBezTo>
                      <a:pt x="170" y="316"/>
                      <a:pt x="170" y="316"/>
                      <a:pt x="170" y="316"/>
                    </a:cubicBezTo>
                    <a:cubicBezTo>
                      <a:pt x="170" y="312"/>
                      <a:pt x="170" y="312"/>
                      <a:pt x="170" y="312"/>
                    </a:cubicBezTo>
                    <a:cubicBezTo>
                      <a:pt x="174" y="310"/>
                      <a:pt x="174" y="310"/>
                      <a:pt x="174" y="310"/>
                    </a:cubicBezTo>
                    <a:cubicBezTo>
                      <a:pt x="177" y="306"/>
                      <a:pt x="177" y="306"/>
                      <a:pt x="177" y="306"/>
                    </a:cubicBezTo>
                    <a:cubicBezTo>
                      <a:pt x="182" y="305"/>
                      <a:pt x="182" y="305"/>
                      <a:pt x="182" y="305"/>
                    </a:cubicBezTo>
                    <a:cubicBezTo>
                      <a:pt x="187" y="302"/>
                      <a:pt x="187" y="302"/>
                      <a:pt x="187" y="302"/>
                    </a:cubicBezTo>
                    <a:cubicBezTo>
                      <a:pt x="191" y="297"/>
                      <a:pt x="191" y="297"/>
                      <a:pt x="191" y="297"/>
                    </a:cubicBezTo>
                    <a:cubicBezTo>
                      <a:pt x="196" y="293"/>
                      <a:pt x="196" y="293"/>
                      <a:pt x="196" y="293"/>
                    </a:cubicBezTo>
                    <a:cubicBezTo>
                      <a:pt x="199" y="288"/>
                      <a:pt x="199" y="288"/>
                      <a:pt x="199" y="288"/>
                    </a:cubicBezTo>
                    <a:cubicBezTo>
                      <a:pt x="202" y="282"/>
                      <a:pt x="202" y="282"/>
                      <a:pt x="202" y="282"/>
                    </a:cubicBezTo>
                    <a:cubicBezTo>
                      <a:pt x="205" y="277"/>
                      <a:pt x="205" y="277"/>
                      <a:pt x="205" y="277"/>
                    </a:cubicBezTo>
                    <a:cubicBezTo>
                      <a:pt x="206" y="272"/>
                      <a:pt x="206" y="272"/>
                      <a:pt x="206" y="272"/>
                    </a:cubicBezTo>
                    <a:cubicBezTo>
                      <a:pt x="208" y="276"/>
                      <a:pt x="208" y="276"/>
                      <a:pt x="208" y="276"/>
                    </a:cubicBezTo>
                    <a:cubicBezTo>
                      <a:pt x="208" y="283"/>
                      <a:pt x="208" y="283"/>
                      <a:pt x="208" y="283"/>
                    </a:cubicBezTo>
                    <a:cubicBezTo>
                      <a:pt x="206" y="286"/>
                      <a:pt x="206" y="286"/>
                      <a:pt x="206" y="286"/>
                    </a:cubicBezTo>
                    <a:cubicBezTo>
                      <a:pt x="205" y="287"/>
                      <a:pt x="205" y="287"/>
                      <a:pt x="205" y="287"/>
                    </a:cubicBezTo>
                    <a:cubicBezTo>
                      <a:pt x="206" y="295"/>
                      <a:pt x="206" y="295"/>
                      <a:pt x="206" y="295"/>
                    </a:cubicBezTo>
                    <a:cubicBezTo>
                      <a:pt x="207" y="297"/>
                      <a:pt x="207" y="297"/>
                      <a:pt x="207" y="297"/>
                    </a:cubicBezTo>
                    <a:cubicBezTo>
                      <a:pt x="205" y="301"/>
                      <a:pt x="205" y="301"/>
                      <a:pt x="205" y="301"/>
                    </a:cubicBezTo>
                    <a:cubicBezTo>
                      <a:pt x="203" y="305"/>
                      <a:pt x="203" y="305"/>
                      <a:pt x="203" y="305"/>
                    </a:cubicBezTo>
                    <a:cubicBezTo>
                      <a:pt x="200" y="310"/>
                      <a:pt x="200" y="310"/>
                      <a:pt x="200" y="310"/>
                    </a:cubicBezTo>
                    <a:cubicBezTo>
                      <a:pt x="198" y="317"/>
                      <a:pt x="198" y="317"/>
                      <a:pt x="198" y="317"/>
                    </a:cubicBezTo>
                    <a:cubicBezTo>
                      <a:pt x="198" y="322"/>
                      <a:pt x="198" y="322"/>
                      <a:pt x="198" y="322"/>
                    </a:cubicBezTo>
                    <a:cubicBezTo>
                      <a:pt x="196" y="328"/>
                      <a:pt x="196" y="328"/>
                      <a:pt x="196" y="328"/>
                    </a:cubicBezTo>
                    <a:cubicBezTo>
                      <a:pt x="195" y="333"/>
                      <a:pt x="195" y="333"/>
                      <a:pt x="195" y="333"/>
                    </a:cubicBezTo>
                    <a:cubicBezTo>
                      <a:pt x="196" y="336"/>
                      <a:pt x="196" y="336"/>
                      <a:pt x="196" y="336"/>
                    </a:cubicBezTo>
                    <a:cubicBezTo>
                      <a:pt x="190" y="336"/>
                      <a:pt x="190" y="336"/>
                      <a:pt x="190" y="336"/>
                    </a:cubicBezTo>
                    <a:cubicBezTo>
                      <a:pt x="184" y="336"/>
                      <a:pt x="184" y="336"/>
                      <a:pt x="184" y="336"/>
                    </a:cubicBezTo>
                    <a:cubicBezTo>
                      <a:pt x="182" y="338"/>
                      <a:pt x="182" y="338"/>
                      <a:pt x="182" y="338"/>
                    </a:cubicBezTo>
                    <a:cubicBezTo>
                      <a:pt x="181" y="341"/>
                      <a:pt x="181" y="341"/>
                      <a:pt x="181" y="341"/>
                    </a:cubicBezTo>
                    <a:cubicBezTo>
                      <a:pt x="181" y="343"/>
                      <a:pt x="181" y="343"/>
                      <a:pt x="181" y="343"/>
                    </a:cubicBezTo>
                    <a:cubicBezTo>
                      <a:pt x="181" y="347"/>
                      <a:pt x="181" y="347"/>
                      <a:pt x="181" y="347"/>
                    </a:cubicBezTo>
                    <a:cubicBezTo>
                      <a:pt x="184" y="348"/>
                      <a:pt x="184" y="348"/>
                      <a:pt x="184" y="348"/>
                    </a:cubicBezTo>
                    <a:cubicBezTo>
                      <a:pt x="188" y="347"/>
                      <a:pt x="188" y="347"/>
                      <a:pt x="188" y="347"/>
                    </a:cubicBezTo>
                    <a:cubicBezTo>
                      <a:pt x="192" y="345"/>
                      <a:pt x="192" y="345"/>
                      <a:pt x="192" y="345"/>
                    </a:cubicBezTo>
                    <a:cubicBezTo>
                      <a:pt x="194" y="345"/>
                      <a:pt x="194" y="345"/>
                      <a:pt x="194" y="345"/>
                    </a:cubicBezTo>
                    <a:cubicBezTo>
                      <a:pt x="198" y="345"/>
                      <a:pt x="198" y="345"/>
                      <a:pt x="198" y="345"/>
                    </a:cubicBezTo>
                    <a:cubicBezTo>
                      <a:pt x="202" y="344"/>
                      <a:pt x="202" y="344"/>
                      <a:pt x="202" y="344"/>
                    </a:cubicBezTo>
                    <a:cubicBezTo>
                      <a:pt x="201" y="340"/>
                      <a:pt x="201" y="340"/>
                      <a:pt x="201" y="340"/>
                    </a:cubicBezTo>
                    <a:cubicBezTo>
                      <a:pt x="201" y="340"/>
                      <a:pt x="202" y="337"/>
                      <a:pt x="202" y="336"/>
                    </a:cubicBezTo>
                    <a:cubicBezTo>
                      <a:pt x="202" y="335"/>
                      <a:pt x="203" y="330"/>
                      <a:pt x="203" y="330"/>
                    </a:cubicBezTo>
                    <a:cubicBezTo>
                      <a:pt x="204" y="329"/>
                      <a:pt x="204" y="329"/>
                      <a:pt x="204" y="329"/>
                    </a:cubicBezTo>
                    <a:cubicBezTo>
                      <a:pt x="206" y="329"/>
                      <a:pt x="206" y="329"/>
                      <a:pt x="206" y="329"/>
                    </a:cubicBezTo>
                    <a:cubicBezTo>
                      <a:pt x="206" y="327"/>
                      <a:pt x="206" y="327"/>
                      <a:pt x="206" y="327"/>
                    </a:cubicBezTo>
                    <a:cubicBezTo>
                      <a:pt x="205" y="323"/>
                      <a:pt x="205" y="323"/>
                      <a:pt x="205" y="323"/>
                    </a:cubicBezTo>
                    <a:cubicBezTo>
                      <a:pt x="206" y="322"/>
                      <a:pt x="206" y="322"/>
                      <a:pt x="206" y="322"/>
                    </a:cubicBezTo>
                    <a:cubicBezTo>
                      <a:pt x="208" y="321"/>
                      <a:pt x="208" y="321"/>
                      <a:pt x="208" y="321"/>
                    </a:cubicBezTo>
                    <a:cubicBezTo>
                      <a:pt x="208" y="318"/>
                      <a:pt x="208" y="318"/>
                      <a:pt x="208" y="318"/>
                    </a:cubicBezTo>
                    <a:cubicBezTo>
                      <a:pt x="210" y="318"/>
                      <a:pt x="210" y="318"/>
                      <a:pt x="210" y="318"/>
                    </a:cubicBezTo>
                    <a:cubicBezTo>
                      <a:pt x="212" y="322"/>
                      <a:pt x="212" y="322"/>
                      <a:pt x="212" y="322"/>
                    </a:cubicBezTo>
                    <a:cubicBezTo>
                      <a:pt x="215" y="326"/>
                      <a:pt x="215" y="326"/>
                      <a:pt x="215" y="326"/>
                    </a:cubicBezTo>
                    <a:cubicBezTo>
                      <a:pt x="215" y="328"/>
                      <a:pt x="215" y="328"/>
                      <a:pt x="215" y="328"/>
                    </a:cubicBezTo>
                    <a:cubicBezTo>
                      <a:pt x="217" y="333"/>
                      <a:pt x="217" y="333"/>
                      <a:pt x="217" y="333"/>
                    </a:cubicBezTo>
                    <a:cubicBezTo>
                      <a:pt x="222" y="338"/>
                      <a:pt x="222" y="338"/>
                      <a:pt x="222" y="338"/>
                    </a:cubicBezTo>
                    <a:cubicBezTo>
                      <a:pt x="222" y="341"/>
                      <a:pt x="222" y="341"/>
                      <a:pt x="222" y="341"/>
                    </a:cubicBezTo>
                    <a:cubicBezTo>
                      <a:pt x="218" y="345"/>
                      <a:pt x="218" y="345"/>
                      <a:pt x="218" y="345"/>
                    </a:cubicBezTo>
                    <a:cubicBezTo>
                      <a:pt x="217" y="347"/>
                      <a:pt x="217" y="347"/>
                      <a:pt x="217" y="347"/>
                    </a:cubicBezTo>
                    <a:cubicBezTo>
                      <a:pt x="214" y="352"/>
                      <a:pt x="214" y="352"/>
                      <a:pt x="214" y="352"/>
                    </a:cubicBezTo>
                    <a:cubicBezTo>
                      <a:pt x="212" y="356"/>
                      <a:pt x="212" y="356"/>
                      <a:pt x="212" y="356"/>
                    </a:cubicBezTo>
                    <a:cubicBezTo>
                      <a:pt x="213" y="357"/>
                      <a:pt x="213" y="357"/>
                      <a:pt x="213" y="357"/>
                    </a:cubicBezTo>
                    <a:cubicBezTo>
                      <a:pt x="218" y="359"/>
                      <a:pt x="218" y="359"/>
                      <a:pt x="218" y="359"/>
                    </a:cubicBezTo>
                    <a:cubicBezTo>
                      <a:pt x="223" y="357"/>
                      <a:pt x="223" y="357"/>
                      <a:pt x="223" y="357"/>
                    </a:cubicBezTo>
                    <a:cubicBezTo>
                      <a:pt x="227" y="354"/>
                      <a:pt x="227" y="354"/>
                      <a:pt x="227" y="354"/>
                    </a:cubicBezTo>
                    <a:cubicBezTo>
                      <a:pt x="231" y="353"/>
                      <a:pt x="231" y="353"/>
                      <a:pt x="231" y="353"/>
                    </a:cubicBezTo>
                    <a:cubicBezTo>
                      <a:pt x="235" y="354"/>
                      <a:pt x="235" y="354"/>
                      <a:pt x="235" y="354"/>
                    </a:cubicBezTo>
                    <a:cubicBezTo>
                      <a:pt x="234" y="356"/>
                      <a:pt x="234" y="356"/>
                      <a:pt x="234" y="356"/>
                    </a:cubicBezTo>
                    <a:cubicBezTo>
                      <a:pt x="234" y="362"/>
                      <a:pt x="234" y="362"/>
                      <a:pt x="234" y="362"/>
                    </a:cubicBezTo>
                    <a:cubicBezTo>
                      <a:pt x="235" y="367"/>
                      <a:pt x="235" y="367"/>
                      <a:pt x="235" y="367"/>
                    </a:cubicBezTo>
                    <a:cubicBezTo>
                      <a:pt x="237" y="370"/>
                      <a:pt x="237" y="370"/>
                      <a:pt x="237" y="370"/>
                    </a:cubicBezTo>
                    <a:cubicBezTo>
                      <a:pt x="240" y="376"/>
                      <a:pt x="240" y="376"/>
                      <a:pt x="240" y="376"/>
                    </a:cubicBezTo>
                    <a:cubicBezTo>
                      <a:pt x="245" y="386"/>
                      <a:pt x="245" y="386"/>
                      <a:pt x="245" y="386"/>
                    </a:cubicBezTo>
                    <a:cubicBezTo>
                      <a:pt x="245" y="390"/>
                      <a:pt x="245" y="390"/>
                      <a:pt x="245" y="390"/>
                    </a:cubicBezTo>
                    <a:cubicBezTo>
                      <a:pt x="245" y="397"/>
                      <a:pt x="245" y="397"/>
                      <a:pt x="245" y="397"/>
                    </a:cubicBezTo>
                    <a:cubicBezTo>
                      <a:pt x="244" y="400"/>
                      <a:pt x="244" y="400"/>
                      <a:pt x="244" y="400"/>
                    </a:cubicBez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7" y="411"/>
                      <a:pt x="247" y="411"/>
                      <a:pt x="247" y="411"/>
                    </a:cubicBezTo>
                    <a:cubicBezTo>
                      <a:pt x="251" y="415"/>
                      <a:pt x="251" y="415"/>
                      <a:pt x="251" y="415"/>
                    </a:cubicBezTo>
                    <a:cubicBezTo>
                      <a:pt x="259" y="425"/>
                      <a:pt x="259" y="425"/>
                      <a:pt x="259" y="425"/>
                    </a:cubicBezTo>
                    <a:cubicBezTo>
                      <a:pt x="262" y="430"/>
                      <a:pt x="262" y="430"/>
                      <a:pt x="262" y="430"/>
                    </a:cubicBezTo>
                    <a:cubicBezTo>
                      <a:pt x="265" y="431"/>
                      <a:pt x="265" y="431"/>
                      <a:pt x="265" y="431"/>
                    </a:cubicBezTo>
                    <a:cubicBezTo>
                      <a:pt x="268" y="431"/>
                      <a:pt x="268" y="431"/>
                      <a:pt x="268" y="431"/>
                    </a:cubicBezTo>
                    <a:cubicBezTo>
                      <a:pt x="270" y="432"/>
                      <a:pt x="270" y="432"/>
                      <a:pt x="270" y="432"/>
                    </a:cubicBezTo>
                    <a:cubicBezTo>
                      <a:pt x="273" y="433"/>
                      <a:pt x="273" y="433"/>
                      <a:pt x="273" y="433"/>
                    </a:cubicBezTo>
                    <a:cubicBezTo>
                      <a:pt x="288" y="173"/>
                      <a:pt x="288" y="173"/>
                      <a:pt x="288" y="173"/>
                    </a:cubicBezTo>
                    <a:cubicBezTo>
                      <a:pt x="292" y="91"/>
                      <a:pt x="292" y="91"/>
                      <a:pt x="292" y="91"/>
                    </a:cubicBezTo>
                    <a:lnTo>
                      <a:pt x="222" y="85"/>
                    </a:lnTo>
                    <a:close/>
                  </a:path>
                </a:pathLst>
              </a:custGeom>
              <a:solidFill>
                <a:schemeClr val="bg1">
                  <a:lumMod val="60000"/>
                  <a:lumOff val="40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9">
                <a:extLst>
                  <a:ext uri="{FF2B5EF4-FFF2-40B4-BE49-F238E27FC236}">
                    <a16:creationId xmlns:a16="http://schemas.microsoft.com/office/drawing/2014/main" id="{D76EA4CE-93AA-C14D-8FF3-D7E875FE5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6925" y="3205163"/>
                <a:ext cx="392112" cy="298450"/>
              </a:xfrm>
              <a:custGeom>
                <a:avLst/>
                <a:gdLst>
                  <a:gd name="T0" fmla="*/ 232 w 247"/>
                  <a:gd name="T1" fmla="*/ 130 h 188"/>
                  <a:gd name="T2" fmla="*/ 211 w 247"/>
                  <a:gd name="T3" fmla="*/ 122 h 188"/>
                  <a:gd name="T4" fmla="*/ 195 w 247"/>
                  <a:gd name="T5" fmla="*/ 109 h 188"/>
                  <a:gd name="T6" fmla="*/ 194 w 247"/>
                  <a:gd name="T7" fmla="*/ 92 h 188"/>
                  <a:gd name="T8" fmla="*/ 176 w 247"/>
                  <a:gd name="T9" fmla="*/ 81 h 188"/>
                  <a:gd name="T10" fmla="*/ 156 w 247"/>
                  <a:gd name="T11" fmla="*/ 79 h 188"/>
                  <a:gd name="T12" fmla="*/ 135 w 247"/>
                  <a:gd name="T13" fmla="*/ 76 h 188"/>
                  <a:gd name="T14" fmla="*/ 119 w 247"/>
                  <a:gd name="T15" fmla="*/ 69 h 188"/>
                  <a:gd name="T16" fmla="*/ 109 w 247"/>
                  <a:gd name="T17" fmla="*/ 72 h 188"/>
                  <a:gd name="T18" fmla="*/ 98 w 247"/>
                  <a:gd name="T19" fmla="*/ 72 h 188"/>
                  <a:gd name="T20" fmla="*/ 85 w 247"/>
                  <a:gd name="T21" fmla="*/ 55 h 188"/>
                  <a:gd name="T22" fmla="*/ 66 w 247"/>
                  <a:gd name="T23" fmla="*/ 45 h 188"/>
                  <a:gd name="T24" fmla="*/ 61 w 247"/>
                  <a:gd name="T25" fmla="*/ 24 h 188"/>
                  <a:gd name="T26" fmla="*/ 47 w 247"/>
                  <a:gd name="T27" fmla="*/ 27 h 188"/>
                  <a:gd name="T28" fmla="*/ 43 w 247"/>
                  <a:gd name="T29" fmla="*/ 21 h 188"/>
                  <a:gd name="T30" fmla="*/ 34 w 247"/>
                  <a:gd name="T31" fmla="*/ 5 h 188"/>
                  <a:gd name="T32" fmla="*/ 18 w 247"/>
                  <a:gd name="T33" fmla="*/ 1 h 188"/>
                  <a:gd name="T34" fmla="*/ 8 w 247"/>
                  <a:gd name="T35" fmla="*/ 0 h 188"/>
                  <a:gd name="T36" fmla="*/ 0 w 247"/>
                  <a:gd name="T37" fmla="*/ 143 h 188"/>
                  <a:gd name="T38" fmla="*/ 6 w 247"/>
                  <a:gd name="T39" fmla="*/ 150 h 188"/>
                  <a:gd name="T40" fmla="*/ 10 w 247"/>
                  <a:gd name="T41" fmla="*/ 149 h 188"/>
                  <a:gd name="T42" fmla="*/ 21 w 247"/>
                  <a:gd name="T43" fmla="*/ 149 h 188"/>
                  <a:gd name="T44" fmla="*/ 33 w 247"/>
                  <a:gd name="T45" fmla="*/ 154 h 188"/>
                  <a:gd name="T46" fmla="*/ 47 w 247"/>
                  <a:gd name="T47" fmla="*/ 159 h 188"/>
                  <a:gd name="T48" fmla="*/ 59 w 247"/>
                  <a:gd name="T49" fmla="*/ 167 h 188"/>
                  <a:gd name="T50" fmla="*/ 72 w 247"/>
                  <a:gd name="T51" fmla="*/ 165 h 188"/>
                  <a:gd name="T52" fmla="*/ 91 w 247"/>
                  <a:gd name="T53" fmla="*/ 154 h 188"/>
                  <a:gd name="T54" fmla="*/ 97 w 247"/>
                  <a:gd name="T55" fmla="*/ 143 h 188"/>
                  <a:gd name="T56" fmla="*/ 106 w 247"/>
                  <a:gd name="T57" fmla="*/ 143 h 188"/>
                  <a:gd name="T58" fmla="*/ 104 w 247"/>
                  <a:gd name="T59" fmla="*/ 152 h 188"/>
                  <a:gd name="T60" fmla="*/ 101 w 247"/>
                  <a:gd name="T61" fmla="*/ 161 h 188"/>
                  <a:gd name="T62" fmla="*/ 112 w 247"/>
                  <a:gd name="T63" fmla="*/ 163 h 188"/>
                  <a:gd name="T64" fmla="*/ 118 w 247"/>
                  <a:gd name="T65" fmla="*/ 168 h 188"/>
                  <a:gd name="T66" fmla="*/ 125 w 247"/>
                  <a:gd name="T67" fmla="*/ 176 h 188"/>
                  <a:gd name="T68" fmla="*/ 136 w 247"/>
                  <a:gd name="T69" fmla="*/ 186 h 188"/>
                  <a:gd name="T70" fmla="*/ 145 w 247"/>
                  <a:gd name="T71" fmla="*/ 183 h 188"/>
                  <a:gd name="T72" fmla="*/ 141 w 247"/>
                  <a:gd name="T73" fmla="*/ 177 h 188"/>
                  <a:gd name="T74" fmla="*/ 152 w 247"/>
                  <a:gd name="T75" fmla="*/ 173 h 188"/>
                  <a:gd name="T76" fmla="*/ 165 w 247"/>
                  <a:gd name="T77" fmla="*/ 166 h 188"/>
                  <a:gd name="T78" fmla="*/ 177 w 247"/>
                  <a:gd name="T79" fmla="*/ 155 h 188"/>
                  <a:gd name="T80" fmla="*/ 195 w 247"/>
                  <a:gd name="T81" fmla="*/ 152 h 188"/>
                  <a:gd name="T82" fmla="*/ 219 w 247"/>
                  <a:gd name="T83" fmla="*/ 152 h 188"/>
                  <a:gd name="T84" fmla="*/ 238 w 247"/>
                  <a:gd name="T85" fmla="*/ 145 h 188"/>
                  <a:gd name="T86" fmla="*/ 247 w 247"/>
                  <a:gd name="T87" fmla="*/ 131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7" h="188">
                    <a:moveTo>
                      <a:pt x="244" y="130"/>
                    </a:moveTo>
                    <a:lnTo>
                      <a:pt x="237" y="131"/>
                    </a:lnTo>
                    <a:lnTo>
                      <a:pt x="232" y="130"/>
                    </a:lnTo>
                    <a:lnTo>
                      <a:pt x="225" y="128"/>
                    </a:lnTo>
                    <a:lnTo>
                      <a:pt x="217" y="128"/>
                    </a:lnTo>
                    <a:lnTo>
                      <a:pt x="211" y="122"/>
                    </a:lnTo>
                    <a:lnTo>
                      <a:pt x="203" y="117"/>
                    </a:lnTo>
                    <a:lnTo>
                      <a:pt x="197" y="113"/>
                    </a:lnTo>
                    <a:lnTo>
                      <a:pt x="195" y="109"/>
                    </a:lnTo>
                    <a:lnTo>
                      <a:pt x="197" y="103"/>
                    </a:lnTo>
                    <a:lnTo>
                      <a:pt x="197" y="98"/>
                    </a:lnTo>
                    <a:lnTo>
                      <a:pt x="194" y="92"/>
                    </a:lnTo>
                    <a:lnTo>
                      <a:pt x="190" y="86"/>
                    </a:lnTo>
                    <a:lnTo>
                      <a:pt x="184" y="82"/>
                    </a:lnTo>
                    <a:lnTo>
                      <a:pt x="176" y="81"/>
                    </a:lnTo>
                    <a:lnTo>
                      <a:pt x="167" y="79"/>
                    </a:lnTo>
                    <a:lnTo>
                      <a:pt x="162" y="79"/>
                    </a:lnTo>
                    <a:lnTo>
                      <a:pt x="156" y="79"/>
                    </a:lnTo>
                    <a:lnTo>
                      <a:pt x="150" y="79"/>
                    </a:lnTo>
                    <a:lnTo>
                      <a:pt x="144" y="79"/>
                    </a:lnTo>
                    <a:lnTo>
                      <a:pt x="135" y="76"/>
                    </a:lnTo>
                    <a:lnTo>
                      <a:pt x="128" y="72"/>
                    </a:lnTo>
                    <a:lnTo>
                      <a:pt x="122" y="70"/>
                    </a:lnTo>
                    <a:lnTo>
                      <a:pt x="119" y="69"/>
                    </a:lnTo>
                    <a:lnTo>
                      <a:pt x="117" y="70"/>
                    </a:lnTo>
                    <a:lnTo>
                      <a:pt x="113" y="71"/>
                    </a:lnTo>
                    <a:lnTo>
                      <a:pt x="109" y="72"/>
                    </a:lnTo>
                    <a:lnTo>
                      <a:pt x="107" y="74"/>
                    </a:lnTo>
                    <a:lnTo>
                      <a:pt x="103" y="76"/>
                    </a:lnTo>
                    <a:lnTo>
                      <a:pt x="98" y="72"/>
                    </a:lnTo>
                    <a:lnTo>
                      <a:pt x="95" y="68"/>
                    </a:lnTo>
                    <a:lnTo>
                      <a:pt x="92" y="60"/>
                    </a:lnTo>
                    <a:lnTo>
                      <a:pt x="85" y="55"/>
                    </a:lnTo>
                    <a:lnTo>
                      <a:pt x="82" y="54"/>
                    </a:lnTo>
                    <a:lnTo>
                      <a:pt x="75" y="50"/>
                    </a:lnTo>
                    <a:lnTo>
                      <a:pt x="66" y="45"/>
                    </a:lnTo>
                    <a:lnTo>
                      <a:pt x="66" y="38"/>
                    </a:lnTo>
                    <a:lnTo>
                      <a:pt x="66" y="27"/>
                    </a:lnTo>
                    <a:lnTo>
                      <a:pt x="61" y="24"/>
                    </a:lnTo>
                    <a:lnTo>
                      <a:pt x="53" y="22"/>
                    </a:lnTo>
                    <a:lnTo>
                      <a:pt x="50" y="23"/>
                    </a:lnTo>
                    <a:lnTo>
                      <a:pt x="47" y="27"/>
                    </a:lnTo>
                    <a:lnTo>
                      <a:pt x="44" y="27"/>
                    </a:lnTo>
                    <a:lnTo>
                      <a:pt x="43" y="24"/>
                    </a:lnTo>
                    <a:lnTo>
                      <a:pt x="43" y="21"/>
                    </a:lnTo>
                    <a:lnTo>
                      <a:pt x="39" y="13"/>
                    </a:lnTo>
                    <a:lnTo>
                      <a:pt x="39" y="10"/>
                    </a:lnTo>
                    <a:lnTo>
                      <a:pt x="34" y="5"/>
                    </a:lnTo>
                    <a:lnTo>
                      <a:pt x="31" y="1"/>
                    </a:lnTo>
                    <a:lnTo>
                      <a:pt x="28" y="1"/>
                    </a:lnTo>
                    <a:lnTo>
                      <a:pt x="18" y="1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2" y="146"/>
                    </a:lnTo>
                    <a:lnTo>
                      <a:pt x="5" y="147"/>
                    </a:lnTo>
                    <a:lnTo>
                      <a:pt x="6" y="150"/>
                    </a:lnTo>
                    <a:lnTo>
                      <a:pt x="8" y="151"/>
                    </a:lnTo>
                    <a:lnTo>
                      <a:pt x="10" y="150"/>
                    </a:lnTo>
                    <a:lnTo>
                      <a:pt x="10" y="149"/>
                    </a:lnTo>
                    <a:lnTo>
                      <a:pt x="16" y="147"/>
                    </a:lnTo>
                    <a:lnTo>
                      <a:pt x="18" y="147"/>
                    </a:lnTo>
                    <a:lnTo>
                      <a:pt x="21" y="149"/>
                    </a:lnTo>
                    <a:lnTo>
                      <a:pt x="23" y="150"/>
                    </a:lnTo>
                    <a:lnTo>
                      <a:pt x="27" y="152"/>
                    </a:lnTo>
                    <a:lnTo>
                      <a:pt x="33" y="154"/>
                    </a:lnTo>
                    <a:lnTo>
                      <a:pt x="38" y="156"/>
                    </a:lnTo>
                    <a:lnTo>
                      <a:pt x="42" y="157"/>
                    </a:lnTo>
                    <a:lnTo>
                      <a:pt x="47" y="159"/>
                    </a:lnTo>
                    <a:lnTo>
                      <a:pt x="50" y="161"/>
                    </a:lnTo>
                    <a:lnTo>
                      <a:pt x="54" y="163"/>
                    </a:lnTo>
                    <a:lnTo>
                      <a:pt x="59" y="167"/>
                    </a:lnTo>
                    <a:lnTo>
                      <a:pt x="61" y="171"/>
                    </a:lnTo>
                    <a:lnTo>
                      <a:pt x="66" y="170"/>
                    </a:lnTo>
                    <a:lnTo>
                      <a:pt x="72" y="165"/>
                    </a:lnTo>
                    <a:lnTo>
                      <a:pt x="77" y="162"/>
                    </a:lnTo>
                    <a:lnTo>
                      <a:pt x="83" y="159"/>
                    </a:lnTo>
                    <a:lnTo>
                      <a:pt x="91" y="154"/>
                    </a:lnTo>
                    <a:lnTo>
                      <a:pt x="95" y="150"/>
                    </a:lnTo>
                    <a:lnTo>
                      <a:pt x="96" y="147"/>
                    </a:lnTo>
                    <a:lnTo>
                      <a:pt x="97" y="143"/>
                    </a:lnTo>
                    <a:lnTo>
                      <a:pt x="101" y="143"/>
                    </a:lnTo>
                    <a:lnTo>
                      <a:pt x="102" y="141"/>
                    </a:lnTo>
                    <a:lnTo>
                      <a:pt x="106" y="143"/>
                    </a:lnTo>
                    <a:lnTo>
                      <a:pt x="108" y="146"/>
                    </a:lnTo>
                    <a:lnTo>
                      <a:pt x="106" y="149"/>
                    </a:lnTo>
                    <a:lnTo>
                      <a:pt x="104" y="152"/>
                    </a:lnTo>
                    <a:lnTo>
                      <a:pt x="102" y="154"/>
                    </a:lnTo>
                    <a:lnTo>
                      <a:pt x="99" y="157"/>
                    </a:lnTo>
                    <a:lnTo>
                      <a:pt x="101" y="161"/>
                    </a:lnTo>
                    <a:lnTo>
                      <a:pt x="104" y="162"/>
                    </a:lnTo>
                    <a:lnTo>
                      <a:pt x="109" y="162"/>
                    </a:lnTo>
                    <a:lnTo>
                      <a:pt x="112" y="163"/>
                    </a:lnTo>
                    <a:lnTo>
                      <a:pt x="113" y="165"/>
                    </a:lnTo>
                    <a:lnTo>
                      <a:pt x="115" y="167"/>
                    </a:lnTo>
                    <a:lnTo>
                      <a:pt x="118" y="168"/>
                    </a:lnTo>
                    <a:lnTo>
                      <a:pt x="120" y="171"/>
                    </a:lnTo>
                    <a:lnTo>
                      <a:pt x="122" y="172"/>
                    </a:lnTo>
                    <a:lnTo>
                      <a:pt x="125" y="176"/>
                    </a:lnTo>
                    <a:lnTo>
                      <a:pt x="130" y="181"/>
                    </a:lnTo>
                    <a:lnTo>
                      <a:pt x="133" y="182"/>
                    </a:lnTo>
                    <a:lnTo>
                      <a:pt x="136" y="186"/>
                    </a:lnTo>
                    <a:lnTo>
                      <a:pt x="139" y="188"/>
                    </a:lnTo>
                    <a:lnTo>
                      <a:pt x="144" y="186"/>
                    </a:lnTo>
                    <a:lnTo>
                      <a:pt x="145" y="183"/>
                    </a:lnTo>
                    <a:lnTo>
                      <a:pt x="144" y="179"/>
                    </a:lnTo>
                    <a:lnTo>
                      <a:pt x="142" y="178"/>
                    </a:lnTo>
                    <a:lnTo>
                      <a:pt x="141" y="177"/>
                    </a:lnTo>
                    <a:lnTo>
                      <a:pt x="142" y="176"/>
                    </a:lnTo>
                    <a:lnTo>
                      <a:pt x="145" y="176"/>
                    </a:lnTo>
                    <a:lnTo>
                      <a:pt x="152" y="173"/>
                    </a:lnTo>
                    <a:lnTo>
                      <a:pt x="155" y="173"/>
                    </a:lnTo>
                    <a:lnTo>
                      <a:pt x="157" y="171"/>
                    </a:lnTo>
                    <a:lnTo>
                      <a:pt x="165" y="166"/>
                    </a:lnTo>
                    <a:lnTo>
                      <a:pt x="167" y="165"/>
                    </a:lnTo>
                    <a:lnTo>
                      <a:pt x="173" y="160"/>
                    </a:lnTo>
                    <a:lnTo>
                      <a:pt x="177" y="155"/>
                    </a:lnTo>
                    <a:lnTo>
                      <a:pt x="181" y="155"/>
                    </a:lnTo>
                    <a:lnTo>
                      <a:pt x="184" y="152"/>
                    </a:lnTo>
                    <a:lnTo>
                      <a:pt x="195" y="152"/>
                    </a:lnTo>
                    <a:lnTo>
                      <a:pt x="206" y="152"/>
                    </a:lnTo>
                    <a:lnTo>
                      <a:pt x="215" y="152"/>
                    </a:lnTo>
                    <a:lnTo>
                      <a:pt x="219" y="152"/>
                    </a:lnTo>
                    <a:lnTo>
                      <a:pt x="226" y="150"/>
                    </a:lnTo>
                    <a:lnTo>
                      <a:pt x="232" y="150"/>
                    </a:lnTo>
                    <a:lnTo>
                      <a:pt x="238" y="145"/>
                    </a:lnTo>
                    <a:lnTo>
                      <a:pt x="243" y="143"/>
                    </a:lnTo>
                    <a:lnTo>
                      <a:pt x="247" y="138"/>
                    </a:lnTo>
                    <a:lnTo>
                      <a:pt x="247" y="131"/>
                    </a:lnTo>
                    <a:lnTo>
                      <a:pt x="244" y="13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10">
                <a:extLst>
                  <a:ext uri="{FF2B5EF4-FFF2-40B4-BE49-F238E27FC236}">
                    <a16:creationId xmlns:a16="http://schemas.microsoft.com/office/drawing/2014/main" id="{A0F0DDA1-D960-A24F-9962-77C4B0D0A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4863" y="2916238"/>
                <a:ext cx="608012" cy="496888"/>
              </a:xfrm>
              <a:custGeom>
                <a:avLst/>
                <a:gdLst>
                  <a:gd name="T0" fmla="*/ 378 w 383"/>
                  <a:gd name="T1" fmla="*/ 2 h 313"/>
                  <a:gd name="T2" fmla="*/ 378 w 383"/>
                  <a:gd name="T3" fmla="*/ 4 h 313"/>
                  <a:gd name="T4" fmla="*/ 366 w 383"/>
                  <a:gd name="T5" fmla="*/ 10 h 313"/>
                  <a:gd name="T6" fmla="*/ 342 w 383"/>
                  <a:gd name="T7" fmla="*/ 18 h 313"/>
                  <a:gd name="T8" fmla="*/ 330 w 383"/>
                  <a:gd name="T9" fmla="*/ 33 h 313"/>
                  <a:gd name="T10" fmla="*/ 319 w 383"/>
                  <a:gd name="T11" fmla="*/ 36 h 313"/>
                  <a:gd name="T12" fmla="*/ 308 w 383"/>
                  <a:gd name="T13" fmla="*/ 37 h 313"/>
                  <a:gd name="T14" fmla="*/ 300 w 383"/>
                  <a:gd name="T15" fmla="*/ 24 h 313"/>
                  <a:gd name="T16" fmla="*/ 283 w 383"/>
                  <a:gd name="T17" fmla="*/ 22 h 313"/>
                  <a:gd name="T18" fmla="*/ 268 w 383"/>
                  <a:gd name="T19" fmla="*/ 21 h 313"/>
                  <a:gd name="T20" fmla="*/ 252 w 383"/>
                  <a:gd name="T21" fmla="*/ 22 h 313"/>
                  <a:gd name="T22" fmla="*/ 239 w 383"/>
                  <a:gd name="T23" fmla="*/ 26 h 313"/>
                  <a:gd name="T24" fmla="*/ 0 w 383"/>
                  <a:gd name="T25" fmla="*/ 238 h 313"/>
                  <a:gd name="T26" fmla="*/ 13 w 383"/>
                  <a:gd name="T27" fmla="*/ 183 h 313"/>
                  <a:gd name="T28" fmla="*/ 29 w 383"/>
                  <a:gd name="T29" fmla="*/ 187 h 313"/>
                  <a:gd name="T30" fmla="*/ 38 w 383"/>
                  <a:gd name="T31" fmla="*/ 203 h 313"/>
                  <a:gd name="T32" fmla="*/ 42 w 383"/>
                  <a:gd name="T33" fmla="*/ 209 h 313"/>
                  <a:gd name="T34" fmla="*/ 56 w 383"/>
                  <a:gd name="T35" fmla="*/ 206 h 313"/>
                  <a:gd name="T36" fmla="*/ 61 w 383"/>
                  <a:gd name="T37" fmla="*/ 227 h 313"/>
                  <a:gd name="T38" fmla="*/ 80 w 383"/>
                  <a:gd name="T39" fmla="*/ 237 h 313"/>
                  <a:gd name="T40" fmla="*/ 93 w 383"/>
                  <a:gd name="T41" fmla="*/ 254 h 313"/>
                  <a:gd name="T42" fmla="*/ 104 w 383"/>
                  <a:gd name="T43" fmla="*/ 254 h 313"/>
                  <a:gd name="T44" fmla="*/ 114 w 383"/>
                  <a:gd name="T45" fmla="*/ 251 h 313"/>
                  <a:gd name="T46" fmla="*/ 130 w 383"/>
                  <a:gd name="T47" fmla="*/ 258 h 313"/>
                  <a:gd name="T48" fmla="*/ 151 w 383"/>
                  <a:gd name="T49" fmla="*/ 261 h 313"/>
                  <a:gd name="T50" fmla="*/ 171 w 383"/>
                  <a:gd name="T51" fmla="*/ 263 h 313"/>
                  <a:gd name="T52" fmla="*/ 189 w 383"/>
                  <a:gd name="T53" fmla="*/ 274 h 313"/>
                  <a:gd name="T54" fmla="*/ 190 w 383"/>
                  <a:gd name="T55" fmla="*/ 291 h 313"/>
                  <a:gd name="T56" fmla="*/ 206 w 383"/>
                  <a:gd name="T57" fmla="*/ 304 h 313"/>
                  <a:gd name="T58" fmla="*/ 227 w 383"/>
                  <a:gd name="T59" fmla="*/ 312 h 313"/>
                  <a:gd name="T60" fmla="*/ 241 w 383"/>
                  <a:gd name="T61" fmla="*/ 306 h 313"/>
                  <a:gd name="T62" fmla="*/ 243 w 383"/>
                  <a:gd name="T63" fmla="*/ 296 h 313"/>
                  <a:gd name="T64" fmla="*/ 252 w 383"/>
                  <a:gd name="T65" fmla="*/ 274 h 313"/>
                  <a:gd name="T66" fmla="*/ 259 w 383"/>
                  <a:gd name="T67" fmla="*/ 257 h 313"/>
                  <a:gd name="T68" fmla="*/ 269 w 383"/>
                  <a:gd name="T69" fmla="*/ 246 h 313"/>
                  <a:gd name="T70" fmla="*/ 274 w 383"/>
                  <a:gd name="T71" fmla="*/ 235 h 313"/>
                  <a:gd name="T72" fmla="*/ 280 w 383"/>
                  <a:gd name="T73" fmla="*/ 215 h 313"/>
                  <a:gd name="T74" fmla="*/ 295 w 383"/>
                  <a:gd name="T75" fmla="*/ 194 h 313"/>
                  <a:gd name="T76" fmla="*/ 314 w 383"/>
                  <a:gd name="T77" fmla="*/ 173 h 313"/>
                  <a:gd name="T78" fmla="*/ 330 w 383"/>
                  <a:gd name="T79" fmla="*/ 160 h 313"/>
                  <a:gd name="T80" fmla="*/ 339 w 383"/>
                  <a:gd name="T81" fmla="*/ 144 h 313"/>
                  <a:gd name="T82" fmla="*/ 349 w 383"/>
                  <a:gd name="T83" fmla="*/ 129 h 313"/>
                  <a:gd name="T84" fmla="*/ 355 w 383"/>
                  <a:gd name="T85" fmla="*/ 104 h 313"/>
                  <a:gd name="T86" fmla="*/ 364 w 383"/>
                  <a:gd name="T87" fmla="*/ 90 h 313"/>
                  <a:gd name="T88" fmla="*/ 370 w 383"/>
                  <a:gd name="T89" fmla="*/ 64 h 313"/>
                  <a:gd name="T90" fmla="*/ 378 w 383"/>
                  <a:gd name="T91" fmla="*/ 47 h 313"/>
                  <a:gd name="T92" fmla="*/ 382 w 383"/>
                  <a:gd name="T93" fmla="*/ 23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3" h="313">
                    <a:moveTo>
                      <a:pt x="382" y="8"/>
                    </a:moveTo>
                    <a:lnTo>
                      <a:pt x="380" y="5"/>
                    </a:lnTo>
                    <a:lnTo>
                      <a:pt x="378" y="2"/>
                    </a:lnTo>
                    <a:lnTo>
                      <a:pt x="378" y="1"/>
                    </a:lnTo>
                    <a:lnTo>
                      <a:pt x="378" y="2"/>
                    </a:lnTo>
                    <a:lnTo>
                      <a:pt x="378" y="4"/>
                    </a:lnTo>
                    <a:lnTo>
                      <a:pt x="371" y="0"/>
                    </a:lnTo>
                    <a:lnTo>
                      <a:pt x="367" y="4"/>
                    </a:lnTo>
                    <a:lnTo>
                      <a:pt x="366" y="10"/>
                    </a:lnTo>
                    <a:lnTo>
                      <a:pt x="362" y="18"/>
                    </a:lnTo>
                    <a:lnTo>
                      <a:pt x="348" y="17"/>
                    </a:lnTo>
                    <a:lnTo>
                      <a:pt x="342" y="18"/>
                    </a:lnTo>
                    <a:lnTo>
                      <a:pt x="338" y="23"/>
                    </a:lnTo>
                    <a:lnTo>
                      <a:pt x="335" y="29"/>
                    </a:lnTo>
                    <a:lnTo>
                      <a:pt x="330" y="33"/>
                    </a:lnTo>
                    <a:lnTo>
                      <a:pt x="324" y="33"/>
                    </a:lnTo>
                    <a:lnTo>
                      <a:pt x="322" y="36"/>
                    </a:lnTo>
                    <a:lnTo>
                      <a:pt x="319" y="36"/>
                    </a:lnTo>
                    <a:lnTo>
                      <a:pt x="317" y="39"/>
                    </a:lnTo>
                    <a:lnTo>
                      <a:pt x="311" y="39"/>
                    </a:lnTo>
                    <a:lnTo>
                      <a:pt x="308" y="37"/>
                    </a:lnTo>
                    <a:lnTo>
                      <a:pt x="306" y="33"/>
                    </a:lnTo>
                    <a:lnTo>
                      <a:pt x="302" y="29"/>
                    </a:lnTo>
                    <a:lnTo>
                      <a:pt x="300" y="24"/>
                    </a:lnTo>
                    <a:lnTo>
                      <a:pt x="295" y="24"/>
                    </a:lnTo>
                    <a:lnTo>
                      <a:pt x="289" y="24"/>
                    </a:lnTo>
                    <a:lnTo>
                      <a:pt x="283" y="22"/>
                    </a:lnTo>
                    <a:lnTo>
                      <a:pt x="278" y="20"/>
                    </a:lnTo>
                    <a:lnTo>
                      <a:pt x="273" y="20"/>
                    </a:lnTo>
                    <a:lnTo>
                      <a:pt x="268" y="21"/>
                    </a:lnTo>
                    <a:lnTo>
                      <a:pt x="264" y="23"/>
                    </a:lnTo>
                    <a:lnTo>
                      <a:pt x="258" y="23"/>
                    </a:lnTo>
                    <a:lnTo>
                      <a:pt x="252" y="22"/>
                    </a:lnTo>
                    <a:lnTo>
                      <a:pt x="249" y="22"/>
                    </a:lnTo>
                    <a:lnTo>
                      <a:pt x="241" y="26"/>
                    </a:lnTo>
                    <a:lnTo>
                      <a:pt x="239" y="26"/>
                    </a:lnTo>
                    <a:lnTo>
                      <a:pt x="13" y="5"/>
                    </a:lnTo>
                    <a:lnTo>
                      <a:pt x="0" y="238"/>
                    </a:lnTo>
                    <a:lnTo>
                      <a:pt x="0" y="238"/>
                    </a:lnTo>
                    <a:lnTo>
                      <a:pt x="3" y="182"/>
                    </a:lnTo>
                    <a:lnTo>
                      <a:pt x="6" y="183"/>
                    </a:lnTo>
                    <a:lnTo>
                      <a:pt x="13" y="183"/>
                    </a:lnTo>
                    <a:lnTo>
                      <a:pt x="23" y="183"/>
                    </a:lnTo>
                    <a:lnTo>
                      <a:pt x="26" y="183"/>
                    </a:lnTo>
                    <a:lnTo>
                      <a:pt x="29" y="187"/>
                    </a:lnTo>
                    <a:lnTo>
                      <a:pt x="34" y="192"/>
                    </a:lnTo>
                    <a:lnTo>
                      <a:pt x="34" y="195"/>
                    </a:lnTo>
                    <a:lnTo>
                      <a:pt x="38" y="203"/>
                    </a:lnTo>
                    <a:lnTo>
                      <a:pt x="38" y="206"/>
                    </a:lnTo>
                    <a:lnTo>
                      <a:pt x="39" y="209"/>
                    </a:lnTo>
                    <a:lnTo>
                      <a:pt x="42" y="209"/>
                    </a:lnTo>
                    <a:lnTo>
                      <a:pt x="45" y="205"/>
                    </a:lnTo>
                    <a:lnTo>
                      <a:pt x="48" y="204"/>
                    </a:lnTo>
                    <a:lnTo>
                      <a:pt x="56" y="206"/>
                    </a:lnTo>
                    <a:lnTo>
                      <a:pt x="61" y="209"/>
                    </a:lnTo>
                    <a:lnTo>
                      <a:pt x="61" y="220"/>
                    </a:lnTo>
                    <a:lnTo>
                      <a:pt x="61" y="227"/>
                    </a:lnTo>
                    <a:lnTo>
                      <a:pt x="70" y="232"/>
                    </a:lnTo>
                    <a:lnTo>
                      <a:pt x="77" y="236"/>
                    </a:lnTo>
                    <a:lnTo>
                      <a:pt x="80" y="237"/>
                    </a:lnTo>
                    <a:lnTo>
                      <a:pt x="87" y="242"/>
                    </a:lnTo>
                    <a:lnTo>
                      <a:pt x="90" y="250"/>
                    </a:lnTo>
                    <a:lnTo>
                      <a:pt x="93" y="254"/>
                    </a:lnTo>
                    <a:lnTo>
                      <a:pt x="98" y="258"/>
                    </a:lnTo>
                    <a:lnTo>
                      <a:pt x="102" y="256"/>
                    </a:lnTo>
                    <a:lnTo>
                      <a:pt x="104" y="254"/>
                    </a:lnTo>
                    <a:lnTo>
                      <a:pt x="108" y="253"/>
                    </a:lnTo>
                    <a:lnTo>
                      <a:pt x="112" y="252"/>
                    </a:lnTo>
                    <a:lnTo>
                      <a:pt x="114" y="251"/>
                    </a:lnTo>
                    <a:lnTo>
                      <a:pt x="117" y="252"/>
                    </a:lnTo>
                    <a:lnTo>
                      <a:pt x="123" y="254"/>
                    </a:lnTo>
                    <a:lnTo>
                      <a:pt x="130" y="258"/>
                    </a:lnTo>
                    <a:lnTo>
                      <a:pt x="139" y="261"/>
                    </a:lnTo>
                    <a:lnTo>
                      <a:pt x="145" y="261"/>
                    </a:lnTo>
                    <a:lnTo>
                      <a:pt x="151" y="261"/>
                    </a:lnTo>
                    <a:lnTo>
                      <a:pt x="157" y="261"/>
                    </a:lnTo>
                    <a:lnTo>
                      <a:pt x="162" y="261"/>
                    </a:lnTo>
                    <a:lnTo>
                      <a:pt x="171" y="263"/>
                    </a:lnTo>
                    <a:lnTo>
                      <a:pt x="179" y="264"/>
                    </a:lnTo>
                    <a:lnTo>
                      <a:pt x="185" y="268"/>
                    </a:lnTo>
                    <a:lnTo>
                      <a:pt x="189" y="274"/>
                    </a:lnTo>
                    <a:lnTo>
                      <a:pt x="192" y="280"/>
                    </a:lnTo>
                    <a:lnTo>
                      <a:pt x="192" y="285"/>
                    </a:lnTo>
                    <a:lnTo>
                      <a:pt x="190" y="291"/>
                    </a:lnTo>
                    <a:lnTo>
                      <a:pt x="192" y="295"/>
                    </a:lnTo>
                    <a:lnTo>
                      <a:pt x="198" y="299"/>
                    </a:lnTo>
                    <a:lnTo>
                      <a:pt x="206" y="304"/>
                    </a:lnTo>
                    <a:lnTo>
                      <a:pt x="212" y="310"/>
                    </a:lnTo>
                    <a:lnTo>
                      <a:pt x="220" y="310"/>
                    </a:lnTo>
                    <a:lnTo>
                      <a:pt x="227" y="312"/>
                    </a:lnTo>
                    <a:lnTo>
                      <a:pt x="232" y="313"/>
                    </a:lnTo>
                    <a:lnTo>
                      <a:pt x="239" y="312"/>
                    </a:lnTo>
                    <a:lnTo>
                      <a:pt x="241" y="306"/>
                    </a:lnTo>
                    <a:lnTo>
                      <a:pt x="242" y="304"/>
                    </a:lnTo>
                    <a:lnTo>
                      <a:pt x="243" y="299"/>
                    </a:lnTo>
                    <a:lnTo>
                      <a:pt x="243" y="296"/>
                    </a:lnTo>
                    <a:lnTo>
                      <a:pt x="246" y="290"/>
                    </a:lnTo>
                    <a:lnTo>
                      <a:pt x="248" y="282"/>
                    </a:lnTo>
                    <a:lnTo>
                      <a:pt x="252" y="274"/>
                    </a:lnTo>
                    <a:lnTo>
                      <a:pt x="253" y="268"/>
                    </a:lnTo>
                    <a:lnTo>
                      <a:pt x="257" y="262"/>
                    </a:lnTo>
                    <a:lnTo>
                      <a:pt x="259" y="257"/>
                    </a:lnTo>
                    <a:lnTo>
                      <a:pt x="260" y="253"/>
                    </a:lnTo>
                    <a:lnTo>
                      <a:pt x="264" y="250"/>
                    </a:lnTo>
                    <a:lnTo>
                      <a:pt x="269" y="246"/>
                    </a:lnTo>
                    <a:lnTo>
                      <a:pt x="271" y="242"/>
                    </a:lnTo>
                    <a:lnTo>
                      <a:pt x="271" y="240"/>
                    </a:lnTo>
                    <a:lnTo>
                      <a:pt x="274" y="235"/>
                    </a:lnTo>
                    <a:lnTo>
                      <a:pt x="276" y="227"/>
                    </a:lnTo>
                    <a:lnTo>
                      <a:pt x="279" y="220"/>
                    </a:lnTo>
                    <a:lnTo>
                      <a:pt x="280" y="215"/>
                    </a:lnTo>
                    <a:lnTo>
                      <a:pt x="284" y="210"/>
                    </a:lnTo>
                    <a:lnTo>
                      <a:pt x="285" y="206"/>
                    </a:lnTo>
                    <a:lnTo>
                      <a:pt x="295" y="194"/>
                    </a:lnTo>
                    <a:lnTo>
                      <a:pt x="298" y="189"/>
                    </a:lnTo>
                    <a:lnTo>
                      <a:pt x="307" y="181"/>
                    </a:lnTo>
                    <a:lnTo>
                      <a:pt x="314" y="173"/>
                    </a:lnTo>
                    <a:lnTo>
                      <a:pt x="319" y="170"/>
                    </a:lnTo>
                    <a:lnTo>
                      <a:pt x="328" y="163"/>
                    </a:lnTo>
                    <a:lnTo>
                      <a:pt x="330" y="160"/>
                    </a:lnTo>
                    <a:lnTo>
                      <a:pt x="332" y="155"/>
                    </a:lnTo>
                    <a:lnTo>
                      <a:pt x="334" y="150"/>
                    </a:lnTo>
                    <a:lnTo>
                      <a:pt x="339" y="144"/>
                    </a:lnTo>
                    <a:lnTo>
                      <a:pt x="344" y="139"/>
                    </a:lnTo>
                    <a:lnTo>
                      <a:pt x="345" y="135"/>
                    </a:lnTo>
                    <a:lnTo>
                      <a:pt x="349" y="129"/>
                    </a:lnTo>
                    <a:lnTo>
                      <a:pt x="351" y="123"/>
                    </a:lnTo>
                    <a:lnTo>
                      <a:pt x="354" y="118"/>
                    </a:lnTo>
                    <a:lnTo>
                      <a:pt x="355" y="104"/>
                    </a:lnTo>
                    <a:lnTo>
                      <a:pt x="355" y="102"/>
                    </a:lnTo>
                    <a:lnTo>
                      <a:pt x="359" y="96"/>
                    </a:lnTo>
                    <a:lnTo>
                      <a:pt x="364" y="90"/>
                    </a:lnTo>
                    <a:lnTo>
                      <a:pt x="364" y="83"/>
                    </a:lnTo>
                    <a:lnTo>
                      <a:pt x="369" y="72"/>
                    </a:lnTo>
                    <a:lnTo>
                      <a:pt x="370" y="64"/>
                    </a:lnTo>
                    <a:lnTo>
                      <a:pt x="372" y="59"/>
                    </a:lnTo>
                    <a:lnTo>
                      <a:pt x="376" y="53"/>
                    </a:lnTo>
                    <a:lnTo>
                      <a:pt x="378" y="47"/>
                    </a:lnTo>
                    <a:lnTo>
                      <a:pt x="380" y="43"/>
                    </a:lnTo>
                    <a:lnTo>
                      <a:pt x="381" y="39"/>
                    </a:lnTo>
                    <a:lnTo>
                      <a:pt x="382" y="23"/>
                    </a:lnTo>
                    <a:lnTo>
                      <a:pt x="383" y="16"/>
                    </a:lnTo>
                    <a:lnTo>
                      <a:pt x="382" y="8"/>
                    </a:lnTo>
                    <a:close/>
                  </a:path>
                </a:pathLst>
              </a:custGeom>
              <a:solidFill>
                <a:schemeClr val="bg1">
                  <a:lumMod val="20000"/>
                  <a:lumOff val="80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1">
                <a:extLst>
                  <a:ext uri="{FF2B5EF4-FFF2-40B4-BE49-F238E27FC236}">
                    <a16:creationId xmlns:a16="http://schemas.microsoft.com/office/drawing/2014/main" id="{BF132C63-7C2F-CB4E-81E0-0DA928693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5038" y="3589338"/>
                <a:ext cx="150812" cy="163513"/>
              </a:xfrm>
              <a:custGeom>
                <a:avLst/>
                <a:gdLst>
                  <a:gd name="T0" fmla="*/ 64 w 95"/>
                  <a:gd name="T1" fmla="*/ 80 h 103"/>
                  <a:gd name="T2" fmla="*/ 60 w 95"/>
                  <a:gd name="T3" fmla="*/ 89 h 103"/>
                  <a:gd name="T4" fmla="*/ 54 w 95"/>
                  <a:gd name="T5" fmla="*/ 100 h 103"/>
                  <a:gd name="T6" fmla="*/ 51 w 95"/>
                  <a:gd name="T7" fmla="*/ 103 h 103"/>
                  <a:gd name="T8" fmla="*/ 46 w 95"/>
                  <a:gd name="T9" fmla="*/ 103 h 103"/>
                  <a:gd name="T10" fmla="*/ 39 w 95"/>
                  <a:gd name="T11" fmla="*/ 101 h 103"/>
                  <a:gd name="T12" fmla="*/ 26 w 95"/>
                  <a:gd name="T13" fmla="*/ 100 h 103"/>
                  <a:gd name="T14" fmla="*/ 26 w 95"/>
                  <a:gd name="T15" fmla="*/ 94 h 103"/>
                  <a:gd name="T16" fmla="*/ 21 w 95"/>
                  <a:gd name="T17" fmla="*/ 89 h 103"/>
                  <a:gd name="T18" fmla="*/ 17 w 95"/>
                  <a:gd name="T19" fmla="*/ 84 h 103"/>
                  <a:gd name="T20" fmla="*/ 15 w 95"/>
                  <a:gd name="T21" fmla="*/ 80 h 103"/>
                  <a:gd name="T22" fmla="*/ 11 w 95"/>
                  <a:gd name="T23" fmla="*/ 70 h 103"/>
                  <a:gd name="T24" fmla="*/ 11 w 95"/>
                  <a:gd name="T25" fmla="*/ 67 h 103"/>
                  <a:gd name="T26" fmla="*/ 11 w 95"/>
                  <a:gd name="T27" fmla="*/ 58 h 103"/>
                  <a:gd name="T28" fmla="*/ 11 w 95"/>
                  <a:gd name="T29" fmla="*/ 56 h 103"/>
                  <a:gd name="T30" fmla="*/ 14 w 95"/>
                  <a:gd name="T31" fmla="*/ 53 h 103"/>
                  <a:gd name="T32" fmla="*/ 11 w 95"/>
                  <a:gd name="T33" fmla="*/ 47 h 103"/>
                  <a:gd name="T34" fmla="*/ 8 w 95"/>
                  <a:gd name="T35" fmla="*/ 37 h 103"/>
                  <a:gd name="T36" fmla="*/ 4 w 95"/>
                  <a:gd name="T37" fmla="*/ 30 h 103"/>
                  <a:gd name="T38" fmla="*/ 1 w 95"/>
                  <a:gd name="T39" fmla="*/ 21 h 103"/>
                  <a:gd name="T40" fmla="*/ 0 w 95"/>
                  <a:gd name="T41" fmla="*/ 16 h 103"/>
                  <a:gd name="T42" fmla="*/ 0 w 95"/>
                  <a:gd name="T43" fmla="*/ 9 h 103"/>
                  <a:gd name="T44" fmla="*/ 3 w 95"/>
                  <a:gd name="T45" fmla="*/ 3 h 103"/>
                  <a:gd name="T46" fmla="*/ 6 w 95"/>
                  <a:gd name="T47" fmla="*/ 0 h 103"/>
                  <a:gd name="T48" fmla="*/ 11 w 95"/>
                  <a:gd name="T49" fmla="*/ 0 h 103"/>
                  <a:gd name="T50" fmla="*/ 16 w 95"/>
                  <a:gd name="T51" fmla="*/ 4 h 103"/>
                  <a:gd name="T52" fmla="*/ 21 w 95"/>
                  <a:gd name="T53" fmla="*/ 6 h 103"/>
                  <a:gd name="T54" fmla="*/ 32 w 95"/>
                  <a:gd name="T55" fmla="*/ 10 h 103"/>
                  <a:gd name="T56" fmla="*/ 42 w 95"/>
                  <a:gd name="T57" fmla="*/ 14 h 103"/>
                  <a:gd name="T58" fmla="*/ 47 w 95"/>
                  <a:gd name="T59" fmla="*/ 16 h 103"/>
                  <a:gd name="T60" fmla="*/ 53 w 95"/>
                  <a:gd name="T61" fmla="*/ 16 h 103"/>
                  <a:gd name="T62" fmla="*/ 58 w 95"/>
                  <a:gd name="T63" fmla="*/ 15 h 103"/>
                  <a:gd name="T64" fmla="*/ 62 w 95"/>
                  <a:gd name="T65" fmla="*/ 14 h 103"/>
                  <a:gd name="T66" fmla="*/ 68 w 95"/>
                  <a:gd name="T67" fmla="*/ 14 h 103"/>
                  <a:gd name="T68" fmla="*/ 71 w 95"/>
                  <a:gd name="T69" fmla="*/ 12 h 103"/>
                  <a:gd name="T70" fmla="*/ 74 w 95"/>
                  <a:gd name="T71" fmla="*/ 12 h 103"/>
                  <a:gd name="T72" fmla="*/ 79 w 95"/>
                  <a:gd name="T73" fmla="*/ 9 h 103"/>
                  <a:gd name="T74" fmla="*/ 82 w 95"/>
                  <a:gd name="T75" fmla="*/ 6 h 103"/>
                  <a:gd name="T76" fmla="*/ 85 w 95"/>
                  <a:gd name="T77" fmla="*/ 5 h 103"/>
                  <a:gd name="T78" fmla="*/ 89 w 95"/>
                  <a:gd name="T79" fmla="*/ 6 h 103"/>
                  <a:gd name="T80" fmla="*/ 92 w 95"/>
                  <a:gd name="T81" fmla="*/ 10 h 103"/>
                  <a:gd name="T82" fmla="*/ 95 w 95"/>
                  <a:gd name="T83" fmla="*/ 15 h 103"/>
                  <a:gd name="T84" fmla="*/ 95 w 95"/>
                  <a:gd name="T85" fmla="*/ 25 h 103"/>
                  <a:gd name="T86" fmla="*/ 95 w 95"/>
                  <a:gd name="T87" fmla="*/ 32 h 103"/>
                  <a:gd name="T88" fmla="*/ 95 w 95"/>
                  <a:gd name="T89" fmla="*/ 40 h 103"/>
                  <a:gd name="T90" fmla="*/ 92 w 95"/>
                  <a:gd name="T91" fmla="*/ 46 h 103"/>
                  <a:gd name="T92" fmla="*/ 90 w 95"/>
                  <a:gd name="T93" fmla="*/ 52 h 103"/>
                  <a:gd name="T94" fmla="*/ 86 w 95"/>
                  <a:gd name="T95" fmla="*/ 58 h 103"/>
                  <a:gd name="T96" fmla="*/ 82 w 95"/>
                  <a:gd name="T97" fmla="*/ 62 h 103"/>
                  <a:gd name="T98" fmla="*/ 81 w 95"/>
                  <a:gd name="T99" fmla="*/ 65 h 103"/>
                  <a:gd name="T100" fmla="*/ 81 w 95"/>
                  <a:gd name="T101" fmla="*/ 73 h 103"/>
                  <a:gd name="T102" fmla="*/ 79 w 95"/>
                  <a:gd name="T103" fmla="*/ 79 h 103"/>
                  <a:gd name="T104" fmla="*/ 76 w 95"/>
                  <a:gd name="T105" fmla="*/ 81 h 103"/>
                  <a:gd name="T106" fmla="*/ 76 w 95"/>
                  <a:gd name="T107" fmla="*/ 90 h 103"/>
                  <a:gd name="T108" fmla="*/ 74 w 95"/>
                  <a:gd name="T109" fmla="*/ 90 h 103"/>
                  <a:gd name="T110" fmla="*/ 70 w 95"/>
                  <a:gd name="T111" fmla="*/ 86 h 103"/>
                  <a:gd name="T112" fmla="*/ 67 w 95"/>
                  <a:gd name="T113" fmla="*/ 83 h 103"/>
                  <a:gd name="T114" fmla="*/ 64 w 95"/>
                  <a:gd name="T115" fmla="*/ 8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5" h="103">
                    <a:moveTo>
                      <a:pt x="64" y="80"/>
                    </a:moveTo>
                    <a:lnTo>
                      <a:pt x="60" y="89"/>
                    </a:lnTo>
                    <a:lnTo>
                      <a:pt x="54" y="100"/>
                    </a:lnTo>
                    <a:lnTo>
                      <a:pt x="51" y="103"/>
                    </a:lnTo>
                    <a:lnTo>
                      <a:pt x="46" y="103"/>
                    </a:lnTo>
                    <a:lnTo>
                      <a:pt x="39" y="101"/>
                    </a:lnTo>
                    <a:lnTo>
                      <a:pt x="26" y="100"/>
                    </a:lnTo>
                    <a:lnTo>
                      <a:pt x="26" y="94"/>
                    </a:lnTo>
                    <a:lnTo>
                      <a:pt x="21" y="89"/>
                    </a:lnTo>
                    <a:lnTo>
                      <a:pt x="17" y="84"/>
                    </a:lnTo>
                    <a:lnTo>
                      <a:pt x="15" y="80"/>
                    </a:lnTo>
                    <a:lnTo>
                      <a:pt x="11" y="70"/>
                    </a:lnTo>
                    <a:lnTo>
                      <a:pt x="11" y="67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4" y="53"/>
                    </a:lnTo>
                    <a:lnTo>
                      <a:pt x="11" y="47"/>
                    </a:lnTo>
                    <a:lnTo>
                      <a:pt x="8" y="37"/>
                    </a:lnTo>
                    <a:lnTo>
                      <a:pt x="4" y="30"/>
                    </a:lnTo>
                    <a:lnTo>
                      <a:pt x="1" y="21"/>
                    </a:lnTo>
                    <a:lnTo>
                      <a:pt x="0" y="16"/>
                    </a:lnTo>
                    <a:lnTo>
                      <a:pt x="0" y="9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6" y="4"/>
                    </a:lnTo>
                    <a:lnTo>
                      <a:pt x="21" y="6"/>
                    </a:lnTo>
                    <a:lnTo>
                      <a:pt x="32" y="10"/>
                    </a:lnTo>
                    <a:lnTo>
                      <a:pt x="42" y="14"/>
                    </a:lnTo>
                    <a:lnTo>
                      <a:pt x="47" y="16"/>
                    </a:lnTo>
                    <a:lnTo>
                      <a:pt x="53" y="16"/>
                    </a:lnTo>
                    <a:lnTo>
                      <a:pt x="58" y="15"/>
                    </a:lnTo>
                    <a:lnTo>
                      <a:pt x="62" y="14"/>
                    </a:lnTo>
                    <a:lnTo>
                      <a:pt x="68" y="14"/>
                    </a:lnTo>
                    <a:lnTo>
                      <a:pt x="71" y="12"/>
                    </a:lnTo>
                    <a:lnTo>
                      <a:pt x="74" y="12"/>
                    </a:lnTo>
                    <a:lnTo>
                      <a:pt x="79" y="9"/>
                    </a:lnTo>
                    <a:lnTo>
                      <a:pt x="82" y="6"/>
                    </a:lnTo>
                    <a:lnTo>
                      <a:pt x="85" y="5"/>
                    </a:lnTo>
                    <a:lnTo>
                      <a:pt x="89" y="6"/>
                    </a:lnTo>
                    <a:lnTo>
                      <a:pt x="92" y="10"/>
                    </a:lnTo>
                    <a:lnTo>
                      <a:pt x="95" y="15"/>
                    </a:lnTo>
                    <a:lnTo>
                      <a:pt x="95" y="25"/>
                    </a:lnTo>
                    <a:lnTo>
                      <a:pt x="95" y="32"/>
                    </a:lnTo>
                    <a:lnTo>
                      <a:pt x="95" y="40"/>
                    </a:lnTo>
                    <a:lnTo>
                      <a:pt x="92" y="46"/>
                    </a:lnTo>
                    <a:lnTo>
                      <a:pt x="90" y="52"/>
                    </a:lnTo>
                    <a:lnTo>
                      <a:pt x="86" y="58"/>
                    </a:lnTo>
                    <a:lnTo>
                      <a:pt x="82" y="62"/>
                    </a:lnTo>
                    <a:lnTo>
                      <a:pt x="81" y="65"/>
                    </a:lnTo>
                    <a:lnTo>
                      <a:pt x="81" y="73"/>
                    </a:lnTo>
                    <a:lnTo>
                      <a:pt x="79" y="79"/>
                    </a:lnTo>
                    <a:lnTo>
                      <a:pt x="76" y="81"/>
                    </a:lnTo>
                    <a:lnTo>
                      <a:pt x="76" y="90"/>
                    </a:lnTo>
                    <a:lnTo>
                      <a:pt x="74" y="90"/>
                    </a:lnTo>
                    <a:lnTo>
                      <a:pt x="70" y="86"/>
                    </a:lnTo>
                    <a:lnTo>
                      <a:pt x="67" y="83"/>
                    </a:lnTo>
                    <a:lnTo>
                      <a:pt x="64" y="8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rgbClr val="373A36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55" name="Straight Connector 14">
              <a:extLst>
                <a:ext uri="{FF2B5EF4-FFF2-40B4-BE49-F238E27FC236}">
                  <a16:creationId xmlns:a16="http://schemas.microsoft.com/office/drawing/2014/main" id="{B9E2CBEA-2DCC-3746-BE40-47E9C35FB3A0}"/>
                </a:ext>
              </a:extLst>
            </p:cNvPr>
            <p:cNvCxnSpPr/>
            <p:nvPr/>
          </p:nvCxnSpPr>
          <p:spPr>
            <a:xfrm>
              <a:off x="2586922" y="3816420"/>
              <a:ext cx="325630" cy="0"/>
            </a:xfrm>
            <a:prstGeom prst="line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16">
              <a:extLst>
                <a:ext uri="{FF2B5EF4-FFF2-40B4-BE49-F238E27FC236}">
                  <a16:creationId xmlns:a16="http://schemas.microsoft.com/office/drawing/2014/main" id="{C7A678BA-CCAF-444E-BE15-3EEB5EAFFB09}"/>
                </a:ext>
              </a:extLst>
            </p:cNvPr>
            <p:cNvCxnSpPr/>
            <p:nvPr/>
          </p:nvCxnSpPr>
          <p:spPr>
            <a:xfrm>
              <a:off x="2732271" y="4111739"/>
              <a:ext cx="325630" cy="0"/>
            </a:xfrm>
            <a:prstGeom prst="line">
              <a:avLst/>
            </a:prstGeom>
            <a:ln w="952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6" name="Chart 55">
            <a:extLst>
              <a:ext uri="{FF2B5EF4-FFF2-40B4-BE49-F238E27FC236}">
                <a16:creationId xmlns:a16="http://schemas.microsoft.com/office/drawing/2014/main" id="{F2CD264F-3733-AF46-B6F2-AC0E4DB76B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53877"/>
              </p:ext>
            </p:extLst>
          </p:nvPr>
        </p:nvGraphicFramePr>
        <p:xfrm>
          <a:off x="281351" y="2416940"/>
          <a:ext cx="1417239" cy="1304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0" name="Chart 88">
            <a:extLst>
              <a:ext uri="{FF2B5EF4-FFF2-40B4-BE49-F238E27FC236}">
                <a16:creationId xmlns:a16="http://schemas.microsoft.com/office/drawing/2014/main" id="{E371011C-140A-E149-B0F0-9E6877AF6E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6993107"/>
              </p:ext>
            </p:extLst>
          </p:nvPr>
        </p:nvGraphicFramePr>
        <p:xfrm>
          <a:off x="1941426" y="2408510"/>
          <a:ext cx="1417239" cy="1304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Chart 93">
            <a:extLst>
              <a:ext uri="{FF2B5EF4-FFF2-40B4-BE49-F238E27FC236}">
                <a16:creationId xmlns:a16="http://schemas.microsoft.com/office/drawing/2014/main" id="{B60EE492-210B-DE47-ADF3-0B1A5A4A58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1798754"/>
              </p:ext>
            </p:extLst>
          </p:nvPr>
        </p:nvGraphicFramePr>
        <p:xfrm>
          <a:off x="3562056" y="2411567"/>
          <a:ext cx="1417239" cy="1304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8" name="Chart 98">
            <a:extLst>
              <a:ext uri="{FF2B5EF4-FFF2-40B4-BE49-F238E27FC236}">
                <a16:creationId xmlns:a16="http://schemas.microsoft.com/office/drawing/2014/main" id="{41BA665C-D770-0945-AA11-AC0CB90A2A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6785948"/>
              </p:ext>
            </p:extLst>
          </p:nvPr>
        </p:nvGraphicFramePr>
        <p:xfrm>
          <a:off x="5182685" y="2416940"/>
          <a:ext cx="1417239" cy="1304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0F6F5B8A-4247-C046-A842-6DC2DE9BACB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8891" y="4482114"/>
            <a:ext cx="133460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C6B38593-42D6-CC43-B026-2031C4018EE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8891" y="3742788"/>
            <a:ext cx="1312015" cy="5702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WESTERN </a:t>
            </a:r>
            <a:br>
              <a:rPr lang="de-DE" dirty="0"/>
            </a:br>
            <a:r>
              <a:rPr lang="de-DE" dirty="0"/>
              <a:t>AUSTRALIA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DCAC137F-5315-A84A-8AEF-E78D8B63424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31640" y="2978749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5 %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430A968C-C959-CB41-B5AD-D64C43B25B5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391715" y="2964596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4 %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EE6E4165-C4EF-2C48-8524-FC13FC44FB9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014674" y="2979106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3 %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45D792BD-75AA-F94D-A509-29BEFD6EA7F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2974" y="2965838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8 %</a:t>
            </a:r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CF6D591F-0E27-A348-936C-7E577A92156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982743" y="3738400"/>
            <a:ext cx="1334603" cy="5702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NORTHERN </a:t>
            </a:r>
            <a:br>
              <a:rPr lang="de-DE" dirty="0"/>
            </a:br>
            <a:r>
              <a:rPr lang="de-DE" dirty="0"/>
              <a:t>TERRITORY</a:t>
            </a:r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A5059A09-FFEA-3F41-8F30-AC52900A52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03373" y="3723109"/>
            <a:ext cx="1334603" cy="5702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QUEENSLAND</a:t>
            </a:r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57627DAA-3D76-4046-8F4B-C9D357C7A69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06251" y="3717836"/>
            <a:ext cx="1411818" cy="57023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SOUTH</a:t>
            </a:r>
            <a:br>
              <a:rPr lang="de-DE" dirty="0"/>
            </a:br>
            <a:r>
              <a:rPr lang="de-DE" dirty="0"/>
              <a:t>AUSTRALIA</a:t>
            </a:r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36ED638E-4526-CC48-B7CA-AFC60FAB8CF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982743" y="4476217"/>
            <a:ext cx="133460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0AC47657-9A9C-144C-8643-34654694314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603373" y="4482114"/>
            <a:ext cx="133460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C7423636-D7F8-224D-B81E-D28488ADA41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182685" y="4474719"/>
            <a:ext cx="1435384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890D78A4-B4AB-1142-8F95-4021AEA40EB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546297" y="3823170"/>
            <a:ext cx="1021662" cy="29591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Western </a:t>
            </a:r>
            <a:r>
              <a:rPr lang="de-DE" dirty="0" err="1"/>
              <a:t>Australia</a:t>
            </a:r>
            <a:endParaRPr lang="de-DE" dirty="0"/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69054602-AA4C-7A47-8225-69CA8601B8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72121" y="2910391"/>
            <a:ext cx="655602" cy="47812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Northern</a:t>
            </a:r>
            <a:br>
              <a:rPr lang="de-DE" dirty="0"/>
            </a:br>
            <a:r>
              <a:rPr lang="de-DE" dirty="0" err="1"/>
              <a:t>Territory</a:t>
            </a:r>
            <a:endParaRPr lang="de-DE" dirty="0"/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BD5CF998-6777-8B44-BD3B-D88D21193E0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061364" y="3242725"/>
            <a:ext cx="722496" cy="49886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Queensland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2E7FD6D8-AA4C-E344-A074-056C8931B81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115159" y="4053759"/>
            <a:ext cx="722496" cy="41700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Southern </a:t>
            </a:r>
            <a:r>
              <a:rPr lang="de-DE" dirty="0" err="1"/>
              <a:t>Australia</a:t>
            </a:r>
            <a:endParaRPr lang="de-DE" dirty="0"/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700113D5-92B7-E047-802F-4AE774E8E67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0313824" y="4470764"/>
            <a:ext cx="1219233" cy="2894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New South Wales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B5590D5C-6E7A-1146-85E9-6D673911369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770760" y="5154070"/>
            <a:ext cx="924817" cy="1693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Victoria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CFA07B3E-B4F4-9847-8423-3BE11189852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476344" y="5646708"/>
            <a:ext cx="1219233" cy="16832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Tasmania</a:t>
            </a:r>
            <a:endParaRPr lang="de-DE" dirty="0"/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9E238793-D0C7-7F43-8CA1-3FA4DE12C90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17051" y="5553426"/>
            <a:ext cx="914205" cy="5232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buNone/>
              <a:defRPr sz="3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75 %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C40E983B-2E5D-3F42-B56E-B22E22E50ED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431256" y="5553427"/>
            <a:ext cx="3506720" cy="523220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46A4197E-EC8A-8A43-AD40-9B05D319E7B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1040493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grpSp>
        <p:nvGrpSpPr>
          <p:cNvPr id="50" name="Group 202">
            <a:extLst>
              <a:ext uri="{FF2B5EF4-FFF2-40B4-BE49-F238E27FC236}">
                <a16:creationId xmlns:a16="http://schemas.microsoft.com/office/drawing/2014/main" id="{B4BA45B1-E1FF-5941-BF95-8AECC7119151}"/>
              </a:ext>
            </a:extLst>
          </p:cNvPr>
          <p:cNvGrpSpPr/>
          <p:nvPr userDrawn="1"/>
        </p:nvGrpSpPr>
        <p:grpSpPr>
          <a:xfrm>
            <a:off x="7254498" y="954181"/>
            <a:ext cx="6161949" cy="5181717"/>
            <a:chOff x="2428875" y="571500"/>
            <a:chExt cx="4357688" cy="3502026"/>
          </a:xfrm>
          <a:solidFill>
            <a:schemeClr val="bg1">
              <a:alpha val="50000"/>
            </a:schemeClr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AB186EAA-ADD7-764F-95EC-9CB1344F8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988" y="722313"/>
              <a:ext cx="2060575" cy="2817813"/>
            </a:xfrm>
            <a:custGeom>
              <a:avLst/>
              <a:gdLst/>
              <a:ahLst/>
              <a:cxnLst>
                <a:cxn ang="0">
                  <a:pos x="1118" y="787"/>
                </a:cxn>
                <a:cxn ang="0">
                  <a:pos x="697" y="199"/>
                </a:cxn>
                <a:cxn ang="0">
                  <a:pos x="666" y="131"/>
                </a:cxn>
                <a:cxn ang="0">
                  <a:pos x="559" y="69"/>
                </a:cxn>
                <a:cxn ang="0">
                  <a:pos x="587" y="181"/>
                </a:cxn>
                <a:cxn ang="0">
                  <a:pos x="625" y="265"/>
                </a:cxn>
                <a:cxn ang="0">
                  <a:pos x="526" y="269"/>
                </a:cxn>
                <a:cxn ang="0">
                  <a:pos x="489" y="391"/>
                </a:cxn>
                <a:cxn ang="0">
                  <a:pos x="355" y="356"/>
                </a:cxn>
                <a:cxn ang="0">
                  <a:pos x="406" y="408"/>
                </a:cxn>
                <a:cxn ang="0">
                  <a:pos x="366" y="444"/>
                </a:cxn>
                <a:cxn ang="0">
                  <a:pos x="295" y="382"/>
                </a:cxn>
                <a:cxn ang="0">
                  <a:pos x="271" y="304"/>
                </a:cxn>
                <a:cxn ang="0">
                  <a:pos x="220" y="266"/>
                </a:cxn>
                <a:cxn ang="0">
                  <a:pos x="164" y="219"/>
                </a:cxn>
                <a:cxn ang="0">
                  <a:pos x="246" y="257"/>
                </a:cxn>
                <a:cxn ang="0">
                  <a:pos x="327" y="277"/>
                </a:cxn>
                <a:cxn ang="0">
                  <a:pos x="485" y="241"/>
                </a:cxn>
                <a:cxn ang="0">
                  <a:pos x="459" y="148"/>
                </a:cxn>
                <a:cxn ang="0">
                  <a:pos x="385" y="109"/>
                </a:cxn>
                <a:cxn ang="0">
                  <a:pos x="238" y="43"/>
                </a:cxn>
                <a:cxn ang="0">
                  <a:pos x="181" y="52"/>
                </a:cxn>
                <a:cxn ang="0">
                  <a:pos x="156" y="44"/>
                </a:cxn>
                <a:cxn ang="0">
                  <a:pos x="122" y="22"/>
                </a:cxn>
                <a:cxn ang="0">
                  <a:pos x="109" y="0"/>
                </a:cxn>
                <a:cxn ang="0">
                  <a:pos x="90" y="32"/>
                </a:cxn>
                <a:cxn ang="0">
                  <a:pos x="24" y="79"/>
                </a:cxn>
                <a:cxn ang="0">
                  <a:pos x="46" y="167"/>
                </a:cxn>
                <a:cxn ang="0">
                  <a:pos x="104" y="364"/>
                </a:cxn>
                <a:cxn ang="0">
                  <a:pos x="145" y="502"/>
                </a:cxn>
                <a:cxn ang="0">
                  <a:pos x="82" y="689"/>
                </a:cxn>
                <a:cxn ang="0">
                  <a:pos x="130" y="714"/>
                </a:cxn>
                <a:cxn ang="0">
                  <a:pos x="86" y="744"/>
                </a:cxn>
                <a:cxn ang="0">
                  <a:pos x="89" y="866"/>
                </a:cxn>
                <a:cxn ang="0">
                  <a:pos x="104" y="951"/>
                </a:cxn>
                <a:cxn ang="0">
                  <a:pos x="209" y="987"/>
                </a:cxn>
                <a:cxn ang="0">
                  <a:pos x="312" y="1116"/>
                </a:cxn>
                <a:cxn ang="0">
                  <a:pos x="308" y="1198"/>
                </a:cxn>
                <a:cxn ang="0">
                  <a:pos x="442" y="1248"/>
                </a:cxn>
                <a:cxn ang="0">
                  <a:pos x="570" y="1314"/>
                </a:cxn>
                <a:cxn ang="0">
                  <a:pos x="650" y="1353"/>
                </a:cxn>
                <a:cxn ang="0">
                  <a:pos x="621" y="1462"/>
                </a:cxn>
                <a:cxn ang="0">
                  <a:pos x="601" y="1510"/>
                </a:cxn>
                <a:cxn ang="0">
                  <a:pos x="590" y="1561"/>
                </a:cxn>
                <a:cxn ang="0">
                  <a:pos x="591" y="1597"/>
                </a:cxn>
                <a:cxn ang="0">
                  <a:pos x="723" y="1670"/>
                </a:cxn>
                <a:cxn ang="0">
                  <a:pos x="788" y="1751"/>
                </a:cxn>
                <a:cxn ang="0">
                  <a:pos x="880" y="1768"/>
                </a:cxn>
                <a:cxn ang="0">
                  <a:pos x="996" y="1745"/>
                </a:cxn>
                <a:cxn ang="0">
                  <a:pos x="1047" y="1676"/>
                </a:cxn>
                <a:cxn ang="0">
                  <a:pos x="1020" y="1611"/>
                </a:cxn>
                <a:cxn ang="0">
                  <a:pos x="1013" y="1527"/>
                </a:cxn>
                <a:cxn ang="0">
                  <a:pos x="1045" y="1510"/>
                </a:cxn>
                <a:cxn ang="0">
                  <a:pos x="1070" y="1495"/>
                </a:cxn>
                <a:cxn ang="0">
                  <a:pos x="1057" y="1457"/>
                </a:cxn>
                <a:cxn ang="0">
                  <a:pos x="956" y="1304"/>
                </a:cxn>
                <a:cxn ang="0">
                  <a:pos x="1053" y="1244"/>
                </a:cxn>
                <a:cxn ang="0">
                  <a:pos x="1114" y="1202"/>
                </a:cxn>
                <a:cxn ang="0">
                  <a:pos x="1180" y="1204"/>
                </a:cxn>
                <a:cxn ang="0">
                  <a:pos x="1276" y="1244"/>
                </a:cxn>
              </a:cxnLst>
              <a:rect l="0" t="0" r="r" b="b"/>
              <a:pathLst>
                <a:path w="1298" h="1775">
                  <a:moveTo>
                    <a:pt x="1275" y="1233"/>
                  </a:moveTo>
                  <a:lnTo>
                    <a:pt x="1285" y="1230"/>
                  </a:lnTo>
                  <a:lnTo>
                    <a:pt x="1291" y="1237"/>
                  </a:lnTo>
                  <a:lnTo>
                    <a:pt x="1298" y="1238"/>
                  </a:lnTo>
                  <a:lnTo>
                    <a:pt x="1298" y="1203"/>
                  </a:lnTo>
                  <a:lnTo>
                    <a:pt x="1298" y="1131"/>
                  </a:lnTo>
                  <a:lnTo>
                    <a:pt x="1286" y="1121"/>
                  </a:lnTo>
                  <a:lnTo>
                    <a:pt x="1261" y="1103"/>
                  </a:lnTo>
                  <a:lnTo>
                    <a:pt x="1241" y="1074"/>
                  </a:lnTo>
                  <a:lnTo>
                    <a:pt x="1241" y="1051"/>
                  </a:lnTo>
                  <a:lnTo>
                    <a:pt x="1250" y="1003"/>
                  </a:lnTo>
                  <a:lnTo>
                    <a:pt x="1177" y="922"/>
                  </a:lnTo>
                  <a:lnTo>
                    <a:pt x="1118" y="787"/>
                  </a:lnTo>
                  <a:lnTo>
                    <a:pt x="1086" y="692"/>
                  </a:lnTo>
                  <a:lnTo>
                    <a:pt x="1086" y="619"/>
                  </a:lnTo>
                  <a:lnTo>
                    <a:pt x="914" y="462"/>
                  </a:lnTo>
                  <a:lnTo>
                    <a:pt x="863" y="410"/>
                  </a:lnTo>
                  <a:lnTo>
                    <a:pt x="789" y="304"/>
                  </a:lnTo>
                  <a:lnTo>
                    <a:pt x="766" y="231"/>
                  </a:lnTo>
                  <a:lnTo>
                    <a:pt x="738" y="184"/>
                  </a:lnTo>
                  <a:lnTo>
                    <a:pt x="736" y="191"/>
                  </a:lnTo>
                  <a:lnTo>
                    <a:pt x="719" y="199"/>
                  </a:lnTo>
                  <a:lnTo>
                    <a:pt x="717" y="202"/>
                  </a:lnTo>
                  <a:lnTo>
                    <a:pt x="707" y="202"/>
                  </a:lnTo>
                  <a:lnTo>
                    <a:pt x="703" y="207"/>
                  </a:lnTo>
                  <a:lnTo>
                    <a:pt x="697" y="199"/>
                  </a:lnTo>
                  <a:lnTo>
                    <a:pt x="685" y="206"/>
                  </a:lnTo>
                  <a:lnTo>
                    <a:pt x="677" y="206"/>
                  </a:lnTo>
                  <a:lnTo>
                    <a:pt x="659" y="184"/>
                  </a:lnTo>
                  <a:lnTo>
                    <a:pt x="639" y="170"/>
                  </a:lnTo>
                  <a:lnTo>
                    <a:pt x="632" y="167"/>
                  </a:lnTo>
                  <a:lnTo>
                    <a:pt x="633" y="155"/>
                  </a:lnTo>
                  <a:lnTo>
                    <a:pt x="636" y="150"/>
                  </a:lnTo>
                  <a:lnTo>
                    <a:pt x="640" y="153"/>
                  </a:lnTo>
                  <a:lnTo>
                    <a:pt x="644" y="147"/>
                  </a:lnTo>
                  <a:lnTo>
                    <a:pt x="643" y="142"/>
                  </a:lnTo>
                  <a:lnTo>
                    <a:pt x="648" y="137"/>
                  </a:lnTo>
                  <a:lnTo>
                    <a:pt x="662" y="137"/>
                  </a:lnTo>
                  <a:lnTo>
                    <a:pt x="666" y="131"/>
                  </a:lnTo>
                  <a:lnTo>
                    <a:pt x="683" y="132"/>
                  </a:lnTo>
                  <a:lnTo>
                    <a:pt x="684" y="125"/>
                  </a:lnTo>
                  <a:lnTo>
                    <a:pt x="671" y="110"/>
                  </a:lnTo>
                  <a:lnTo>
                    <a:pt x="669" y="104"/>
                  </a:lnTo>
                  <a:lnTo>
                    <a:pt x="659" y="103"/>
                  </a:lnTo>
                  <a:lnTo>
                    <a:pt x="649" y="92"/>
                  </a:lnTo>
                  <a:lnTo>
                    <a:pt x="650" y="85"/>
                  </a:lnTo>
                  <a:lnTo>
                    <a:pt x="638" y="78"/>
                  </a:lnTo>
                  <a:lnTo>
                    <a:pt x="614" y="77"/>
                  </a:lnTo>
                  <a:lnTo>
                    <a:pt x="597" y="78"/>
                  </a:lnTo>
                  <a:lnTo>
                    <a:pt x="590" y="81"/>
                  </a:lnTo>
                  <a:lnTo>
                    <a:pt x="578" y="81"/>
                  </a:lnTo>
                  <a:lnTo>
                    <a:pt x="559" y="69"/>
                  </a:lnTo>
                  <a:lnTo>
                    <a:pt x="549" y="69"/>
                  </a:lnTo>
                  <a:lnTo>
                    <a:pt x="549" y="74"/>
                  </a:lnTo>
                  <a:lnTo>
                    <a:pt x="572" y="91"/>
                  </a:lnTo>
                  <a:lnTo>
                    <a:pt x="585" y="100"/>
                  </a:lnTo>
                  <a:lnTo>
                    <a:pt x="592" y="117"/>
                  </a:lnTo>
                  <a:lnTo>
                    <a:pt x="592" y="126"/>
                  </a:lnTo>
                  <a:lnTo>
                    <a:pt x="597" y="132"/>
                  </a:lnTo>
                  <a:lnTo>
                    <a:pt x="593" y="135"/>
                  </a:lnTo>
                  <a:lnTo>
                    <a:pt x="592" y="143"/>
                  </a:lnTo>
                  <a:lnTo>
                    <a:pt x="595" y="149"/>
                  </a:lnTo>
                  <a:lnTo>
                    <a:pt x="591" y="152"/>
                  </a:lnTo>
                  <a:lnTo>
                    <a:pt x="591" y="170"/>
                  </a:lnTo>
                  <a:lnTo>
                    <a:pt x="587" y="181"/>
                  </a:lnTo>
                  <a:lnTo>
                    <a:pt x="592" y="191"/>
                  </a:lnTo>
                  <a:lnTo>
                    <a:pt x="605" y="190"/>
                  </a:lnTo>
                  <a:lnTo>
                    <a:pt x="615" y="196"/>
                  </a:lnTo>
                  <a:lnTo>
                    <a:pt x="622" y="202"/>
                  </a:lnTo>
                  <a:lnTo>
                    <a:pt x="620" y="207"/>
                  </a:lnTo>
                  <a:lnTo>
                    <a:pt x="622" y="212"/>
                  </a:lnTo>
                  <a:lnTo>
                    <a:pt x="620" y="217"/>
                  </a:lnTo>
                  <a:lnTo>
                    <a:pt x="620" y="220"/>
                  </a:lnTo>
                  <a:lnTo>
                    <a:pt x="625" y="224"/>
                  </a:lnTo>
                  <a:lnTo>
                    <a:pt x="621" y="230"/>
                  </a:lnTo>
                  <a:lnTo>
                    <a:pt x="622" y="249"/>
                  </a:lnTo>
                  <a:lnTo>
                    <a:pt x="617" y="254"/>
                  </a:lnTo>
                  <a:lnTo>
                    <a:pt x="625" y="265"/>
                  </a:lnTo>
                  <a:lnTo>
                    <a:pt x="626" y="280"/>
                  </a:lnTo>
                  <a:lnTo>
                    <a:pt x="620" y="275"/>
                  </a:lnTo>
                  <a:lnTo>
                    <a:pt x="616" y="265"/>
                  </a:lnTo>
                  <a:lnTo>
                    <a:pt x="604" y="257"/>
                  </a:lnTo>
                  <a:lnTo>
                    <a:pt x="593" y="266"/>
                  </a:lnTo>
                  <a:lnTo>
                    <a:pt x="595" y="258"/>
                  </a:lnTo>
                  <a:lnTo>
                    <a:pt x="590" y="252"/>
                  </a:lnTo>
                  <a:lnTo>
                    <a:pt x="576" y="251"/>
                  </a:lnTo>
                  <a:lnTo>
                    <a:pt x="563" y="252"/>
                  </a:lnTo>
                  <a:lnTo>
                    <a:pt x="553" y="245"/>
                  </a:lnTo>
                  <a:lnTo>
                    <a:pt x="543" y="243"/>
                  </a:lnTo>
                  <a:lnTo>
                    <a:pt x="537" y="248"/>
                  </a:lnTo>
                  <a:lnTo>
                    <a:pt x="526" y="269"/>
                  </a:lnTo>
                  <a:lnTo>
                    <a:pt x="510" y="280"/>
                  </a:lnTo>
                  <a:lnTo>
                    <a:pt x="500" y="281"/>
                  </a:lnTo>
                  <a:lnTo>
                    <a:pt x="492" y="288"/>
                  </a:lnTo>
                  <a:lnTo>
                    <a:pt x="489" y="298"/>
                  </a:lnTo>
                  <a:lnTo>
                    <a:pt x="480" y="311"/>
                  </a:lnTo>
                  <a:lnTo>
                    <a:pt x="466" y="320"/>
                  </a:lnTo>
                  <a:lnTo>
                    <a:pt x="465" y="327"/>
                  </a:lnTo>
                  <a:lnTo>
                    <a:pt x="470" y="339"/>
                  </a:lnTo>
                  <a:lnTo>
                    <a:pt x="491" y="358"/>
                  </a:lnTo>
                  <a:lnTo>
                    <a:pt x="503" y="374"/>
                  </a:lnTo>
                  <a:lnTo>
                    <a:pt x="495" y="381"/>
                  </a:lnTo>
                  <a:lnTo>
                    <a:pt x="489" y="382"/>
                  </a:lnTo>
                  <a:lnTo>
                    <a:pt x="489" y="391"/>
                  </a:lnTo>
                  <a:lnTo>
                    <a:pt x="481" y="397"/>
                  </a:lnTo>
                  <a:lnTo>
                    <a:pt x="476" y="404"/>
                  </a:lnTo>
                  <a:lnTo>
                    <a:pt x="464" y="393"/>
                  </a:lnTo>
                  <a:lnTo>
                    <a:pt x="435" y="380"/>
                  </a:lnTo>
                  <a:lnTo>
                    <a:pt x="425" y="380"/>
                  </a:lnTo>
                  <a:lnTo>
                    <a:pt x="422" y="374"/>
                  </a:lnTo>
                  <a:lnTo>
                    <a:pt x="406" y="374"/>
                  </a:lnTo>
                  <a:lnTo>
                    <a:pt x="398" y="367"/>
                  </a:lnTo>
                  <a:lnTo>
                    <a:pt x="391" y="358"/>
                  </a:lnTo>
                  <a:lnTo>
                    <a:pt x="378" y="356"/>
                  </a:lnTo>
                  <a:lnTo>
                    <a:pt x="368" y="350"/>
                  </a:lnTo>
                  <a:lnTo>
                    <a:pt x="358" y="350"/>
                  </a:lnTo>
                  <a:lnTo>
                    <a:pt x="355" y="356"/>
                  </a:lnTo>
                  <a:lnTo>
                    <a:pt x="359" y="361"/>
                  </a:lnTo>
                  <a:lnTo>
                    <a:pt x="356" y="366"/>
                  </a:lnTo>
                  <a:lnTo>
                    <a:pt x="359" y="370"/>
                  </a:lnTo>
                  <a:lnTo>
                    <a:pt x="354" y="375"/>
                  </a:lnTo>
                  <a:lnTo>
                    <a:pt x="344" y="375"/>
                  </a:lnTo>
                  <a:lnTo>
                    <a:pt x="352" y="386"/>
                  </a:lnTo>
                  <a:lnTo>
                    <a:pt x="354" y="396"/>
                  </a:lnTo>
                  <a:lnTo>
                    <a:pt x="366" y="401"/>
                  </a:lnTo>
                  <a:lnTo>
                    <a:pt x="375" y="410"/>
                  </a:lnTo>
                  <a:lnTo>
                    <a:pt x="385" y="415"/>
                  </a:lnTo>
                  <a:lnTo>
                    <a:pt x="394" y="411"/>
                  </a:lnTo>
                  <a:lnTo>
                    <a:pt x="399" y="413"/>
                  </a:lnTo>
                  <a:lnTo>
                    <a:pt x="406" y="408"/>
                  </a:lnTo>
                  <a:lnTo>
                    <a:pt x="407" y="414"/>
                  </a:lnTo>
                  <a:lnTo>
                    <a:pt x="417" y="418"/>
                  </a:lnTo>
                  <a:lnTo>
                    <a:pt x="418" y="421"/>
                  </a:lnTo>
                  <a:lnTo>
                    <a:pt x="414" y="425"/>
                  </a:lnTo>
                  <a:lnTo>
                    <a:pt x="422" y="431"/>
                  </a:lnTo>
                  <a:lnTo>
                    <a:pt x="420" y="443"/>
                  </a:lnTo>
                  <a:lnTo>
                    <a:pt x="416" y="445"/>
                  </a:lnTo>
                  <a:lnTo>
                    <a:pt x="408" y="447"/>
                  </a:lnTo>
                  <a:lnTo>
                    <a:pt x="398" y="456"/>
                  </a:lnTo>
                  <a:lnTo>
                    <a:pt x="393" y="455"/>
                  </a:lnTo>
                  <a:lnTo>
                    <a:pt x="385" y="449"/>
                  </a:lnTo>
                  <a:lnTo>
                    <a:pt x="372" y="448"/>
                  </a:lnTo>
                  <a:lnTo>
                    <a:pt x="366" y="444"/>
                  </a:lnTo>
                  <a:lnTo>
                    <a:pt x="352" y="444"/>
                  </a:lnTo>
                  <a:lnTo>
                    <a:pt x="347" y="440"/>
                  </a:lnTo>
                  <a:lnTo>
                    <a:pt x="347" y="431"/>
                  </a:lnTo>
                  <a:lnTo>
                    <a:pt x="338" y="426"/>
                  </a:lnTo>
                  <a:lnTo>
                    <a:pt x="332" y="419"/>
                  </a:lnTo>
                  <a:lnTo>
                    <a:pt x="329" y="418"/>
                  </a:lnTo>
                  <a:lnTo>
                    <a:pt x="320" y="424"/>
                  </a:lnTo>
                  <a:lnTo>
                    <a:pt x="302" y="418"/>
                  </a:lnTo>
                  <a:lnTo>
                    <a:pt x="297" y="411"/>
                  </a:lnTo>
                  <a:lnTo>
                    <a:pt x="294" y="407"/>
                  </a:lnTo>
                  <a:lnTo>
                    <a:pt x="297" y="401"/>
                  </a:lnTo>
                  <a:lnTo>
                    <a:pt x="295" y="391"/>
                  </a:lnTo>
                  <a:lnTo>
                    <a:pt x="295" y="382"/>
                  </a:lnTo>
                  <a:lnTo>
                    <a:pt x="286" y="376"/>
                  </a:lnTo>
                  <a:lnTo>
                    <a:pt x="286" y="370"/>
                  </a:lnTo>
                  <a:lnTo>
                    <a:pt x="274" y="359"/>
                  </a:lnTo>
                  <a:lnTo>
                    <a:pt x="273" y="350"/>
                  </a:lnTo>
                  <a:lnTo>
                    <a:pt x="266" y="347"/>
                  </a:lnTo>
                  <a:lnTo>
                    <a:pt x="268" y="340"/>
                  </a:lnTo>
                  <a:lnTo>
                    <a:pt x="274" y="338"/>
                  </a:lnTo>
                  <a:lnTo>
                    <a:pt x="275" y="326"/>
                  </a:lnTo>
                  <a:lnTo>
                    <a:pt x="275" y="317"/>
                  </a:lnTo>
                  <a:lnTo>
                    <a:pt x="272" y="316"/>
                  </a:lnTo>
                  <a:lnTo>
                    <a:pt x="273" y="310"/>
                  </a:lnTo>
                  <a:lnTo>
                    <a:pt x="275" y="305"/>
                  </a:lnTo>
                  <a:lnTo>
                    <a:pt x="271" y="304"/>
                  </a:lnTo>
                  <a:lnTo>
                    <a:pt x="261" y="292"/>
                  </a:lnTo>
                  <a:lnTo>
                    <a:pt x="240" y="285"/>
                  </a:lnTo>
                  <a:lnTo>
                    <a:pt x="234" y="288"/>
                  </a:lnTo>
                  <a:lnTo>
                    <a:pt x="229" y="283"/>
                  </a:lnTo>
                  <a:lnTo>
                    <a:pt x="222" y="283"/>
                  </a:lnTo>
                  <a:lnTo>
                    <a:pt x="219" y="286"/>
                  </a:lnTo>
                  <a:lnTo>
                    <a:pt x="208" y="285"/>
                  </a:lnTo>
                  <a:lnTo>
                    <a:pt x="211" y="280"/>
                  </a:lnTo>
                  <a:lnTo>
                    <a:pt x="221" y="279"/>
                  </a:lnTo>
                  <a:lnTo>
                    <a:pt x="223" y="272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20" y="266"/>
                  </a:lnTo>
                  <a:lnTo>
                    <a:pt x="214" y="262"/>
                  </a:lnTo>
                  <a:lnTo>
                    <a:pt x="208" y="265"/>
                  </a:lnTo>
                  <a:lnTo>
                    <a:pt x="192" y="269"/>
                  </a:lnTo>
                  <a:lnTo>
                    <a:pt x="191" y="266"/>
                  </a:lnTo>
                  <a:lnTo>
                    <a:pt x="194" y="262"/>
                  </a:lnTo>
                  <a:lnTo>
                    <a:pt x="204" y="258"/>
                  </a:lnTo>
                  <a:lnTo>
                    <a:pt x="200" y="256"/>
                  </a:lnTo>
                  <a:lnTo>
                    <a:pt x="187" y="252"/>
                  </a:lnTo>
                  <a:lnTo>
                    <a:pt x="185" y="246"/>
                  </a:lnTo>
                  <a:lnTo>
                    <a:pt x="174" y="240"/>
                  </a:lnTo>
                  <a:lnTo>
                    <a:pt x="171" y="228"/>
                  </a:lnTo>
                  <a:lnTo>
                    <a:pt x="162" y="222"/>
                  </a:lnTo>
                  <a:lnTo>
                    <a:pt x="164" y="219"/>
                  </a:lnTo>
                  <a:lnTo>
                    <a:pt x="173" y="219"/>
                  </a:lnTo>
                  <a:lnTo>
                    <a:pt x="175" y="222"/>
                  </a:lnTo>
                  <a:lnTo>
                    <a:pt x="187" y="223"/>
                  </a:lnTo>
                  <a:lnTo>
                    <a:pt x="188" y="230"/>
                  </a:lnTo>
                  <a:lnTo>
                    <a:pt x="209" y="245"/>
                  </a:lnTo>
                  <a:lnTo>
                    <a:pt x="215" y="246"/>
                  </a:lnTo>
                  <a:lnTo>
                    <a:pt x="216" y="242"/>
                  </a:lnTo>
                  <a:lnTo>
                    <a:pt x="226" y="248"/>
                  </a:lnTo>
                  <a:lnTo>
                    <a:pt x="240" y="248"/>
                  </a:lnTo>
                  <a:lnTo>
                    <a:pt x="243" y="245"/>
                  </a:lnTo>
                  <a:lnTo>
                    <a:pt x="249" y="251"/>
                  </a:lnTo>
                  <a:lnTo>
                    <a:pt x="243" y="254"/>
                  </a:lnTo>
                  <a:lnTo>
                    <a:pt x="246" y="257"/>
                  </a:lnTo>
                  <a:lnTo>
                    <a:pt x="246" y="262"/>
                  </a:lnTo>
                  <a:lnTo>
                    <a:pt x="255" y="263"/>
                  </a:lnTo>
                  <a:lnTo>
                    <a:pt x="260" y="258"/>
                  </a:lnTo>
                  <a:lnTo>
                    <a:pt x="274" y="258"/>
                  </a:lnTo>
                  <a:lnTo>
                    <a:pt x="271" y="260"/>
                  </a:lnTo>
                  <a:lnTo>
                    <a:pt x="278" y="262"/>
                  </a:lnTo>
                  <a:lnTo>
                    <a:pt x="288" y="260"/>
                  </a:lnTo>
                  <a:lnTo>
                    <a:pt x="288" y="265"/>
                  </a:lnTo>
                  <a:lnTo>
                    <a:pt x="298" y="275"/>
                  </a:lnTo>
                  <a:lnTo>
                    <a:pt x="306" y="271"/>
                  </a:lnTo>
                  <a:lnTo>
                    <a:pt x="313" y="272"/>
                  </a:lnTo>
                  <a:lnTo>
                    <a:pt x="315" y="277"/>
                  </a:lnTo>
                  <a:lnTo>
                    <a:pt x="327" y="277"/>
                  </a:lnTo>
                  <a:lnTo>
                    <a:pt x="335" y="280"/>
                  </a:lnTo>
                  <a:lnTo>
                    <a:pt x="342" y="275"/>
                  </a:lnTo>
                  <a:lnTo>
                    <a:pt x="353" y="282"/>
                  </a:lnTo>
                  <a:lnTo>
                    <a:pt x="367" y="286"/>
                  </a:lnTo>
                  <a:lnTo>
                    <a:pt x="394" y="287"/>
                  </a:lnTo>
                  <a:lnTo>
                    <a:pt x="416" y="285"/>
                  </a:lnTo>
                  <a:lnTo>
                    <a:pt x="418" y="281"/>
                  </a:lnTo>
                  <a:lnTo>
                    <a:pt x="431" y="281"/>
                  </a:lnTo>
                  <a:lnTo>
                    <a:pt x="439" y="277"/>
                  </a:lnTo>
                  <a:lnTo>
                    <a:pt x="453" y="274"/>
                  </a:lnTo>
                  <a:lnTo>
                    <a:pt x="465" y="269"/>
                  </a:lnTo>
                  <a:lnTo>
                    <a:pt x="483" y="247"/>
                  </a:lnTo>
                  <a:lnTo>
                    <a:pt x="485" y="241"/>
                  </a:lnTo>
                  <a:lnTo>
                    <a:pt x="495" y="230"/>
                  </a:lnTo>
                  <a:lnTo>
                    <a:pt x="495" y="224"/>
                  </a:lnTo>
                  <a:lnTo>
                    <a:pt x="498" y="218"/>
                  </a:lnTo>
                  <a:lnTo>
                    <a:pt x="500" y="206"/>
                  </a:lnTo>
                  <a:lnTo>
                    <a:pt x="500" y="195"/>
                  </a:lnTo>
                  <a:lnTo>
                    <a:pt x="499" y="185"/>
                  </a:lnTo>
                  <a:lnTo>
                    <a:pt x="495" y="182"/>
                  </a:lnTo>
                  <a:lnTo>
                    <a:pt x="493" y="183"/>
                  </a:lnTo>
                  <a:lnTo>
                    <a:pt x="485" y="172"/>
                  </a:lnTo>
                  <a:lnTo>
                    <a:pt x="480" y="170"/>
                  </a:lnTo>
                  <a:lnTo>
                    <a:pt x="476" y="159"/>
                  </a:lnTo>
                  <a:lnTo>
                    <a:pt x="466" y="150"/>
                  </a:lnTo>
                  <a:lnTo>
                    <a:pt x="459" y="148"/>
                  </a:lnTo>
                  <a:lnTo>
                    <a:pt x="457" y="153"/>
                  </a:lnTo>
                  <a:lnTo>
                    <a:pt x="446" y="148"/>
                  </a:lnTo>
                  <a:lnTo>
                    <a:pt x="447" y="142"/>
                  </a:lnTo>
                  <a:lnTo>
                    <a:pt x="429" y="131"/>
                  </a:lnTo>
                  <a:lnTo>
                    <a:pt x="430" y="123"/>
                  </a:lnTo>
                  <a:lnTo>
                    <a:pt x="419" y="114"/>
                  </a:lnTo>
                  <a:lnTo>
                    <a:pt x="414" y="114"/>
                  </a:lnTo>
                  <a:lnTo>
                    <a:pt x="417" y="118"/>
                  </a:lnTo>
                  <a:lnTo>
                    <a:pt x="424" y="129"/>
                  </a:lnTo>
                  <a:lnTo>
                    <a:pt x="418" y="131"/>
                  </a:lnTo>
                  <a:lnTo>
                    <a:pt x="406" y="121"/>
                  </a:lnTo>
                  <a:lnTo>
                    <a:pt x="399" y="120"/>
                  </a:lnTo>
                  <a:lnTo>
                    <a:pt x="385" y="109"/>
                  </a:lnTo>
                  <a:lnTo>
                    <a:pt x="381" y="109"/>
                  </a:lnTo>
                  <a:lnTo>
                    <a:pt x="381" y="113"/>
                  </a:lnTo>
                  <a:lnTo>
                    <a:pt x="383" y="118"/>
                  </a:lnTo>
                  <a:lnTo>
                    <a:pt x="376" y="117"/>
                  </a:lnTo>
                  <a:lnTo>
                    <a:pt x="365" y="102"/>
                  </a:lnTo>
                  <a:lnTo>
                    <a:pt x="356" y="100"/>
                  </a:lnTo>
                  <a:lnTo>
                    <a:pt x="350" y="92"/>
                  </a:lnTo>
                  <a:lnTo>
                    <a:pt x="318" y="73"/>
                  </a:lnTo>
                  <a:lnTo>
                    <a:pt x="272" y="51"/>
                  </a:lnTo>
                  <a:lnTo>
                    <a:pt x="261" y="46"/>
                  </a:lnTo>
                  <a:lnTo>
                    <a:pt x="260" y="50"/>
                  </a:lnTo>
                  <a:lnTo>
                    <a:pt x="250" y="45"/>
                  </a:lnTo>
                  <a:lnTo>
                    <a:pt x="238" y="43"/>
                  </a:lnTo>
                  <a:lnTo>
                    <a:pt x="239" y="46"/>
                  </a:lnTo>
                  <a:lnTo>
                    <a:pt x="232" y="50"/>
                  </a:lnTo>
                  <a:lnTo>
                    <a:pt x="223" y="46"/>
                  </a:lnTo>
                  <a:lnTo>
                    <a:pt x="210" y="46"/>
                  </a:lnTo>
                  <a:lnTo>
                    <a:pt x="204" y="39"/>
                  </a:lnTo>
                  <a:lnTo>
                    <a:pt x="196" y="36"/>
                  </a:lnTo>
                  <a:lnTo>
                    <a:pt x="196" y="38"/>
                  </a:lnTo>
                  <a:lnTo>
                    <a:pt x="200" y="44"/>
                  </a:lnTo>
                  <a:lnTo>
                    <a:pt x="199" y="48"/>
                  </a:lnTo>
                  <a:lnTo>
                    <a:pt x="192" y="44"/>
                  </a:lnTo>
                  <a:lnTo>
                    <a:pt x="184" y="44"/>
                  </a:lnTo>
                  <a:lnTo>
                    <a:pt x="180" y="48"/>
                  </a:lnTo>
                  <a:lnTo>
                    <a:pt x="181" y="52"/>
                  </a:lnTo>
                  <a:lnTo>
                    <a:pt x="175" y="63"/>
                  </a:lnTo>
                  <a:lnTo>
                    <a:pt x="165" y="65"/>
                  </a:lnTo>
                  <a:lnTo>
                    <a:pt x="171" y="56"/>
                  </a:lnTo>
                  <a:lnTo>
                    <a:pt x="176" y="52"/>
                  </a:lnTo>
                  <a:lnTo>
                    <a:pt x="174" y="50"/>
                  </a:lnTo>
                  <a:lnTo>
                    <a:pt x="167" y="50"/>
                  </a:lnTo>
                  <a:lnTo>
                    <a:pt x="169" y="45"/>
                  </a:lnTo>
                  <a:lnTo>
                    <a:pt x="171" y="42"/>
                  </a:lnTo>
                  <a:lnTo>
                    <a:pt x="167" y="39"/>
                  </a:lnTo>
                  <a:lnTo>
                    <a:pt x="163" y="44"/>
                  </a:lnTo>
                  <a:lnTo>
                    <a:pt x="156" y="52"/>
                  </a:lnTo>
                  <a:lnTo>
                    <a:pt x="156" y="46"/>
                  </a:lnTo>
                  <a:lnTo>
                    <a:pt x="156" y="44"/>
                  </a:lnTo>
                  <a:lnTo>
                    <a:pt x="153" y="42"/>
                  </a:lnTo>
                  <a:lnTo>
                    <a:pt x="150" y="46"/>
                  </a:lnTo>
                  <a:lnTo>
                    <a:pt x="147" y="46"/>
                  </a:lnTo>
                  <a:lnTo>
                    <a:pt x="146" y="40"/>
                  </a:lnTo>
                  <a:lnTo>
                    <a:pt x="139" y="38"/>
                  </a:lnTo>
                  <a:lnTo>
                    <a:pt x="132" y="44"/>
                  </a:lnTo>
                  <a:lnTo>
                    <a:pt x="129" y="37"/>
                  </a:lnTo>
                  <a:lnTo>
                    <a:pt x="126" y="34"/>
                  </a:lnTo>
                  <a:lnTo>
                    <a:pt x="119" y="40"/>
                  </a:lnTo>
                  <a:lnTo>
                    <a:pt x="117" y="32"/>
                  </a:lnTo>
                  <a:lnTo>
                    <a:pt x="117" y="23"/>
                  </a:lnTo>
                  <a:lnTo>
                    <a:pt x="122" y="17"/>
                  </a:lnTo>
                  <a:lnTo>
                    <a:pt x="122" y="22"/>
                  </a:lnTo>
                  <a:lnTo>
                    <a:pt x="129" y="30"/>
                  </a:lnTo>
                  <a:lnTo>
                    <a:pt x="140" y="28"/>
                  </a:lnTo>
                  <a:lnTo>
                    <a:pt x="147" y="31"/>
                  </a:lnTo>
                  <a:lnTo>
                    <a:pt x="155" y="25"/>
                  </a:lnTo>
                  <a:lnTo>
                    <a:pt x="155" y="21"/>
                  </a:lnTo>
                  <a:lnTo>
                    <a:pt x="149" y="17"/>
                  </a:lnTo>
                  <a:lnTo>
                    <a:pt x="146" y="15"/>
                  </a:lnTo>
                  <a:lnTo>
                    <a:pt x="140" y="13"/>
                  </a:lnTo>
                  <a:lnTo>
                    <a:pt x="136" y="15"/>
                  </a:lnTo>
                  <a:lnTo>
                    <a:pt x="132" y="11"/>
                  </a:lnTo>
                  <a:lnTo>
                    <a:pt x="127" y="5"/>
                  </a:lnTo>
                  <a:lnTo>
                    <a:pt x="117" y="2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10" y="8"/>
                  </a:lnTo>
                  <a:lnTo>
                    <a:pt x="112" y="9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13"/>
                  </a:lnTo>
                  <a:lnTo>
                    <a:pt x="101" y="15"/>
                  </a:lnTo>
                  <a:lnTo>
                    <a:pt x="110" y="20"/>
                  </a:lnTo>
                  <a:lnTo>
                    <a:pt x="105" y="22"/>
                  </a:lnTo>
                  <a:lnTo>
                    <a:pt x="99" y="21"/>
                  </a:lnTo>
                  <a:lnTo>
                    <a:pt x="95" y="27"/>
                  </a:lnTo>
                  <a:lnTo>
                    <a:pt x="94" y="37"/>
                  </a:lnTo>
                  <a:lnTo>
                    <a:pt x="90" y="32"/>
                  </a:lnTo>
                  <a:lnTo>
                    <a:pt x="90" y="23"/>
                  </a:lnTo>
                  <a:lnTo>
                    <a:pt x="87" y="21"/>
                  </a:lnTo>
                  <a:lnTo>
                    <a:pt x="77" y="20"/>
                  </a:lnTo>
                  <a:lnTo>
                    <a:pt x="76" y="20"/>
                  </a:lnTo>
                  <a:lnTo>
                    <a:pt x="77" y="28"/>
                  </a:lnTo>
                  <a:lnTo>
                    <a:pt x="71" y="34"/>
                  </a:lnTo>
                  <a:lnTo>
                    <a:pt x="61" y="32"/>
                  </a:lnTo>
                  <a:lnTo>
                    <a:pt x="54" y="32"/>
                  </a:lnTo>
                  <a:lnTo>
                    <a:pt x="55" y="44"/>
                  </a:lnTo>
                  <a:lnTo>
                    <a:pt x="48" y="52"/>
                  </a:lnTo>
                  <a:lnTo>
                    <a:pt x="37" y="54"/>
                  </a:lnTo>
                  <a:lnTo>
                    <a:pt x="25" y="65"/>
                  </a:lnTo>
                  <a:lnTo>
                    <a:pt x="24" y="79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7" y="85"/>
                  </a:lnTo>
                  <a:lnTo>
                    <a:pt x="0" y="90"/>
                  </a:lnTo>
                  <a:lnTo>
                    <a:pt x="7" y="91"/>
                  </a:lnTo>
                  <a:lnTo>
                    <a:pt x="5" y="103"/>
                  </a:lnTo>
                  <a:lnTo>
                    <a:pt x="1" y="117"/>
                  </a:lnTo>
                  <a:lnTo>
                    <a:pt x="8" y="124"/>
                  </a:lnTo>
                  <a:lnTo>
                    <a:pt x="16" y="143"/>
                  </a:lnTo>
                  <a:lnTo>
                    <a:pt x="22" y="143"/>
                  </a:lnTo>
                  <a:lnTo>
                    <a:pt x="35" y="150"/>
                  </a:lnTo>
                  <a:lnTo>
                    <a:pt x="42" y="159"/>
                  </a:lnTo>
                  <a:lnTo>
                    <a:pt x="46" y="167"/>
                  </a:lnTo>
                  <a:lnTo>
                    <a:pt x="66" y="179"/>
                  </a:lnTo>
                  <a:lnTo>
                    <a:pt x="72" y="184"/>
                  </a:lnTo>
                  <a:lnTo>
                    <a:pt x="68" y="196"/>
                  </a:lnTo>
                  <a:lnTo>
                    <a:pt x="58" y="210"/>
                  </a:lnTo>
                  <a:lnTo>
                    <a:pt x="51" y="229"/>
                  </a:lnTo>
                  <a:lnTo>
                    <a:pt x="61" y="240"/>
                  </a:lnTo>
                  <a:lnTo>
                    <a:pt x="65" y="252"/>
                  </a:lnTo>
                  <a:lnTo>
                    <a:pt x="84" y="283"/>
                  </a:lnTo>
                  <a:lnTo>
                    <a:pt x="105" y="327"/>
                  </a:lnTo>
                  <a:lnTo>
                    <a:pt x="97" y="328"/>
                  </a:lnTo>
                  <a:lnTo>
                    <a:pt x="94" y="355"/>
                  </a:lnTo>
                  <a:lnTo>
                    <a:pt x="95" y="362"/>
                  </a:lnTo>
                  <a:lnTo>
                    <a:pt x="104" y="364"/>
                  </a:lnTo>
                  <a:lnTo>
                    <a:pt x="98" y="372"/>
                  </a:lnTo>
                  <a:lnTo>
                    <a:pt x="98" y="386"/>
                  </a:lnTo>
                  <a:lnTo>
                    <a:pt x="104" y="392"/>
                  </a:lnTo>
                  <a:lnTo>
                    <a:pt x="115" y="395"/>
                  </a:lnTo>
                  <a:lnTo>
                    <a:pt x="118" y="402"/>
                  </a:lnTo>
                  <a:lnTo>
                    <a:pt x="115" y="407"/>
                  </a:lnTo>
                  <a:lnTo>
                    <a:pt x="116" y="421"/>
                  </a:lnTo>
                  <a:lnTo>
                    <a:pt x="121" y="431"/>
                  </a:lnTo>
                  <a:lnTo>
                    <a:pt x="135" y="439"/>
                  </a:lnTo>
                  <a:lnTo>
                    <a:pt x="135" y="451"/>
                  </a:lnTo>
                  <a:lnTo>
                    <a:pt x="127" y="462"/>
                  </a:lnTo>
                  <a:lnTo>
                    <a:pt x="123" y="476"/>
                  </a:lnTo>
                  <a:lnTo>
                    <a:pt x="145" y="502"/>
                  </a:lnTo>
                  <a:lnTo>
                    <a:pt x="157" y="506"/>
                  </a:lnTo>
                  <a:lnTo>
                    <a:pt x="176" y="526"/>
                  </a:lnTo>
                  <a:lnTo>
                    <a:pt x="180" y="538"/>
                  </a:lnTo>
                  <a:lnTo>
                    <a:pt x="167" y="569"/>
                  </a:lnTo>
                  <a:lnTo>
                    <a:pt x="147" y="596"/>
                  </a:lnTo>
                  <a:lnTo>
                    <a:pt x="138" y="617"/>
                  </a:lnTo>
                  <a:lnTo>
                    <a:pt x="126" y="635"/>
                  </a:lnTo>
                  <a:lnTo>
                    <a:pt x="112" y="654"/>
                  </a:lnTo>
                  <a:lnTo>
                    <a:pt x="101" y="659"/>
                  </a:lnTo>
                  <a:lnTo>
                    <a:pt x="81" y="677"/>
                  </a:lnTo>
                  <a:lnTo>
                    <a:pt x="82" y="689"/>
                  </a:lnTo>
                  <a:lnTo>
                    <a:pt x="82" y="689"/>
                  </a:lnTo>
                  <a:lnTo>
                    <a:pt x="82" y="689"/>
                  </a:lnTo>
                  <a:lnTo>
                    <a:pt x="84" y="687"/>
                  </a:lnTo>
                  <a:lnTo>
                    <a:pt x="84" y="687"/>
                  </a:lnTo>
                  <a:lnTo>
                    <a:pt x="98" y="681"/>
                  </a:lnTo>
                  <a:lnTo>
                    <a:pt x="107" y="679"/>
                  </a:lnTo>
                  <a:lnTo>
                    <a:pt x="101" y="685"/>
                  </a:lnTo>
                  <a:lnTo>
                    <a:pt x="104" y="689"/>
                  </a:lnTo>
                  <a:lnTo>
                    <a:pt x="104" y="697"/>
                  </a:lnTo>
                  <a:lnTo>
                    <a:pt x="94" y="689"/>
                  </a:lnTo>
                  <a:lnTo>
                    <a:pt x="93" y="694"/>
                  </a:lnTo>
                  <a:lnTo>
                    <a:pt x="103" y="705"/>
                  </a:lnTo>
                  <a:lnTo>
                    <a:pt x="113" y="705"/>
                  </a:lnTo>
                  <a:lnTo>
                    <a:pt x="119" y="714"/>
                  </a:lnTo>
                  <a:lnTo>
                    <a:pt x="130" y="714"/>
                  </a:lnTo>
                  <a:lnTo>
                    <a:pt x="134" y="712"/>
                  </a:lnTo>
                  <a:lnTo>
                    <a:pt x="141" y="712"/>
                  </a:lnTo>
                  <a:lnTo>
                    <a:pt x="150" y="722"/>
                  </a:lnTo>
                  <a:lnTo>
                    <a:pt x="144" y="728"/>
                  </a:lnTo>
                  <a:lnTo>
                    <a:pt x="130" y="725"/>
                  </a:lnTo>
                  <a:lnTo>
                    <a:pt x="126" y="727"/>
                  </a:lnTo>
                  <a:lnTo>
                    <a:pt x="123" y="734"/>
                  </a:lnTo>
                  <a:lnTo>
                    <a:pt x="111" y="741"/>
                  </a:lnTo>
                  <a:lnTo>
                    <a:pt x="103" y="737"/>
                  </a:lnTo>
                  <a:lnTo>
                    <a:pt x="98" y="740"/>
                  </a:lnTo>
                  <a:lnTo>
                    <a:pt x="98" y="749"/>
                  </a:lnTo>
                  <a:lnTo>
                    <a:pt x="89" y="751"/>
                  </a:lnTo>
                  <a:lnTo>
                    <a:pt x="86" y="744"/>
                  </a:lnTo>
                  <a:lnTo>
                    <a:pt x="82" y="745"/>
                  </a:lnTo>
                  <a:lnTo>
                    <a:pt x="82" y="750"/>
                  </a:lnTo>
                  <a:lnTo>
                    <a:pt x="86" y="756"/>
                  </a:lnTo>
                  <a:lnTo>
                    <a:pt x="83" y="766"/>
                  </a:lnTo>
                  <a:lnTo>
                    <a:pt x="83" y="766"/>
                  </a:lnTo>
                  <a:lnTo>
                    <a:pt x="87" y="773"/>
                  </a:lnTo>
                  <a:lnTo>
                    <a:pt x="88" y="774"/>
                  </a:lnTo>
                  <a:lnTo>
                    <a:pt x="87" y="777"/>
                  </a:lnTo>
                  <a:lnTo>
                    <a:pt x="80" y="785"/>
                  </a:lnTo>
                  <a:lnTo>
                    <a:pt x="76" y="797"/>
                  </a:lnTo>
                  <a:lnTo>
                    <a:pt x="71" y="799"/>
                  </a:lnTo>
                  <a:lnTo>
                    <a:pt x="68" y="831"/>
                  </a:lnTo>
                  <a:lnTo>
                    <a:pt x="89" y="866"/>
                  </a:lnTo>
                  <a:lnTo>
                    <a:pt x="89" y="874"/>
                  </a:lnTo>
                  <a:lnTo>
                    <a:pt x="81" y="879"/>
                  </a:lnTo>
                  <a:lnTo>
                    <a:pt x="83" y="888"/>
                  </a:lnTo>
                  <a:lnTo>
                    <a:pt x="76" y="897"/>
                  </a:lnTo>
                  <a:lnTo>
                    <a:pt x="86" y="899"/>
                  </a:lnTo>
                  <a:lnTo>
                    <a:pt x="87" y="905"/>
                  </a:lnTo>
                  <a:lnTo>
                    <a:pt x="84" y="909"/>
                  </a:lnTo>
                  <a:lnTo>
                    <a:pt x="88" y="912"/>
                  </a:lnTo>
                  <a:lnTo>
                    <a:pt x="90" y="919"/>
                  </a:lnTo>
                  <a:lnTo>
                    <a:pt x="89" y="925"/>
                  </a:lnTo>
                  <a:lnTo>
                    <a:pt x="95" y="935"/>
                  </a:lnTo>
                  <a:lnTo>
                    <a:pt x="99" y="938"/>
                  </a:lnTo>
                  <a:lnTo>
                    <a:pt x="104" y="951"/>
                  </a:lnTo>
                  <a:lnTo>
                    <a:pt x="110" y="959"/>
                  </a:lnTo>
                  <a:lnTo>
                    <a:pt x="111" y="970"/>
                  </a:lnTo>
                  <a:lnTo>
                    <a:pt x="115" y="970"/>
                  </a:lnTo>
                  <a:lnTo>
                    <a:pt x="123" y="975"/>
                  </a:lnTo>
                  <a:lnTo>
                    <a:pt x="133" y="969"/>
                  </a:lnTo>
                  <a:lnTo>
                    <a:pt x="142" y="982"/>
                  </a:lnTo>
                  <a:lnTo>
                    <a:pt x="153" y="977"/>
                  </a:lnTo>
                  <a:lnTo>
                    <a:pt x="163" y="978"/>
                  </a:lnTo>
                  <a:lnTo>
                    <a:pt x="173" y="993"/>
                  </a:lnTo>
                  <a:lnTo>
                    <a:pt x="184" y="984"/>
                  </a:lnTo>
                  <a:lnTo>
                    <a:pt x="197" y="981"/>
                  </a:lnTo>
                  <a:lnTo>
                    <a:pt x="203" y="987"/>
                  </a:lnTo>
                  <a:lnTo>
                    <a:pt x="209" y="987"/>
                  </a:lnTo>
                  <a:lnTo>
                    <a:pt x="229" y="993"/>
                  </a:lnTo>
                  <a:lnTo>
                    <a:pt x="232" y="1003"/>
                  </a:lnTo>
                  <a:lnTo>
                    <a:pt x="228" y="1013"/>
                  </a:lnTo>
                  <a:lnTo>
                    <a:pt x="237" y="1022"/>
                  </a:lnTo>
                  <a:lnTo>
                    <a:pt x="237" y="1034"/>
                  </a:lnTo>
                  <a:lnTo>
                    <a:pt x="248" y="1045"/>
                  </a:lnTo>
                  <a:lnTo>
                    <a:pt x="252" y="1056"/>
                  </a:lnTo>
                  <a:lnTo>
                    <a:pt x="265" y="1070"/>
                  </a:lnTo>
                  <a:lnTo>
                    <a:pt x="274" y="1076"/>
                  </a:lnTo>
                  <a:lnTo>
                    <a:pt x="278" y="1091"/>
                  </a:lnTo>
                  <a:lnTo>
                    <a:pt x="292" y="1094"/>
                  </a:lnTo>
                  <a:lnTo>
                    <a:pt x="310" y="1108"/>
                  </a:lnTo>
                  <a:lnTo>
                    <a:pt x="312" y="1116"/>
                  </a:lnTo>
                  <a:lnTo>
                    <a:pt x="324" y="1123"/>
                  </a:lnTo>
                  <a:lnTo>
                    <a:pt x="318" y="1127"/>
                  </a:lnTo>
                  <a:lnTo>
                    <a:pt x="309" y="1142"/>
                  </a:lnTo>
                  <a:lnTo>
                    <a:pt x="285" y="1144"/>
                  </a:lnTo>
                  <a:lnTo>
                    <a:pt x="275" y="1136"/>
                  </a:lnTo>
                  <a:lnTo>
                    <a:pt x="271" y="1143"/>
                  </a:lnTo>
                  <a:lnTo>
                    <a:pt x="272" y="1152"/>
                  </a:lnTo>
                  <a:lnTo>
                    <a:pt x="281" y="1166"/>
                  </a:lnTo>
                  <a:lnTo>
                    <a:pt x="280" y="1177"/>
                  </a:lnTo>
                  <a:lnTo>
                    <a:pt x="290" y="1188"/>
                  </a:lnTo>
                  <a:lnTo>
                    <a:pt x="290" y="1198"/>
                  </a:lnTo>
                  <a:lnTo>
                    <a:pt x="297" y="1200"/>
                  </a:lnTo>
                  <a:lnTo>
                    <a:pt x="308" y="1198"/>
                  </a:lnTo>
                  <a:lnTo>
                    <a:pt x="307" y="1189"/>
                  </a:lnTo>
                  <a:lnTo>
                    <a:pt x="314" y="1184"/>
                  </a:lnTo>
                  <a:lnTo>
                    <a:pt x="337" y="1190"/>
                  </a:lnTo>
                  <a:lnTo>
                    <a:pt x="360" y="1190"/>
                  </a:lnTo>
                  <a:lnTo>
                    <a:pt x="372" y="1185"/>
                  </a:lnTo>
                  <a:lnTo>
                    <a:pt x="383" y="1185"/>
                  </a:lnTo>
                  <a:lnTo>
                    <a:pt x="390" y="1204"/>
                  </a:lnTo>
                  <a:lnTo>
                    <a:pt x="400" y="1212"/>
                  </a:lnTo>
                  <a:lnTo>
                    <a:pt x="394" y="1221"/>
                  </a:lnTo>
                  <a:lnTo>
                    <a:pt x="407" y="1236"/>
                  </a:lnTo>
                  <a:lnTo>
                    <a:pt x="433" y="1232"/>
                  </a:lnTo>
                  <a:lnTo>
                    <a:pt x="441" y="1239"/>
                  </a:lnTo>
                  <a:lnTo>
                    <a:pt x="442" y="1248"/>
                  </a:lnTo>
                  <a:lnTo>
                    <a:pt x="452" y="1249"/>
                  </a:lnTo>
                  <a:lnTo>
                    <a:pt x="452" y="1261"/>
                  </a:lnTo>
                  <a:lnTo>
                    <a:pt x="457" y="1275"/>
                  </a:lnTo>
                  <a:lnTo>
                    <a:pt x="477" y="1293"/>
                  </a:lnTo>
                  <a:lnTo>
                    <a:pt x="486" y="1284"/>
                  </a:lnTo>
                  <a:lnTo>
                    <a:pt x="498" y="1290"/>
                  </a:lnTo>
                  <a:lnTo>
                    <a:pt x="509" y="1288"/>
                  </a:lnTo>
                  <a:lnTo>
                    <a:pt x="518" y="1290"/>
                  </a:lnTo>
                  <a:lnTo>
                    <a:pt x="534" y="1279"/>
                  </a:lnTo>
                  <a:lnTo>
                    <a:pt x="541" y="1278"/>
                  </a:lnTo>
                  <a:lnTo>
                    <a:pt x="552" y="1299"/>
                  </a:lnTo>
                  <a:lnTo>
                    <a:pt x="567" y="1306"/>
                  </a:lnTo>
                  <a:lnTo>
                    <a:pt x="570" y="1314"/>
                  </a:lnTo>
                  <a:lnTo>
                    <a:pt x="576" y="1308"/>
                  </a:lnTo>
                  <a:lnTo>
                    <a:pt x="593" y="1312"/>
                  </a:lnTo>
                  <a:lnTo>
                    <a:pt x="605" y="1312"/>
                  </a:lnTo>
                  <a:lnTo>
                    <a:pt x="614" y="1317"/>
                  </a:lnTo>
                  <a:lnTo>
                    <a:pt x="625" y="1316"/>
                  </a:lnTo>
                  <a:lnTo>
                    <a:pt x="636" y="1323"/>
                  </a:lnTo>
                  <a:lnTo>
                    <a:pt x="650" y="1325"/>
                  </a:lnTo>
                  <a:lnTo>
                    <a:pt x="657" y="1318"/>
                  </a:lnTo>
                  <a:lnTo>
                    <a:pt x="661" y="1328"/>
                  </a:lnTo>
                  <a:lnTo>
                    <a:pt x="667" y="1331"/>
                  </a:lnTo>
                  <a:lnTo>
                    <a:pt x="667" y="1342"/>
                  </a:lnTo>
                  <a:lnTo>
                    <a:pt x="660" y="1352"/>
                  </a:lnTo>
                  <a:lnTo>
                    <a:pt x="650" y="1353"/>
                  </a:lnTo>
                  <a:lnTo>
                    <a:pt x="648" y="1371"/>
                  </a:lnTo>
                  <a:lnTo>
                    <a:pt x="661" y="1380"/>
                  </a:lnTo>
                  <a:lnTo>
                    <a:pt x="662" y="1392"/>
                  </a:lnTo>
                  <a:lnTo>
                    <a:pt x="657" y="1407"/>
                  </a:lnTo>
                  <a:lnTo>
                    <a:pt x="659" y="1417"/>
                  </a:lnTo>
                  <a:lnTo>
                    <a:pt x="650" y="1423"/>
                  </a:lnTo>
                  <a:lnTo>
                    <a:pt x="628" y="1424"/>
                  </a:lnTo>
                  <a:lnTo>
                    <a:pt x="619" y="1439"/>
                  </a:lnTo>
                  <a:lnTo>
                    <a:pt x="613" y="1441"/>
                  </a:lnTo>
                  <a:lnTo>
                    <a:pt x="610" y="1459"/>
                  </a:lnTo>
                  <a:lnTo>
                    <a:pt x="610" y="1461"/>
                  </a:lnTo>
                  <a:lnTo>
                    <a:pt x="611" y="1459"/>
                  </a:lnTo>
                  <a:lnTo>
                    <a:pt x="621" y="1462"/>
                  </a:lnTo>
                  <a:lnTo>
                    <a:pt x="631" y="1455"/>
                  </a:lnTo>
                  <a:lnTo>
                    <a:pt x="643" y="1453"/>
                  </a:lnTo>
                  <a:lnTo>
                    <a:pt x="647" y="1458"/>
                  </a:lnTo>
                  <a:lnTo>
                    <a:pt x="644" y="1464"/>
                  </a:lnTo>
                  <a:lnTo>
                    <a:pt x="620" y="1476"/>
                  </a:lnTo>
                  <a:lnTo>
                    <a:pt x="609" y="1482"/>
                  </a:lnTo>
                  <a:lnTo>
                    <a:pt x="614" y="1486"/>
                  </a:lnTo>
                  <a:lnTo>
                    <a:pt x="620" y="1486"/>
                  </a:lnTo>
                  <a:lnTo>
                    <a:pt x="614" y="1492"/>
                  </a:lnTo>
                  <a:lnTo>
                    <a:pt x="603" y="1490"/>
                  </a:lnTo>
                  <a:lnTo>
                    <a:pt x="587" y="1492"/>
                  </a:lnTo>
                  <a:lnTo>
                    <a:pt x="593" y="1504"/>
                  </a:lnTo>
                  <a:lnTo>
                    <a:pt x="601" y="1510"/>
                  </a:lnTo>
                  <a:lnTo>
                    <a:pt x="605" y="1507"/>
                  </a:lnTo>
                  <a:lnTo>
                    <a:pt x="608" y="1511"/>
                  </a:lnTo>
                  <a:lnTo>
                    <a:pt x="617" y="1514"/>
                  </a:lnTo>
                  <a:lnTo>
                    <a:pt x="617" y="1517"/>
                  </a:lnTo>
                  <a:lnTo>
                    <a:pt x="611" y="1519"/>
                  </a:lnTo>
                  <a:lnTo>
                    <a:pt x="607" y="1524"/>
                  </a:lnTo>
                  <a:lnTo>
                    <a:pt x="601" y="1522"/>
                  </a:lnTo>
                  <a:lnTo>
                    <a:pt x="597" y="1526"/>
                  </a:lnTo>
                  <a:lnTo>
                    <a:pt x="597" y="1528"/>
                  </a:lnTo>
                  <a:lnTo>
                    <a:pt x="587" y="1537"/>
                  </a:lnTo>
                  <a:lnTo>
                    <a:pt x="587" y="1547"/>
                  </a:lnTo>
                  <a:lnTo>
                    <a:pt x="592" y="1549"/>
                  </a:lnTo>
                  <a:lnTo>
                    <a:pt x="590" y="1561"/>
                  </a:lnTo>
                  <a:lnTo>
                    <a:pt x="581" y="1560"/>
                  </a:lnTo>
                  <a:lnTo>
                    <a:pt x="579" y="1561"/>
                  </a:lnTo>
                  <a:lnTo>
                    <a:pt x="572" y="1556"/>
                  </a:lnTo>
                  <a:lnTo>
                    <a:pt x="562" y="1554"/>
                  </a:lnTo>
                  <a:lnTo>
                    <a:pt x="561" y="1557"/>
                  </a:lnTo>
                  <a:lnTo>
                    <a:pt x="564" y="1563"/>
                  </a:lnTo>
                  <a:lnTo>
                    <a:pt x="557" y="1566"/>
                  </a:lnTo>
                  <a:lnTo>
                    <a:pt x="551" y="1571"/>
                  </a:lnTo>
                  <a:lnTo>
                    <a:pt x="562" y="1572"/>
                  </a:lnTo>
                  <a:lnTo>
                    <a:pt x="567" y="1572"/>
                  </a:lnTo>
                  <a:lnTo>
                    <a:pt x="580" y="1582"/>
                  </a:lnTo>
                  <a:lnTo>
                    <a:pt x="580" y="1588"/>
                  </a:lnTo>
                  <a:lnTo>
                    <a:pt x="591" y="1597"/>
                  </a:lnTo>
                  <a:lnTo>
                    <a:pt x="608" y="1596"/>
                  </a:lnTo>
                  <a:lnTo>
                    <a:pt x="625" y="1606"/>
                  </a:lnTo>
                  <a:lnTo>
                    <a:pt x="638" y="1608"/>
                  </a:lnTo>
                  <a:lnTo>
                    <a:pt x="667" y="1627"/>
                  </a:lnTo>
                  <a:lnTo>
                    <a:pt x="673" y="1637"/>
                  </a:lnTo>
                  <a:lnTo>
                    <a:pt x="682" y="1641"/>
                  </a:lnTo>
                  <a:lnTo>
                    <a:pt x="684" y="1646"/>
                  </a:lnTo>
                  <a:lnTo>
                    <a:pt x="691" y="1650"/>
                  </a:lnTo>
                  <a:lnTo>
                    <a:pt x="698" y="1652"/>
                  </a:lnTo>
                  <a:lnTo>
                    <a:pt x="701" y="1657"/>
                  </a:lnTo>
                  <a:lnTo>
                    <a:pt x="711" y="1660"/>
                  </a:lnTo>
                  <a:lnTo>
                    <a:pt x="715" y="1660"/>
                  </a:lnTo>
                  <a:lnTo>
                    <a:pt x="723" y="1670"/>
                  </a:lnTo>
                  <a:lnTo>
                    <a:pt x="731" y="1671"/>
                  </a:lnTo>
                  <a:lnTo>
                    <a:pt x="736" y="1673"/>
                  </a:lnTo>
                  <a:lnTo>
                    <a:pt x="741" y="1670"/>
                  </a:lnTo>
                  <a:lnTo>
                    <a:pt x="753" y="1679"/>
                  </a:lnTo>
                  <a:lnTo>
                    <a:pt x="753" y="1684"/>
                  </a:lnTo>
                  <a:lnTo>
                    <a:pt x="764" y="1687"/>
                  </a:lnTo>
                  <a:lnTo>
                    <a:pt x="775" y="1700"/>
                  </a:lnTo>
                  <a:lnTo>
                    <a:pt x="779" y="1706"/>
                  </a:lnTo>
                  <a:lnTo>
                    <a:pt x="782" y="1723"/>
                  </a:lnTo>
                  <a:lnTo>
                    <a:pt x="790" y="1736"/>
                  </a:lnTo>
                  <a:lnTo>
                    <a:pt x="787" y="1741"/>
                  </a:lnTo>
                  <a:lnTo>
                    <a:pt x="789" y="1748"/>
                  </a:lnTo>
                  <a:lnTo>
                    <a:pt x="788" y="1751"/>
                  </a:lnTo>
                  <a:lnTo>
                    <a:pt x="788" y="1751"/>
                  </a:lnTo>
                  <a:lnTo>
                    <a:pt x="794" y="1751"/>
                  </a:lnTo>
                  <a:lnTo>
                    <a:pt x="795" y="1758"/>
                  </a:lnTo>
                  <a:lnTo>
                    <a:pt x="801" y="1760"/>
                  </a:lnTo>
                  <a:lnTo>
                    <a:pt x="805" y="1754"/>
                  </a:lnTo>
                  <a:lnTo>
                    <a:pt x="817" y="1759"/>
                  </a:lnTo>
                  <a:lnTo>
                    <a:pt x="823" y="1758"/>
                  </a:lnTo>
                  <a:lnTo>
                    <a:pt x="829" y="1753"/>
                  </a:lnTo>
                  <a:lnTo>
                    <a:pt x="836" y="1754"/>
                  </a:lnTo>
                  <a:lnTo>
                    <a:pt x="856" y="1770"/>
                  </a:lnTo>
                  <a:lnTo>
                    <a:pt x="864" y="1771"/>
                  </a:lnTo>
                  <a:lnTo>
                    <a:pt x="865" y="1773"/>
                  </a:lnTo>
                  <a:lnTo>
                    <a:pt x="880" y="1768"/>
                  </a:lnTo>
                  <a:lnTo>
                    <a:pt x="900" y="1764"/>
                  </a:lnTo>
                  <a:lnTo>
                    <a:pt x="906" y="1765"/>
                  </a:lnTo>
                  <a:lnTo>
                    <a:pt x="932" y="1764"/>
                  </a:lnTo>
                  <a:lnTo>
                    <a:pt x="943" y="1774"/>
                  </a:lnTo>
                  <a:lnTo>
                    <a:pt x="934" y="1767"/>
                  </a:lnTo>
                  <a:lnTo>
                    <a:pt x="935" y="1759"/>
                  </a:lnTo>
                  <a:lnTo>
                    <a:pt x="952" y="1753"/>
                  </a:lnTo>
                  <a:lnTo>
                    <a:pt x="978" y="1767"/>
                  </a:lnTo>
                  <a:lnTo>
                    <a:pt x="996" y="1768"/>
                  </a:lnTo>
                  <a:lnTo>
                    <a:pt x="1012" y="1775"/>
                  </a:lnTo>
                  <a:lnTo>
                    <a:pt x="1015" y="1760"/>
                  </a:lnTo>
                  <a:lnTo>
                    <a:pt x="1008" y="1752"/>
                  </a:lnTo>
                  <a:lnTo>
                    <a:pt x="996" y="1745"/>
                  </a:lnTo>
                  <a:lnTo>
                    <a:pt x="1001" y="1730"/>
                  </a:lnTo>
                  <a:lnTo>
                    <a:pt x="1014" y="1731"/>
                  </a:lnTo>
                  <a:lnTo>
                    <a:pt x="1036" y="1747"/>
                  </a:lnTo>
                  <a:lnTo>
                    <a:pt x="1042" y="1757"/>
                  </a:lnTo>
                  <a:lnTo>
                    <a:pt x="1062" y="1759"/>
                  </a:lnTo>
                  <a:lnTo>
                    <a:pt x="1066" y="1752"/>
                  </a:lnTo>
                  <a:lnTo>
                    <a:pt x="1079" y="1745"/>
                  </a:lnTo>
                  <a:lnTo>
                    <a:pt x="1095" y="1728"/>
                  </a:lnTo>
                  <a:lnTo>
                    <a:pt x="1095" y="1727"/>
                  </a:lnTo>
                  <a:lnTo>
                    <a:pt x="1091" y="1724"/>
                  </a:lnTo>
                  <a:lnTo>
                    <a:pt x="1067" y="1706"/>
                  </a:lnTo>
                  <a:lnTo>
                    <a:pt x="1050" y="1688"/>
                  </a:lnTo>
                  <a:lnTo>
                    <a:pt x="1047" y="1676"/>
                  </a:lnTo>
                  <a:lnTo>
                    <a:pt x="1039" y="1669"/>
                  </a:lnTo>
                  <a:lnTo>
                    <a:pt x="1038" y="1657"/>
                  </a:lnTo>
                  <a:lnTo>
                    <a:pt x="1036" y="1650"/>
                  </a:lnTo>
                  <a:lnTo>
                    <a:pt x="1034" y="1646"/>
                  </a:lnTo>
                  <a:lnTo>
                    <a:pt x="1028" y="1646"/>
                  </a:lnTo>
                  <a:lnTo>
                    <a:pt x="1030" y="1638"/>
                  </a:lnTo>
                  <a:lnTo>
                    <a:pt x="1034" y="1641"/>
                  </a:lnTo>
                  <a:lnTo>
                    <a:pt x="1037" y="1632"/>
                  </a:lnTo>
                  <a:lnTo>
                    <a:pt x="1041" y="1626"/>
                  </a:lnTo>
                  <a:lnTo>
                    <a:pt x="1034" y="1626"/>
                  </a:lnTo>
                  <a:lnTo>
                    <a:pt x="1030" y="1630"/>
                  </a:lnTo>
                  <a:lnTo>
                    <a:pt x="1020" y="1624"/>
                  </a:lnTo>
                  <a:lnTo>
                    <a:pt x="1020" y="1611"/>
                  </a:lnTo>
                  <a:lnTo>
                    <a:pt x="1012" y="1608"/>
                  </a:lnTo>
                  <a:lnTo>
                    <a:pt x="1005" y="1601"/>
                  </a:lnTo>
                  <a:lnTo>
                    <a:pt x="999" y="1603"/>
                  </a:lnTo>
                  <a:lnTo>
                    <a:pt x="992" y="1602"/>
                  </a:lnTo>
                  <a:lnTo>
                    <a:pt x="987" y="1588"/>
                  </a:lnTo>
                  <a:lnTo>
                    <a:pt x="990" y="1580"/>
                  </a:lnTo>
                  <a:lnTo>
                    <a:pt x="996" y="1577"/>
                  </a:lnTo>
                  <a:lnTo>
                    <a:pt x="996" y="1562"/>
                  </a:lnTo>
                  <a:lnTo>
                    <a:pt x="999" y="1555"/>
                  </a:lnTo>
                  <a:lnTo>
                    <a:pt x="1002" y="1547"/>
                  </a:lnTo>
                  <a:lnTo>
                    <a:pt x="1007" y="1543"/>
                  </a:lnTo>
                  <a:lnTo>
                    <a:pt x="1009" y="1534"/>
                  </a:lnTo>
                  <a:lnTo>
                    <a:pt x="1013" y="1527"/>
                  </a:lnTo>
                  <a:lnTo>
                    <a:pt x="1014" y="1522"/>
                  </a:lnTo>
                  <a:lnTo>
                    <a:pt x="1018" y="1524"/>
                  </a:lnTo>
                  <a:lnTo>
                    <a:pt x="1022" y="1527"/>
                  </a:lnTo>
                  <a:lnTo>
                    <a:pt x="1026" y="1525"/>
                  </a:lnTo>
                  <a:lnTo>
                    <a:pt x="1028" y="1520"/>
                  </a:lnTo>
                  <a:lnTo>
                    <a:pt x="1032" y="1524"/>
                  </a:lnTo>
                  <a:lnTo>
                    <a:pt x="1037" y="1521"/>
                  </a:lnTo>
                  <a:lnTo>
                    <a:pt x="1043" y="1521"/>
                  </a:lnTo>
                  <a:lnTo>
                    <a:pt x="1049" y="1516"/>
                  </a:lnTo>
                  <a:lnTo>
                    <a:pt x="1048" y="1513"/>
                  </a:lnTo>
                  <a:lnTo>
                    <a:pt x="1041" y="1511"/>
                  </a:lnTo>
                  <a:lnTo>
                    <a:pt x="1045" y="1510"/>
                  </a:lnTo>
                  <a:lnTo>
                    <a:pt x="1045" y="1510"/>
                  </a:lnTo>
                  <a:lnTo>
                    <a:pt x="1049" y="1513"/>
                  </a:lnTo>
                  <a:lnTo>
                    <a:pt x="1049" y="1513"/>
                  </a:lnTo>
                  <a:lnTo>
                    <a:pt x="1056" y="1510"/>
                  </a:lnTo>
                  <a:lnTo>
                    <a:pt x="1061" y="1514"/>
                  </a:lnTo>
                  <a:lnTo>
                    <a:pt x="1065" y="1511"/>
                  </a:lnTo>
                  <a:lnTo>
                    <a:pt x="1062" y="1507"/>
                  </a:lnTo>
                  <a:lnTo>
                    <a:pt x="1049" y="1501"/>
                  </a:lnTo>
                  <a:lnTo>
                    <a:pt x="1055" y="1499"/>
                  </a:lnTo>
                  <a:lnTo>
                    <a:pt x="1064" y="1501"/>
                  </a:lnTo>
                  <a:lnTo>
                    <a:pt x="1067" y="1501"/>
                  </a:lnTo>
                  <a:lnTo>
                    <a:pt x="1074" y="1502"/>
                  </a:lnTo>
                  <a:lnTo>
                    <a:pt x="1074" y="1497"/>
                  </a:lnTo>
                  <a:lnTo>
                    <a:pt x="1070" y="1495"/>
                  </a:lnTo>
                  <a:lnTo>
                    <a:pt x="1074" y="1493"/>
                  </a:lnTo>
                  <a:lnTo>
                    <a:pt x="1074" y="1490"/>
                  </a:lnTo>
                  <a:lnTo>
                    <a:pt x="1071" y="1486"/>
                  </a:lnTo>
                  <a:lnTo>
                    <a:pt x="1078" y="1485"/>
                  </a:lnTo>
                  <a:lnTo>
                    <a:pt x="1078" y="1480"/>
                  </a:lnTo>
                  <a:lnTo>
                    <a:pt x="1078" y="1478"/>
                  </a:lnTo>
                  <a:lnTo>
                    <a:pt x="1079" y="1478"/>
                  </a:lnTo>
                  <a:lnTo>
                    <a:pt x="1079" y="1478"/>
                  </a:lnTo>
                  <a:lnTo>
                    <a:pt x="1067" y="1470"/>
                  </a:lnTo>
                  <a:lnTo>
                    <a:pt x="1056" y="1474"/>
                  </a:lnTo>
                  <a:lnTo>
                    <a:pt x="1039" y="1464"/>
                  </a:lnTo>
                  <a:lnTo>
                    <a:pt x="1039" y="1457"/>
                  </a:lnTo>
                  <a:lnTo>
                    <a:pt x="1057" y="1457"/>
                  </a:lnTo>
                  <a:lnTo>
                    <a:pt x="1039" y="1429"/>
                  </a:lnTo>
                  <a:lnTo>
                    <a:pt x="1018" y="1411"/>
                  </a:lnTo>
                  <a:lnTo>
                    <a:pt x="987" y="1404"/>
                  </a:lnTo>
                  <a:lnTo>
                    <a:pt x="984" y="1410"/>
                  </a:lnTo>
                  <a:lnTo>
                    <a:pt x="969" y="1398"/>
                  </a:lnTo>
                  <a:lnTo>
                    <a:pt x="973" y="1392"/>
                  </a:lnTo>
                  <a:lnTo>
                    <a:pt x="964" y="1381"/>
                  </a:lnTo>
                  <a:lnTo>
                    <a:pt x="945" y="1374"/>
                  </a:lnTo>
                  <a:lnTo>
                    <a:pt x="952" y="1359"/>
                  </a:lnTo>
                  <a:lnTo>
                    <a:pt x="956" y="1334"/>
                  </a:lnTo>
                  <a:lnTo>
                    <a:pt x="950" y="1328"/>
                  </a:lnTo>
                  <a:lnTo>
                    <a:pt x="947" y="1307"/>
                  </a:lnTo>
                  <a:lnTo>
                    <a:pt x="956" y="1304"/>
                  </a:lnTo>
                  <a:lnTo>
                    <a:pt x="968" y="1289"/>
                  </a:lnTo>
                  <a:lnTo>
                    <a:pt x="968" y="1279"/>
                  </a:lnTo>
                  <a:lnTo>
                    <a:pt x="975" y="1271"/>
                  </a:lnTo>
                  <a:lnTo>
                    <a:pt x="999" y="1291"/>
                  </a:lnTo>
                  <a:lnTo>
                    <a:pt x="1003" y="1299"/>
                  </a:lnTo>
                  <a:lnTo>
                    <a:pt x="1016" y="1306"/>
                  </a:lnTo>
                  <a:lnTo>
                    <a:pt x="1031" y="1305"/>
                  </a:lnTo>
                  <a:lnTo>
                    <a:pt x="1028" y="1293"/>
                  </a:lnTo>
                  <a:lnTo>
                    <a:pt x="1034" y="1289"/>
                  </a:lnTo>
                  <a:lnTo>
                    <a:pt x="1024" y="1255"/>
                  </a:lnTo>
                  <a:lnTo>
                    <a:pt x="1038" y="1254"/>
                  </a:lnTo>
                  <a:lnTo>
                    <a:pt x="1053" y="1254"/>
                  </a:lnTo>
                  <a:lnTo>
                    <a:pt x="1053" y="1244"/>
                  </a:lnTo>
                  <a:lnTo>
                    <a:pt x="1047" y="1236"/>
                  </a:lnTo>
                  <a:lnTo>
                    <a:pt x="1049" y="1227"/>
                  </a:lnTo>
                  <a:lnTo>
                    <a:pt x="1064" y="1219"/>
                  </a:lnTo>
                  <a:lnTo>
                    <a:pt x="1070" y="1219"/>
                  </a:lnTo>
                  <a:lnTo>
                    <a:pt x="1073" y="1208"/>
                  </a:lnTo>
                  <a:lnTo>
                    <a:pt x="1080" y="1203"/>
                  </a:lnTo>
                  <a:lnTo>
                    <a:pt x="1090" y="1206"/>
                  </a:lnTo>
                  <a:lnTo>
                    <a:pt x="1091" y="1198"/>
                  </a:lnTo>
                  <a:lnTo>
                    <a:pt x="1089" y="1190"/>
                  </a:lnTo>
                  <a:lnTo>
                    <a:pt x="1091" y="1185"/>
                  </a:lnTo>
                  <a:lnTo>
                    <a:pt x="1105" y="1192"/>
                  </a:lnTo>
                  <a:lnTo>
                    <a:pt x="1115" y="1196"/>
                  </a:lnTo>
                  <a:lnTo>
                    <a:pt x="1114" y="1202"/>
                  </a:lnTo>
                  <a:lnTo>
                    <a:pt x="1108" y="1208"/>
                  </a:lnTo>
                  <a:lnTo>
                    <a:pt x="1113" y="1213"/>
                  </a:lnTo>
                  <a:lnTo>
                    <a:pt x="1122" y="1208"/>
                  </a:lnTo>
                  <a:lnTo>
                    <a:pt x="1124" y="1202"/>
                  </a:lnTo>
                  <a:lnTo>
                    <a:pt x="1130" y="1198"/>
                  </a:lnTo>
                  <a:lnTo>
                    <a:pt x="1131" y="1206"/>
                  </a:lnTo>
                  <a:lnTo>
                    <a:pt x="1136" y="1200"/>
                  </a:lnTo>
                  <a:lnTo>
                    <a:pt x="1138" y="1195"/>
                  </a:lnTo>
                  <a:lnTo>
                    <a:pt x="1147" y="1194"/>
                  </a:lnTo>
                  <a:lnTo>
                    <a:pt x="1157" y="1188"/>
                  </a:lnTo>
                  <a:lnTo>
                    <a:pt x="1165" y="1188"/>
                  </a:lnTo>
                  <a:lnTo>
                    <a:pt x="1170" y="1198"/>
                  </a:lnTo>
                  <a:lnTo>
                    <a:pt x="1180" y="1204"/>
                  </a:lnTo>
                  <a:lnTo>
                    <a:pt x="1196" y="1201"/>
                  </a:lnTo>
                  <a:lnTo>
                    <a:pt x="1204" y="1201"/>
                  </a:lnTo>
                  <a:lnTo>
                    <a:pt x="1209" y="1207"/>
                  </a:lnTo>
                  <a:lnTo>
                    <a:pt x="1215" y="1207"/>
                  </a:lnTo>
                  <a:lnTo>
                    <a:pt x="1223" y="1218"/>
                  </a:lnTo>
                  <a:lnTo>
                    <a:pt x="1233" y="1218"/>
                  </a:lnTo>
                  <a:lnTo>
                    <a:pt x="1240" y="1226"/>
                  </a:lnTo>
                  <a:lnTo>
                    <a:pt x="1253" y="1235"/>
                  </a:lnTo>
                  <a:lnTo>
                    <a:pt x="1261" y="1236"/>
                  </a:lnTo>
                  <a:lnTo>
                    <a:pt x="1264" y="1242"/>
                  </a:lnTo>
                  <a:lnTo>
                    <a:pt x="1265" y="1252"/>
                  </a:lnTo>
                  <a:lnTo>
                    <a:pt x="1270" y="1253"/>
                  </a:lnTo>
                  <a:lnTo>
                    <a:pt x="1276" y="1244"/>
                  </a:lnTo>
                  <a:lnTo>
                    <a:pt x="1275" y="123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E637B1A8-00C5-334B-8305-589D443B9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863" y="1839913"/>
              <a:ext cx="20638" cy="17463"/>
            </a:xfrm>
            <a:custGeom>
              <a:avLst/>
              <a:gdLst/>
              <a:ahLst/>
              <a:cxnLst>
                <a:cxn ang="0">
                  <a:pos x="13" y="7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10" y="11"/>
                </a:cxn>
                <a:cxn ang="0">
                  <a:pos x="13" y="7"/>
                </a:cxn>
              </a:cxnLst>
              <a:rect l="0" t="0" r="r" b="b"/>
              <a:pathLst>
                <a:path w="13" h="11">
                  <a:moveTo>
                    <a:pt x="13" y="7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10" y="11"/>
                  </a:lnTo>
                  <a:lnTo>
                    <a:pt x="13" y="7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BB6AFD41-1D5E-A140-901D-011DC15BD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875" y="1076325"/>
              <a:ext cx="17463" cy="17463"/>
            </a:xfrm>
            <a:custGeom>
              <a:avLst/>
              <a:gdLst/>
              <a:ahLst/>
              <a:cxnLst>
                <a:cxn ang="0">
                  <a:pos x="11" y="10"/>
                </a:cxn>
                <a:cxn ang="0">
                  <a:pos x="10" y="5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0" y="5"/>
                </a:cxn>
                <a:cxn ang="0">
                  <a:pos x="6" y="11"/>
                </a:cxn>
                <a:cxn ang="0">
                  <a:pos x="11" y="10"/>
                </a:cxn>
              </a:cxnLst>
              <a:rect l="0" t="0" r="r" b="b"/>
              <a:pathLst>
                <a:path w="11" h="11">
                  <a:moveTo>
                    <a:pt x="11" y="10"/>
                  </a:moveTo>
                  <a:lnTo>
                    <a:pt x="10" y="5"/>
                  </a:lnTo>
                  <a:lnTo>
                    <a:pt x="5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6" y="11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6F34CBB7-916C-554A-A627-FC3B5BCB4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3350" y="1282700"/>
              <a:ext cx="22225" cy="33338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0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7" y="17"/>
                </a:cxn>
                <a:cxn ang="0">
                  <a:pos x="10" y="21"/>
                </a:cxn>
                <a:cxn ang="0">
                  <a:pos x="13" y="21"/>
                </a:cxn>
                <a:cxn ang="0">
                  <a:pos x="14" y="17"/>
                </a:cxn>
                <a:cxn ang="0">
                  <a:pos x="10" y="10"/>
                </a:cxn>
                <a:cxn ang="0">
                  <a:pos x="13" y="6"/>
                </a:cxn>
                <a:cxn ang="0">
                  <a:pos x="12" y="2"/>
                </a:cxn>
              </a:cxnLst>
              <a:rect l="0" t="0" r="r" b="b"/>
              <a:pathLst>
                <a:path w="14" h="21">
                  <a:moveTo>
                    <a:pt x="12" y="2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7" y="17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4" y="17"/>
                  </a:lnTo>
                  <a:lnTo>
                    <a:pt x="10" y="10"/>
                  </a:lnTo>
                  <a:lnTo>
                    <a:pt x="13" y="6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id="{92987316-5498-CC47-BBAA-DB2BA9FE2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1563" y="2132013"/>
              <a:ext cx="460375" cy="323850"/>
            </a:xfrm>
            <a:custGeom>
              <a:avLst/>
              <a:gdLst/>
              <a:ahLst/>
              <a:cxnLst>
                <a:cxn ang="0">
                  <a:pos x="226" y="197"/>
                </a:cxn>
                <a:cxn ang="0">
                  <a:pos x="229" y="181"/>
                </a:cxn>
                <a:cxn ang="0">
                  <a:pos x="209" y="182"/>
                </a:cxn>
                <a:cxn ang="0">
                  <a:pos x="209" y="193"/>
                </a:cxn>
                <a:cxn ang="0">
                  <a:pos x="270" y="152"/>
                </a:cxn>
                <a:cxn ang="0">
                  <a:pos x="281" y="146"/>
                </a:cxn>
                <a:cxn ang="0">
                  <a:pos x="180" y="131"/>
                </a:cxn>
                <a:cxn ang="0">
                  <a:pos x="160" y="163"/>
                </a:cxn>
                <a:cxn ang="0">
                  <a:pos x="152" y="151"/>
                </a:cxn>
                <a:cxn ang="0">
                  <a:pos x="131" y="134"/>
                </a:cxn>
                <a:cxn ang="0">
                  <a:pos x="135" y="115"/>
                </a:cxn>
                <a:cxn ang="0">
                  <a:pos x="153" y="127"/>
                </a:cxn>
                <a:cxn ang="0">
                  <a:pos x="153" y="117"/>
                </a:cxn>
                <a:cxn ang="0">
                  <a:pos x="177" y="102"/>
                </a:cxn>
                <a:cxn ang="0">
                  <a:pos x="168" y="133"/>
                </a:cxn>
                <a:cxn ang="0">
                  <a:pos x="174" y="150"/>
                </a:cxn>
                <a:cxn ang="0">
                  <a:pos x="160" y="163"/>
                </a:cxn>
                <a:cxn ang="0">
                  <a:pos x="177" y="162"/>
                </a:cxn>
                <a:cxn ang="0">
                  <a:pos x="166" y="165"/>
                </a:cxn>
                <a:cxn ang="0">
                  <a:pos x="151" y="174"/>
                </a:cxn>
                <a:cxn ang="0">
                  <a:pos x="164" y="173"/>
                </a:cxn>
                <a:cxn ang="0">
                  <a:pos x="155" y="179"/>
                </a:cxn>
                <a:cxn ang="0">
                  <a:pos x="122" y="176"/>
                </a:cxn>
                <a:cxn ang="0">
                  <a:pos x="131" y="164"/>
                </a:cxn>
                <a:cxn ang="0">
                  <a:pos x="104" y="105"/>
                </a:cxn>
                <a:cxn ang="0">
                  <a:pos x="99" y="123"/>
                </a:cxn>
                <a:cxn ang="0">
                  <a:pos x="94" y="168"/>
                </a:cxn>
                <a:cxn ang="0">
                  <a:pos x="110" y="171"/>
                </a:cxn>
                <a:cxn ang="0">
                  <a:pos x="120" y="160"/>
                </a:cxn>
                <a:cxn ang="0">
                  <a:pos x="73" y="133"/>
                </a:cxn>
                <a:cxn ang="0">
                  <a:pos x="110" y="146"/>
                </a:cxn>
                <a:cxn ang="0">
                  <a:pos x="91" y="160"/>
                </a:cxn>
                <a:cxn ang="0">
                  <a:pos x="73" y="133"/>
                </a:cxn>
                <a:cxn ang="0">
                  <a:pos x="124" y="24"/>
                </a:cxn>
                <a:cxn ang="0">
                  <a:pos x="27" y="67"/>
                </a:cxn>
                <a:cxn ang="0">
                  <a:pos x="39" y="58"/>
                </a:cxn>
                <a:cxn ang="0">
                  <a:pos x="25" y="72"/>
                </a:cxn>
                <a:cxn ang="0">
                  <a:pos x="42" y="48"/>
                </a:cxn>
                <a:cxn ang="0">
                  <a:pos x="76" y="47"/>
                </a:cxn>
                <a:cxn ang="0">
                  <a:pos x="95" y="25"/>
                </a:cxn>
                <a:cxn ang="0">
                  <a:pos x="100" y="0"/>
                </a:cxn>
                <a:cxn ang="0">
                  <a:pos x="62" y="24"/>
                </a:cxn>
                <a:cxn ang="0">
                  <a:pos x="27" y="47"/>
                </a:cxn>
                <a:cxn ang="0">
                  <a:pos x="7" y="61"/>
                </a:cxn>
                <a:cxn ang="0">
                  <a:pos x="25" y="72"/>
                </a:cxn>
                <a:cxn ang="0">
                  <a:pos x="60" y="159"/>
                </a:cxn>
                <a:cxn ang="0">
                  <a:pos x="64" y="142"/>
                </a:cxn>
                <a:cxn ang="0">
                  <a:pos x="73" y="124"/>
                </a:cxn>
                <a:cxn ang="0">
                  <a:pos x="93" y="106"/>
                </a:cxn>
                <a:cxn ang="0">
                  <a:pos x="107" y="98"/>
                </a:cxn>
                <a:cxn ang="0">
                  <a:pos x="119" y="86"/>
                </a:cxn>
                <a:cxn ang="0">
                  <a:pos x="91" y="76"/>
                </a:cxn>
                <a:cxn ang="0">
                  <a:pos x="85" y="55"/>
                </a:cxn>
                <a:cxn ang="0">
                  <a:pos x="49" y="53"/>
                </a:cxn>
                <a:cxn ang="0">
                  <a:pos x="59" y="76"/>
                </a:cxn>
                <a:cxn ang="0">
                  <a:pos x="42" y="75"/>
                </a:cxn>
                <a:cxn ang="0">
                  <a:pos x="32" y="71"/>
                </a:cxn>
                <a:cxn ang="0">
                  <a:pos x="15" y="76"/>
                </a:cxn>
                <a:cxn ang="0">
                  <a:pos x="13" y="94"/>
                </a:cxn>
                <a:cxn ang="0">
                  <a:pos x="12" y="105"/>
                </a:cxn>
                <a:cxn ang="0">
                  <a:pos x="0" y="136"/>
                </a:cxn>
                <a:cxn ang="0">
                  <a:pos x="25" y="157"/>
                </a:cxn>
                <a:cxn ang="0">
                  <a:pos x="52" y="169"/>
                </a:cxn>
              </a:cxnLst>
              <a:rect l="0" t="0" r="r" b="b"/>
              <a:pathLst>
                <a:path w="290" h="204">
                  <a:moveTo>
                    <a:pt x="207" y="199"/>
                  </a:moveTo>
                  <a:lnTo>
                    <a:pt x="210" y="202"/>
                  </a:lnTo>
                  <a:lnTo>
                    <a:pt x="220" y="204"/>
                  </a:lnTo>
                  <a:lnTo>
                    <a:pt x="226" y="197"/>
                  </a:lnTo>
                  <a:lnTo>
                    <a:pt x="230" y="198"/>
                  </a:lnTo>
                  <a:lnTo>
                    <a:pt x="232" y="194"/>
                  </a:lnTo>
                  <a:lnTo>
                    <a:pt x="227" y="188"/>
                  </a:lnTo>
                  <a:lnTo>
                    <a:pt x="229" y="181"/>
                  </a:lnTo>
                  <a:lnTo>
                    <a:pt x="222" y="180"/>
                  </a:lnTo>
                  <a:lnTo>
                    <a:pt x="220" y="182"/>
                  </a:lnTo>
                  <a:lnTo>
                    <a:pt x="216" y="180"/>
                  </a:lnTo>
                  <a:lnTo>
                    <a:pt x="209" y="182"/>
                  </a:lnTo>
                  <a:lnTo>
                    <a:pt x="210" y="187"/>
                  </a:lnTo>
                  <a:lnTo>
                    <a:pt x="217" y="187"/>
                  </a:lnTo>
                  <a:lnTo>
                    <a:pt x="215" y="190"/>
                  </a:lnTo>
                  <a:lnTo>
                    <a:pt x="209" y="193"/>
                  </a:lnTo>
                  <a:lnTo>
                    <a:pt x="207" y="199"/>
                  </a:lnTo>
                  <a:lnTo>
                    <a:pt x="207" y="199"/>
                  </a:lnTo>
                  <a:close/>
                  <a:moveTo>
                    <a:pt x="273" y="141"/>
                  </a:moveTo>
                  <a:lnTo>
                    <a:pt x="270" y="152"/>
                  </a:lnTo>
                  <a:lnTo>
                    <a:pt x="273" y="159"/>
                  </a:lnTo>
                  <a:lnTo>
                    <a:pt x="287" y="164"/>
                  </a:lnTo>
                  <a:lnTo>
                    <a:pt x="290" y="157"/>
                  </a:lnTo>
                  <a:lnTo>
                    <a:pt x="281" y="146"/>
                  </a:lnTo>
                  <a:lnTo>
                    <a:pt x="273" y="141"/>
                  </a:lnTo>
                  <a:lnTo>
                    <a:pt x="273" y="141"/>
                  </a:lnTo>
                  <a:close/>
                  <a:moveTo>
                    <a:pt x="183" y="122"/>
                  </a:moveTo>
                  <a:lnTo>
                    <a:pt x="180" y="131"/>
                  </a:lnTo>
                  <a:lnTo>
                    <a:pt x="186" y="133"/>
                  </a:lnTo>
                  <a:lnTo>
                    <a:pt x="183" y="122"/>
                  </a:lnTo>
                  <a:lnTo>
                    <a:pt x="183" y="122"/>
                  </a:lnTo>
                  <a:close/>
                  <a:moveTo>
                    <a:pt x="160" y="163"/>
                  </a:moveTo>
                  <a:lnTo>
                    <a:pt x="153" y="163"/>
                  </a:lnTo>
                  <a:lnTo>
                    <a:pt x="151" y="159"/>
                  </a:lnTo>
                  <a:lnTo>
                    <a:pt x="154" y="154"/>
                  </a:lnTo>
                  <a:lnTo>
                    <a:pt x="152" y="151"/>
                  </a:lnTo>
                  <a:lnTo>
                    <a:pt x="142" y="148"/>
                  </a:lnTo>
                  <a:lnTo>
                    <a:pt x="136" y="148"/>
                  </a:lnTo>
                  <a:lnTo>
                    <a:pt x="130" y="142"/>
                  </a:lnTo>
                  <a:lnTo>
                    <a:pt x="131" y="134"/>
                  </a:lnTo>
                  <a:lnTo>
                    <a:pt x="128" y="129"/>
                  </a:lnTo>
                  <a:lnTo>
                    <a:pt x="126" y="123"/>
                  </a:lnTo>
                  <a:lnTo>
                    <a:pt x="131" y="122"/>
                  </a:lnTo>
                  <a:lnTo>
                    <a:pt x="135" y="115"/>
                  </a:lnTo>
                  <a:lnTo>
                    <a:pt x="140" y="112"/>
                  </a:lnTo>
                  <a:lnTo>
                    <a:pt x="145" y="117"/>
                  </a:lnTo>
                  <a:lnTo>
                    <a:pt x="145" y="122"/>
                  </a:lnTo>
                  <a:lnTo>
                    <a:pt x="153" y="127"/>
                  </a:lnTo>
                  <a:lnTo>
                    <a:pt x="154" y="124"/>
                  </a:lnTo>
                  <a:lnTo>
                    <a:pt x="159" y="125"/>
                  </a:lnTo>
                  <a:lnTo>
                    <a:pt x="160" y="121"/>
                  </a:lnTo>
                  <a:lnTo>
                    <a:pt x="153" y="117"/>
                  </a:lnTo>
                  <a:lnTo>
                    <a:pt x="149" y="113"/>
                  </a:lnTo>
                  <a:lnTo>
                    <a:pt x="154" y="106"/>
                  </a:lnTo>
                  <a:lnTo>
                    <a:pt x="166" y="102"/>
                  </a:lnTo>
                  <a:lnTo>
                    <a:pt x="177" y="102"/>
                  </a:lnTo>
                  <a:lnTo>
                    <a:pt x="180" y="110"/>
                  </a:lnTo>
                  <a:lnTo>
                    <a:pt x="181" y="118"/>
                  </a:lnTo>
                  <a:lnTo>
                    <a:pt x="177" y="128"/>
                  </a:lnTo>
                  <a:lnTo>
                    <a:pt x="168" y="133"/>
                  </a:lnTo>
                  <a:lnTo>
                    <a:pt x="168" y="135"/>
                  </a:lnTo>
                  <a:lnTo>
                    <a:pt x="176" y="140"/>
                  </a:lnTo>
                  <a:lnTo>
                    <a:pt x="178" y="146"/>
                  </a:lnTo>
                  <a:lnTo>
                    <a:pt x="174" y="150"/>
                  </a:lnTo>
                  <a:lnTo>
                    <a:pt x="164" y="153"/>
                  </a:lnTo>
                  <a:lnTo>
                    <a:pt x="164" y="159"/>
                  </a:lnTo>
                  <a:lnTo>
                    <a:pt x="160" y="163"/>
                  </a:lnTo>
                  <a:lnTo>
                    <a:pt x="160" y="163"/>
                  </a:lnTo>
                  <a:close/>
                  <a:moveTo>
                    <a:pt x="166" y="165"/>
                  </a:moveTo>
                  <a:lnTo>
                    <a:pt x="168" y="169"/>
                  </a:lnTo>
                  <a:lnTo>
                    <a:pt x="171" y="163"/>
                  </a:lnTo>
                  <a:lnTo>
                    <a:pt x="177" y="162"/>
                  </a:lnTo>
                  <a:lnTo>
                    <a:pt x="176" y="158"/>
                  </a:lnTo>
                  <a:lnTo>
                    <a:pt x="170" y="160"/>
                  </a:lnTo>
                  <a:lnTo>
                    <a:pt x="166" y="165"/>
                  </a:lnTo>
                  <a:lnTo>
                    <a:pt x="166" y="165"/>
                  </a:lnTo>
                  <a:close/>
                  <a:moveTo>
                    <a:pt x="131" y="164"/>
                  </a:moveTo>
                  <a:lnTo>
                    <a:pt x="140" y="175"/>
                  </a:lnTo>
                  <a:lnTo>
                    <a:pt x="146" y="174"/>
                  </a:lnTo>
                  <a:lnTo>
                    <a:pt x="151" y="174"/>
                  </a:lnTo>
                  <a:lnTo>
                    <a:pt x="153" y="168"/>
                  </a:lnTo>
                  <a:lnTo>
                    <a:pt x="160" y="168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80"/>
                  </a:lnTo>
                  <a:lnTo>
                    <a:pt x="160" y="186"/>
                  </a:lnTo>
                  <a:lnTo>
                    <a:pt x="158" y="185"/>
                  </a:lnTo>
                  <a:lnTo>
                    <a:pt x="155" y="179"/>
                  </a:lnTo>
                  <a:lnTo>
                    <a:pt x="151" y="183"/>
                  </a:lnTo>
                  <a:lnTo>
                    <a:pt x="139" y="185"/>
                  </a:lnTo>
                  <a:lnTo>
                    <a:pt x="125" y="181"/>
                  </a:lnTo>
                  <a:lnTo>
                    <a:pt x="122" y="176"/>
                  </a:lnTo>
                  <a:lnTo>
                    <a:pt x="126" y="174"/>
                  </a:lnTo>
                  <a:lnTo>
                    <a:pt x="123" y="170"/>
                  </a:lnTo>
                  <a:lnTo>
                    <a:pt x="126" y="165"/>
                  </a:lnTo>
                  <a:lnTo>
                    <a:pt x="131" y="164"/>
                  </a:lnTo>
                  <a:lnTo>
                    <a:pt x="131" y="164"/>
                  </a:lnTo>
                  <a:close/>
                  <a:moveTo>
                    <a:pt x="99" y="123"/>
                  </a:moveTo>
                  <a:lnTo>
                    <a:pt x="104" y="117"/>
                  </a:lnTo>
                  <a:lnTo>
                    <a:pt x="104" y="105"/>
                  </a:lnTo>
                  <a:lnTo>
                    <a:pt x="107" y="116"/>
                  </a:lnTo>
                  <a:lnTo>
                    <a:pt x="106" y="122"/>
                  </a:lnTo>
                  <a:lnTo>
                    <a:pt x="99" y="123"/>
                  </a:lnTo>
                  <a:lnTo>
                    <a:pt x="99" y="123"/>
                  </a:lnTo>
                  <a:close/>
                  <a:moveTo>
                    <a:pt x="94" y="168"/>
                  </a:moveTo>
                  <a:lnTo>
                    <a:pt x="101" y="174"/>
                  </a:lnTo>
                  <a:lnTo>
                    <a:pt x="105" y="170"/>
                  </a:lnTo>
                  <a:lnTo>
                    <a:pt x="94" y="168"/>
                  </a:lnTo>
                  <a:lnTo>
                    <a:pt x="94" y="168"/>
                  </a:lnTo>
                  <a:close/>
                  <a:moveTo>
                    <a:pt x="116" y="153"/>
                  </a:moveTo>
                  <a:lnTo>
                    <a:pt x="113" y="165"/>
                  </a:lnTo>
                  <a:lnTo>
                    <a:pt x="110" y="171"/>
                  </a:lnTo>
                  <a:lnTo>
                    <a:pt x="111" y="176"/>
                  </a:lnTo>
                  <a:lnTo>
                    <a:pt x="116" y="169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8" y="157"/>
                  </a:lnTo>
                  <a:lnTo>
                    <a:pt x="116" y="153"/>
                  </a:lnTo>
                  <a:lnTo>
                    <a:pt x="116" y="153"/>
                  </a:lnTo>
                  <a:close/>
                  <a:moveTo>
                    <a:pt x="73" y="133"/>
                  </a:moveTo>
                  <a:lnTo>
                    <a:pt x="87" y="130"/>
                  </a:lnTo>
                  <a:lnTo>
                    <a:pt x="96" y="135"/>
                  </a:lnTo>
                  <a:lnTo>
                    <a:pt x="104" y="134"/>
                  </a:lnTo>
                  <a:lnTo>
                    <a:pt x="110" y="146"/>
                  </a:lnTo>
                  <a:lnTo>
                    <a:pt x="112" y="152"/>
                  </a:lnTo>
                  <a:lnTo>
                    <a:pt x="106" y="163"/>
                  </a:lnTo>
                  <a:lnTo>
                    <a:pt x="96" y="164"/>
                  </a:lnTo>
                  <a:lnTo>
                    <a:pt x="91" y="160"/>
                  </a:lnTo>
                  <a:lnTo>
                    <a:pt x="84" y="160"/>
                  </a:lnTo>
                  <a:lnTo>
                    <a:pt x="76" y="152"/>
                  </a:lnTo>
                  <a:lnTo>
                    <a:pt x="71" y="142"/>
                  </a:lnTo>
                  <a:lnTo>
                    <a:pt x="73" y="133"/>
                  </a:lnTo>
                  <a:lnTo>
                    <a:pt x="73" y="133"/>
                  </a:lnTo>
                  <a:close/>
                  <a:moveTo>
                    <a:pt x="110" y="29"/>
                  </a:moveTo>
                  <a:lnTo>
                    <a:pt x="114" y="24"/>
                  </a:lnTo>
                  <a:lnTo>
                    <a:pt x="124" y="24"/>
                  </a:lnTo>
                  <a:lnTo>
                    <a:pt x="117" y="29"/>
                  </a:lnTo>
                  <a:lnTo>
                    <a:pt x="110" y="29"/>
                  </a:lnTo>
                  <a:lnTo>
                    <a:pt x="110" y="29"/>
                  </a:lnTo>
                  <a:close/>
                  <a:moveTo>
                    <a:pt x="27" y="67"/>
                  </a:moveTo>
                  <a:lnTo>
                    <a:pt x="27" y="59"/>
                  </a:lnTo>
                  <a:lnTo>
                    <a:pt x="33" y="53"/>
                  </a:lnTo>
                  <a:lnTo>
                    <a:pt x="41" y="53"/>
                  </a:lnTo>
                  <a:lnTo>
                    <a:pt x="39" y="58"/>
                  </a:lnTo>
                  <a:lnTo>
                    <a:pt x="32" y="66"/>
                  </a:lnTo>
                  <a:lnTo>
                    <a:pt x="27" y="67"/>
                  </a:lnTo>
                  <a:lnTo>
                    <a:pt x="27" y="67"/>
                  </a:lnTo>
                  <a:close/>
                  <a:moveTo>
                    <a:pt x="25" y="72"/>
                  </a:moveTo>
                  <a:lnTo>
                    <a:pt x="23" y="61"/>
                  </a:lnTo>
                  <a:lnTo>
                    <a:pt x="25" y="55"/>
                  </a:lnTo>
                  <a:lnTo>
                    <a:pt x="41" y="47"/>
                  </a:lnTo>
                  <a:lnTo>
                    <a:pt x="42" y="48"/>
                  </a:lnTo>
                  <a:lnTo>
                    <a:pt x="50" y="47"/>
                  </a:lnTo>
                  <a:lnTo>
                    <a:pt x="60" y="49"/>
                  </a:lnTo>
                  <a:lnTo>
                    <a:pt x="66" y="47"/>
                  </a:lnTo>
                  <a:lnTo>
                    <a:pt x="76" y="47"/>
                  </a:lnTo>
                  <a:lnTo>
                    <a:pt x="83" y="49"/>
                  </a:lnTo>
                  <a:lnTo>
                    <a:pt x="88" y="48"/>
                  </a:lnTo>
                  <a:lnTo>
                    <a:pt x="96" y="34"/>
                  </a:lnTo>
                  <a:lnTo>
                    <a:pt x="95" y="25"/>
                  </a:lnTo>
                  <a:lnTo>
                    <a:pt x="96" y="21"/>
                  </a:lnTo>
                  <a:lnTo>
                    <a:pt x="95" y="13"/>
                  </a:lnTo>
                  <a:lnTo>
                    <a:pt x="101" y="2"/>
                  </a:lnTo>
                  <a:lnTo>
                    <a:pt x="100" y="0"/>
                  </a:lnTo>
                  <a:lnTo>
                    <a:pt x="88" y="11"/>
                  </a:lnTo>
                  <a:lnTo>
                    <a:pt x="76" y="15"/>
                  </a:lnTo>
                  <a:lnTo>
                    <a:pt x="67" y="15"/>
                  </a:lnTo>
                  <a:lnTo>
                    <a:pt x="62" y="24"/>
                  </a:lnTo>
                  <a:lnTo>
                    <a:pt x="58" y="34"/>
                  </a:lnTo>
                  <a:lnTo>
                    <a:pt x="48" y="38"/>
                  </a:lnTo>
                  <a:lnTo>
                    <a:pt x="38" y="38"/>
                  </a:lnTo>
                  <a:lnTo>
                    <a:pt x="27" y="47"/>
                  </a:lnTo>
                  <a:lnTo>
                    <a:pt x="24" y="46"/>
                  </a:lnTo>
                  <a:lnTo>
                    <a:pt x="16" y="46"/>
                  </a:lnTo>
                  <a:lnTo>
                    <a:pt x="14" y="54"/>
                  </a:lnTo>
                  <a:lnTo>
                    <a:pt x="7" y="61"/>
                  </a:lnTo>
                  <a:lnTo>
                    <a:pt x="12" y="64"/>
                  </a:lnTo>
                  <a:lnTo>
                    <a:pt x="15" y="63"/>
                  </a:lnTo>
                  <a:lnTo>
                    <a:pt x="25" y="72"/>
                  </a:lnTo>
                  <a:lnTo>
                    <a:pt x="25" y="72"/>
                  </a:lnTo>
                  <a:close/>
                  <a:moveTo>
                    <a:pt x="65" y="170"/>
                  </a:moveTo>
                  <a:lnTo>
                    <a:pt x="64" y="170"/>
                  </a:lnTo>
                  <a:lnTo>
                    <a:pt x="66" y="164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8" y="153"/>
                  </a:lnTo>
                  <a:lnTo>
                    <a:pt x="62" y="150"/>
                  </a:lnTo>
                  <a:lnTo>
                    <a:pt x="64" y="142"/>
                  </a:lnTo>
                  <a:lnTo>
                    <a:pt x="59" y="141"/>
                  </a:lnTo>
                  <a:lnTo>
                    <a:pt x="59" y="135"/>
                  </a:lnTo>
                  <a:lnTo>
                    <a:pt x="77" y="127"/>
                  </a:lnTo>
                  <a:lnTo>
                    <a:pt x="73" y="124"/>
                  </a:lnTo>
                  <a:lnTo>
                    <a:pt x="79" y="118"/>
                  </a:lnTo>
                  <a:lnTo>
                    <a:pt x="83" y="121"/>
                  </a:lnTo>
                  <a:lnTo>
                    <a:pt x="93" y="117"/>
                  </a:lnTo>
                  <a:lnTo>
                    <a:pt x="93" y="106"/>
                  </a:lnTo>
                  <a:lnTo>
                    <a:pt x="88" y="98"/>
                  </a:lnTo>
                  <a:lnTo>
                    <a:pt x="94" y="93"/>
                  </a:lnTo>
                  <a:lnTo>
                    <a:pt x="101" y="92"/>
                  </a:lnTo>
                  <a:lnTo>
                    <a:pt x="107" y="98"/>
                  </a:lnTo>
                  <a:lnTo>
                    <a:pt x="111" y="95"/>
                  </a:lnTo>
                  <a:lnTo>
                    <a:pt x="113" y="96"/>
                  </a:lnTo>
                  <a:lnTo>
                    <a:pt x="117" y="93"/>
                  </a:lnTo>
                  <a:lnTo>
                    <a:pt x="119" y="86"/>
                  </a:lnTo>
                  <a:lnTo>
                    <a:pt x="112" y="78"/>
                  </a:lnTo>
                  <a:lnTo>
                    <a:pt x="107" y="81"/>
                  </a:lnTo>
                  <a:lnTo>
                    <a:pt x="96" y="81"/>
                  </a:lnTo>
                  <a:lnTo>
                    <a:pt x="91" y="76"/>
                  </a:lnTo>
                  <a:lnTo>
                    <a:pt x="87" y="69"/>
                  </a:lnTo>
                  <a:lnTo>
                    <a:pt x="82" y="69"/>
                  </a:lnTo>
                  <a:lnTo>
                    <a:pt x="85" y="64"/>
                  </a:lnTo>
                  <a:lnTo>
                    <a:pt x="85" y="55"/>
                  </a:lnTo>
                  <a:lnTo>
                    <a:pt x="77" y="50"/>
                  </a:lnTo>
                  <a:lnTo>
                    <a:pt x="64" y="50"/>
                  </a:lnTo>
                  <a:lnTo>
                    <a:pt x="56" y="54"/>
                  </a:lnTo>
                  <a:lnTo>
                    <a:pt x="49" y="53"/>
                  </a:lnTo>
                  <a:lnTo>
                    <a:pt x="46" y="55"/>
                  </a:lnTo>
                  <a:lnTo>
                    <a:pt x="54" y="65"/>
                  </a:lnTo>
                  <a:lnTo>
                    <a:pt x="52" y="69"/>
                  </a:lnTo>
                  <a:lnTo>
                    <a:pt x="59" y="76"/>
                  </a:lnTo>
                  <a:lnTo>
                    <a:pt x="58" y="78"/>
                  </a:lnTo>
                  <a:lnTo>
                    <a:pt x="52" y="76"/>
                  </a:lnTo>
                  <a:lnTo>
                    <a:pt x="43" y="78"/>
                  </a:lnTo>
                  <a:lnTo>
                    <a:pt x="42" y="75"/>
                  </a:lnTo>
                  <a:lnTo>
                    <a:pt x="47" y="70"/>
                  </a:lnTo>
                  <a:lnTo>
                    <a:pt x="42" y="61"/>
                  </a:lnTo>
                  <a:lnTo>
                    <a:pt x="39" y="61"/>
                  </a:lnTo>
                  <a:lnTo>
                    <a:pt x="32" y="71"/>
                  </a:lnTo>
                  <a:lnTo>
                    <a:pt x="37" y="76"/>
                  </a:lnTo>
                  <a:lnTo>
                    <a:pt x="27" y="82"/>
                  </a:lnTo>
                  <a:lnTo>
                    <a:pt x="23" y="76"/>
                  </a:lnTo>
                  <a:lnTo>
                    <a:pt x="15" y="76"/>
                  </a:lnTo>
                  <a:lnTo>
                    <a:pt x="9" y="73"/>
                  </a:lnTo>
                  <a:lnTo>
                    <a:pt x="3" y="80"/>
                  </a:lnTo>
                  <a:lnTo>
                    <a:pt x="13" y="87"/>
                  </a:lnTo>
                  <a:lnTo>
                    <a:pt x="13" y="94"/>
                  </a:lnTo>
                  <a:lnTo>
                    <a:pt x="7" y="90"/>
                  </a:lnTo>
                  <a:lnTo>
                    <a:pt x="3" y="92"/>
                  </a:lnTo>
                  <a:lnTo>
                    <a:pt x="6" y="101"/>
                  </a:lnTo>
                  <a:lnTo>
                    <a:pt x="12" y="105"/>
                  </a:lnTo>
                  <a:lnTo>
                    <a:pt x="12" y="115"/>
                  </a:lnTo>
                  <a:lnTo>
                    <a:pt x="16" y="118"/>
                  </a:lnTo>
                  <a:lnTo>
                    <a:pt x="4" y="124"/>
                  </a:lnTo>
                  <a:lnTo>
                    <a:pt x="0" y="136"/>
                  </a:lnTo>
                  <a:lnTo>
                    <a:pt x="4" y="140"/>
                  </a:lnTo>
                  <a:lnTo>
                    <a:pt x="12" y="136"/>
                  </a:lnTo>
                  <a:lnTo>
                    <a:pt x="23" y="145"/>
                  </a:lnTo>
                  <a:lnTo>
                    <a:pt x="25" y="157"/>
                  </a:lnTo>
                  <a:lnTo>
                    <a:pt x="20" y="159"/>
                  </a:lnTo>
                  <a:lnTo>
                    <a:pt x="23" y="165"/>
                  </a:lnTo>
                  <a:lnTo>
                    <a:pt x="35" y="165"/>
                  </a:lnTo>
                  <a:lnTo>
                    <a:pt x="52" y="169"/>
                  </a:lnTo>
                  <a:lnTo>
                    <a:pt x="56" y="171"/>
                  </a:lnTo>
                  <a:lnTo>
                    <a:pt x="65" y="17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67308F94-7D68-5340-A6BA-7FEFF55B7F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8200" y="571500"/>
              <a:ext cx="1485900" cy="1546225"/>
            </a:xfrm>
            <a:custGeom>
              <a:avLst/>
              <a:gdLst/>
              <a:ahLst/>
              <a:cxnLst>
                <a:cxn ang="0">
                  <a:pos x="898" y="122"/>
                </a:cxn>
                <a:cxn ang="0">
                  <a:pos x="929" y="68"/>
                </a:cxn>
                <a:cxn ang="0">
                  <a:pos x="859" y="44"/>
                </a:cxn>
                <a:cxn ang="0">
                  <a:pos x="819" y="45"/>
                </a:cxn>
                <a:cxn ang="0">
                  <a:pos x="791" y="0"/>
                </a:cxn>
                <a:cxn ang="0">
                  <a:pos x="761" y="62"/>
                </a:cxn>
                <a:cxn ang="0">
                  <a:pos x="701" y="88"/>
                </a:cxn>
                <a:cxn ang="0">
                  <a:pos x="672" y="33"/>
                </a:cxn>
                <a:cxn ang="0">
                  <a:pos x="648" y="103"/>
                </a:cxn>
                <a:cxn ang="0">
                  <a:pos x="593" y="112"/>
                </a:cxn>
                <a:cxn ang="0">
                  <a:pos x="533" y="166"/>
                </a:cxn>
                <a:cxn ang="0">
                  <a:pos x="510" y="181"/>
                </a:cxn>
                <a:cxn ang="0">
                  <a:pos x="458" y="181"/>
                </a:cxn>
                <a:cxn ang="0">
                  <a:pos x="414" y="238"/>
                </a:cxn>
                <a:cxn ang="0">
                  <a:pos x="408" y="266"/>
                </a:cxn>
                <a:cxn ang="0">
                  <a:pos x="362" y="296"/>
                </a:cxn>
                <a:cxn ang="0">
                  <a:pos x="369" y="331"/>
                </a:cxn>
                <a:cxn ang="0">
                  <a:pos x="322" y="377"/>
                </a:cxn>
                <a:cxn ang="0">
                  <a:pos x="315" y="412"/>
                </a:cxn>
                <a:cxn ang="0">
                  <a:pos x="296" y="469"/>
                </a:cxn>
                <a:cxn ang="0">
                  <a:pos x="246" y="525"/>
                </a:cxn>
                <a:cxn ang="0">
                  <a:pos x="186" y="591"/>
                </a:cxn>
                <a:cxn ang="0">
                  <a:pos x="255" y="585"/>
                </a:cxn>
                <a:cxn ang="0">
                  <a:pos x="170" y="608"/>
                </a:cxn>
                <a:cxn ang="0">
                  <a:pos x="145" y="647"/>
                </a:cxn>
                <a:cxn ang="0">
                  <a:pos x="107" y="658"/>
                </a:cxn>
                <a:cxn ang="0">
                  <a:pos x="87" y="691"/>
                </a:cxn>
                <a:cxn ang="0">
                  <a:pos x="15" y="700"/>
                </a:cxn>
                <a:cxn ang="0">
                  <a:pos x="27" y="742"/>
                </a:cxn>
                <a:cxn ang="0">
                  <a:pos x="72" y="757"/>
                </a:cxn>
                <a:cxn ang="0">
                  <a:pos x="89" y="775"/>
                </a:cxn>
                <a:cxn ang="0">
                  <a:pos x="24" y="797"/>
                </a:cxn>
                <a:cxn ang="0">
                  <a:pos x="85" y="810"/>
                </a:cxn>
                <a:cxn ang="0">
                  <a:pos x="39" y="867"/>
                </a:cxn>
                <a:cxn ang="0">
                  <a:pos x="67" y="911"/>
                </a:cxn>
                <a:cxn ang="0">
                  <a:pos x="110" y="974"/>
                </a:cxn>
                <a:cxn ang="0">
                  <a:pos x="194" y="901"/>
                </a:cxn>
                <a:cxn ang="0">
                  <a:pos x="230" y="876"/>
                </a:cxn>
                <a:cxn ang="0">
                  <a:pos x="288" y="904"/>
                </a:cxn>
                <a:cxn ang="0">
                  <a:pos x="293" y="684"/>
                </a:cxn>
                <a:cxn ang="0">
                  <a:pos x="356" y="411"/>
                </a:cxn>
                <a:cxn ang="0">
                  <a:pos x="472" y="254"/>
                </a:cxn>
                <a:cxn ang="0">
                  <a:pos x="554" y="187"/>
                </a:cxn>
                <a:cxn ang="0">
                  <a:pos x="715" y="207"/>
                </a:cxn>
                <a:cxn ang="0">
                  <a:pos x="821" y="99"/>
                </a:cxn>
                <a:cxn ang="0">
                  <a:pos x="21" y="850"/>
                </a:cxn>
                <a:cxn ang="0">
                  <a:pos x="10" y="804"/>
                </a:cxn>
                <a:cxn ang="0">
                  <a:pos x="6" y="723"/>
                </a:cxn>
                <a:cxn ang="0">
                  <a:pos x="131" y="620"/>
                </a:cxn>
                <a:cxn ang="0">
                  <a:pos x="154" y="600"/>
                </a:cxn>
                <a:cxn ang="0">
                  <a:pos x="247" y="515"/>
                </a:cxn>
                <a:cxn ang="0">
                  <a:pos x="338" y="340"/>
                </a:cxn>
                <a:cxn ang="0">
                  <a:pos x="309" y="264"/>
                </a:cxn>
                <a:cxn ang="0">
                  <a:pos x="363" y="196"/>
                </a:cxn>
                <a:cxn ang="0">
                  <a:pos x="396" y="173"/>
                </a:cxn>
                <a:cxn ang="0">
                  <a:pos x="382" y="226"/>
                </a:cxn>
                <a:cxn ang="0">
                  <a:pos x="458" y="175"/>
                </a:cxn>
                <a:cxn ang="0">
                  <a:pos x="458" y="140"/>
                </a:cxn>
                <a:cxn ang="0">
                  <a:pos x="491" y="103"/>
                </a:cxn>
                <a:cxn ang="0">
                  <a:pos x="515" y="102"/>
                </a:cxn>
                <a:cxn ang="0">
                  <a:pos x="612" y="71"/>
                </a:cxn>
                <a:cxn ang="0">
                  <a:pos x="637" y="34"/>
                </a:cxn>
                <a:cxn ang="0">
                  <a:pos x="683" y="11"/>
                </a:cxn>
              </a:cxnLst>
              <a:rect l="0" t="0" r="r" b="b"/>
              <a:pathLst>
                <a:path w="936" h="974">
                  <a:moveTo>
                    <a:pt x="868" y="175"/>
                  </a:moveTo>
                  <a:lnTo>
                    <a:pt x="873" y="174"/>
                  </a:lnTo>
                  <a:lnTo>
                    <a:pt x="874" y="160"/>
                  </a:lnTo>
                  <a:lnTo>
                    <a:pt x="886" y="149"/>
                  </a:lnTo>
                  <a:lnTo>
                    <a:pt x="897" y="147"/>
                  </a:lnTo>
                  <a:lnTo>
                    <a:pt x="904" y="139"/>
                  </a:lnTo>
                  <a:lnTo>
                    <a:pt x="903" y="127"/>
                  </a:lnTo>
                  <a:lnTo>
                    <a:pt x="910" y="127"/>
                  </a:lnTo>
                  <a:lnTo>
                    <a:pt x="920" y="129"/>
                  </a:lnTo>
                  <a:lnTo>
                    <a:pt x="926" y="123"/>
                  </a:lnTo>
                  <a:lnTo>
                    <a:pt x="925" y="115"/>
                  </a:lnTo>
                  <a:lnTo>
                    <a:pt x="923" y="115"/>
                  </a:lnTo>
                  <a:lnTo>
                    <a:pt x="917" y="110"/>
                  </a:lnTo>
                  <a:lnTo>
                    <a:pt x="913" y="110"/>
                  </a:lnTo>
                  <a:lnTo>
                    <a:pt x="909" y="111"/>
                  </a:lnTo>
                  <a:lnTo>
                    <a:pt x="909" y="116"/>
                  </a:lnTo>
                  <a:lnTo>
                    <a:pt x="906" y="114"/>
                  </a:lnTo>
                  <a:lnTo>
                    <a:pt x="903" y="109"/>
                  </a:lnTo>
                  <a:lnTo>
                    <a:pt x="898" y="109"/>
                  </a:lnTo>
                  <a:lnTo>
                    <a:pt x="900" y="112"/>
                  </a:lnTo>
                  <a:lnTo>
                    <a:pt x="898" y="122"/>
                  </a:lnTo>
                  <a:lnTo>
                    <a:pt x="895" y="120"/>
                  </a:lnTo>
                  <a:lnTo>
                    <a:pt x="891" y="114"/>
                  </a:lnTo>
                  <a:lnTo>
                    <a:pt x="884" y="118"/>
                  </a:lnTo>
                  <a:lnTo>
                    <a:pt x="881" y="122"/>
                  </a:lnTo>
                  <a:lnTo>
                    <a:pt x="879" y="116"/>
                  </a:lnTo>
                  <a:lnTo>
                    <a:pt x="878" y="106"/>
                  </a:lnTo>
                  <a:lnTo>
                    <a:pt x="874" y="106"/>
                  </a:lnTo>
                  <a:lnTo>
                    <a:pt x="871" y="98"/>
                  </a:lnTo>
                  <a:lnTo>
                    <a:pt x="867" y="95"/>
                  </a:lnTo>
                  <a:lnTo>
                    <a:pt x="859" y="97"/>
                  </a:lnTo>
                  <a:lnTo>
                    <a:pt x="852" y="94"/>
                  </a:lnTo>
                  <a:lnTo>
                    <a:pt x="842" y="93"/>
                  </a:lnTo>
                  <a:lnTo>
                    <a:pt x="837" y="86"/>
                  </a:lnTo>
                  <a:lnTo>
                    <a:pt x="838" y="85"/>
                  </a:lnTo>
                  <a:lnTo>
                    <a:pt x="851" y="88"/>
                  </a:lnTo>
                  <a:lnTo>
                    <a:pt x="863" y="87"/>
                  </a:lnTo>
                  <a:lnTo>
                    <a:pt x="872" y="88"/>
                  </a:lnTo>
                  <a:lnTo>
                    <a:pt x="890" y="91"/>
                  </a:lnTo>
                  <a:lnTo>
                    <a:pt x="903" y="87"/>
                  </a:lnTo>
                  <a:lnTo>
                    <a:pt x="910" y="73"/>
                  </a:lnTo>
                  <a:lnTo>
                    <a:pt x="929" y="68"/>
                  </a:lnTo>
                  <a:lnTo>
                    <a:pt x="936" y="63"/>
                  </a:lnTo>
                  <a:lnTo>
                    <a:pt x="936" y="60"/>
                  </a:lnTo>
                  <a:lnTo>
                    <a:pt x="930" y="58"/>
                  </a:lnTo>
                  <a:lnTo>
                    <a:pt x="929" y="54"/>
                  </a:lnTo>
                  <a:lnTo>
                    <a:pt x="923" y="53"/>
                  </a:lnTo>
                  <a:lnTo>
                    <a:pt x="914" y="54"/>
                  </a:lnTo>
                  <a:lnTo>
                    <a:pt x="903" y="46"/>
                  </a:lnTo>
                  <a:lnTo>
                    <a:pt x="897" y="46"/>
                  </a:lnTo>
                  <a:lnTo>
                    <a:pt x="890" y="53"/>
                  </a:lnTo>
                  <a:lnTo>
                    <a:pt x="885" y="53"/>
                  </a:lnTo>
                  <a:lnTo>
                    <a:pt x="884" y="51"/>
                  </a:lnTo>
                  <a:lnTo>
                    <a:pt x="891" y="46"/>
                  </a:lnTo>
                  <a:lnTo>
                    <a:pt x="892" y="41"/>
                  </a:lnTo>
                  <a:lnTo>
                    <a:pt x="883" y="37"/>
                  </a:lnTo>
                  <a:lnTo>
                    <a:pt x="881" y="35"/>
                  </a:lnTo>
                  <a:lnTo>
                    <a:pt x="875" y="35"/>
                  </a:lnTo>
                  <a:lnTo>
                    <a:pt x="869" y="45"/>
                  </a:lnTo>
                  <a:lnTo>
                    <a:pt x="866" y="45"/>
                  </a:lnTo>
                  <a:lnTo>
                    <a:pt x="867" y="39"/>
                  </a:lnTo>
                  <a:lnTo>
                    <a:pt x="862" y="39"/>
                  </a:lnTo>
                  <a:lnTo>
                    <a:pt x="859" y="44"/>
                  </a:lnTo>
                  <a:lnTo>
                    <a:pt x="855" y="44"/>
                  </a:lnTo>
                  <a:lnTo>
                    <a:pt x="854" y="39"/>
                  </a:lnTo>
                  <a:lnTo>
                    <a:pt x="860" y="35"/>
                  </a:lnTo>
                  <a:lnTo>
                    <a:pt x="860" y="30"/>
                  </a:lnTo>
                  <a:lnTo>
                    <a:pt x="850" y="25"/>
                  </a:lnTo>
                  <a:lnTo>
                    <a:pt x="842" y="25"/>
                  </a:lnTo>
                  <a:lnTo>
                    <a:pt x="837" y="29"/>
                  </a:lnTo>
                  <a:lnTo>
                    <a:pt x="836" y="40"/>
                  </a:lnTo>
                  <a:lnTo>
                    <a:pt x="829" y="42"/>
                  </a:lnTo>
                  <a:lnTo>
                    <a:pt x="828" y="46"/>
                  </a:lnTo>
                  <a:lnTo>
                    <a:pt x="833" y="58"/>
                  </a:lnTo>
                  <a:lnTo>
                    <a:pt x="833" y="63"/>
                  </a:lnTo>
                  <a:lnTo>
                    <a:pt x="828" y="66"/>
                  </a:lnTo>
                  <a:lnTo>
                    <a:pt x="825" y="59"/>
                  </a:lnTo>
                  <a:lnTo>
                    <a:pt x="819" y="59"/>
                  </a:lnTo>
                  <a:lnTo>
                    <a:pt x="817" y="62"/>
                  </a:lnTo>
                  <a:lnTo>
                    <a:pt x="810" y="60"/>
                  </a:lnTo>
                  <a:lnTo>
                    <a:pt x="799" y="65"/>
                  </a:lnTo>
                  <a:lnTo>
                    <a:pt x="808" y="54"/>
                  </a:lnTo>
                  <a:lnTo>
                    <a:pt x="814" y="53"/>
                  </a:lnTo>
                  <a:lnTo>
                    <a:pt x="819" y="45"/>
                  </a:lnTo>
                  <a:lnTo>
                    <a:pt x="817" y="41"/>
                  </a:lnTo>
                  <a:lnTo>
                    <a:pt x="814" y="41"/>
                  </a:lnTo>
                  <a:lnTo>
                    <a:pt x="805" y="47"/>
                  </a:lnTo>
                  <a:lnTo>
                    <a:pt x="799" y="46"/>
                  </a:lnTo>
                  <a:lnTo>
                    <a:pt x="802" y="42"/>
                  </a:lnTo>
                  <a:lnTo>
                    <a:pt x="807" y="39"/>
                  </a:lnTo>
                  <a:lnTo>
                    <a:pt x="808" y="35"/>
                  </a:lnTo>
                  <a:lnTo>
                    <a:pt x="799" y="33"/>
                  </a:lnTo>
                  <a:lnTo>
                    <a:pt x="798" y="30"/>
                  </a:lnTo>
                  <a:lnTo>
                    <a:pt x="804" y="28"/>
                  </a:lnTo>
                  <a:lnTo>
                    <a:pt x="808" y="30"/>
                  </a:lnTo>
                  <a:lnTo>
                    <a:pt x="817" y="30"/>
                  </a:lnTo>
                  <a:lnTo>
                    <a:pt x="822" y="17"/>
                  </a:lnTo>
                  <a:lnTo>
                    <a:pt x="821" y="12"/>
                  </a:lnTo>
                  <a:lnTo>
                    <a:pt x="813" y="15"/>
                  </a:lnTo>
                  <a:lnTo>
                    <a:pt x="808" y="12"/>
                  </a:lnTo>
                  <a:lnTo>
                    <a:pt x="810" y="6"/>
                  </a:lnTo>
                  <a:lnTo>
                    <a:pt x="808" y="0"/>
                  </a:lnTo>
                  <a:lnTo>
                    <a:pt x="802" y="5"/>
                  </a:lnTo>
                  <a:lnTo>
                    <a:pt x="797" y="5"/>
                  </a:lnTo>
                  <a:lnTo>
                    <a:pt x="791" y="0"/>
                  </a:lnTo>
                  <a:lnTo>
                    <a:pt x="785" y="6"/>
                  </a:lnTo>
                  <a:lnTo>
                    <a:pt x="785" y="10"/>
                  </a:lnTo>
                  <a:lnTo>
                    <a:pt x="791" y="16"/>
                  </a:lnTo>
                  <a:lnTo>
                    <a:pt x="787" y="21"/>
                  </a:lnTo>
                  <a:lnTo>
                    <a:pt x="782" y="21"/>
                  </a:lnTo>
                  <a:lnTo>
                    <a:pt x="776" y="12"/>
                  </a:lnTo>
                  <a:lnTo>
                    <a:pt x="771" y="16"/>
                  </a:lnTo>
                  <a:lnTo>
                    <a:pt x="769" y="23"/>
                  </a:lnTo>
                  <a:lnTo>
                    <a:pt x="771" y="27"/>
                  </a:lnTo>
                  <a:lnTo>
                    <a:pt x="779" y="27"/>
                  </a:lnTo>
                  <a:lnTo>
                    <a:pt x="781" y="29"/>
                  </a:lnTo>
                  <a:lnTo>
                    <a:pt x="781" y="33"/>
                  </a:lnTo>
                  <a:lnTo>
                    <a:pt x="775" y="35"/>
                  </a:lnTo>
                  <a:lnTo>
                    <a:pt x="775" y="41"/>
                  </a:lnTo>
                  <a:lnTo>
                    <a:pt x="770" y="44"/>
                  </a:lnTo>
                  <a:lnTo>
                    <a:pt x="770" y="48"/>
                  </a:lnTo>
                  <a:lnTo>
                    <a:pt x="771" y="51"/>
                  </a:lnTo>
                  <a:lnTo>
                    <a:pt x="767" y="54"/>
                  </a:lnTo>
                  <a:lnTo>
                    <a:pt x="769" y="63"/>
                  </a:lnTo>
                  <a:lnTo>
                    <a:pt x="767" y="65"/>
                  </a:lnTo>
                  <a:lnTo>
                    <a:pt x="761" y="62"/>
                  </a:lnTo>
                  <a:lnTo>
                    <a:pt x="756" y="65"/>
                  </a:lnTo>
                  <a:lnTo>
                    <a:pt x="755" y="68"/>
                  </a:lnTo>
                  <a:lnTo>
                    <a:pt x="749" y="71"/>
                  </a:lnTo>
                  <a:lnTo>
                    <a:pt x="747" y="64"/>
                  </a:lnTo>
                  <a:lnTo>
                    <a:pt x="756" y="50"/>
                  </a:lnTo>
                  <a:lnTo>
                    <a:pt x="749" y="47"/>
                  </a:lnTo>
                  <a:lnTo>
                    <a:pt x="749" y="44"/>
                  </a:lnTo>
                  <a:lnTo>
                    <a:pt x="755" y="39"/>
                  </a:lnTo>
                  <a:lnTo>
                    <a:pt x="755" y="27"/>
                  </a:lnTo>
                  <a:lnTo>
                    <a:pt x="751" y="22"/>
                  </a:lnTo>
                  <a:lnTo>
                    <a:pt x="747" y="22"/>
                  </a:lnTo>
                  <a:lnTo>
                    <a:pt x="735" y="40"/>
                  </a:lnTo>
                  <a:lnTo>
                    <a:pt x="735" y="48"/>
                  </a:lnTo>
                  <a:lnTo>
                    <a:pt x="723" y="63"/>
                  </a:lnTo>
                  <a:lnTo>
                    <a:pt x="721" y="74"/>
                  </a:lnTo>
                  <a:lnTo>
                    <a:pt x="723" y="77"/>
                  </a:lnTo>
                  <a:lnTo>
                    <a:pt x="722" y="86"/>
                  </a:lnTo>
                  <a:lnTo>
                    <a:pt x="710" y="98"/>
                  </a:lnTo>
                  <a:lnTo>
                    <a:pt x="704" y="100"/>
                  </a:lnTo>
                  <a:lnTo>
                    <a:pt x="704" y="93"/>
                  </a:lnTo>
                  <a:lnTo>
                    <a:pt x="701" y="88"/>
                  </a:lnTo>
                  <a:lnTo>
                    <a:pt x="709" y="77"/>
                  </a:lnTo>
                  <a:lnTo>
                    <a:pt x="707" y="70"/>
                  </a:lnTo>
                  <a:lnTo>
                    <a:pt x="711" y="64"/>
                  </a:lnTo>
                  <a:lnTo>
                    <a:pt x="707" y="57"/>
                  </a:lnTo>
                  <a:lnTo>
                    <a:pt x="721" y="44"/>
                  </a:lnTo>
                  <a:lnTo>
                    <a:pt x="723" y="36"/>
                  </a:lnTo>
                  <a:lnTo>
                    <a:pt x="724" y="34"/>
                  </a:lnTo>
                  <a:lnTo>
                    <a:pt x="724" y="30"/>
                  </a:lnTo>
                  <a:lnTo>
                    <a:pt x="717" y="29"/>
                  </a:lnTo>
                  <a:lnTo>
                    <a:pt x="710" y="23"/>
                  </a:lnTo>
                  <a:lnTo>
                    <a:pt x="706" y="24"/>
                  </a:lnTo>
                  <a:lnTo>
                    <a:pt x="707" y="31"/>
                  </a:lnTo>
                  <a:lnTo>
                    <a:pt x="701" y="36"/>
                  </a:lnTo>
                  <a:lnTo>
                    <a:pt x="701" y="29"/>
                  </a:lnTo>
                  <a:lnTo>
                    <a:pt x="695" y="24"/>
                  </a:lnTo>
                  <a:lnTo>
                    <a:pt x="688" y="22"/>
                  </a:lnTo>
                  <a:lnTo>
                    <a:pt x="682" y="25"/>
                  </a:lnTo>
                  <a:lnTo>
                    <a:pt x="683" y="35"/>
                  </a:lnTo>
                  <a:lnTo>
                    <a:pt x="681" y="40"/>
                  </a:lnTo>
                  <a:lnTo>
                    <a:pt x="677" y="35"/>
                  </a:lnTo>
                  <a:lnTo>
                    <a:pt x="672" y="33"/>
                  </a:lnTo>
                  <a:lnTo>
                    <a:pt x="669" y="36"/>
                  </a:lnTo>
                  <a:lnTo>
                    <a:pt x="670" y="40"/>
                  </a:lnTo>
                  <a:lnTo>
                    <a:pt x="680" y="46"/>
                  </a:lnTo>
                  <a:lnTo>
                    <a:pt x="682" y="53"/>
                  </a:lnTo>
                  <a:lnTo>
                    <a:pt x="680" y="56"/>
                  </a:lnTo>
                  <a:lnTo>
                    <a:pt x="675" y="51"/>
                  </a:lnTo>
                  <a:lnTo>
                    <a:pt x="670" y="56"/>
                  </a:lnTo>
                  <a:lnTo>
                    <a:pt x="669" y="60"/>
                  </a:lnTo>
                  <a:lnTo>
                    <a:pt x="672" y="63"/>
                  </a:lnTo>
                  <a:lnTo>
                    <a:pt x="669" y="66"/>
                  </a:lnTo>
                  <a:lnTo>
                    <a:pt x="660" y="62"/>
                  </a:lnTo>
                  <a:lnTo>
                    <a:pt x="657" y="62"/>
                  </a:lnTo>
                  <a:lnTo>
                    <a:pt x="652" y="70"/>
                  </a:lnTo>
                  <a:lnTo>
                    <a:pt x="646" y="73"/>
                  </a:lnTo>
                  <a:lnTo>
                    <a:pt x="646" y="75"/>
                  </a:lnTo>
                  <a:lnTo>
                    <a:pt x="649" y="77"/>
                  </a:lnTo>
                  <a:lnTo>
                    <a:pt x="641" y="83"/>
                  </a:lnTo>
                  <a:lnTo>
                    <a:pt x="639" y="89"/>
                  </a:lnTo>
                  <a:lnTo>
                    <a:pt x="646" y="95"/>
                  </a:lnTo>
                  <a:lnTo>
                    <a:pt x="641" y="100"/>
                  </a:lnTo>
                  <a:lnTo>
                    <a:pt x="648" y="103"/>
                  </a:lnTo>
                  <a:lnTo>
                    <a:pt x="651" y="106"/>
                  </a:lnTo>
                  <a:lnTo>
                    <a:pt x="647" y="110"/>
                  </a:lnTo>
                  <a:lnTo>
                    <a:pt x="636" y="109"/>
                  </a:lnTo>
                  <a:lnTo>
                    <a:pt x="632" y="98"/>
                  </a:lnTo>
                  <a:lnTo>
                    <a:pt x="628" y="97"/>
                  </a:lnTo>
                  <a:lnTo>
                    <a:pt x="632" y="92"/>
                  </a:lnTo>
                  <a:lnTo>
                    <a:pt x="625" y="88"/>
                  </a:lnTo>
                  <a:lnTo>
                    <a:pt x="618" y="89"/>
                  </a:lnTo>
                  <a:lnTo>
                    <a:pt x="607" y="88"/>
                  </a:lnTo>
                  <a:lnTo>
                    <a:pt x="594" y="79"/>
                  </a:lnTo>
                  <a:lnTo>
                    <a:pt x="589" y="79"/>
                  </a:lnTo>
                  <a:lnTo>
                    <a:pt x="584" y="83"/>
                  </a:lnTo>
                  <a:lnTo>
                    <a:pt x="582" y="77"/>
                  </a:lnTo>
                  <a:lnTo>
                    <a:pt x="574" y="83"/>
                  </a:lnTo>
                  <a:lnTo>
                    <a:pt x="566" y="86"/>
                  </a:lnTo>
                  <a:lnTo>
                    <a:pt x="566" y="88"/>
                  </a:lnTo>
                  <a:lnTo>
                    <a:pt x="576" y="99"/>
                  </a:lnTo>
                  <a:lnTo>
                    <a:pt x="583" y="99"/>
                  </a:lnTo>
                  <a:lnTo>
                    <a:pt x="587" y="104"/>
                  </a:lnTo>
                  <a:lnTo>
                    <a:pt x="597" y="104"/>
                  </a:lnTo>
                  <a:lnTo>
                    <a:pt x="593" y="112"/>
                  </a:lnTo>
                  <a:lnTo>
                    <a:pt x="593" y="118"/>
                  </a:lnTo>
                  <a:lnTo>
                    <a:pt x="600" y="128"/>
                  </a:lnTo>
                  <a:lnTo>
                    <a:pt x="599" y="133"/>
                  </a:lnTo>
                  <a:lnTo>
                    <a:pt x="593" y="129"/>
                  </a:lnTo>
                  <a:lnTo>
                    <a:pt x="587" y="120"/>
                  </a:lnTo>
                  <a:lnTo>
                    <a:pt x="579" y="117"/>
                  </a:lnTo>
                  <a:lnTo>
                    <a:pt x="574" y="112"/>
                  </a:lnTo>
                  <a:lnTo>
                    <a:pt x="572" y="118"/>
                  </a:lnTo>
                  <a:lnTo>
                    <a:pt x="565" y="125"/>
                  </a:lnTo>
                  <a:lnTo>
                    <a:pt x="564" y="114"/>
                  </a:lnTo>
                  <a:lnTo>
                    <a:pt x="556" y="120"/>
                  </a:lnTo>
                  <a:lnTo>
                    <a:pt x="556" y="123"/>
                  </a:lnTo>
                  <a:lnTo>
                    <a:pt x="549" y="129"/>
                  </a:lnTo>
                  <a:lnTo>
                    <a:pt x="549" y="137"/>
                  </a:lnTo>
                  <a:lnTo>
                    <a:pt x="559" y="140"/>
                  </a:lnTo>
                  <a:lnTo>
                    <a:pt x="562" y="147"/>
                  </a:lnTo>
                  <a:lnTo>
                    <a:pt x="555" y="147"/>
                  </a:lnTo>
                  <a:lnTo>
                    <a:pt x="551" y="144"/>
                  </a:lnTo>
                  <a:lnTo>
                    <a:pt x="545" y="151"/>
                  </a:lnTo>
                  <a:lnTo>
                    <a:pt x="543" y="158"/>
                  </a:lnTo>
                  <a:lnTo>
                    <a:pt x="533" y="166"/>
                  </a:lnTo>
                  <a:lnTo>
                    <a:pt x="533" y="161"/>
                  </a:lnTo>
                  <a:lnTo>
                    <a:pt x="539" y="156"/>
                  </a:lnTo>
                  <a:lnTo>
                    <a:pt x="537" y="151"/>
                  </a:lnTo>
                  <a:lnTo>
                    <a:pt x="544" y="139"/>
                  </a:lnTo>
                  <a:lnTo>
                    <a:pt x="538" y="116"/>
                  </a:lnTo>
                  <a:lnTo>
                    <a:pt x="532" y="120"/>
                  </a:lnTo>
                  <a:lnTo>
                    <a:pt x="521" y="134"/>
                  </a:lnTo>
                  <a:lnTo>
                    <a:pt x="521" y="145"/>
                  </a:lnTo>
                  <a:lnTo>
                    <a:pt x="522" y="149"/>
                  </a:lnTo>
                  <a:lnTo>
                    <a:pt x="516" y="157"/>
                  </a:lnTo>
                  <a:lnTo>
                    <a:pt x="515" y="149"/>
                  </a:lnTo>
                  <a:lnTo>
                    <a:pt x="520" y="140"/>
                  </a:lnTo>
                  <a:lnTo>
                    <a:pt x="516" y="129"/>
                  </a:lnTo>
                  <a:lnTo>
                    <a:pt x="512" y="128"/>
                  </a:lnTo>
                  <a:lnTo>
                    <a:pt x="503" y="133"/>
                  </a:lnTo>
                  <a:lnTo>
                    <a:pt x="497" y="144"/>
                  </a:lnTo>
                  <a:lnTo>
                    <a:pt x="501" y="151"/>
                  </a:lnTo>
                  <a:lnTo>
                    <a:pt x="500" y="158"/>
                  </a:lnTo>
                  <a:lnTo>
                    <a:pt x="513" y="167"/>
                  </a:lnTo>
                  <a:lnTo>
                    <a:pt x="516" y="173"/>
                  </a:lnTo>
                  <a:lnTo>
                    <a:pt x="510" y="181"/>
                  </a:lnTo>
                  <a:lnTo>
                    <a:pt x="507" y="170"/>
                  </a:lnTo>
                  <a:lnTo>
                    <a:pt x="498" y="167"/>
                  </a:lnTo>
                  <a:lnTo>
                    <a:pt x="492" y="152"/>
                  </a:lnTo>
                  <a:lnTo>
                    <a:pt x="489" y="150"/>
                  </a:lnTo>
                  <a:lnTo>
                    <a:pt x="478" y="154"/>
                  </a:lnTo>
                  <a:lnTo>
                    <a:pt x="475" y="160"/>
                  </a:lnTo>
                  <a:lnTo>
                    <a:pt x="487" y="167"/>
                  </a:lnTo>
                  <a:lnTo>
                    <a:pt x="493" y="168"/>
                  </a:lnTo>
                  <a:lnTo>
                    <a:pt x="496" y="172"/>
                  </a:lnTo>
                  <a:lnTo>
                    <a:pt x="489" y="170"/>
                  </a:lnTo>
                  <a:lnTo>
                    <a:pt x="480" y="173"/>
                  </a:lnTo>
                  <a:lnTo>
                    <a:pt x="485" y="180"/>
                  </a:lnTo>
                  <a:lnTo>
                    <a:pt x="477" y="174"/>
                  </a:lnTo>
                  <a:lnTo>
                    <a:pt x="475" y="166"/>
                  </a:lnTo>
                  <a:lnTo>
                    <a:pt x="472" y="163"/>
                  </a:lnTo>
                  <a:lnTo>
                    <a:pt x="471" y="157"/>
                  </a:lnTo>
                  <a:lnTo>
                    <a:pt x="466" y="161"/>
                  </a:lnTo>
                  <a:lnTo>
                    <a:pt x="463" y="170"/>
                  </a:lnTo>
                  <a:lnTo>
                    <a:pt x="467" y="175"/>
                  </a:lnTo>
                  <a:lnTo>
                    <a:pt x="466" y="185"/>
                  </a:lnTo>
                  <a:lnTo>
                    <a:pt x="458" y="181"/>
                  </a:lnTo>
                  <a:lnTo>
                    <a:pt x="452" y="183"/>
                  </a:lnTo>
                  <a:lnTo>
                    <a:pt x="443" y="192"/>
                  </a:lnTo>
                  <a:lnTo>
                    <a:pt x="445" y="193"/>
                  </a:lnTo>
                  <a:lnTo>
                    <a:pt x="451" y="192"/>
                  </a:lnTo>
                  <a:lnTo>
                    <a:pt x="457" y="199"/>
                  </a:lnTo>
                  <a:lnTo>
                    <a:pt x="450" y="199"/>
                  </a:lnTo>
                  <a:lnTo>
                    <a:pt x="444" y="203"/>
                  </a:lnTo>
                  <a:lnTo>
                    <a:pt x="449" y="205"/>
                  </a:lnTo>
                  <a:lnTo>
                    <a:pt x="445" y="210"/>
                  </a:lnTo>
                  <a:lnTo>
                    <a:pt x="439" y="210"/>
                  </a:lnTo>
                  <a:lnTo>
                    <a:pt x="439" y="214"/>
                  </a:lnTo>
                  <a:lnTo>
                    <a:pt x="441" y="216"/>
                  </a:lnTo>
                  <a:lnTo>
                    <a:pt x="435" y="218"/>
                  </a:lnTo>
                  <a:lnTo>
                    <a:pt x="432" y="213"/>
                  </a:lnTo>
                  <a:lnTo>
                    <a:pt x="426" y="215"/>
                  </a:lnTo>
                  <a:lnTo>
                    <a:pt x="420" y="221"/>
                  </a:lnTo>
                  <a:lnTo>
                    <a:pt x="422" y="225"/>
                  </a:lnTo>
                  <a:lnTo>
                    <a:pt x="420" y="228"/>
                  </a:lnTo>
                  <a:lnTo>
                    <a:pt x="410" y="228"/>
                  </a:lnTo>
                  <a:lnTo>
                    <a:pt x="405" y="236"/>
                  </a:lnTo>
                  <a:lnTo>
                    <a:pt x="414" y="238"/>
                  </a:lnTo>
                  <a:lnTo>
                    <a:pt x="433" y="233"/>
                  </a:lnTo>
                  <a:lnTo>
                    <a:pt x="438" y="236"/>
                  </a:lnTo>
                  <a:lnTo>
                    <a:pt x="446" y="232"/>
                  </a:lnTo>
                  <a:lnTo>
                    <a:pt x="451" y="232"/>
                  </a:lnTo>
                  <a:lnTo>
                    <a:pt x="451" y="237"/>
                  </a:lnTo>
                  <a:lnTo>
                    <a:pt x="445" y="243"/>
                  </a:lnTo>
                  <a:lnTo>
                    <a:pt x="444" y="254"/>
                  </a:lnTo>
                  <a:lnTo>
                    <a:pt x="441" y="256"/>
                  </a:lnTo>
                  <a:lnTo>
                    <a:pt x="438" y="253"/>
                  </a:lnTo>
                  <a:lnTo>
                    <a:pt x="437" y="248"/>
                  </a:lnTo>
                  <a:lnTo>
                    <a:pt x="429" y="249"/>
                  </a:lnTo>
                  <a:lnTo>
                    <a:pt x="426" y="245"/>
                  </a:lnTo>
                  <a:lnTo>
                    <a:pt x="417" y="245"/>
                  </a:lnTo>
                  <a:lnTo>
                    <a:pt x="420" y="248"/>
                  </a:lnTo>
                  <a:lnTo>
                    <a:pt x="417" y="253"/>
                  </a:lnTo>
                  <a:lnTo>
                    <a:pt x="410" y="249"/>
                  </a:lnTo>
                  <a:lnTo>
                    <a:pt x="405" y="250"/>
                  </a:lnTo>
                  <a:lnTo>
                    <a:pt x="412" y="254"/>
                  </a:lnTo>
                  <a:lnTo>
                    <a:pt x="415" y="261"/>
                  </a:lnTo>
                  <a:lnTo>
                    <a:pt x="411" y="261"/>
                  </a:lnTo>
                  <a:lnTo>
                    <a:pt x="408" y="266"/>
                  </a:lnTo>
                  <a:lnTo>
                    <a:pt x="410" y="272"/>
                  </a:lnTo>
                  <a:lnTo>
                    <a:pt x="408" y="276"/>
                  </a:lnTo>
                  <a:lnTo>
                    <a:pt x="404" y="270"/>
                  </a:lnTo>
                  <a:lnTo>
                    <a:pt x="404" y="262"/>
                  </a:lnTo>
                  <a:lnTo>
                    <a:pt x="398" y="255"/>
                  </a:lnTo>
                  <a:lnTo>
                    <a:pt x="392" y="261"/>
                  </a:lnTo>
                  <a:lnTo>
                    <a:pt x="385" y="264"/>
                  </a:lnTo>
                  <a:lnTo>
                    <a:pt x="382" y="259"/>
                  </a:lnTo>
                  <a:lnTo>
                    <a:pt x="385" y="255"/>
                  </a:lnTo>
                  <a:lnTo>
                    <a:pt x="380" y="254"/>
                  </a:lnTo>
                  <a:lnTo>
                    <a:pt x="373" y="261"/>
                  </a:lnTo>
                  <a:lnTo>
                    <a:pt x="379" y="267"/>
                  </a:lnTo>
                  <a:lnTo>
                    <a:pt x="388" y="267"/>
                  </a:lnTo>
                  <a:lnTo>
                    <a:pt x="396" y="272"/>
                  </a:lnTo>
                  <a:lnTo>
                    <a:pt x="392" y="278"/>
                  </a:lnTo>
                  <a:lnTo>
                    <a:pt x="375" y="280"/>
                  </a:lnTo>
                  <a:lnTo>
                    <a:pt x="371" y="277"/>
                  </a:lnTo>
                  <a:lnTo>
                    <a:pt x="365" y="277"/>
                  </a:lnTo>
                  <a:lnTo>
                    <a:pt x="362" y="285"/>
                  </a:lnTo>
                  <a:lnTo>
                    <a:pt x="367" y="290"/>
                  </a:lnTo>
                  <a:lnTo>
                    <a:pt x="362" y="296"/>
                  </a:lnTo>
                  <a:lnTo>
                    <a:pt x="368" y="295"/>
                  </a:lnTo>
                  <a:lnTo>
                    <a:pt x="376" y="286"/>
                  </a:lnTo>
                  <a:lnTo>
                    <a:pt x="383" y="286"/>
                  </a:lnTo>
                  <a:lnTo>
                    <a:pt x="388" y="293"/>
                  </a:lnTo>
                  <a:lnTo>
                    <a:pt x="375" y="294"/>
                  </a:lnTo>
                  <a:lnTo>
                    <a:pt x="374" y="302"/>
                  </a:lnTo>
                  <a:lnTo>
                    <a:pt x="379" y="307"/>
                  </a:lnTo>
                  <a:lnTo>
                    <a:pt x="388" y="313"/>
                  </a:lnTo>
                  <a:lnTo>
                    <a:pt x="388" y="319"/>
                  </a:lnTo>
                  <a:lnTo>
                    <a:pt x="381" y="314"/>
                  </a:lnTo>
                  <a:lnTo>
                    <a:pt x="375" y="315"/>
                  </a:lnTo>
                  <a:lnTo>
                    <a:pt x="369" y="307"/>
                  </a:lnTo>
                  <a:lnTo>
                    <a:pt x="364" y="307"/>
                  </a:lnTo>
                  <a:lnTo>
                    <a:pt x="359" y="313"/>
                  </a:lnTo>
                  <a:lnTo>
                    <a:pt x="365" y="317"/>
                  </a:lnTo>
                  <a:lnTo>
                    <a:pt x="357" y="318"/>
                  </a:lnTo>
                  <a:lnTo>
                    <a:pt x="348" y="323"/>
                  </a:lnTo>
                  <a:lnTo>
                    <a:pt x="348" y="329"/>
                  </a:lnTo>
                  <a:lnTo>
                    <a:pt x="357" y="331"/>
                  </a:lnTo>
                  <a:lnTo>
                    <a:pt x="365" y="328"/>
                  </a:lnTo>
                  <a:lnTo>
                    <a:pt x="369" y="331"/>
                  </a:lnTo>
                  <a:lnTo>
                    <a:pt x="377" y="330"/>
                  </a:lnTo>
                  <a:lnTo>
                    <a:pt x="380" y="336"/>
                  </a:lnTo>
                  <a:lnTo>
                    <a:pt x="385" y="338"/>
                  </a:lnTo>
                  <a:lnTo>
                    <a:pt x="385" y="343"/>
                  </a:lnTo>
                  <a:lnTo>
                    <a:pt x="374" y="337"/>
                  </a:lnTo>
                  <a:lnTo>
                    <a:pt x="364" y="337"/>
                  </a:lnTo>
                  <a:lnTo>
                    <a:pt x="359" y="340"/>
                  </a:lnTo>
                  <a:lnTo>
                    <a:pt x="347" y="341"/>
                  </a:lnTo>
                  <a:lnTo>
                    <a:pt x="347" y="347"/>
                  </a:lnTo>
                  <a:lnTo>
                    <a:pt x="340" y="351"/>
                  </a:lnTo>
                  <a:lnTo>
                    <a:pt x="336" y="348"/>
                  </a:lnTo>
                  <a:lnTo>
                    <a:pt x="325" y="354"/>
                  </a:lnTo>
                  <a:lnTo>
                    <a:pt x="319" y="354"/>
                  </a:lnTo>
                  <a:lnTo>
                    <a:pt x="318" y="358"/>
                  </a:lnTo>
                  <a:lnTo>
                    <a:pt x="324" y="360"/>
                  </a:lnTo>
                  <a:lnTo>
                    <a:pt x="330" y="366"/>
                  </a:lnTo>
                  <a:lnTo>
                    <a:pt x="324" y="369"/>
                  </a:lnTo>
                  <a:lnTo>
                    <a:pt x="321" y="367"/>
                  </a:lnTo>
                  <a:lnTo>
                    <a:pt x="318" y="369"/>
                  </a:lnTo>
                  <a:lnTo>
                    <a:pt x="323" y="374"/>
                  </a:lnTo>
                  <a:lnTo>
                    <a:pt x="322" y="377"/>
                  </a:lnTo>
                  <a:lnTo>
                    <a:pt x="313" y="376"/>
                  </a:lnTo>
                  <a:lnTo>
                    <a:pt x="312" y="374"/>
                  </a:lnTo>
                  <a:lnTo>
                    <a:pt x="309" y="376"/>
                  </a:lnTo>
                  <a:lnTo>
                    <a:pt x="315" y="381"/>
                  </a:lnTo>
                  <a:lnTo>
                    <a:pt x="311" y="383"/>
                  </a:lnTo>
                  <a:lnTo>
                    <a:pt x="312" y="388"/>
                  </a:lnTo>
                  <a:lnTo>
                    <a:pt x="317" y="388"/>
                  </a:lnTo>
                  <a:lnTo>
                    <a:pt x="312" y="390"/>
                  </a:lnTo>
                  <a:lnTo>
                    <a:pt x="306" y="392"/>
                  </a:lnTo>
                  <a:lnTo>
                    <a:pt x="304" y="389"/>
                  </a:lnTo>
                  <a:lnTo>
                    <a:pt x="304" y="393"/>
                  </a:lnTo>
                  <a:lnTo>
                    <a:pt x="301" y="398"/>
                  </a:lnTo>
                  <a:lnTo>
                    <a:pt x="306" y="400"/>
                  </a:lnTo>
                  <a:lnTo>
                    <a:pt x="318" y="404"/>
                  </a:lnTo>
                  <a:lnTo>
                    <a:pt x="319" y="409"/>
                  </a:lnTo>
                  <a:lnTo>
                    <a:pt x="324" y="410"/>
                  </a:lnTo>
                  <a:lnTo>
                    <a:pt x="332" y="407"/>
                  </a:lnTo>
                  <a:lnTo>
                    <a:pt x="325" y="412"/>
                  </a:lnTo>
                  <a:lnTo>
                    <a:pt x="325" y="416"/>
                  </a:lnTo>
                  <a:lnTo>
                    <a:pt x="318" y="416"/>
                  </a:lnTo>
                  <a:lnTo>
                    <a:pt x="315" y="412"/>
                  </a:lnTo>
                  <a:lnTo>
                    <a:pt x="302" y="412"/>
                  </a:lnTo>
                  <a:lnTo>
                    <a:pt x="294" y="419"/>
                  </a:lnTo>
                  <a:lnTo>
                    <a:pt x="296" y="422"/>
                  </a:lnTo>
                  <a:lnTo>
                    <a:pt x="305" y="423"/>
                  </a:lnTo>
                  <a:lnTo>
                    <a:pt x="306" y="428"/>
                  </a:lnTo>
                  <a:lnTo>
                    <a:pt x="311" y="432"/>
                  </a:lnTo>
                  <a:lnTo>
                    <a:pt x="310" y="438"/>
                  </a:lnTo>
                  <a:lnTo>
                    <a:pt x="305" y="433"/>
                  </a:lnTo>
                  <a:lnTo>
                    <a:pt x="301" y="433"/>
                  </a:lnTo>
                  <a:lnTo>
                    <a:pt x="296" y="438"/>
                  </a:lnTo>
                  <a:lnTo>
                    <a:pt x="296" y="442"/>
                  </a:lnTo>
                  <a:lnTo>
                    <a:pt x="294" y="445"/>
                  </a:lnTo>
                  <a:lnTo>
                    <a:pt x="299" y="448"/>
                  </a:lnTo>
                  <a:lnTo>
                    <a:pt x="300" y="454"/>
                  </a:lnTo>
                  <a:lnTo>
                    <a:pt x="296" y="454"/>
                  </a:lnTo>
                  <a:lnTo>
                    <a:pt x="292" y="450"/>
                  </a:lnTo>
                  <a:lnTo>
                    <a:pt x="288" y="452"/>
                  </a:lnTo>
                  <a:lnTo>
                    <a:pt x="288" y="459"/>
                  </a:lnTo>
                  <a:lnTo>
                    <a:pt x="296" y="461"/>
                  </a:lnTo>
                  <a:lnTo>
                    <a:pt x="298" y="464"/>
                  </a:lnTo>
                  <a:lnTo>
                    <a:pt x="296" y="469"/>
                  </a:lnTo>
                  <a:lnTo>
                    <a:pt x="287" y="463"/>
                  </a:lnTo>
                  <a:lnTo>
                    <a:pt x="282" y="464"/>
                  </a:lnTo>
                  <a:lnTo>
                    <a:pt x="282" y="471"/>
                  </a:lnTo>
                  <a:lnTo>
                    <a:pt x="284" y="471"/>
                  </a:lnTo>
                  <a:lnTo>
                    <a:pt x="284" y="479"/>
                  </a:lnTo>
                  <a:lnTo>
                    <a:pt x="288" y="486"/>
                  </a:lnTo>
                  <a:lnTo>
                    <a:pt x="293" y="486"/>
                  </a:lnTo>
                  <a:lnTo>
                    <a:pt x="296" y="480"/>
                  </a:lnTo>
                  <a:lnTo>
                    <a:pt x="301" y="480"/>
                  </a:lnTo>
                  <a:lnTo>
                    <a:pt x="298" y="488"/>
                  </a:lnTo>
                  <a:lnTo>
                    <a:pt x="292" y="490"/>
                  </a:lnTo>
                  <a:lnTo>
                    <a:pt x="284" y="497"/>
                  </a:lnTo>
                  <a:lnTo>
                    <a:pt x="277" y="497"/>
                  </a:lnTo>
                  <a:lnTo>
                    <a:pt x="272" y="499"/>
                  </a:lnTo>
                  <a:lnTo>
                    <a:pt x="271" y="503"/>
                  </a:lnTo>
                  <a:lnTo>
                    <a:pt x="264" y="506"/>
                  </a:lnTo>
                  <a:lnTo>
                    <a:pt x="259" y="511"/>
                  </a:lnTo>
                  <a:lnTo>
                    <a:pt x="265" y="514"/>
                  </a:lnTo>
                  <a:lnTo>
                    <a:pt x="263" y="517"/>
                  </a:lnTo>
                  <a:lnTo>
                    <a:pt x="251" y="519"/>
                  </a:lnTo>
                  <a:lnTo>
                    <a:pt x="246" y="525"/>
                  </a:lnTo>
                  <a:lnTo>
                    <a:pt x="247" y="528"/>
                  </a:lnTo>
                  <a:lnTo>
                    <a:pt x="255" y="531"/>
                  </a:lnTo>
                  <a:lnTo>
                    <a:pt x="248" y="533"/>
                  </a:lnTo>
                  <a:lnTo>
                    <a:pt x="246" y="540"/>
                  </a:lnTo>
                  <a:lnTo>
                    <a:pt x="238" y="540"/>
                  </a:lnTo>
                  <a:lnTo>
                    <a:pt x="237" y="534"/>
                  </a:lnTo>
                  <a:lnTo>
                    <a:pt x="232" y="532"/>
                  </a:lnTo>
                  <a:lnTo>
                    <a:pt x="230" y="535"/>
                  </a:lnTo>
                  <a:lnTo>
                    <a:pt x="224" y="535"/>
                  </a:lnTo>
                  <a:lnTo>
                    <a:pt x="226" y="540"/>
                  </a:lnTo>
                  <a:lnTo>
                    <a:pt x="222" y="544"/>
                  </a:lnTo>
                  <a:lnTo>
                    <a:pt x="220" y="549"/>
                  </a:lnTo>
                  <a:lnTo>
                    <a:pt x="223" y="552"/>
                  </a:lnTo>
                  <a:lnTo>
                    <a:pt x="213" y="552"/>
                  </a:lnTo>
                  <a:lnTo>
                    <a:pt x="208" y="555"/>
                  </a:lnTo>
                  <a:lnTo>
                    <a:pt x="208" y="563"/>
                  </a:lnTo>
                  <a:lnTo>
                    <a:pt x="201" y="568"/>
                  </a:lnTo>
                  <a:lnTo>
                    <a:pt x="202" y="571"/>
                  </a:lnTo>
                  <a:lnTo>
                    <a:pt x="200" y="579"/>
                  </a:lnTo>
                  <a:lnTo>
                    <a:pt x="195" y="584"/>
                  </a:lnTo>
                  <a:lnTo>
                    <a:pt x="186" y="591"/>
                  </a:lnTo>
                  <a:lnTo>
                    <a:pt x="189" y="594"/>
                  </a:lnTo>
                  <a:lnTo>
                    <a:pt x="197" y="589"/>
                  </a:lnTo>
                  <a:lnTo>
                    <a:pt x="202" y="589"/>
                  </a:lnTo>
                  <a:lnTo>
                    <a:pt x="202" y="594"/>
                  </a:lnTo>
                  <a:lnTo>
                    <a:pt x="196" y="596"/>
                  </a:lnTo>
                  <a:lnTo>
                    <a:pt x="195" y="604"/>
                  </a:lnTo>
                  <a:lnTo>
                    <a:pt x="201" y="610"/>
                  </a:lnTo>
                  <a:lnTo>
                    <a:pt x="211" y="606"/>
                  </a:lnTo>
                  <a:lnTo>
                    <a:pt x="220" y="604"/>
                  </a:lnTo>
                  <a:lnTo>
                    <a:pt x="235" y="591"/>
                  </a:lnTo>
                  <a:lnTo>
                    <a:pt x="235" y="586"/>
                  </a:lnTo>
                  <a:lnTo>
                    <a:pt x="228" y="587"/>
                  </a:lnTo>
                  <a:lnTo>
                    <a:pt x="234" y="580"/>
                  </a:lnTo>
                  <a:lnTo>
                    <a:pt x="236" y="572"/>
                  </a:lnTo>
                  <a:lnTo>
                    <a:pt x="238" y="571"/>
                  </a:lnTo>
                  <a:lnTo>
                    <a:pt x="243" y="567"/>
                  </a:lnTo>
                  <a:lnTo>
                    <a:pt x="251" y="569"/>
                  </a:lnTo>
                  <a:lnTo>
                    <a:pt x="255" y="568"/>
                  </a:lnTo>
                  <a:lnTo>
                    <a:pt x="243" y="575"/>
                  </a:lnTo>
                  <a:lnTo>
                    <a:pt x="242" y="581"/>
                  </a:lnTo>
                  <a:lnTo>
                    <a:pt x="255" y="585"/>
                  </a:lnTo>
                  <a:lnTo>
                    <a:pt x="251" y="590"/>
                  </a:lnTo>
                  <a:lnTo>
                    <a:pt x="244" y="590"/>
                  </a:lnTo>
                  <a:lnTo>
                    <a:pt x="231" y="603"/>
                  </a:lnTo>
                  <a:lnTo>
                    <a:pt x="240" y="607"/>
                  </a:lnTo>
                  <a:lnTo>
                    <a:pt x="235" y="612"/>
                  </a:lnTo>
                  <a:lnTo>
                    <a:pt x="235" y="619"/>
                  </a:lnTo>
                  <a:lnTo>
                    <a:pt x="228" y="619"/>
                  </a:lnTo>
                  <a:lnTo>
                    <a:pt x="220" y="613"/>
                  </a:lnTo>
                  <a:lnTo>
                    <a:pt x="211" y="613"/>
                  </a:lnTo>
                  <a:lnTo>
                    <a:pt x="206" y="618"/>
                  </a:lnTo>
                  <a:lnTo>
                    <a:pt x="205" y="624"/>
                  </a:lnTo>
                  <a:lnTo>
                    <a:pt x="197" y="627"/>
                  </a:lnTo>
                  <a:lnTo>
                    <a:pt x="191" y="631"/>
                  </a:lnTo>
                  <a:lnTo>
                    <a:pt x="196" y="626"/>
                  </a:lnTo>
                  <a:lnTo>
                    <a:pt x="200" y="624"/>
                  </a:lnTo>
                  <a:lnTo>
                    <a:pt x="195" y="616"/>
                  </a:lnTo>
                  <a:lnTo>
                    <a:pt x="195" y="609"/>
                  </a:lnTo>
                  <a:lnTo>
                    <a:pt x="188" y="601"/>
                  </a:lnTo>
                  <a:lnTo>
                    <a:pt x="182" y="601"/>
                  </a:lnTo>
                  <a:lnTo>
                    <a:pt x="178" y="607"/>
                  </a:lnTo>
                  <a:lnTo>
                    <a:pt x="170" y="608"/>
                  </a:lnTo>
                  <a:lnTo>
                    <a:pt x="170" y="612"/>
                  </a:lnTo>
                  <a:lnTo>
                    <a:pt x="180" y="612"/>
                  </a:lnTo>
                  <a:lnTo>
                    <a:pt x="170" y="621"/>
                  </a:lnTo>
                  <a:lnTo>
                    <a:pt x="162" y="618"/>
                  </a:lnTo>
                  <a:lnTo>
                    <a:pt x="155" y="619"/>
                  </a:lnTo>
                  <a:lnTo>
                    <a:pt x="147" y="626"/>
                  </a:lnTo>
                  <a:lnTo>
                    <a:pt x="151" y="627"/>
                  </a:lnTo>
                  <a:lnTo>
                    <a:pt x="156" y="625"/>
                  </a:lnTo>
                  <a:lnTo>
                    <a:pt x="159" y="627"/>
                  </a:lnTo>
                  <a:lnTo>
                    <a:pt x="149" y="632"/>
                  </a:lnTo>
                  <a:lnTo>
                    <a:pt x="144" y="637"/>
                  </a:lnTo>
                  <a:lnTo>
                    <a:pt x="141" y="633"/>
                  </a:lnTo>
                  <a:lnTo>
                    <a:pt x="134" y="633"/>
                  </a:lnTo>
                  <a:lnTo>
                    <a:pt x="133" y="637"/>
                  </a:lnTo>
                  <a:lnTo>
                    <a:pt x="143" y="643"/>
                  </a:lnTo>
                  <a:lnTo>
                    <a:pt x="155" y="643"/>
                  </a:lnTo>
                  <a:lnTo>
                    <a:pt x="153" y="648"/>
                  </a:lnTo>
                  <a:lnTo>
                    <a:pt x="157" y="650"/>
                  </a:lnTo>
                  <a:lnTo>
                    <a:pt x="157" y="655"/>
                  </a:lnTo>
                  <a:lnTo>
                    <a:pt x="147" y="653"/>
                  </a:lnTo>
                  <a:lnTo>
                    <a:pt x="145" y="647"/>
                  </a:lnTo>
                  <a:lnTo>
                    <a:pt x="137" y="647"/>
                  </a:lnTo>
                  <a:lnTo>
                    <a:pt x="130" y="641"/>
                  </a:lnTo>
                  <a:lnTo>
                    <a:pt x="127" y="636"/>
                  </a:lnTo>
                  <a:lnTo>
                    <a:pt x="125" y="636"/>
                  </a:lnTo>
                  <a:lnTo>
                    <a:pt x="124" y="642"/>
                  </a:lnTo>
                  <a:lnTo>
                    <a:pt x="131" y="652"/>
                  </a:lnTo>
                  <a:lnTo>
                    <a:pt x="139" y="658"/>
                  </a:lnTo>
                  <a:lnTo>
                    <a:pt x="147" y="659"/>
                  </a:lnTo>
                  <a:lnTo>
                    <a:pt x="150" y="662"/>
                  </a:lnTo>
                  <a:lnTo>
                    <a:pt x="143" y="662"/>
                  </a:lnTo>
                  <a:lnTo>
                    <a:pt x="131" y="658"/>
                  </a:lnTo>
                  <a:lnTo>
                    <a:pt x="119" y="645"/>
                  </a:lnTo>
                  <a:lnTo>
                    <a:pt x="113" y="649"/>
                  </a:lnTo>
                  <a:lnTo>
                    <a:pt x="105" y="644"/>
                  </a:lnTo>
                  <a:lnTo>
                    <a:pt x="97" y="644"/>
                  </a:lnTo>
                  <a:lnTo>
                    <a:pt x="92" y="641"/>
                  </a:lnTo>
                  <a:lnTo>
                    <a:pt x="89" y="644"/>
                  </a:lnTo>
                  <a:lnTo>
                    <a:pt x="90" y="650"/>
                  </a:lnTo>
                  <a:lnTo>
                    <a:pt x="85" y="655"/>
                  </a:lnTo>
                  <a:lnTo>
                    <a:pt x="92" y="661"/>
                  </a:lnTo>
                  <a:lnTo>
                    <a:pt x="107" y="658"/>
                  </a:lnTo>
                  <a:lnTo>
                    <a:pt x="109" y="660"/>
                  </a:lnTo>
                  <a:lnTo>
                    <a:pt x="103" y="665"/>
                  </a:lnTo>
                  <a:lnTo>
                    <a:pt x="107" y="666"/>
                  </a:lnTo>
                  <a:lnTo>
                    <a:pt x="118" y="661"/>
                  </a:lnTo>
                  <a:lnTo>
                    <a:pt x="124" y="661"/>
                  </a:lnTo>
                  <a:lnTo>
                    <a:pt x="120" y="666"/>
                  </a:lnTo>
                  <a:lnTo>
                    <a:pt x="107" y="671"/>
                  </a:lnTo>
                  <a:lnTo>
                    <a:pt x="102" y="677"/>
                  </a:lnTo>
                  <a:lnTo>
                    <a:pt x="93" y="676"/>
                  </a:lnTo>
                  <a:lnTo>
                    <a:pt x="85" y="666"/>
                  </a:lnTo>
                  <a:lnTo>
                    <a:pt x="81" y="666"/>
                  </a:lnTo>
                  <a:lnTo>
                    <a:pt x="76" y="670"/>
                  </a:lnTo>
                  <a:lnTo>
                    <a:pt x="70" y="665"/>
                  </a:lnTo>
                  <a:lnTo>
                    <a:pt x="64" y="667"/>
                  </a:lnTo>
                  <a:lnTo>
                    <a:pt x="61" y="665"/>
                  </a:lnTo>
                  <a:lnTo>
                    <a:pt x="53" y="668"/>
                  </a:lnTo>
                  <a:lnTo>
                    <a:pt x="56" y="672"/>
                  </a:lnTo>
                  <a:lnTo>
                    <a:pt x="70" y="674"/>
                  </a:lnTo>
                  <a:lnTo>
                    <a:pt x="79" y="679"/>
                  </a:lnTo>
                  <a:lnTo>
                    <a:pt x="91" y="684"/>
                  </a:lnTo>
                  <a:lnTo>
                    <a:pt x="87" y="691"/>
                  </a:lnTo>
                  <a:lnTo>
                    <a:pt x="91" y="696"/>
                  </a:lnTo>
                  <a:lnTo>
                    <a:pt x="85" y="700"/>
                  </a:lnTo>
                  <a:lnTo>
                    <a:pt x="81" y="696"/>
                  </a:lnTo>
                  <a:lnTo>
                    <a:pt x="81" y="685"/>
                  </a:lnTo>
                  <a:lnTo>
                    <a:pt x="74" y="683"/>
                  </a:lnTo>
                  <a:lnTo>
                    <a:pt x="66" y="684"/>
                  </a:lnTo>
                  <a:lnTo>
                    <a:pt x="69" y="690"/>
                  </a:lnTo>
                  <a:lnTo>
                    <a:pt x="67" y="694"/>
                  </a:lnTo>
                  <a:lnTo>
                    <a:pt x="57" y="689"/>
                  </a:lnTo>
                  <a:lnTo>
                    <a:pt x="49" y="696"/>
                  </a:lnTo>
                  <a:lnTo>
                    <a:pt x="57" y="702"/>
                  </a:lnTo>
                  <a:lnTo>
                    <a:pt x="50" y="702"/>
                  </a:lnTo>
                  <a:lnTo>
                    <a:pt x="45" y="705"/>
                  </a:lnTo>
                  <a:lnTo>
                    <a:pt x="43" y="696"/>
                  </a:lnTo>
                  <a:lnTo>
                    <a:pt x="29" y="696"/>
                  </a:lnTo>
                  <a:lnTo>
                    <a:pt x="34" y="705"/>
                  </a:lnTo>
                  <a:lnTo>
                    <a:pt x="28" y="707"/>
                  </a:lnTo>
                  <a:lnTo>
                    <a:pt x="26" y="700"/>
                  </a:lnTo>
                  <a:lnTo>
                    <a:pt x="18" y="694"/>
                  </a:lnTo>
                  <a:lnTo>
                    <a:pt x="14" y="695"/>
                  </a:lnTo>
                  <a:lnTo>
                    <a:pt x="15" y="700"/>
                  </a:lnTo>
                  <a:lnTo>
                    <a:pt x="23" y="707"/>
                  </a:lnTo>
                  <a:lnTo>
                    <a:pt x="20" y="712"/>
                  </a:lnTo>
                  <a:lnTo>
                    <a:pt x="23" y="714"/>
                  </a:lnTo>
                  <a:lnTo>
                    <a:pt x="34" y="712"/>
                  </a:lnTo>
                  <a:lnTo>
                    <a:pt x="47" y="714"/>
                  </a:lnTo>
                  <a:lnTo>
                    <a:pt x="56" y="719"/>
                  </a:lnTo>
                  <a:lnTo>
                    <a:pt x="69" y="719"/>
                  </a:lnTo>
                  <a:lnTo>
                    <a:pt x="74" y="717"/>
                  </a:lnTo>
                  <a:lnTo>
                    <a:pt x="80" y="717"/>
                  </a:lnTo>
                  <a:lnTo>
                    <a:pt x="72" y="724"/>
                  </a:lnTo>
                  <a:lnTo>
                    <a:pt x="60" y="723"/>
                  </a:lnTo>
                  <a:lnTo>
                    <a:pt x="55" y="725"/>
                  </a:lnTo>
                  <a:lnTo>
                    <a:pt x="40" y="719"/>
                  </a:lnTo>
                  <a:lnTo>
                    <a:pt x="32" y="720"/>
                  </a:lnTo>
                  <a:lnTo>
                    <a:pt x="28" y="719"/>
                  </a:lnTo>
                  <a:lnTo>
                    <a:pt x="21" y="724"/>
                  </a:lnTo>
                  <a:lnTo>
                    <a:pt x="11" y="726"/>
                  </a:lnTo>
                  <a:lnTo>
                    <a:pt x="10" y="729"/>
                  </a:lnTo>
                  <a:lnTo>
                    <a:pt x="24" y="735"/>
                  </a:lnTo>
                  <a:lnTo>
                    <a:pt x="20" y="741"/>
                  </a:lnTo>
                  <a:lnTo>
                    <a:pt x="27" y="742"/>
                  </a:lnTo>
                  <a:lnTo>
                    <a:pt x="32" y="740"/>
                  </a:lnTo>
                  <a:lnTo>
                    <a:pt x="44" y="740"/>
                  </a:lnTo>
                  <a:lnTo>
                    <a:pt x="35" y="745"/>
                  </a:lnTo>
                  <a:lnTo>
                    <a:pt x="22" y="745"/>
                  </a:lnTo>
                  <a:lnTo>
                    <a:pt x="18" y="747"/>
                  </a:lnTo>
                  <a:lnTo>
                    <a:pt x="15" y="746"/>
                  </a:lnTo>
                  <a:lnTo>
                    <a:pt x="15" y="748"/>
                  </a:lnTo>
                  <a:lnTo>
                    <a:pt x="21" y="751"/>
                  </a:lnTo>
                  <a:lnTo>
                    <a:pt x="26" y="751"/>
                  </a:lnTo>
                  <a:lnTo>
                    <a:pt x="18" y="754"/>
                  </a:lnTo>
                  <a:lnTo>
                    <a:pt x="15" y="755"/>
                  </a:lnTo>
                  <a:lnTo>
                    <a:pt x="16" y="759"/>
                  </a:lnTo>
                  <a:lnTo>
                    <a:pt x="20" y="763"/>
                  </a:lnTo>
                  <a:lnTo>
                    <a:pt x="23" y="766"/>
                  </a:lnTo>
                  <a:lnTo>
                    <a:pt x="33" y="766"/>
                  </a:lnTo>
                  <a:lnTo>
                    <a:pt x="39" y="763"/>
                  </a:lnTo>
                  <a:lnTo>
                    <a:pt x="52" y="762"/>
                  </a:lnTo>
                  <a:lnTo>
                    <a:pt x="62" y="763"/>
                  </a:lnTo>
                  <a:lnTo>
                    <a:pt x="66" y="765"/>
                  </a:lnTo>
                  <a:lnTo>
                    <a:pt x="72" y="762"/>
                  </a:lnTo>
                  <a:lnTo>
                    <a:pt x="72" y="757"/>
                  </a:lnTo>
                  <a:lnTo>
                    <a:pt x="78" y="754"/>
                  </a:lnTo>
                  <a:lnTo>
                    <a:pt x="80" y="759"/>
                  </a:lnTo>
                  <a:lnTo>
                    <a:pt x="87" y="759"/>
                  </a:lnTo>
                  <a:lnTo>
                    <a:pt x="97" y="753"/>
                  </a:lnTo>
                  <a:lnTo>
                    <a:pt x="102" y="754"/>
                  </a:lnTo>
                  <a:lnTo>
                    <a:pt x="99" y="758"/>
                  </a:lnTo>
                  <a:lnTo>
                    <a:pt x="95" y="760"/>
                  </a:lnTo>
                  <a:lnTo>
                    <a:pt x="103" y="763"/>
                  </a:lnTo>
                  <a:lnTo>
                    <a:pt x="108" y="759"/>
                  </a:lnTo>
                  <a:lnTo>
                    <a:pt x="105" y="754"/>
                  </a:lnTo>
                  <a:lnTo>
                    <a:pt x="113" y="746"/>
                  </a:lnTo>
                  <a:lnTo>
                    <a:pt x="110" y="752"/>
                  </a:lnTo>
                  <a:lnTo>
                    <a:pt x="118" y="760"/>
                  </a:lnTo>
                  <a:lnTo>
                    <a:pt x="113" y="766"/>
                  </a:lnTo>
                  <a:lnTo>
                    <a:pt x="101" y="769"/>
                  </a:lnTo>
                  <a:lnTo>
                    <a:pt x="95" y="772"/>
                  </a:lnTo>
                  <a:lnTo>
                    <a:pt x="98" y="775"/>
                  </a:lnTo>
                  <a:lnTo>
                    <a:pt x="93" y="782"/>
                  </a:lnTo>
                  <a:lnTo>
                    <a:pt x="84" y="782"/>
                  </a:lnTo>
                  <a:lnTo>
                    <a:pt x="83" y="778"/>
                  </a:lnTo>
                  <a:lnTo>
                    <a:pt x="89" y="775"/>
                  </a:lnTo>
                  <a:lnTo>
                    <a:pt x="87" y="766"/>
                  </a:lnTo>
                  <a:lnTo>
                    <a:pt x="79" y="765"/>
                  </a:lnTo>
                  <a:lnTo>
                    <a:pt x="69" y="774"/>
                  </a:lnTo>
                  <a:lnTo>
                    <a:pt x="68" y="778"/>
                  </a:lnTo>
                  <a:lnTo>
                    <a:pt x="61" y="771"/>
                  </a:lnTo>
                  <a:lnTo>
                    <a:pt x="53" y="769"/>
                  </a:lnTo>
                  <a:lnTo>
                    <a:pt x="44" y="771"/>
                  </a:lnTo>
                  <a:lnTo>
                    <a:pt x="38" y="769"/>
                  </a:lnTo>
                  <a:lnTo>
                    <a:pt x="27" y="775"/>
                  </a:lnTo>
                  <a:lnTo>
                    <a:pt x="21" y="775"/>
                  </a:lnTo>
                  <a:lnTo>
                    <a:pt x="15" y="770"/>
                  </a:lnTo>
                  <a:lnTo>
                    <a:pt x="12" y="771"/>
                  </a:lnTo>
                  <a:lnTo>
                    <a:pt x="16" y="778"/>
                  </a:lnTo>
                  <a:lnTo>
                    <a:pt x="14" y="783"/>
                  </a:lnTo>
                  <a:lnTo>
                    <a:pt x="17" y="786"/>
                  </a:lnTo>
                  <a:lnTo>
                    <a:pt x="24" y="784"/>
                  </a:lnTo>
                  <a:lnTo>
                    <a:pt x="28" y="781"/>
                  </a:lnTo>
                  <a:lnTo>
                    <a:pt x="33" y="781"/>
                  </a:lnTo>
                  <a:lnTo>
                    <a:pt x="27" y="787"/>
                  </a:lnTo>
                  <a:lnTo>
                    <a:pt x="28" y="794"/>
                  </a:lnTo>
                  <a:lnTo>
                    <a:pt x="24" y="797"/>
                  </a:lnTo>
                  <a:lnTo>
                    <a:pt x="17" y="793"/>
                  </a:lnTo>
                  <a:lnTo>
                    <a:pt x="21" y="803"/>
                  </a:lnTo>
                  <a:lnTo>
                    <a:pt x="26" y="806"/>
                  </a:lnTo>
                  <a:lnTo>
                    <a:pt x="39" y="793"/>
                  </a:lnTo>
                  <a:lnTo>
                    <a:pt x="47" y="797"/>
                  </a:lnTo>
                  <a:lnTo>
                    <a:pt x="44" y="800"/>
                  </a:lnTo>
                  <a:lnTo>
                    <a:pt x="45" y="807"/>
                  </a:lnTo>
                  <a:lnTo>
                    <a:pt x="34" y="812"/>
                  </a:lnTo>
                  <a:lnTo>
                    <a:pt x="35" y="815"/>
                  </a:lnTo>
                  <a:lnTo>
                    <a:pt x="43" y="816"/>
                  </a:lnTo>
                  <a:lnTo>
                    <a:pt x="39" y="821"/>
                  </a:lnTo>
                  <a:lnTo>
                    <a:pt x="44" y="828"/>
                  </a:lnTo>
                  <a:lnTo>
                    <a:pt x="40" y="835"/>
                  </a:lnTo>
                  <a:lnTo>
                    <a:pt x="44" y="836"/>
                  </a:lnTo>
                  <a:lnTo>
                    <a:pt x="50" y="826"/>
                  </a:lnTo>
                  <a:lnTo>
                    <a:pt x="57" y="823"/>
                  </a:lnTo>
                  <a:lnTo>
                    <a:pt x="58" y="815"/>
                  </a:lnTo>
                  <a:lnTo>
                    <a:pt x="75" y="809"/>
                  </a:lnTo>
                  <a:lnTo>
                    <a:pt x="84" y="809"/>
                  </a:lnTo>
                  <a:lnTo>
                    <a:pt x="90" y="807"/>
                  </a:lnTo>
                  <a:lnTo>
                    <a:pt x="85" y="810"/>
                  </a:lnTo>
                  <a:lnTo>
                    <a:pt x="76" y="816"/>
                  </a:lnTo>
                  <a:lnTo>
                    <a:pt x="76" y="826"/>
                  </a:lnTo>
                  <a:lnTo>
                    <a:pt x="79" y="832"/>
                  </a:lnTo>
                  <a:lnTo>
                    <a:pt x="73" y="827"/>
                  </a:lnTo>
                  <a:lnTo>
                    <a:pt x="72" y="818"/>
                  </a:lnTo>
                  <a:lnTo>
                    <a:pt x="67" y="817"/>
                  </a:lnTo>
                  <a:lnTo>
                    <a:pt x="61" y="827"/>
                  </a:lnTo>
                  <a:lnTo>
                    <a:pt x="56" y="829"/>
                  </a:lnTo>
                  <a:lnTo>
                    <a:pt x="64" y="832"/>
                  </a:lnTo>
                  <a:lnTo>
                    <a:pt x="57" y="840"/>
                  </a:lnTo>
                  <a:lnTo>
                    <a:pt x="51" y="840"/>
                  </a:lnTo>
                  <a:lnTo>
                    <a:pt x="49" y="846"/>
                  </a:lnTo>
                  <a:lnTo>
                    <a:pt x="52" y="849"/>
                  </a:lnTo>
                  <a:lnTo>
                    <a:pt x="66" y="849"/>
                  </a:lnTo>
                  <a:lnTo>
                    <a:pt x="68" y="853"/>
                  </a:lnTo>
                  <a:lnTo>
                    <a:pt x="60" y="853"/>
                  </a:lnTo>
                  <a:lnTo>
                    <a:pt x="56" y="858"/>
                  </a:lnTo>
                  <a:lnTo>
                    <a:pt x="55" y="864"/>
                  </a:lnTo>
                  <a:lnTo>
                    <a:pt x="45" y="858"/>
                  </a:lnTo>
                  <a:lnTo>
                    <a:pt x="41" y="859"/>
                  </a:lnTo>
                  <a:lnTo>
                    <a:pt x="39" y="867"/>
                  </a:lnTo>
                  <a:lnTo>
                    <a:pt x="38" y="858"/>
                  </a:lnTo>
                  <a:lnTo>
                    <a:pt x="32" y="862"/>
                  </a:lnTo>
                  <a:lnTo>
                    <a:pt x="23" y="872"/>
                  </a:lnTo>
                  <a:lnTo>
                    <a:pt x="27" y="879"/>
                  </a:lnTo>
                  <a:lnTo>
                    <a:pt x="39" y="891"/>
                  </a:lnTo>
                  <a:lnTo>
                    <a:pt x="41" y="885"/>
                  </a:lnTo>
                  <a:lnTo>
                    <a:pt x="44" y="887"/>
                  </a:lnTo>
                  <a:lnTo>
                    <a:pt x="51" y="884"/>
                  </a:lnTo>
                  <a:lnTo>
                    <a:pt x="49" y="880"/>
                  </a:lnTo>
                  <a:lnTo>
                    <a:pt x="53" y="873"/>
                  </a:lnTo>
                  <a:lnTo>
                    <a:pt x="63" y="879"/>
                  </a:lnTo>
                  <a:lnTo>
                    <a:pt x="58" y="881"/>
                  </a:lnTo>
                  <a:lnTo>
                    <a:pt x="63" y="887"/>
                  </a:lnTo>
                  <a:lnTo>
                    <a:pt x="62" y="894"/>
                  </a:lnTo>
                  <a:lnTo>
                    <a:pt x="56" y="898"/>
                  </a:lnTo>
                  <a:lnTo>
                    <a:pt x="61" y="909"/>
                  </a:lnTo>
                  <a:lnTo>
                    <a:pt x="66" y="905"/>
                  </a:lnTo>
                  <a:lnTo>
                    <a:pt x="76" y="902"/>
                  </a:lnTo>
                  <a:lnTo>
                    <a:pt x="81" y="908"/>
                  </a:lnTo>
                  <a:lnTo>
                    <a:pt x="72" y="909"/>
                  </a:lnTo>
                  <a:lnTo>
                    <a:pt x="67" y="911"/>
                  </a:lnTo>
                  <a:lnTo>
                    <a:pt x="72" y="919"/>
                  </a:lnTo>
                  <a:lnTo>
                    <a:pt x="70" y="921"/>
                  </a:lnTo>
                  <a:lnTo>
                    <a:pt x="55" y="910"/>
                  </a:lnTo>
                  <a:lnTo>
                    <a:pt x="49" y="913"/>
                  </a:lnTo>
                  <a:lnTo>
                    <a:pt x="44" y="909"/>
                  </a:lnTo>
                  <a:lnTo>
                    <a:pt x="37" y="909"/>
                  </a:lnTo>
                  <a:lnTo>
                    <a:pt x="37" y="915"/>
                  </a:lnTo>
                  <a:lnTo>
                    <a:pt x="32" y="920"/>
                  </a:lnTo>
                  <a:lnTo>
                    <a:pt x="44" y="938"/>
                  </a:lnTo>
                  <a:lnTo>
                    <a:pt x="52" y="939"/>
                  </a:lnTo>
                  <a:lnTo>
                    <a:pt x="66" y="949"/>
                  </a:lnTo>
                  <a:lnTo>
                    <a:pt x="83" y="955"/>
                  </a:lnTo>
                  <a:lnTo>
                    <a:pt x="85" y="960"/>
                  </a:lnTo>
                  <a:lnTo>
                    <a:pt x="80" y="962"/>
                  </a:lnTo>
                  <a:lnTo>
                    <a:pt x="87" y="967"/>
                  </a:lnTo>
                  <a:lnTo>
                    <a:pt x="93" y="965"/>
                  </a:lnTo>
                  <a:lnTo>
                    <a:pt x="90" y="957"/>
                  </a:lnTo>
                  <a:lnTo>
                    <a:pt x="96" y="957"/>
                  </a:lnTo>
                  <a:lnTo>
                    <a:pt x="102" y="961"/>
                  </a:lnTo>
                  <a:lnTo>
                    <a:pt x="101" y="963"/>
                  </a:lnTo>
                  <a:lnTo>
                    <a:pt x="110" y="974"/>
                  </a:lnTo>
                  <a:lnTo>
                    <a:pt x="114" y="969"/>
                  </a:lnTo>
                  <a:lnTo>
                    <a:pt x="118" y="971"/>
                  </a:lnTo>
                  <a:lnTo>
                    <a:pt x="125" y="967"/>
                  </a:lnTo>
                  <a:lnTo>
                    <a:pt x="134" y="959"/>
                  </a:lnTo>
                  <a:lnTo>
                    <a:pt x="139" y="959"/>
                  </a:lnTo>
                  <a:lnTo>
                    <a:pt x="143" y="955"/>
                  </a:lnTo>
                  <a:lnTo>
                    <a:pt x="145" y="955"/>
                  </a:lnTo>
                  <a:lnTo>
                    <a:pt x="147" y="961"/>
                  </a:lnTo>
                  <a:lnTo>
                    <a:pt x="153" y="961"/>
                  </a:lnTo>
                  <a:lnTo>
                    <a:pt x="168" y="946"/>
                  </a:lnTo>
                  <a:lnTo>
                    <a:pt x="168" y="942"/>
                  </a:lnTo>
                  <a:lnTo>
                    <a:pt x="161" y="934"/>
                  </a:lnTo>
                  <a:lnTo>
                    <a:pt x="173" y="940"/>
                  </a:lnTo>
                  <a:lnTo>
                    <a:pt x="183" y="932"/>
                  </a:lnTo>
                  <a:lnTo>
                    <a:pt x="180" y="930"/>
                  </a:lnTo>
                  <a:lnTo>
                    <a:pt x="185" y="926"/>
                  </a:lnTo>
                  <a:lnTo>
                    <a:pt x="185" y="920"/>
                  </a:lnTo>
                  <a:lnTo>
                    <a:pt x="191" y="916"/>
                  </a:lnTo>
                  <a:lnTo>
                    <a:pt x="200" y="915"/>
                  </a:lnTo>
                  <a:lnTo>
                    <a:pt x="201" y="909"/>
                  </a:lnTo>
                  <a:lnTo>
                    <a:pt x="194" y="901"/>
                  </a:lnTo>
                  <a:lnTo>
                    <a:pt x="196" y="896"/>
                  </a:lnTo>
                  <a:lnTo>
                    <a:pt x="190" y="887"/>
                  </a:lnTo>
                  <a:lnTo>
                    <a:pt x="183" y="882"/>
                  </a:lnTo>
                  <a:lnTo>
                    <a:pt x="183" y="876"/>
                  </a:lnTo>
                  <a:lnTo>
                    <a:pt x="188" y="879"/>
                  </a:lnTo>
                  <a:lnTo>
                    <a:pt x="196" y="887"/>
                  </a:lnTo>
                  <a:lnTo>
                    <a:pt x="200" y="898"/>
                  </a:lnTo>
                  <a:lnTo>
                    <a:pt x="202" y="902"/>
                  </a:lnTo>
                  <a:lnTo>
                    <a:pt x="208" y="903"/>
                  </a:lnTo>
                  <a:lnTo>
                    <a:pt x="207" y="907"/>
                  </a:lnTo>
                  <a:lnTo>
                    <a:pt x="211" y="911"/>
                  </a:lnTo>
                  <a:lnTo>
                    <a:pt x="220" y="908"/>
                  </a:lnTo>
                  <a:lnTo>
                    <a:pt x="218" y="904"/>
                  </a:lnTo>
                  <a:lnTo>
                    <a:pt x="214" y="901"/>
                  </a:lnTo>
                  <a:lnTo>
                    <a:pt x="217" y="896"/>
                  </a:lnTo>
                  <a:lnTo>
                    <a:pt x="224" y="902"/>
                  </a:lnTo>
                  <a:lnTo>
                    <a:pt x="225" y="904"/>
                  </a:lnTo>
                  <a:lnTo>
                    <a:pt x="236" y="894"/>
                  </a:lnTo>
                  <a:lnTo>
                    <a:pt x="238" y="886"/>
                  </a:lnTo>
                  <a:lnTo>
                    <a:pt x="236" y="878"/>
                  </a:lnTo>
                  <a:lnTo>
                    <a:pt x="230" y="876"/>
                  </a:lnTo>
                  <a:lnTo>
                    <a:pt x="228" y="872"/>
                  </a:lnTo>
                  <a:lnTo>
                    <a:pt x="231" y="869"/>
                  </a:lnTo>
                  <a:lnTo>
                    <a:pt x="232" y="865"/>
                  </a:lnTo>
                  <a:lnTo>
                    <a:pt x="236" y="864"/>
                  </a:lnTo>
                  <a:lnTo>
                    <a:pt x="240" y="861"/>
                  </a:lnTo>
                  <a:lnTo>
                    <a:pt x="235" y="856"/>
                  </a:lnTo>
                  <a:lnTo>
                    <a:pt x="236" y="849"/>
                  </a:lnTo>
                  <a:lnTo>
                    <a:pt x="242" y="844"/>
                  </a:lnTo>
                  <a:lnTo>
                    <a:pt x="249" y="850"/>
                  </a:lnTo>
                  <a:lnTo>
                    <a:pt x="243" y="857"/>
                  </a:lnTo>
                  <a:lnTo>
                    <a:pt x="246" y="867"/>
                  </a:lnTo>
                  <a:lnTo>
                    <a:pt x="243" y="874"/>
                  </a:lnTo>
                  <a:lnTo>
                    <a:pt x="249" y="881"/>
                  </a:lnTo>
                  <a:lnTo>
                    <a:pt x="251" y="886"/>
                  </a:lnTo>
                  <a:lnTo>
                    <a:pt x="260" y="896"/>
                  </a:lnTo>
                  <a:lnTo>
                    <a:pt x="271" y="894"/>
                  </a:lnTo>
                  <a:lnTo>
                    <a:pt x="275" y="898"/>
                  </a:lnTo>
                  <a:lnTo>
                    <a:pt x="272" y="902"/>
                  </a:lnTo>
                  <a:lnTo>
                    <a:pt x="278" y="904"/>
                  </a:lnTo>
                  <a:lnTo>
                    <a:pt x="283" y="913"/>
                  </a:lnTo>
                  <a:lnTo>
                    <a:pt x="288" y="904"/>
                  </a:lnTo>
                  <a:lnTo>
                    <a:pt x="287" y="879"/>
                  </a:lnTo>
                  <a:lnTo>
                    <a:pt x="280" y="868"/>
                  </a:lnTo>
                  <a:lnTo>
                    <a:pt x="283" y="861"/>
                  </a:lnTo>
                  <a:lnTo>
                    <a:pt x="289" y="858"/>
                  </a:lnTo>
                  <a:lnTo>
                    <a:pt x="284" y="850"/>
                  </a:lnTo>
                  <a:lnTo>
                    <a:pt x="288" y="845"/>
                  </a:lnTo>
                  <a:lnTo>
                    <a:pt x="302" y="844"/>
                  </a:lnTo>
                  <a:lnTo>
                    <a:pt x="306" y="836"/>
                  </a:lnTo>
                  <a:lnTo>
                    <a:pt x="305" y="828"/>
                  </a:lnTo>
                  <a:lnTo>
                    <a:pt x="312" y="816"/>
                  </a:lnTo>
                  <a:lnTo>
                    <a:pt x="305" y="807"/>
                  </a:lnTo>
                  <a:lnTo>
                    <a:pt x="302" y="788"/>
                  </a:lnTo>
                  <a:lnTo>
                    <a:pt x="293" y="772"/>
                  </a:lnTo>
                  <a:lnTo>
                    <a:pt x="294" y="766"/>
                  </a:lnTo>
                  <a:lnTo>
                    <a:pt x="315" y="760"/>
                  </a:lnTo>
                  <a:lnTo>
                    <a:pt x="315" y="746"/>
                  </a:lnTo>
                  <a:lnTo>
                    <a:pt x="319" y="737"/>
                  </a:lnTo>
                  <a:lnTo>
                    <a:pt x="304" y="722"/>
                  </a:lnTo>
                  <a:lnTo>
                    <a:pt x="290" y="716"/>
                  </a:lnTo>
                  <a:lnTo>
                    <a:pt x="289" y="700"/>
                  </a:lnTo>
                  <a:lnTo>
                    <a:pt x="293" y="684"/>
                  </a:lnTo>
                  <a:lnTo>
                    <a:pt x="290" y="667"/>
                  </a:lnTo>
                  <a:lnTo>
                    <a:pt x="286" y="656"/>
                  </a:lnTo>
                  <a:lnTo>
                    <a:pt x="289" y="643"/>
                  </a:lnTo>
                  <a:lnTo>
                    <a:pt x="287" y="621"/>
                  </a:lnTo>
                  <a:lnTo>
                    <a:pt x="282" y="601"/>
                  </a:lnTo>
                  <a:lnTo>
                    <a:pt x="286" y="581"/>
                  </a:lnTo>
                  <a:lnTo>
                    <a:pt x="296" y="566"/>
                  </a:lnTo>
                  <a:lnTo>
                    <a:pt x="306" y="560"/>
                  </a:lnTo>
                  <a:lnTo>
                    <a:pt x="318" y="562"/>
                  </a:lnTo>
                  <a:lnTo>
                    <a:pt x="334" y="563"/>
                  </a:lnTo>
                  <a:lnTo>
                    <a:pt x="341" y="554"/>
                  </a:lnTo>
                  <a:lnTo>
                    <a:pt x="340" y="538"/>
                  </a:lnTo>
                  <a:lnTo>
                    <a:pt x="336" y="532"/>
                  </a:lnTo>
                  <a:lnTo>
                    <a:pt x="336" y="521"/>
                  </a:lnTo>
                  <a:lnTo>
                    <a:pt x="352" y="487"/>
                  </a:lnTo>
                  <a:lnTo>
                    <a:pt x="353" y="467"/>
                  </a:lnTo>
                  <a:lnTo>
                    <a:pt x="357" y="448"/>
                  </a:lnTo>
                  <a:lnTo>
                    <a:pt x="362" y="438"/>
                  </a:lnTo>
                  <a:lnTo>
                    <a:pt x="362" y="425"/>
                  </a:lnTo>
                  <a:lnTo>
                    <a:pt x="356" y="419"/>
                  </a:lnTo>
                  <a:lnTo>
                    <a:pt x="356" y="411"/>
                  </a:lnTo>
                  <a:lnTo>
                    <a:pt x="370" y="404"/>
                  </a:lnTo>
                  <a:lnTo>
                    <a:pt x="386" y="400"/>
                  </a:lnTo>
                  <a:lnTo>
                    <a:pt x="393" y="395"/>
                  </a:lnTo>
                  <a:lnTo>
                    <a:pt x="393" y="387"/>
                  </a:lnTo>
                  <a:lnTo>
                    <a:pt x="406" y="366"/>
                  </a:lnTo>
                  <a:lnTo>
                    <a:pt x="419" y="351"/>
                  </a:lnTo>
                  <a:lnTo>
                    <a:pt x="423" y="341"/>
                  </a:lnTo>
                  <a:lnTo>
                    <a:pt x="419" y="329"/>
                  </a:lnTo>
                  <a:lnTo>
                    <a:pt x="414" y="323"/>
                  </a:lnTo>
                  <a:lnTo>
                    <a:pt x="412" y="303"/>
                  </a:lnTo>
                  <a:lnTo>
                    <a:pt x="419" y="301"/>
                  </a:lnTo>
                  <a:lnTo>
                    <a:pt x="425" y="294"/>
                  </a:lnTo>
                  <a:lnTo>
                    <a:pt x="427" y="284"/>
                  </a:lnTo>
                  <a:lnTo>
                    <a:pt x="433" y="280"/>
                  </a:lnTo>
                  <a:lnTo>
                    <a:pt x="440" y="267"/>
                  </a:lnTo>
                  <a:lnTo>
                    <a:pt x="450" y="261"/>
                  </a:lnTo>
                  <a:lnTo>
                    <a:pt x="460" y="265"/>
                  </a:lnTo>
                  <a:lnTo>
                    <a:pt x="464" y="270"/>
                  </a:lnTo>
                  <a:lnTo>
                    <a:pt x="471" y="268"/>
                  </a:lnTo>
                  <a:lnTo>
                    <a:pt x="478" y="262"/>
                  </a:lnTo>
                  <a:lnTo>
                    <a:pt x="472" y="254"/>
                  </a:lnTo>
                  <a:lnTo>
                    <a:pt x="477" y="249"/>
                  </a:lnTo>
                  <a:lnTo>
                    <a:pt x="477" y="245"/>
                  </a:lnTo>
                  <a:lnTo>
                    <a:pt x="479" y="241"/>
                  </a:lnTo>
                  <a:lnTo>
                    <a:pt x="472" y="230"/>
                  </a:lnTo>
                  <a:lnTo>
                    <a:pt x="477" y="227"/>
                  </a:lnTo>
                  <a:lnTo>
                    <a:pt x="490" y="227"/>
                  </a:lnTo>
                  <a:lnTo>
                    <a:pt x="500" y="222"/>
                  </a:lnTo>
                  <a:lnTo>
                    <a:pt x="515" y="226"/>
                  </a:lnTo>
                  <a:lnTo>
                    <a:pt x="525" y="232"/>
                  </a:lnTo>
                  <a:lnTo>
                    <a:pt x="535" y="233"/>
                  </a:lnTo>
                  <a:lnTo>
                    <a:pt x="541" y="238"/>
                  </a:lnTo>
                  <a:lnTo>
                    <a:pt x="545" y="236"/>
                  </a:lnTo>
                  <a:lnTo>
                    <a:pt x="550" y="238"/>
                  </a:lnTo>
                  <a:lnTo>
                    <a:pt x="550" y="228"/>
                  </a:lnTo>
                  <a:lnTo>
                    <a:pt x="545" y="221"/>
                  </a:lnTo>
                  <a:lnTo>
                    <a:pt x="547" y="209"/>
                  </a:lnTo>
                  <a:lnTo>
                    <a:pt x="554" y="205"/>
                  </a:lnTo>
                  <a:lnTo>
                    <a:pt x="551" y="197"/>
                  </a:lnTo>
                  <a:lnTo>
                    <a:pt x="544" y="193"/>
                  </a:lnTo>
                  <a:lnTo>
                    <a:pt x="543" y="185"/>
                  </a:lnTo>
                  <a:lnTo>
                    <a:pt x="554" y="187"/>
                  </a:lnTo>
                  <a:lnTo>
                    <a:pt x="564" y="186"/>
                  </a:lnTo>
                  <a:lnTo>
                    <a:pt x="567" y="184"/>
                  </a:lnTo>
                  <a:lnTo>
                    <a:pt x="567" y="184"/>
                  </a:lnTo>
                  <a:lnTo>
                    <a:pt x="570" y="181"/>
                  </a:lnTo>
                  <a:lnTo>
                    <a:pt x="573" y="184"/>
                  </a:lnTo>
                  <a:lnTo>
                    <a:pt x="577" y="181"/>
                  </a:lnTo>
                  <a:lnTo>
                    <a:pt x="573" y="175"/>
                  </a:lnTo>
                  <a:lnTo>
                    <a:pt x="576" y="168"/>
                  </a:lnTo>
                  <a:lnTo>
                    <a:pt x="582" y="163"/>
                  </a:lnTo>
                  <a:lnTo>
                    <a:pt x="590" y="164"/>
                  </a:lnTo>
                  <a:lnTo>
                    <a:pt x="597" y="174"/>
                  </a:lnTo>
                  <a:lnTo>
                    <a:pt x="617" y="189"/>
                  </a:lnTo>
                  <a:lnTo>
                    <a:pt x="620" y="197"/>
                  </a:lnTo>
                  <a:lnTo>
                    <a:pt x="628" y="205"/>
                  </a:lnTo>
                  <a:lnTo>
                    <a:pt x="641" y="210"/>
                  </a:lnTo>
                  <a:lnTo>
                    <a:pt x="663" y="212"/>
                  </a:lnTo>
                  <a:lnTo>
                    <a:pt x="674" y="202"/>
                  </a:lnTo>
                  <a:lnTo>
                    <a:pt x="680" y="196"/>
                  </a:lnTo>
                  <a:lnTo>
                    <a:pt x="689" y="196"/>
                  </a:lnTo>
                  <a:lnTo>
                    <a:pt x="705" y="205"/>
                  </a:lnTo>
                  <a:lnTo>
                    <a:pt x="715" y="207"/>
                  </a:lnTo>
                  <a:lnTo>
                    <a:pt x="721" y="198"/>
                  </a:lnTo>
                  <a:lnTo>
                    <a:pt x="726" y="195"/>
                  </a:lnTo>
                  <a:lnTo>
                    <a:pt x="734" y="189"/>
                  </a:lnTo>
                  <a:lnTo>
                    <a:pt x="741" y="189"/>
                  </a:lnTo>
                  <a:lnTo>
                    <a:pt x="750" y="184"/>
                  </a:lnTo>
                  <a:lnTo>
                    <a:pt x="752" y="179"/>
                  </a:lnTo>
                  <a:lnTo>
                    <a:pt x="750" y="172"/>
                  </a:lnTo>
                  <a:lnTo>
                    <a:pt x="745" y="160"/>
                  </a:lnTo>
                  <a:lnTo>
                    <a:pt x="747" y="138"/>
                  </a:lnTo>
                  <a:lnTo>
                    <a:pt x="750" y="132"/>
                  </a:lnTo>
                  <a:lnTo>
                    <a:pt x="746" y="125"/>
                  </a:lnTo>
                  <a:lnTo>
                    <a:pt x="751" y="122"/>
                  </a:lnTo>
                  <a:lnTo>
                    <a:pt x="758" y="114"/>
                  </a:lnTo>
                  <a:lnTo>
                    <a:pt x="758" y="109"/>
                  </a:lnTo>
                  <a:lnTo>
                    <a:pt x="768" y="104"/>
                  </a:lnTo>
                  <a:lnTo>
                    <a:pt x="780" y="106"/>
                  </a:lnTo>
                  <a:lnTo>
                    <a:pt x="786" y="105"/>
                  </a:lnTo>
                  <a:lnTo>
                    <a:pt x="786" y="102"/>
                  </a:lnTo>
                  <a:lnTo>
                    <a:pt x="793" y="94"/>
                  </a:lnTo>
                  <a:lnTo>
                    <a:pt x="813" y="93"/>
                  </a:lnTo>
                  <a:lnTo>
                    <a:pt x="821" y="99"/>
                  </a:lnTo>
                  <a:lnTo>
                    <a:pt x="833" y="111"/>
                  </a:lnTo>
                  <a:lnTo>
                    <a:pt x="839" y="117"/>
                  </a:lnTo>
                  <a:lnTo>
                    <a:pt x="849" y="121"/>
                  </a:lnTo>
                  <a:lnTo>
                    <a:pt x="865" y="122"/>
                  </a:lnTo>
                  <a:lnTo>
                    <a:pt x="867" y="129"/>
                  </a:lnTo>
                  <a:lnTo>
                    <a:pt x="877" y="138"/>
                  </a:lnTo>
                  <a:lnTo>
                    <a:pt x="874" y="146"/>
                  </a:lnTo>
                  <a:lnTo>
                    <a:pt x="867" y="158"/>
                  </a:lnTo>
                  <a:lnTo>
                    <a:pt x="868" y="175"/>
                  </a:lnTo>
                  <a:lnTo>
                    <a:pt x="868" y="175"/>
                  </a:lnTo>
                  <a:close/>
                  <a:moveTo>
                    <a:pt x="41" y="896"/>
                  </a:moveTo>
                  <a:lnTo>
                    <a:pt x="47" y="902"/>
                  </a:lnTo>
                  <a:lnTo>
                    <a:pt x="40" y="904"/>
                  </a:lnTo>
                  <a:lnTo>
                    <a:pt x="41" y="896"/>
                  </a:lnTo>
                  <a:lnTo>
                    <a:pt x="41" y="896"/>
                  </a:lnTo>
                  <a:close/>
                  <a:moveTo>
                    <a:pt x="21" y="850"/>
                  </a:moveTo>
                  <a:lnTo>
                    <a:pt x="21" y="850"/>
                  </a:lnTo>
                  <a:lnTo>
                    <a:pt x="26" y="849"/>
                  </a:lnTo>
                  <a:lnTo>
                    <a:pt x="31" y="853"/>
                  </a:lnTo>
                  <a:lnTo>
                    <a:pt x="28" y="858"/>
                  </a:lnTo>
                  <a:lnTo>
                    <a:pt x="21" y="850"/>
                  </a:lnTo>
                  <a:lnTo>
                    <a:pt x="21" y="850"/>
                  </a:lnTo>
                  <a:close/>
                  <a:moveTo>
                    <a:pt x="37" y="833"/>
                  </a:moveTo>
                  <a:lnTo>
                    <a:pt x="37" y="840"/>
                  </a:lnTo>
                  <a:lnTo>
                    <a:pt x="33" y="841"/>
                  </a:lnTo>
                  <a:lnTo>
                    <a:pt x="37" y="833"/>
                  </a:lnTo>
                  <a:lnTo>
                    <a:pt x="37" y="833"/>
                  </a:lnTo>
                  <a:close/>
                  <a:moveTo>
                    <a:pt x="28" y="829"/>
                  </a:moveTo>
                  <a:lnTo>
                    <a:pt x="27" y="836"/>
                  </a:lnTo>
                  <a:lnTo>
                    <a:pt x="21" y="835"/>
                  </a:lnTo>
                  <a:lnTo>
                    <a:pt x="28" y="829"/>
                  </a:lnTo>
                  <a:lnTo>
                    <a:pt x="28" y="829"/>
                  </a:lnTo>
                  <a:close/>
                  <a:moveTo>
                    <a:pt x="12" y="798"/>
                  </a:moveTo>
                  <a:lnTo>
                    <a:pt x="6" y="794"/>
                  </a:lnTo>
                  <a:lnTo>
                    <a:pt x="12" y="789"/>
                  </a:lnTo>
                  <a:lnTo>
                    <a:pt x="12" y="789"/>
                  </a:lnTo>
                  <a:lnTo>
                    <a:pt x="12" y="798"/>
                  </a:lnTo>
                  <a:lnTo>
                    <a:pt x="12" y="798"/>
                  </a:lnTo>
                  <a:close/>
                  <a:moveTo>
                    <a:pt x="10" y="804"/>
                  </a:moveTo>
                  <a:lnTo>
                    <a:pt x="16" y="805"/>
                  </a:lnTo>
                  <a:lnTo>
                    <a:pt x="12" y="809"/>
                  </a:lnTo>
                  <a:lnTo>
                    <a:pt x="10" y="804"/>
                  </a:lnTo>
                  <a:lnTo>
                    <a:pt x="10" y="804"/>
                  </a:lnTo>
                  <a:close/>
                  <a:moveTo>
                    <a:pt x="26" y="812"/>
                  </a:moveTo>
                  <a:lnTo>
                    <a:pt x="26" y="812"/>
                  </a:lnTo>
                  <a:lnTo>
                    <a:pt x="33" y="821"/>
                  </a:lnTo>
                  <a:lnTo>
                    <a:pt x="31" y="828"/>
                  </a:lnTo>
                  <a:lnTo>
                    <a:pt x="26" y="812"/>
                  </a:lnTo>
                  <a:lnTo>
                    <a:pt x="26" y="812"/>
                  </a:lnTo>
                  <a:close/>
                  <a:moveTo>
                    <a:pt x="14" y="822"/>
                  </a:moveTo>
                  <a:lnTo>
                    <a:pt x="8" y="816"/>
                  </a:lnTo>
                  <a:lnTo>
                    <a:pt x="16" y="814"/>
                  </a:lnTo>
                  <a:lnTo>
                    <a:pt x="14" y="822"/>
                  </a:lnTo>
                  <a:lnTo>
                    <a:pt x="14" y="822"/>
                  </a:lnTo>
                  <a:close/>
                  <a:moveTo>
                    <a:pt x="8" y="775"/>
                  </a:moveTo>
                  <a:lnTo>
                    <a:pt x="0" y="780"/>
                  </a:lnTo>
                  <a:lnTo>
                    <a:pt x="5" y="782"/>
                  </a:lnTo>
                  <a:lnTo>
                    <a:pt x="10" y="778"/>
                  </a:lnTo>
                  <a:lnTo>
                    <a:pt x="8" y="775"/>
                  </a:lnTo>
                  <a:lnTo>
                    <a:pt x="8" y="775"/>
                  </a:lnTo>
                  <a:close/>
                  <a:moveTo>
                    <a:pt x="4" y="717"/>
                  </a:moveTo>
                  <a:lnTo>
                    <a:pt x="15" y="720"/>
                  </a:lnTo>
                  <a:lnTo>
                    <a:pt x="6" y="723"/>
                  </a:lnTo>
                  <a:lnTo>
                    <a:pt x="4" y="717"/>
                  </a:lnTo>
                  <a:lnTo>
                    <a:pt x="4" y="717"/>
                  </a:lnTo>
                  <a:close/>
                  <a:moveTo>
                    <a:pt x="8" y="702"/>
                  </a:moveTo>
                  <a:lnTo>
                    <a:pt x="16" y="707"/>
                  </a:lnTo>
                  <a:lnTo>
                    <a:pt x="11" y="712"/>
                  </a:lnTo>
                  <a:lnTo>
                    <a:pt x="8" y="702"/>
                  </a:lnTo>
                  <a:lnTo>
                    <a:pt x="8" y="702"/>
                  </a:lnTo>
                  <a:close/>
                  <a:moveTo>
                    <a:pt x="33" y="685"/>
                  </a:moveTo>
                  <a:lnTo>
                    <a:pt x="35" y="691"/>
                  </a:lnTo>
                  <a:lnTo>
                    <a:pt x="27" y="693"/>
                  </a:lnTo>
                  <a:lnTo>
                    <a:pt x="33" y="685"/>
                  </a:lnTo>
                  <a:lnTo>
                    <a:pt x="33" y="685"/>
                  </a:lnTo>
                  <a:close/>
                  <a:moveTo>
                    <a:pt x="41" y="681"/>
                  </a:moveTo>
                  <a:lnTo>
                    <a:pt x="49" y="682"/>
                  </a:lnTo>
                  <a:lnTo>
                    <a:pt x="51" y="687"/>
                  </a:lnTo>
                  <a:lnTo>
                    <a:pt x="41" y="691"/>
                  </a:lnTo>
                  <a:lnTo>
                    <a:pt x="41" y="681"/>
                  </a:lnTo>
                  <a:lnTo>
                    <a:pt x="41" y="681"/>
                  </a:lnTo>
                  <a:close/>
                  <a:moveTo>
                    <a:pt x="124" y="629"/>
                  </a:moveTo>
                  <a:lnTo>
                    <a:pt x="124" y="629"/>
                  </a:lnTo>
                  <a:lnTo>
                    <a:pt x="131" y="620"/>
                  </a:lnTo>
                  <a:lnTo>
                    <a:pt x="133" y="630"/>
                  </a:lnTo>
                  <a:lnTo>
                    <a:pt x="128" y="633"/>
                  </a:lnTo>
                  <a:lnTo>
                    <a:pt x="124" y="629"/>
                  </a:lnTo>
                  <a:lnTo>
                    <a:pt x="124" y="629"/>
                  </a:lnTo>
                  <a:close/>
                  <a:moveTo>
                    <a:pt x="126" y="615"/>
                  </a:moveTo>
                  <a:lnTo>
                    <a:pt x="126" y="615"/>
                  </a:lnTo>
                  <a:lnTo>
                    <a:pt x="122" y="618"/>
                  </a:lnTo>
                  <a:lnTo>
                    <a:pt x="114" y="609"/>
                  </a:lnTo>
                  <a:lnTo>
                    <a:pt x="124" y="609"/>
                  </a:lnTo>
                  <a:lnTo>
                    <a:pt x="126" y="615"/>
                  </a:lnTo>
                  <a:lnTo>
                    <a:pt x="126" y="615"/>
                  </a:lnTo>
                  <a:close/>
                  <a:moveTo>
                    <a:pt x="134" y="597"/>
                  </a:moveTo>
                  <a:lnTo>
                    <a:pt x="149" y="586"/>
                  </a:lnTo>
                  <a:lnTo>
                    <a:pt x="155" y="591"/>
                  </a:lnTo>
                  <a:lnTo>
                    <a:pt x="145" y="597"/>
                  </a:lnTo>
                  <a:lnTo>
                    <a:pt x="134" y="597"/>
                  </a:lnTo>
                  <a:lnTo>
                    <a:pt x="134" y="597"/>
                  </a:lnTo>
                  <a:close/>
                  <a:moveTo>
                    <a:pt x="137" y="613"/>
                  </a:moveTo>
                  <a:lnTo>
                    <a:pt x="143" y="603"/>
                  </a:lnTo>
                  <a:lnTo>
                    <a:pt x="151" y="603"/>
                  </a:lnTo>
                  <a:lnTo>
                    <a:pt x="154" y="600"/>
                  </a:lnTo>
                  <a:lnTo>
                    <a:pt x="161" y="598"/>
                  </a:lnTo>
                  <a:lnTo>
                    <a:pt x="166" y="603"/>
                  </a:lnTo>
                  <a:lnTo>
                    <a:pt x="160" y="610"/>
                  </a:lnTo>
                  <a:lnTo>
                    <a:pt x="149" y="610"/>
                  </a:lnTo>
                  <a:lnTo>
                    <a:pt x="143" y="613"/>
                  </a:lnTo>
                  <a:lnTo>
                    <a:pt x="137" y="613"/>
                  </a:lnTo>
                  <a:lnTo>
                    <a:pt x="137" y="613"/>
                  </a:lnTo>
                  <a:close/>
                  <a:moveTo>
                    <a:pt x="257" y="496"/>
                  </a:moveTo>
                  <a:lnTo>
                    <a:pt x="259" y="490"/>
                  </a:lnTo>
                  <a:lnTo>
                    <a:pt x="271" y="487"/>
                  </a:lnTo>
                  <a:lnTo>
                    <a:pt x="261" y="498"/>
                  </a:lnTo>
                  <a:lnTo>
                    <a:pt x="257" y="496"/>
                  </a:lnTo>
                  <a:lnTo>
                    <a:pt x="257" y="496"/>
                  </a:lnTo>
                  <a:close/>
                  <a:moveTo>
                    <a:pt x="247" y="515"/>
                  </a:moveTo>
                  <a:lnTo>
                    <a:pt x="243" y="510"/>
                  </a:lnTo>
                  <a:lnTo>
                    <a:pt x="235" y="510"/>
                  </a:lnTo>
                  <a:lnTo>
                    <a:pt x="242" y="504"/>
                  </a:lnTo>
                  <a:lnTo>
                    <a:pt x="255" y="502"/>
                  </a:lnTo>
                  <a:lnTo>
                    <a:pt x="261" y="499"/>
                  </a:lnTo>
                  <a:lnTo>
                    <a:pt x="251" y="511"/>
                  </a:lnTo>
                  <a:lnTo>
                    <a:pt x="247" y="515"/>
                  </a:lnTo>
                  <a:lnTo>
                    <a:pt x="247" y="515"/>
                  </a:lnTo>
                  <a:close/>
                  <a:moveTo>
                    <a:pt x="269" y="445"/>
                  </a:moveTo>
                  <a:lnTo>
                    <a:pt x="272" y="447"/>
                  </a:lnTo>
                  <a:lnTo>
                    <a:pt x="273" y="452"/>
                  </a:lnTo>
                  <a:lnTo>
                    <a:pt x="269" y="456"/>
                  </a:lnTo>
                  <a:lnTo>
                    <a:pt x="264" y="452"/>
                  </a:lnTo>
                  <a:lnTo>
                    <a:pt x="269" y="445"/>
                  </a:lnTo>
                  <a:lnTo>
                    <a:pt x="269" y="445"/>
                  </a:lnTo>
                  <a:close/>
                  <a:moveTo>
                    <a:pt x="286" y="429"/>
                  </a:moveTo>
                  <a:lnTo>
                    <a:pt x="290" y="425"/>
                  </a:lnTo>
                  <a:lnTo>
                    <a:pt x="299" y="427"/>
                  </a:lnTo>
                  <a:lnTo>
                    <a:pt x="288" y="434"/>
                  </a:lnTo>
                  <a:lnTo>
                    <a:pt x="286" y="429"/>
                  </a:lnTo>
                  <a:lnTo>
                    <a:pt x="286" y="429"/>
                  </a:lnTo>
                  <a:close/>
                  <a:moveTo>
                    <a:pt x="281" y="415"/>
                  </a:moveTo>
                  <a:lnTo>
                    <a:pt x="289" y="406"/>
                  </a:lnTo>
                  <a:lnTo>
                    <a:pt x="290" y="415"/>
                  </a:lnTo>
                  <a:lnTo>
                    <a:pt x="283" y="425"/>
                  </a:lnTo>
                  <a:lnTo>
                    <a:pt x="281" y="415"/>
                  </a:lnTo>
                  <a:lnTo>
                    <a:pt x="281" y="415"/>
                  </a:lnTo>
                  <a:close/>
                  <a:moveTo>
                    <a:pt x="338" y="340"/>
                  </a:moveTo>
                  <a:lnTo>
                    <a:pt x="340" y="336"/>
                  </a:lnTo>
                  <a:lnTo>
                    <a:pt x="345" y="336"/>
                  </a:lnTo>
                  <a:lnTo>
                    <a:pt x="341" y="343"/>
                  </a:lnTo>
                  <a:lnTo>
                    <a:pt x="338" y="340"/>
                  </a:lnTo>
                  <a:lnTo>
                    <a:pt x="338" y="340"/>
                  </a:lnTo>
                  <a:close/>
                  <a:moveTo>
                    <a:pt x="282" y="297"/>
                  </a:moveTo>
                  <a:lnTo>
                    <a:pt x="286" y="301"/>
                  </a:lnTo>
                  <a:lnTo>
                    <a:pt x="283" y="306"/>
                  </a:lnTo>
                  <a:lnTo>
                    <a:pt x="278" y="303"/>
                  </a:lnTo>
                  <a:lnTo>
                    <a:pt x="282" y="297"/>
                  </a:lnTo>
                  <a:lnTo>
                    <a:pt x="282" y="297"/>
                  </a:lnTo>
                  <a:close/>
                  <a:moveTo>
                    <a:pt x="298" y="276"/>
                  </a:moveTo>
                  <a:lnTo>
                    <a:pt x="287" y="285"/>
                  </a:lnTo>
                  <a:lnTo>
                    <a:pt x="287" y="277"/>
                  </a:lnTo>
                  <a:lnTo>
                    <a:pt x="295" y="265"/>
                  </a:lnTo>
                  <a:lnTo>
                    <a:pt x="298" y="276"/>
                  </a:lnTo>
                  <a:lnTo>
                    <a:pt x="298" y="276"/>
                  </a:lnTo>
                  <a:close/>
                  <a:moveTo>
                    <a:pt x="304" y="270"/>
                  </a:moveTo>
                  <a:lnTo>
                    <a:pt x="300" y="265"/>
                  </a:lnTo>
                  <a:lnTo>
                    <a:pt x="304" y="261"/>
                  </a:lnTo>
                  <a:lnTo>
                    <a:pt x="309" y="264"/>
                  </a:lnTo>
                  <a:lnTo>
                    <a:pt x="304" y="270"/>
                  </a:lnTo>
                  <a:lnTo>
                    <a:pt x="304" y="270"/>
                  </a:lnTo>
                  <a:close/>
                  <a:moveTo>
                    <a:pt x="330" y="251"/>
                  </a:moveTo>
                  <a:lnTo>
                    <a:pt x="329" y="259"/>
                  </a:lnTo>
                  <a:lnTo>
                    <a:pt x="313" y="270"/>
                  </a:lnTo>
                  <a:lnTo>
                    <a:pt x="316" y="255"/>
                  </a:lnTo>
                  <a:lnTo>
                    <a:pt x="330" y="251"/>
                  </a:lnTo>
                  <a:lnTo>
                    <a:pt x="330" y="251"/>
                  </a:lnTo>
                  <a:close/>
                  <a:moveTo>
                    <a:pt x="346" y="233"/>
                  </a:moveTo>
                  <a:lnTo>
                    <a:pt x="351" y="226"/>
                  </a:lnTo>
                  <a:lnTo>
                    <a:pt x="358" y="232"/>
                  </a:lnTo>
                  <a:lnTo>
                    <a:pt x="346" y="233"/>
                  </a:lnTo>
                  <a:lnTo>
                    <a:pt x="346" y="233"/>
                  </a:lnTo>
                  <a:close/>
                  <a:moveTo>
                    <a:pt x="357" y="237"/>
                  </a:moveTo>
                  <a:lnTo>
                    <a:pt x="357" y="253"/>
                  </a:lnTo>
                  <a:lnTo>
                    <a:pt x="347" y="249"/>
                  </a:lnTo>
                  <a:lnTo>
                    <a:pt x="335" y="256"/>
                  </a:lnTo>
                  <a:lnTo>
                    <a:pt x="336" y="248"/>
                  </a:lnTo>
                  <a:lnTo>
                    <a:pt x="357" y="237"/>
                  </a:lnTo>
                  <a:lnTo>
                    <a:pt x="357" y="237"/>
                  </a:lnTo>
                  <a:close/>
                  <a:moveTo>
                    <a:pt x="363" y="196"/>
                  </a:moveTo>
                  <a:lnTo>
                    <a:pt x="367" y="207"/>
                  </a:lnTo>
                  <a:lnTo>
                    <a:pt x="367" y="221"/>
                  </a:lnTo>
                  <a:lnTo>
                    <a:pt x="354" y="224"/>
                  </a:lnTo>
                  <a:lnTo>
                    <a:pt x="350" y="220"/>
                  </a:lnTo>
                  <a:lnTo>
                    <a:pt x="361" y="213"/>
                  </a:lnTo>
                  <a:lnTo>
                    <a:pt x="354" y="213"/>
                  </a:lnTo>
                  <a:lnTo>
                    <a:pt x="342" y="221"/>
                  </a:lnTo>
                  <a:lnTo>
                    <a:pt x="339" y="215"/>
                  </a:lnTo>
                  <a:lnTo>
                    <a:pt x="342" y="208"/>
                  </a:lnTo>
                  <a:lnTo>
                    <a:pt x="351" y="209"/>
                  </a:lnTo>
                  <a:lnTo>
                    <a:pt x="359" y="201"/>
                  </a:lnTo>
                  <a:lnTo>
                    <a:pt x="357" y="197"/>
                  </a:lnTo>
                  <a:lnTo>
                    <a:pt x="363" y="196"/>
                  </a:lnTo>
                  <a:lnTo>
                    <a:pt x="363" y="196"/>
                  </a:lnTo>
                  <a:close/>
                  <a:moveTo>
                    <a:pt x="374" y="201"/>
                  </a:moveTo>
                  <a:lnTo>
                    <a:pt x="369" y="198"/>
                  </a:lnTo>
                  <a:lnTo>
                    <a:pt x="369" y="186"/>
                  </a:lnTo>
                  <a:lnTo>
                    <a:pt x="381" y="176"/>
                  </a:lnTo>
                  <a:lnTo>
                    <a:pt x="382" y="169"/>
                  </a:lnTo>
                  <a:lnTo>
                    <a:pt x="394" y="166"/>
                  </a:lnTo>
                  <a:lnTo>
                    <a:pt x="396" y="173"/>
                  </a:lnTo>
                  <a:lnTo>
                    <a:pt x="386" y="179"/>
                  </a:lnTo>
                  <a:lnTo>
                    <a:pt x="386" y="187"/>
                  </a:lnTo>
                  <a:lnTo>
                    <a:pt x="374" y="201"/>
                  </a:lnTo>
                  <a:lnTo>
                    <a:pt x="374" y="201"/>
                  </a:lnTo>
                  <a:close/>
                  <a:moveTo>
                    <a:pt x="404" y="205"/>
                  </a:moveTo>
                  <a:lnTo>
                    <a:pt x="415" y="215"/>
                  </a:lnTo>
                  <a:lnTo>
                    <a:pt x="399" y="231"/>
                  </a:lnTo>
                  <a:lnTo>
                    <a:pt x="390" y="237"/>
                  </a:lnTo>
                  <a:lnTo>
                    <a:pt x="386" y="243"/>
                  </a:lnTo>
                  <a:lnTo>
                    <a:pt x="379" y="241"/>
                  </a:lnTo>
                  <a:lnTo>
                    <a:pt x="380" y="233"/>
                  </a:lnTo>
                  <a:lnTo>
                    <a:pt x="369" y="245"/>
                  </a:lnTo>
                  <a:lnTo>
                    <a:pt x="364" y="245"/>
                  </a:lnTo>
                  <a:lnTo>
                    <a:pt x="365" y="236"/>
                  </a:lnTo>
                  <a:lnTo>
                    <a:pt x="370" y="233"/>
                  </a:lnTo>
                  <a:lnTo>
                    <a:pt x="369" y="226"/>
                  </a:lnTo>
                  <a:lnTo>
                    <a:pt x="375" y="219"/>
                  </a:lnTo>
                  <a:lnTo>
                    <a:pt x="375" y="212"/>
                  </a:lnTo>
                  <a:lnTo>
                    <a:pt x="386" y="196"/>
                  </a:lnTo>
                  <a:lnTo>
                    <a:pt x="380" y="218"/>
                  </a:lnTo>
                  <a:lnTo>
                    <a:pt x="382" y="226"/>
                  </a:lnTo>
                  <a:lnTo>
                    <a:pt x="388" y="215"/>
                  </a:lnTo>
                  <a:lnTo>
                    <a:pt x="404" y="214"/>
                  </a:lnTo>
                  <a:lnTo>
                    <a:pt x="398" y="208"/>
                  </a:lnTo>
                  <a:lnTo>
                    <a:pt x="398" y="202"/>
                  </a:lnTo>
                  <a:lnTo>
                    <a:pt x="404" y="205"/>
                  </a:lnTo>
                  <a:lnTo>
                    <a:pt x="404" y="205"/>
                  </a:lnTo>
                  <a:close/>
                  <a:moveTo>
                    <a:pt x="403" y="196"/>
                  </a:moveTo>
                  <a:lnTo>
                    <a:pt x="399" y="193"/>
                  </a:lnTo>
                  <a:lnTo>
                    <a:pt x="406" y="191"/>
                  </a:lnTo>
                  <a:lnTo>
                    <a:pt x="415" y="196"/>
                  </a:lnTo>
                  <a:lnTo>
                    <a:pt x="415" y="202"/>
                  </a:lnTo>
                  <a:lnTo>
                    <a:pt x="403" y="196"/>
                  </a:lnTo>
                  <a:lnTo>
                    <a:pt x="403" y="196"/>
                  </a:lnTo>
                  <a:close/>
                  <a:moveTo>
                    <a:pt x="427" y="209"/>
                  </a:moveTo>
                  <a:lnTo>
                    <a:pt x="431" y="198"/>
                  </a:lnTo>
                  <a:lnTo>
                    <a:pt x="435" y="205"/>
                  </a:lnTo>
                  <a:lnTo>
                    <a:pt x="427" y="209"/>
                  </a:lnTo>
                  <a:lnTo>
                    <a:pt x="427" y="209"/>
                  </a:lnTo>
                  <a:close/>
                  <a:moveTo>
                    <a:pt x="458" y="164"/>
                  </a:moveTo>
                  <a:lnTo>
                    <a:pt x="457" y="168"/>
                  </a:lnTo>
                  <a:lnTo>
                    <a:pt x="458" y="175"/>
                  </a:lnTo>
                  <a:lnTo>
                    <a:pt x="449" y="178"/>
                  </a:lnTo>
                  <a:lnTo>
                    <a:pt x="445" y="183"/>
                  </a:lnTo>
                  <a:lnTo>
                    <a:pt x="435" y="181"/>
                  </a:lnTo>
                  <a:lnTo>
                    <a:pt x="433" y="191"/>
                  </a:lnTo>
                  <a:lnTo>
                    <a:pt x="428" y="191"/>
                  </a:lnTo>
                  <a:lnTo>
                    <a:pt x="428" y="184"/>
                  </a:lnTo>
                  <a:lnTo>
                    <a:pt x="421" y="183"/>
                  </a:lnTo>
                  <a:lnTo>
                    <a:pt x="428" y="174"/>
                  </a:lnTo>
                  <a:lnTo>
                    <a:pt x="419" y="173"/>
                  </a:lnTo>
                  <a:lnTo>
                    <a:pt x="423" y="163"/>
                  </a:lnTo>
                  <a:lnTo>
                    <a:pt x="434" y="163"/>
                  </a:lnTo>
                  <a:lnTo>
                    <a:pt x="423" y="158"/>
                  </a:lnTo>
                  <a:lnTo>
                    <a:pt x="429" y="149"/>
                  </a:lnTo>
                  <a:lnTo>
                    <a:pt x="437" y="154"/>
                  </a:lnTo>
                  <a:lnTo>
                    <a:pt x="434" y="145"/>
                  </a:lnTo>
                  <a:lnTo>
                    <a:pt x="449" y="146"/>
                  </a:lnTo>
                  <a:lnTo>
                    <a:pt x="450" y="152"/>
                  </a:lnTo>
                  <a:lnTo>
                    <a:pt x="456" y="155"/>
                  </a:lnTo>
                  <a:lnTo>
                    <a:pt x="458" y="164"/>
                  </a:lnTo>
                  <a:lnTo>
                    <a:pt x="458" y="164"/>
                  </a:lnTo>
                  <a:close/>
                  <a:moveTo>
                    <a:pt x="458" y="140"/>
                  </a:moveTo>
                  <a:lnTo>
                    <a:pt x="471" y="139"/>
                  </a:lnTo>
                  <a:lnTo>
                    <a:pt x="472" y="133"/>
                  </a:lnTo>
                  <a:lnTo>
                    <a:pt x="483" y="133"/>
                  </a:lnTo>
                  <a:lnTo>
                    <a:pt x="487" y="126"/>
                  </a:lnTo>
                  <a:lnTo>
                    <a:pt x="493" y="134"/>
                  </a:lnTo>
                  <a:lnTo>
                    <a:pt x="487" y="141"/>
                  </a:lnTo>
                  <a:lnTo>
                    <a:pt x="487" y="147"/>
                  </a:lnTo>
                  <a:lnTo>
                    <a:pt x="477" y="147"/>
                  </a:lnTo>
                  <a:lnTo>
                    <a:pt x="468" y="150"/>
                  </a:lnTo>
                  <a:lnTo>
                    <a:pt x="458" y="140"/>
                  </a:lnTo>
                  <a:lnTo>
                    <a:pt x="458" y="140"/>
                  </a:lnTo>
                  <a:close/>
                  <a:moveTo>
                    <a:pt x="496" y="93"/>
                  </a:moveTo>
                  <a:lnTo>
                    <a:pt x="493" y="88"/>
                  </a:lnTo>
                  <a:lnTo>
                    <a:pt x="502" y="86"/>
                  </a:lnTo>
                  <a:lnTo>
                    <a:pt x="496" y="93"/>
                  </a:lnTo>
                  <a:lnTo>
                    <a:pt x="496" y="93"/>
                  </a:lnTo>
                  <a:close/>
                  <a:moveTo>
                    <a:pt x="479" y="110"/>
                  </a:moveTo>
                  <a:lnTo>
                    <a:pt x="480" y="100"/>
                  </a:lnTo>
                  <a:lnTo>
                    <a:pt x="492" y="97"/>
                  </a:lnTo>
                  <a:lnTo>
                    <a:pt x="491" y="103"/>
                  </a:lnTo>
                  <a:lnTo>
                    <a:pt x="491" y="103"/>
                  </a:lnTo>
                  <a:lnTo>
                    <a:pt x="479" y="110"/>
                  </a:lnTo>
                  <a:lnTo>
                    <a:pt x="479" y="110"/>
                  </a:lnTo>
                  <a:close/>
                  <a:moveTo>
                    <a:pt x="509" y="125"/>
                  </a:moveTo>
                  <a:lnTo>
                    <a:pt x="513" y="114"/>
                  </a:lnTo>
                  <a:lnTo>
                    <a:pt x="516" y="121"/>
                  </a:lnTo>
                  <a:lnTo>
                    <a:pt x="509" y="125"/>
                  </a:lnTo>
                  <a:lnTo>
                    <a:pt x="509" y="125"/>
                  </a:lnTo>
                  <a:close/>
                  <a:moveTo>
                    <a:pt x="506" y="122"/>
                  </a:moveTo>
                  <a:lnTo>
                    <a:pt x="502" y="126"/>
                  </a:lnTo>
                  <a:lnTo>
                    <a:pt x="496" y="126"/>
                  </a:lnTo>
                  <a:lnTo>
                    <a:pt x="485" y="115"/>
                  </a:lnTo>
                  <a:lnTo>
                    <a:pt x="498" y="104"/>
                  </a:lnTo>
                  <a:lnTo>
                    <a:pt x="502" y="109"/>
                  </a:lnTo>
                  <a:lnTo>
                    <a:pt x="510" y="108"/>
                  </a:lnTo>
                  <a:lnTo>
                    <a:pt x="512" y="110"/>
                  </a:lnTo>
                  <a:lnTo>
                    <a:pt x="504" y="115"/>
                  </a:lnTo>
                  <a:lnTo>
                    <a:pt x="506" y="122"/>
                  </a:lnTo>
                  <a:lnTo>
                    <a:pt x="506" y="122"/>
                  </a:lnTo>
                  <a:close/>
                  <a:moveTo>
                    <a:pt x="530" y="103"/>
                  </a:moveTo>
                  <a:lnTo>
                    <a:pt x="525" y="105"/>
                  </a:lnTo>
                  <a:lnTo>
                    <a:pt x="515" y="102"/>
                  </a:lnTo>
                  <a:lnTo>
                    <a:pt x="514" y="94"/>
                  </a:lnTo>
                  <a:lnTo>
                    <a:pt x="512" y="83"/>
                  </a:lnTo>
                  <a:lnTo>
                    <a:pt x="516" y="80"/>
                  </a:lnTo>
                  <a:lnTo>
                    <a:pt x="519" y="92"/>
                  </a:lnTo>
                  <a:lnTo>
                    <a:pt x="527" y="98"/>
                  </a:lnTo>
                  <a:lnTo>
                    <a:pt x="530" y="103"/>
                  </a:lnTo>
                  <a:lnTo>
                    <a:pt x="530" y="103"/>
                  </a:lnTo>
                  <a:close/>
                  <a:moveTo>
                    <a:pt x="555" y="115"/>
                  </a:moveTo>
                  <a:lnTo>
                    <a:pt x="549" y="109"/>
                  </a:lnTo>
                  <a:lnTo>
                    <a:pt x="543" y="106"/>
                  </a:lnTo>
                  <a:lnTo>
                    <a:pt x="542" y="92"/>
                  </a:lnTo>
                  <a:lnTo>
                    <a:pt x="548" y="87"/>
                  </a:lnTo>
                  <a:lnTo>
                    <a:pt x="558" y="93"/>
                  </a:lnTo>
                  <a:lnTo>
                    <a:pt x="554" y="102"/>
                  </a:lnTo>
                  <a:lnTo>
                    <a:pt x="559" y="108"/>
                  </a:lnTo>
                  <a:lnTo>
                    <a:pt x="555" y="115"/>
                  </a:lnTo>
                  <a:lnTo>
                    <a:pt x="555" y="115"/>
                  </a:lnTo>
                  <a:close/>
                  <a:moveTo>
                    <a:pt x="624" y="83"/>
                  </a:moveTo>
                  <a:lnTo>
                    <a:pt x="614" y="80"/>
                  </a:lnTo>
                  <a:lnTo>
                    <a:pt x="605" y="76"/>
                  </a:lnTo>
                  <a:lnTo>
                    <a:pt x="612" y="71"/>
                  </a:lnTo>
                  <a:lnTo>
                    <a:pt x="622" y="71"/>
                  </a:lnTo>
                  <a:lnTo>
                    <a:pt x="625" y="76"/>
                  </a:lnTo>
                  <a:lnTo>
                    <a:pt x="624" y="83"/>
                  </a:lnTo>
                  <a:lnTo>
                    <a:pt x="624" y="83"/>
                  </a:lnTo>
                  <a:close/>
                  <a:moveTo>
                    <a:pt x="636" y="77"/>
                  </a:moveTo>
                  <a:lnTo>
                    <a:pt x="625" y="65"/>
                  </a:lnTo>
                  <a:lnTo>
                    <a:pt x="642" y="52"/>
                  </a:lnTo>
                  <a:lnTo>
                    <a:pt x="645" y="62"/>
                  </a:lnTo>
                  <a:lnTo>
                    <a:pt x="637" y="70"/>
                  </a:lnTo>
                  <a:lnTo>
                    <a:pt x="636" y="77"/>
                  </a:lnTo>
                  <a:lnTo>
                    <a:pt x="636" y="77"/>
                  </a:lnTo>
                  <a:close/>
                  <a:moveTo>
                    <a:pt x="616" y="62"/>
                  </a:moveTo>
                  <a:lnTo>
                    <a:pt x="610" y="63"/>
                  </a:lnTo>
                  <a:lnTo>
                    <a:pt x="595" y="58"/>
                  </a:lnTo>
                  <a:lnTo>
                    <a:pt x="591" y="50"/>
                  </a:lnTo>
                  <a:lnTo>
                    <a:pt x="600" y="52"/>
                  </a:lnTo>
                  <a:lnTo>
                    <a:pt x="607" y="46"/>
                  </a:lnTo>
                  <a:lnTo>
                    <a:pt x="613" y="52"/>
                  </a:lnTo>
                  <a:lnTo>
                    <a:pt x="618" y="44"/>
                  </a:lnTo>
                  <a:lnTo>
                    <a:pt x="623" y="46"/>
                  </a:lnTo>
                  <a:lnTo>
                    <a:pt x="637" y="34"/>
                  </a:lnTo>
                  <a:lnTo>
                    <a:pt x="640" y="40"/>
                  </a:lnTo>
                  <a:lnTo>
                    <a:pt x="616" y="62"/>
                  </a:lnTo>
                  <a:lnTo>
                    <a:pt x="616" y="62"/>
                  </a:lnTo>
                  <a:close/>
                  <a:moveTo>
                    <a:pt x="645" y="45"/>
                  </a:moveTo>
                  <a:lnTo>
                    <a:pt x="645" y="45"/>
                  </a:lnTo>
                  <a:lnTo>
                    <a:pt x="657" y="40"/>
                  </a:lnTo>
                  <a:lnTo>
                    <a:pt x="668" y="47"/>
                  </a:lnTo>
                  <a:lnTo>
                    <a:pt x="665" y="54"/>
                  </a:lnTo>
                  <a:lnTo>
                    <a:pt x="652" y="58"/>
                  </a:lnTo>
                  <a:lnTo>
                    <a:pt x="652" y="51"/>
                  </a:lnTo>
                  <a:lnTo>
                    <a:pt x="645" y="45"/>
                  </a:lnTo>
                  <a:lnTo>
                    <a:pt x="645" y="45"/>
                  </a:lnTo>
                  <a:close/>
                  <a:moveTo>
                    <a:pt x="669" y="24"/>
                  </a:moveTo>
                  <a:lnTo>
                    <a:pt x="666" y="28"/>
                  </a:lnTo>
                  <a:lnTo>
                    <a:pt x="663" y="29"/>
                  </a:lnTo>
                  <a:lnTo>
                    <a:pt x="657" y="22"/>
                  </a:lnTo>
                  <a:lnTo>
                    <a:pt x="665" y="19"/>
                  </a:lnTo>
                  <a:lnTo>
                    <a:pt x="669" y="24"/>
                  </a:lnTo>
                  <a:lnTo>
                    <a:pt x="669" y="24"/>
                  </a:lnTo>
                  <a:close/>
                  <a:moveTo>
                    <a:pt x="689" y="11"/>
                  </a:moveTo>
                  <a:lnTo>
                    <a:pt x="683" y="11"/>
                  </a:lnTo>
                  <a:lnTo>
                    <a:pt x="686" y="5"/>
                  </a:lnTo>
                  <a:lnTo>
                    <a:pt x="692" y="5"/>
                  </a:lnTo>
                  <a:lnTo>
                    <a:pt x="689" y="11"/>
                  </a:lnTo>
                  <a:lnTo>
                    <a:pt x="689" y="11"/>
                  </a:lnTo>
                  <a:close/>
                  <a:moveTo>
                    <a:pt x="701" y="16"/>
                  </a:moveTo>
                  <a:lnTo>
                    <a:pt x="703" y="12"/>
                  </a:lnTo>
                  <a:lnTo>
                    <a:pt x="706" y="8"/>
                  </a:lnTo>
                  <a:lnTo>
                    <a:pt x="712" y="11"/>
                  </a:lnTo>
                  <a:lnTo>
                    <a:pt x="716" y="7"/>
                  </a:lnTo>
                  <a:lnTo>
                    <a:pt x="717" y="0"/>
                  </a:lnTo>
                  <a:lnTo>
                    <a:pt x="722" y="5"/>
                  </a:lnTo>
                  <a:lnTo>
                    <a:pt x="730" y="6"/>
                  </a:lnTo>
                  <a:lnTo>
                    <a:pt x="724" y="12"/>
                  </a:lnTo>
                  <a:lnTo>
                    <a:pt x="735" y="13"/>
                  </a:lnTo>
                  <a:lnTo>
                    <a:pt x="730" y="22"/>
                  </a:lnTo>
                  <a:lnTo>
                    <a:pt x="722" y="24"/>
                  </a:lnTo>
                  <a:lnTo>
                    <a:pt x="712" y="17"/>
                  </a:lnTo>
                  <a:lnTo>
                    <a:pt x="701" y="16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7" name="Freeform 11">
              <a:extLst>
                <a:ext uri="{FF2B5EF4-FFF2-40B4-BE49-F238E27FC236}">
                  <a16:creationId xmlns:a16="http://schemas.microsoft.com/office/drawing/2014/main" id="{0236F63A-E3E0-874C-80D2-F49E3FE3D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8888" y="863600"/>
              <a:ext cx="727075" cy="1489075"/>
            </a:xfrm>
            <a:custGeom>
              <a:avLst/>
              <a:gdLst/>
              <a:ahLst/>
              <a:cxnLst>
                <a:cxn ang="0">
                  <a:pos x="18" y="677"/>
                </a:cxn>
                <a:cxn ang="0">
                  <a:pos x="47" y="632"/>
                </a:cxn>
                <a:cxn ang="0">
                  <a:pos x="54" y="553"/>
                </a:cxn>
                <a:cxn ang="0">
                  <a:pos x="24" y="459"/>
                </a:cxn>
                <a:cxn ang="0">
                  <a:pos x="69" y="379"/>
                </a:cxn>
                <a:cxn ang="0">
                  <a:pos x="92" y="264"/>
                </a:cxn>
                <a:cxn ang="0">
                  <a:pos x="128" y="211"/>
                </a:cxn>
                <a:cxn ang="0">
                  <a:pos x="147" y="119"/>
                </a:cxn>
                <a:cxn ang="0">
                  <a:pos x="195" y="81"/>
                </a:cxn>
                <a:cxn ang="0">
                  <a:pos x="214" y="57"/>
                </a:cxn>
                <a:cxn ang="0">
                  <a:pos x="270" y="49"/>
                </a:cxn>
                <a:cxn ang="0">
                  <a:pos x="289" y="21"/>
                </a:cxn>
                <a:cxn ang="0">
                  <a:pos x="311" y="8"/>
                </a:cxn>
                <a:cxn ang="0">
                  <a:pos x="390" y="55"/>
                </a:cxn>
                <a:cxn ang="0">
                  <a:pos x="416" y="87"/>
                </a:cxn>
                <a:cxn ang="0">
                  <a:pos x="428" y="144"/>
                </a:cxn>
                <a:cxn ang="0">
                  <a:pos x="436" y="212"/>
                </a:cxn>
                <a:cxn ang="0">
                  <a:pos x="444" y="248"/>
                </a:cxn>
                <a:cxn ang="0">
                  <a:pos x="398" y="250"/>
                </a:cxn>
                <a:cxn ang="0">
                  <a:pos x="366" y="254"/>
                </a:cxn>
                <a:cxn ang="0">
                  <a:pos x="364" y="285"/>
                </a:cxn>
                <a:cxn ang="0">
                  <a:pos x="364" y="295"/>
                </a:cxn>
                <a:cxn ang="0">
                  <a:pos x="365" y="335"/>
                </a:cxn>
                <a:cxn ang="0">
                  <a:pos x="352" y="374"/>
                </a:cxn>
                <a:cxn ang="0">
                  <a:pos x="313" y="411"/>
                </a:cxn>
                <a:cxn ang="0">
                  <a:pos x="285" y="436"/>
                </a:cxn>
                <a:cxn ang="0">
                  <a:pos x="257" y="449"/>
                </a:cxn>
                <a:cxn ang="0">
                  <a:pos x="237" y="484"/>
                </a:cxn>
                <a:cxn ang="0">
                  <a:pos x="225" y="532"/>
                </a:cxn>
                <a:cxn ang="0">
                  <a:pos x="225" y="567"/>
                </a:cxn>
                <a:cxn ang="0">
                  <a:pos x="236" y="603"/>
                </a:cxn>
                <a:cxn ang="0">
                  <a:pos x="278" y="630"/>
                </a:cxn>
                <a:cxn ang="0">
                  <a:pos x="277" y="689"/>
                </a:cxn>
                <a:cxn ang="0">
                  <a:pos x="237" y="680"/>
                </a:cxn>
                <a:cxn ang="0">
                  <a:pos x="197" y="683"/>
                </a:cxn>
                <a:cxn ang="0">
                  <a:pos x="227" y="691"/>
                </a:cxn>
                <a:cxn ang="0">
                  <a:pos x="279" y="701"/>
                </a:cxn>
                <a:cxn ang="0">
                  <a:pos x="254" y="713"/>
                </a:cxn>
                <a:cxn ang="0">
                  <a:pos x="231" y="738"/>
                </a:cxn>
                <a:cxn ang="0">
                  <a:pos x="214" y="756"/>
                </a:cxn>
                <a:cxn ang="0">
                  <a:pos x="218" y="790"/>
                </a:cxn>
                <a:cxn ang="0">
                  <a:pos x="221" y="841"/>
                </a:cxn>
                <a:cxn ang="0">
                  <a:pos x="183" y="893"/>
                </a:cxn>
                <a:cxn ang="0">
                  <a:pos x="134" y="922"/>
                </a:cxn>
                <a:cxn ang="0">
                  <a:pos x="82" y="926"/>
                </a:cxn>
                <a:cxn ang="0">
                  <a:pos x="81" y="876"/>
                </a:cxn>
                <a:cxn ang="0">
                  <a:pos x="39" y="825"/>
                </a:cxn>
                <a:cxn ang="0">
                  <a:pos x="21" y="783"/>
                </a:cxn>
                <a:cxn ang="0">
                  <a:pos x="17" y="764"/>
                </a:cxn>
                <a:cxn ang="0">
                  <a:pos x="1" y="739"/>
                </a:cxn>
                <a:cxn ang="0">
                  <a:pos x="288" y="706"/>
                </a:cxn>
                <a:cxn ang="0">
                  <a:pos x="12" y="776"/>
                </a:cxn>
                <a:cxn ang="0">
                  <a:pos x="322" y="756"/>
                </a:cxn>
                <a:cxn ang="0">
                  <a:pos x="329" y="788"/>
                </a:cxn>
                <a:cxn ang="0">
                  <a:pos x="300" y="849"/>
                </a:cxn>
                <a:cxn ang="0">
                  <a:pos x="318" y="814"/>
                </a:cxn>
                <a:cxn ang="0">
                  <a:pos x="300" y="794"/>
                </a:cxn>
                <a:cxn ang="0">
                  <a:pos x="296" y="836"/>
                </a:cxn>
                <a:cxn ang="0">
                  <a:pos x="222" y="891"/>
                </a:cxn>
                <a:cxn ang="0">
                  <a:pos x="236" y="829"/>
                </a:cxn>
              </a:cxnLst>
              <a:rect l="0" t="0" r="r" b="b"/>
              <a:pathLst>
                <a:path w="458" h="938">
                  <a:moveTo>
                    <a:pt x="7" y="718"/>
                  </a:moveTo>
                  <a:lnTo>
                    <a:pt x="13" y="720"/>
                  </a:lnTo>
                  <a:lnTo>
                    <a:pt x="18" y="729"/>
                  </a:lnTo>
                  <a:lnTo>
                    <a:pt x="23" y="720"/>
                  </a:lnTo>
                  <a:lnTo>
                    <a:pt x="22" y="695"/>
                  </a:lnTo>
                  <a:lnTo>
                    <a:pt x="15" y="684"/>
                  </a:lnTo>
                  <a:lnTo>
                    <a:pt x="18" y="677"/>
                  </a:lnTo>
                  <a:lnTo>
                    <a:pt x="24" y="674"/>
                  </a:lnTo>
                  <a:lnTo>
                    <a:pt x="19" y="666"/>
                  </a:lnTo>
                  <a:lnTo>
                    <a:pt x="23" y="661"/>
                  </a:lnTo>
                  <a:lnTo>
                    <a:pt x="37" y="660"/>
                  </a:lnTo>
                  <a:lnTo>
                    <a:pt x="41" y="652"/>
                  </a:lnTo>
                  <a:lnTo>
                    <a:pt x="40" y="644"/>
                  </a:lnTo>
                  <a:lnTo>
                    <a:pt x="47" y="632"/>
                  </a:lnTo>
                  <a:lnTo>
                    <a:pt x="40" y="623"/>
                  </a:lnTo>
                  <a:lnTo>
                    <a:pt x="37" y="604"/>
                  </a:lnTo>
                  <a:lnTo>
                    <a:pt x="28" y="588"/>
                  </a:lnTo>
                  <a:lnTo>
                    <a:pt x="29" y="582"/>
                  </a:lnTo>
                  <a:lnTo>
                    <a:pt x="50" y="576"/>
                  </a:lnTo>
                  <a:lnTo>
                    <a:pt x="50" y="562"/>
                  </a:lnTo>
                  <a:lnTo>
                    <a:pt x="54" y="553"/>
                  </a:lnTo>
                  <a:lnTo>
                    <a:pt x="39" y="538"/>
                  </a:lnTo>
                  <a:lnTo>
                    <a:pt x="25" y="532"/>
                  </a:lnTo>
                  <a:lnTo>
                    <a:pt x="24" y="516"/>
                  </a:lnTo>
                  <a:lnTo>
                    <a:pt x="28" y="500"/>
                  </a:lnTo>
                  <a:lnTo>
                    <a:pt x="25" y="483"/>
                  </a:lnTo>
                  <a:lnTo>
                    <a:pt x="21" y="472"/>
                  </a:lnTo>
                  <a:lnTo>
                    <a:pt x="24" y="459"/>
                  </a:lnTo>
                  <a:lnTo>
                    <a:pt x="22" y="437"/>
                  </a:lnTo>
                  <a:lnTo>
                    <a:pt x="17" y="417"/>
                  </a:lnTo>
                  <a:lnTo>
                    <a:pt x="21" y="397"/>
                  </a:lnTo>
                  <a:lnTo>
                    <a:pt x="31" y="382"/>
                  </a:lnTo>
                  <a:lnTo>
                    <a:pt x="41" y="376"/>
                  </a:lnTo>
                  <a:lnTo>
                    <a:pt x="53" y="378"/>
                  </a:lnTo>
                  <a:lnTo>
                    <a:pt x="69" y="379"/>
                  </a:lnTo>
                  <a:lnTo>
                    <a:pt x="76" y="370"/>
                  </a:lnTo>
                  <a:lnTo>
                    <a:pt x="75" y="354"/>
                  </a:lnTo>
                  <a:lnTo>
                    <a:pt x="71" y="348"/>
                  </a:lnTo>
                  <a:lnTo>
                    <a:pt x="71" y="337"/>
                  </a:lnTo>
                  <a:lnTo>
                    <a:pt x="87" y="303"/>
                  </a:lnTo>
                  <a:lnTo>
                    <a:pt x="88" y="283"/>
                  </a:lnTo>
                  <a:lnTo>
                    <a:pt x="92" y="264"/>
                  </a:lnTo>
                  <a:lnTo>
                    <a:pt x="97" y="254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91" y="227"/>
                  </a:lnTo>
                  <a:lnTo>
                    <a:pt x="105" y="220"/>
                  </a:lnTo>
                  <a:lnTo>
                    <a:pt x="121" y="216"/>
                  </a:lnTo>
                  <a:lnTo>
                    <a:pt x="128" y="211"/>
                  </a:lnTo>
                  <a:lnTo>
                    <a:pt x="128" y="203"/>
                  </a:lnTo>
                  <a:lnTo>
                    <a:pt x="141" y="182"/>
                  </a:lnTo>
                  <a:lnTo>
                    <a:pt x="154" y="167"/>
                  </a:lnTo>
                  <a:lnTo>
                    <a:pt x="158" y="157"/>
                  </a:lnTo>
                  <a:lnTo>
                    <a:pt x="154" y="145"/>
                  </a:lnTo>
                  <a:lnTo>
                    <a:pt x="149" y="139"/>
                  </a:lnTo>
                  <a:lnTo>
                    <a:pt x="147" y="119"/>
                  </a:lnTo>
                  <a:lnTo>
                    <a:pt x="154" y="117"/>
                  </a:lnTo>
                  <a:lnTo>
                    <a:pt x="160" y="110"/>
                  </a:lnTo>
                  <a:lnTo>
                    <a:pt x="162" y="100"/>
                  </a:lnTo>
                  <a:lnTo>
                    <a:pt x="168" y="96"/>
                  </a:lnTo>
                  <a:lnTo>
                    <a:pt x="175" y="83"/>
                  </a:lnTo>
                  <a:lnTo>
                    <a:pt x="185" y="77"/>
                  </a:lnTo>
                  <a:lnTo>
                    <a:pt x="195" y="81"/>
                  </a:lnTo>
                  <a:lnTo>
                    <a:pt x="199" y="86"/>
                  </a:lnTo>
                  <a:lnTo>
                    <a:pt x="206" y="84"/>
                  </a:lnTo>
                  <a:lnTo>
                    <a:pt x="213" y="78"/>
                  </a:lnTo>
                  <a:lnTo>
                    <a:pt x="207" y="70"/>
                  </a:lnTo>
                  <a:lnTo>
                    <a:pt x="212" y="65"/>
                  </a:lnTo>
                  <a:lnTo>
                    <a:pt x="212" y="61"/>
                  </a:lnTo>
                  <a:lnTo>
                    <a:pt x="214" y="57"/>
                  </a:lnTo>
                  <a:lnTo>
                    <a:pt x="207" y="46"/>
                  </a:lnTo>
                  <a:lnTo>
                    <a:pt x="212" y="43"/>
                  </a:lnTo>
                  <a:lnTo>
                    <a:pt x="225" y="43"/>
                  </a:lnTo>
                  <a:lnTo>
                    <a:pt x="235" y="38"/>
                  </a:lnTo>
                  <a:lnTo>
                    <a:pt x="250" y="42"/>
                  </a:lnTo>
                  <a:lnTo>
                    <a:pt x="260" y="48"/>
                  </a:lnTo>
                  <a:lnTo>
                    <a:pt x="270" y="49"/>
                  </a:lnTo>
                  <a:lnTo>
                    <a:pt x="276" y="54"/>
                  </a:lnTo>
                  <a:lnTo>
                    <a:pt x="280" y="52"/>
                  </a:lnTo>
                  <a:lnTo>
                    <a:pt x="285" y="54"/>
                  </a:lnTo>
                  <a:lnTo>
                    <a:pt x="285" y="44"/>
                  </a:lnTo>
                  <a:lnTo>
                    <a:pt x="280" y="37"/>
                  </a:lnTo>
                  <a:lnTo>
                    <a:pt x="282" y="25"/>
                  </a:lnTo>
                  <a:lnTo>
                    <a:pt x="289" y="21"/>
                  </a:lnTo>
                  <a:lnTo>
                    <a:pt x="286" y="13"/>
                  </a:lnTo>
                  <a:lnTo>
                    <a:pt x="279" y="9"/>
                  </a:lnTo>
                  <a:lnTo>
                    <a:pt x="278" y="1"/>
                  </a:lnTo>
                  <a:lnTo>
                    <a:pt x="289" y="3"/>
                  </a:lnTo>
                  <a:lnTo>
                    <a:pt x="299" y="2"/>
                  </a:lnTo>
                  <a:lnTo>
                    <a:pt x="302" y="0"/>
                  </a:lnTo>
                  <a:lnTo>
                    <a:pt x="311" y="8"/>
                  </a:lnTo>
                  <a:lnTo>
                    <a:pt x="322" y="14"/>
                  </a:lnTo>
                  <a:lnTo>
                    <a:pt x="338" y="31"/>
                  </a:lnTo>
                  <a:lnTo>
                    <a:pt x="351" y="38"/>
                  </a:lnTo>
                  <a:lnTo>
                    <a:pt x="367" y="40"/>
                  </a:lnTo>
                  <a:lnTo>
                    <a:pt x="375" y="44"/>
                  </a:lnTo>
                  <a:lnTo>
                    <a:pt x="381" y="46"/>
                  </a:lnTo>
                  <a:lnTo>
                    <a:pt x="390" y="55"/>
                  </a:lnTo>
                  <a:lnTo>
                    <a:pt x="394" y="63"/>
                  </a:lnTo>
                  <a:lnTo>
                    <a:pt x="398" y="63"/>
                  </a:lnTo>
                  <a:lnTo>
                    <a:pt x="401" y="63"/>
                  </a:lnTo>
                  <a:lnTo>
                    <a:pt x="409" y="72"/>
                  </a:lnTo>
                  <a:lnTo>
                    <a:pt x="415" y="72"/>
                  </a:lnTo>
                  <a:lnTo>
                    <a:pt x="419" y="78"/>
                  </a:lnTo>
                  <a:lnTo>
                    <a:pt x="416" y="87"/>
                  </a:lnTo>
                  <a:lnTo>
                    <a:pt x="418" y="99"/>
                  </a:lnTo>
                  <a:lnTo>
                    <a:pt x="415" y="107"/>
                  </a:lnTo>
                  <a:lnTo>
                    <a:pt x="416" y="116"/>
                  </a:lnTo>
                  <a:lnTo>
                    <a:pt x="428" y="117"/>
                  </a:lnTo>
                  <a:lnTo>
                    <a:pt x="430" y="127"/>
                  </a:lnTo>
                  <a:lnTo>
                    <a:pt x="425" y="133"/>
                  </a:lnTo>
                  <a:lnTo>
                    <a:pt x="428" y="144"/>
                  </a:lnTo>
                  <a:lnTo>
                    <a:pt x="433" y="151"/>
                  </a:lnTo>
                  <a:lnTo>
                    <a:pt x="435" y="165"/>
                  </a:lnTo>
                  <a:lnTo>
                    <a:pt x="433" y="173"/>
                  </a:lnTo>
                  <a:lnTo>
                    <a:pt x="435" y="179"/>
                  </a:lnTo>
                  <a:lnTo>
                    <a:pt x="435" y="194"/>
                  </a:lnTo>
                  <a:lnTo>
                    <a:pt x="433" y="200"/>
                  </a:lnTo>
                  <a:lnTo>
                    <a:pt x="436" y="212"/>
                  </a:lnTo>
                  <a:lnTo>
                    <a:pt x="446" y="216"/>
                  </a:lnTo>
                  <a:lnTo>
                    <a:pt x="453" y="231"/>
                  </a:lnTo>
                  <a:lnTo>
                    <a:pt x="458" y="235"/>
                  </a:lnTo>
                  <a:lnTo>
                    <a:pt x="458" y="245"/>
                  </a:lnTo>
                  <a:lnTo>
                    <a:pt x="458" y="245"/>
                  </a:lnTo>
                  <a:lnTo>
                    <a:pt x="452" y="249"/>
                  </a:lnTo>
                  <a:lnTo>
                    <a:pt x="444" y="248"/>
                  </a:lnTo>
                  <a:lnTo>
                    <a:pt x="438" y="241"/>
                  </a:lnTo>
                  <a:lnTo>
                    <a:pt x="427" y="249"/>
                  </a:lnTo>
                  <a:lnTo>
                    <a:pt x="419" y="245"/>
                  </a:lnTo>
                  <a:lnTo>
                    <a:pt x="416" y="251"/>
                  </a:lnTo>
                  <a:lnTo>
                    <a:pt x="409" y="249"/>
                  </a:lnTo>
                  <a:lnTo>
                    <a:pt x="405" y="241"/>
                  </a:lnTo>
                  <a:lnTo>
                    <a:pt x="398" y="250"/>
                  </a:lnTo>
                  <a:lnTo>
                    <a:pt x="392" y="240"/>
                  </a:lnTo>
                  <a:lnTo>
                    <a:pt x="387" y="244"/>
                  </a:lnTo>
                  <a:lnTo>
                    <a:pt x="386" y="252"/>
                  </a:lnTo>
                  <a:lnTo>
                    <a:pt x="383" y="258"/>
                  </a:lnTo>
                  <a:lnTo>
                    <a:pt x="376" y="260"/>
                  </a:lnTo>
                  <a:lnTo>
                    <a:pt x="372" y="256"/>
                  </a:lnTo>
                  <a:lnTo>
                    <a:pt x="366" y="254"/>
                  </a:lnTo>
                  <a:lnTo>
                    <a:pt x="372" y="263"/>
                  </a:lnTo>
                  <a:lnTo>
                    <a:pt x="378" y="268"/>
                  </a:lnTo>
                  <a:lnTo>
                    <a:pt x="370" y="274"/>
                  </a:lnTo>
                  <a:lnTo>
                    <a:pt x="363" y="273"/>
                  </a:lnTo>
                  <a:lnTo>
                    <a:pt x="355" y="277"/>
                  </a:lnTo>
                  <a:lnTo>
                    <a:pt x="364" y="280"/>
                  </a:lnTo>
                  <a:lnTo>
                    <a:pt x="364" y="285"/>
                  </a:lnTo>
                  <a:lnTo>
                    <a:pt x="360" y="286"/>
                  </a:lnTo>
                  <a:lnTo>
                    <a:pt x="358" y="284"/>
                  </a:lnTo>
                  <a:lnTo>
                    <a:pt x="353" y="280"/>
                  </a:lnTo>
                  <a:lnTo>
                    <a:pt x="349" y="284"/>
                  </a:lnTo>
                  <a:lnTo>
                    <a:pt x="354" y="290"/>
                  </a:lnTo>
                  <a:lnTo>
                    <a:pt x="359" y="290"/>
                  </a:lnTo>
                  <a:lnTo>
                    <a:pt x="364" y="295"/>
                  </a:lnTo>
                  <a:lnTo>
                    <a:pt x="361" y="300"/>
                  </a:lnTo>
                  <a:lnTo>
                    <a:pt x="355" y="314"/>
                  </a:lnTo>
                  <a:lnTo>
                    <a:pt x="358" y="320"/>
                  </a:lnTo>
                  <a:lnTo>
                    <a:pt x="346" y="322"/>
                  </a:lnTo>
                  <a:lnTo>
                    <a:pt x="355" y="329"/>
                  </a:lnTo>
                  <a:lnTo>
                    <a:pt x="363" y="330"/>
                  </a:lnTo>
                  <a:lnTo>
                    <a:pt x="365" y="335"/>
                  </a:lnTo>
                  <a:lnTo>
                    <a:pt x="360" y="337"/>
                  </a:lnTo>
                  <a:lnTo>
                    <a:pt x="365" y="343"/>
                  </a:lnTo>
                  <a:lnTo>
                    <a:pt x="371" y="343"/>
                  </a:lnTo>
                  <a:lnTo>
                    <a:pt x="363" y="354"/>
                  </a:lnTo>
                  <a:lnTo>
                    <a:pt x="357" y="354"/>
                  </a:lnTo>
                  <a:lnTo>
                    <a:pt x="351" y="361"/>
                  </a:lnTo>
                  <a:lnTo>
                    <a:pt x="352" y="374"/>
                  </a:lnTo>
                  <a:lnTo>
                    <a:pt x="342" y="389"/>
                  </a:lnTo>
                  <a:lnTo>
                    <a:pt x="336" y="388"/>
                  </a:lnTo>
                  <a:lnTo>
                    <a:pt x="328" y="396"/>
                  </a:lnTo>
                  <a:lnTo>
                    <a:pt x="323" y="390"/>
                  </a:lnTo>
                  <a:lnTo>
                    <a:pt x="320" y="397"/>
                  </a:lnTo>
                  <a:lnTo>
                    <a:pt x="324" y="406"/>
                  </a:lnTo>
                  <a:lnTo>
                    <a:pt x="313" y="411"/>
                  </a:lnTo>
                  <a:lnTo>
                    <a:pt x="308" y="419"/>
                  </a:lnTo>
                  <a:lnTo>
                    <a:pt x="303" y="419"/>
                  </a:lnTo>
                  <a:lnTo>
                    <a:pt x="302" y="413"/>
                  </a:lnTo>
                  <a:lnTo>
                    <a:pt x="295" y="413"/>
                  </a:lnTo>
                  <a:lnTo>
                    <a:pt x="291" y="422"/>
                  </a:lnTo>
                  <a:lnTo>
                    <a:pt x="291" y="431"/>
                  </a:lnTo>
                  <a:lnTo>
                    <a:pt x="285" y="436"/>
                  </a:lnTo>
                  <a:lnTo>
                    <a:pt x="280" y="431"/>
                  </a:lnTo>
                  <a:lnTo>
                    <a:pt x="277" y="431"/>
                  </a:lnTo>
                  <a:lnTo>
                    <a:pt x="274" y="440"/>
                  </a:lnTo>
                  <a:lnTo>
                    <a:pt x="271" y="441"/>
                  </a:lnTo>
                  <a:lnTo>
                    <a:pt x="267" y="436"/>
                  </a:lnTo>
                  <a:lnTo>
                    <a:pt x="260" y="442"/>
                  </a:lnTo>
                  <a:lnTo>
                    <a:pt x="257" y="449"/>
                  </a:lnTo>
                  <a:lnTo>
                    <a:pt x="264" y="451"/>
                  </a:lnTo>
                  <a:lnTo>
                    <a:pt x="264" y="454"/>
                  </a:lnTo>
                  <a:lnTo>
                    <a:pt x="250" y="465"/>
                  </a:lnTo>
                  <a:lnTo>
                    <a:pt x="243" y="463"/>
                  </a:lnTo>
                  <a:lnTo>
                    <a:pt x="241" y="468"/>
                  </a:lnTo>
                  <a:lnTo>
                    <a:pt x="244" y="475"/>
                  </a:lnTo>
                  <a:lnTo>
                    <a:pt x="237" y="484"/>
                  </a:lnTo>
                  <a:lnTo>
                    <a:pt x="224" y="487"/>
                  </a:lnTo>
                  <a:lnTo>
                    <a:pt x="216" y="484"/>
                  </a:lnTo>
                  <a:lnTo>
                    <a:pt x="226" y="497"/>
                  </a:lnTo>
                  <a:lnTo>
                    <a:pt x="227" y="506"/>
                  </a:lnTo>
                  <a:lnTo>
                    <a:pt x="225" y="510"/>
                  </a:lnTo>
                  <a:lnTo>
                    <a:pt x="227" y="520"/>
                  </a:lnTo>
                  <a:lnTo>
                    <a:pt x="225" y="532"/>
                  </a:lnTo>
                  <a:lnTo>
                    <a:pt x="231" y="538"/>
                  </a:lnTo>
                  <a:lnTo>
                    <a:pt x="231" y="546"/>
                  </a:lnTo>
                  <a:lnTo>
                    <a:pt x="225" y="541"/>
                  </a:lnTo>
                  <a:lnTo>
                    <a:pt x="222" y="544"/>
                  </a:lnTo>
                  <a:lnTo>
                    <a:pt x="225" y="556"/>
                  </a:lnTo>
                  <a:lnTo>
                    <a:pt x="219" y="564"/>
                  </a:lnTo>
                  <a:lnTo>
                    <a:pt x="225" y="567"/>
                  </a:lnTo>
                  <a:lnTo>
                    <a:pt x="225" y="571"/>
                  </a:lnTo>
                  <a:lnTo>
                    <a:pt x="221" y="574"/>
                  </a:lnTo>
                  <a:lnTo>
                    <a:pt x="226" y="582"/>
                  </a:lnTo>
                  <a:lnTo>
                    <a:pt x="220" y="590"/>
                  </a:lnTo>
                  <a:lnTo>
                    <a:pt x="225" y="594"/>
                  </a:lnTo>
                  <a:lnTo>
                    <a:pt x="230" y="602"/>
                  </a:lnTo>
                  <a:lnTo>
                    <a:pt x="236" y="603"/>
                  </a:lnTo>
                  <a:lnTo>
                    <a:pt x="236" y="610"/>
                  </a:lnTo>
                  <a:lnTo>
                    <a:pt x="241" y="608"/>
                  </a:lnTo>
                  <a:lnTo>
                    <a:pt x="245" y="615"/>
                  </a:lnTo>
                  <a:lnTo>
                    <a:pt x="253" y="607"/>
                  </a:lnTo>
                  <a:lnTo>
                    <a:pt x="259" y="611"/>
                  </a:lnTo>
                  <a:lnTo>
                    <a:pt x="261" y="619"/>
                  </a:lnTo>
                  <a:lnTo>
                    <a:pt x="278" y="630"/>
                  </a:lnTo>
                  <a:lnTo>
                    <a:pt x="276" y="634"/>
                  </a:lnTo>
                  <a:lnTo>
                    <a:pt x="289" y="642"/>
                  </a:lnTo>
                  <a:lnTo>
                    <a:pt x="289" y="648"/>
                  </a:lnTo>
                  <a:lnTo>
                    <a:pt x="297" y="656"/>
                  </a:lnTo>
                  <a:lnTo>
                    <a:pt x="293" y="668"/>
                  </a:lnTo>
                  <a:lnTo>
                    <a:pt x="280" y="680"/>
                  </a:lnTo>
                  <a:lnTo>
                    <a:pt x="277" y="689"/>
                  </a:lnTo>
                  <a:lnTo>
                    <a:pt x="265" y="691"/>
                  </a:lnTo>
                  <a:lnTo>
                    <a:pt x="257" y="688"/>
                  </a:lnTo>
                  <a:lnTo>
                    <a:pt x="259" y="681"/>
                  </a:lnTo>
                  <a:lnTo>
                    <a:pt x="248" y="679"/>
                  </a:lnTo>
                  <a:lnTo>
                    <a:pt x="243" y="674"/>
                  </a:lnTo>
                  <a:lnTo>
                    <a:pt x="243" y="679"/>
                  </a:lnTo>
                  <a:lnTo>
                    <a:pt x="237" y="680"/>
                  </a:lnTo>
                  <a:lnTo>
                    <a:pt x="233" y="677"/>
                  </a:lnTo>
                  <a:lnTo>
                    <a:pt x="226" y="674"/>
                  </a:lnTo>
                  <a:lnTo>
                    <a:pt x="222" y="680"/>
                  </a:lnTo>
                  <a:lnTo>
                    <a:pt x="215" y="681"/>
                  </a:lnTo>
                  <a:lnTo>
                    <a:pt x="212" y="678"/>
                  </a:lnTo>
                  <a:lnTo>
                    <a:pt x="206" y="686"/>
                  </a:lnTo>
                  <a:lnTo>
                    <a:pt x="197" y="683"/>
                  </a:lnTo>
                  <a:lnTo>
                    <a:pt x="191" y="685"/>
                  </a:lnTo>
                  <a:lnTo>
                    <a:pt x="191" y="689"/>
                  </a:lnTo>
                  <a:lnTo>
                    <a:pt x="206" y="690"/>
                  </a:lnTo>
                  <a:lnTo>
                    <a:pt x="209" y="692"/>
                  </a:lnTo>
                  <a:lnTo>
                    <a:pt x="209" y="688"/>
                  </a:lnTo>
                  <a:lnTo>
                    <a:pt x="221" y="688"/>
                  </a:lnTo>
                  <a:lnTo>
                    <a:pt x="227" y="691"/>
                  </a:lnTo>
                  <a:lnTo>
                    <a:pt x="237" y="692"/>
                  </a:lnTo>
                  <a:lnTo>
                    <a:pt x="243" y="700"/>
                  </a:lnTo>
                  <a:lnTo>
                    <a:pt x="250" y="696"/>
                  </a:lnTo>
                  <a:lnTo>
                    <a:pt x="255" y="698"/>
                  </a:lnTo>
                  <a:lnTo>
                    <a:pt x="264" y="694"/>
                  </a:lnTo>
                  <a:lnTo>
                    <a:pt x="274" y="697"/>
                  </a:lnTo>
                  <a:lnTo>
                    <a:pt x="279" y="701"/>
                  </a:lnTo>
                  <a:lnTo>
                    <a:pt x="280" y="709"/>
                  </a:lnTo>
                  <a:lnTo>
                    <a:pt x="274" y="714"/>
                  </a:lnTo>
                  <a:lnTo>
                    <a:pt x="268" y="714"/>
                  </a:lnTo>
                  <a:lnTo>
                    <a:pt x="260" y="725"/>
                  </a:lnTo>
                  <a:lnTo>
                    <a:pt x="255" y="725"/>
                  </a:lnTo>
                  <a:lnTo>
                    <a:pt x="257" y="717"/>
                  </a:lnTo>
                  <a:lnTo>
                    <a:pt x="254" y="713"/>
                  </a:lnTo>
                  <a:lnTo>
                    <a:pt x="250" y="718"/>
                  </a:lnTo>
                  <a:lnTo>
                    <a:pt x="251" y="723"/>
                  </a:lnTo>
                  <a:lnTo>
                    <a:pt x="245" y="724"/>
                  </a:lnTo>
                  <a:lnTo>
                    <a:pt x="239" y="730"/>
                  </a:lnTo>
                  <a:lnTo>
                    <a:pt x="238" y="738"/>
                  </a:lnTo>
                  <a:lnTo>
                    <a:pt x="231" y="733"/>
                  </a:lnTo>
                  <a:lnTo>
                    <a:pt x="231" y="738"/>
                  </a:lnTo>
                  <a:lnTo>
                    <a:pt x="226" y="743"/>
                  </a:lnTo>
                  <a:lnTo>
                    <a:pt x="224" y="741"/>
                  </a:lnTo>
                  <a:lnTo>
                    <a:pt x="219" y="741"/>
                  </a:lnTo>
                  <a:lnTo>
                    <a:pt x="214" y="747"/>
                  </a:lnTo>
                  <a:lnTo>
                    <a:pt x="221" y="748"/>
                  </a:lnTo>
                  <a:lnTo>
                    <a:pt x="231" y="756"/>
                  </a:lnTo>
                  <a:lnTo>
                    <a:pt x="214" y="756"/>
                  </a:lnTo>
                  <a:lnTo>
                    <a:pt x="227" y="761"/>
                  </a:lnTo>
                  <a:lnTo>
                    <a:pt x="228" y="766"/>
                  </a:lnTo>
                  <a:lnTo>
                    <a:pt x="224" y="776"/>
                  </a:lnTo>
                  <a:lnTo>
                    <a:pt x="233" y="783"/>
                  </a:lnTo>
                  <a:lnTo>
                    <a:pt x="222" y="785"/>
                  </a:lnTo>
                  <a:lnTo>
                    <a:pt x="212" y="782"/>
                  </a:lnTo>
                  <a:lnTo>
                    <a:pt x="218" y="790"/>
                  </a:lnTo>
                  <a:lnTo>
                    <a:pt x="213" y="798"/>
                  </a:lnTo>
                  <a:lnTo>
                    <a:pt x="224" y="802"/>
                  </a:lnTo>
                  <a:lnTo>
                    <a:pt x="215" y="810"/>
                  </a:lnTo>
                  <a:lnTo>
                    <a:pt x="222" y="818"/>
                  </a:lnTo>
                  <a:lnTo>
                    <a:pt x="215" y="825"/>
                  </a:lnTo>
                  <a:lnTo>
                    <a:pt x="214" y="834"/>
                  </a:lnTo>
                  <a:lnTo>
                    <a:pt x="221" y="841"/>
                  </a:lnTo>
                  <a:lnTo>
                    <a:pt x="218" y="847"/>
                  </a:lnTo>
                  <a:lnTo>
                    <a:pt x="216" y="868"/>
                  </a:lnTo>
                  <a:lnTo>
                    <a:pt x="209" y="875"/>
                  </a:lnTo>
                  <a:lnTo>
                    <a:pt x="206" y="891"/>
                  </a:lnTo>
                  <a:lnTo>
                    <a:pt x="196" y="901"/>
                  </a:lnTo>
                  <a:lnTo>
                    <a:pt x="191" y="897"/>
                  </a:lnTo>
                  <a:lnTo>
                    <a:pt x="183" y="893"/>
                  </a:lnTo>
                  <a:lnTo>
                    <a:pt x="172" y="898"/>
                  </a:lnTo>
                  <a:lnTo>
                    <a:pt x="156" y="895"/>
                  </a:lnTo>
                  <a:lnTo>
                    <a:pt x="152" y="889"/>
                  </a:lnTo>
                  <a:lnTo>
                    <a:pt x="150" y="903"/>
                  </a:lnTo>
                  <a:lnTo>
                    <a:pt x="135" y="904"/>
                  </a:lnTo>
                  <a:lnTo>
                    <a:pt x="129" y="917"/>
                  </a:lnTo>
                  <a:lnTo>
                    <a:pt x="134" y="922"/>
                  </a:lnTo>
                  <a:lnTo>
                    <a:pt x="135" y="928"/>
                  </a:lnTo>
                  <a:lnTo>
                    <a:pt x="126" y="935"/>
                  </a:lnTo>
                  <a:lnTo>
                    <a:pt x="115" y="932"/>
                  </a:lnTo>
                  <a:lnTo>
                    <a:pt x="92" y="938"/>
                  </a:lnTo>
                  <a:lnTo>
                    <a:pt x="82" y="938"/>
                  </a:lnTo>
                  <a:lnTo>
                    <a:pt x="77" y="933"/>
                  </a:lnTo>
                  <a:lnTo>
                    <a:pt x="82" y="926"/>
                  </a:lnTo>
                  <a:lnTo>
                    <a:pt x="79" y="906"/>
                  </a:lnTo>
                  <a:lnTo>
                    <a:pt x="69" y="904"/>
                  </a:lnTo>
                  <a:lnTo>
                    <a:pt x="68" y="897"/>
                  </a:lnTo>
                  <a:lnTo>
                    <a:pt x="62" y="893"/>
                  </a:lnTo>
                  <a:lnTo>
                    <a:pt x="63" y="888"/>
                  </a:lnTo>
                  <a:lnTo>
                    <a:pt x="75" y="887"/>
                  </a:lnTo>
                  <a:lnTo>
                    <a:pt x="81" y="876"/>
                  </a:lnTo>
                  <a:lnTo>
                    <a:pt x="79" y="866"/>
                  </a:lnTo>
                  <a:lnTo>
                    <a:pt x="69" y="871"/>
                  </a:lnTo>
                  <a:lnTo>
                    <a:pt x="60" y="863"/>
                  </a:lnTo>
                  <a:lnTo>
                    <a:pt x="58" y="856"/>
                  </a:lnTo>
                  <a:lnTo>
                    <a:pt x="48" y="852"/>
                  </a:lnTo>
                  <a:lnTo>
                    <a:pt x="47" y="840"/>
                  </a:lnTo>
                  <a:lnTo>
                    <a:pt x="39" y="825"/>
                  </a:lnTo>
                  <a:lnTo>
                    <a:pt x="35" y="822"/>
                  </a:lnTo>
                  <a:lnTo>
                    <a:pt x="30" y="811"/>
                  </a:lnTo>
                  <a:lnTo>
                    <a:pt x="23" y="810"/>
                  </a:lnTo>
                  <a:lnTo>
                    <a:pt x="17" y="802"/>
                  </a:lnTo>
                  <a:lnTo>
                    <a:pt x="22" y="799"/>
                  </a:lnTo>
                  <a:lnTo>
                    <a:pt x="23" y="789"/>
                  </a:lnTo>
                  <a:lnTo>
                    <a:pt x="21" y="783"/>
                  </a:lnTo>
                  <a:lnTo>
                    <a:pt x="22" y="777"/>
                  </a:lnTo>
                  <a:lnTo>
                    <a:pt x="30" y="770"/>
                  </a:lnTo>
                  <a:lnTo>
                    <a:pt x="28" y="765"/>
                  </a:lnTo>
                  <a:lnTo>
                    <a:pt x="21" y="761"/>
                  </a:lnTo>
                  <a:lnTo>
                    <a:pt x="23" y="756"/>
                  </a:lnTo>
                  <a:lnTo>
                    <a:pt x="18" y="756"/>
                  </a:lnTo>
                  <a:lnTo>
                    <a:pt x="17" y="764"/>
                  </a:lnTo>
                  <a:lnTo>
                    <a:pt x="23" y="770"/>
                  </a:lnTo>
                  <a:lnTo>
                    <a:pt x="13" y="773"/>
                  </a:lnTo>
                  <a:lnTo>
                    <a:pt x="15" y="765"/>
                  </a:lnTo>
                  <a:lnTo>
                    <a:pt x="12" y="761"/>
                  </a:lnTo>
                  <a:lnTo>
                    <a:pt x="6" y="758"/>
                  </a:lnTo>
                  <a:lnTo>
                    <a:pt x="5" y="744"/>
                  </a:lnTo>
                  <a:lnTo>
                    <a:pt x="1" y="739"/>
                  </a:lnTo>
                  <a:lnTo>
                    <a:pt x="0" y="721"/>
                  </a:lnTo>
                  <a:lnTo>
                    <a:pt x="7" y="718"/>
                  </a:lnTo>
                  <a:lnTo>
                    <a:pt x="7" y="718"/>
                  </a:lnTo>
                  <a:lnTo>
                    <a:pt x="7" y="718"/>
                  </a:lnTo>
                  <a:close/>
                  <a:moveTo>
                    <a:pt x="277" y="692"/>
                  </a:moveTo>
                  <a:lnTo>
                    <a:pt x="284" y="702"/>
                  </a:lnTo>
                  <a:lnTo>
                    <a:pt x="288" y="706"/>
                  </a:lnTo>
                  <a:lnTo>
                    <a:pt x="288" y="695"/>
                  </a:lnTo>
                  <a:lnTo>
                    <a:pt x="296" y="688"/>
                  </a:lnTo>
                  <a:lnTo>
                    <a:pt x="296" y="681"/>
                  </a:lnTo>
                  <a:lnTo>
                    <a:pt x="285" y="681"/>
                  </a:lnTo>
                  <a:lnTo>
                    <a:pt x="277" y="692"/>
                  </a:lnTo>
                  <a:lnTo>
                    <a:pt x="277" y="692"/>
                  </a:lnTo>
                  <a:close/>
                  <a:moveTo>
                    <a:pt x="12" y="776"/>
                  </a:moveTo>
                  <a:lnTo>
                    <a:pt x="12" y="782"/>
                  </a:lnTo>
                  <a:lnTo>
                    <a:pt x="16" y="782"/>
                  </a:lnTo>
                  <a:lnTo>
                    <a:pt x="18" y="775"/>
                  </a:lnTo>
                  <a:lnTo>
                    <a:pt x="12" y="776"/>
                  </a:lnTo>
                  <a:lnTo>
                    <a:pt x="12" y="776"/>
                  </a:lnTo>
                  <a:close/>
                  <a:moveTo>
                    <a:pt x="317" y="750"/>
                  </a:moveTo>
                  <a:lnTo>
                    <a:pt x="322" y="756"/>
                  </a:lnTo>
                  <a:lnTo>
                    <a:pt x="326" y="752"/>
                  </a:lnTo>
                  <a:lnTo>
                    <a:pt x="322" y="748"/>
                  </a:lnTo>
                  <a:lnTo>
                    <a:pt x="317" y="750"/>
                  </a:lnTo>
                  <a:lnTo>
                    <a:pt x="317" y="750"/>
                  </a:lnTo>
                  <a:close/>
                  <a:moveTo>
                    <a:pt x="320" y="789"/>
                  </a:moveTo>
                  <a:lnTo>
                    <a:pt x="324" y="793"/>
                  </a:lnTo>
                  <a:lnTo>
                    <a:pt x="329" y="788"/>
                  </a:lnTo>
                  <a:lnTo>
                    <a:pt x="337" y="785"/>
                  </a:lnTo>
                  <a:lnTo>
                    <a:pt x="335" y="783"/>
                  </a:lnTo>
                  <a:lnTo>
                    <a:pt x="325" y="783"/>
                  </a:lnTo>
                  <a:lnTo>
                    <a:pt x="320" y="789"/>
                  </a:lnTo>
                  <a:lnTo>
                    <a:pt x="320" y="789"/>
                  </a:lnTo>
                  <a:close/>
                  <a:moveTo>
                    <a:pt x="289" y="853"/>
                  </a:moveTo>
                  <a:lnTo>
                    <a:pt x="300" y="849"/>
                  </a:lnTo>
                  <a:lnTo>
                    <a:pt x="302" y="845"/>
                  </a:lnTo>
                  <a:lnTo>
                    <a:pt x="299" y="843"/>
                  </a:lnTo>
                  <a:lnTo>
                    <a:pt x="300" y="837"/>
                  </a:lnTo>
                  <a:lnTo>
                    <a:pt x="311" y="830"/>
                  </a:lnTo>
                  <a:lnTo>
                    <a:pt x="312" y="825"/>
                  </a:lnTo>
                  <a:lnTo>
                    <a:pt x="319" y="818"/>
                  </a:lnTo>
                  <a:lnTo>
                    <a:pt x="318" y="814"/>
                  </a:lnTo>
                  <a:lnTo>
                    <a:pt x="312" y="808"/>
                  </a:lnTo>
                  <a:lnTo>
                    <a:pt x="316" y="801"/>
                  </a:lnTo>
                  <a:lnTo>
                    <a:pt x="317" y="796"/>
                  </a:lnTo>
                  <a:lnTo>
                    <a:pt x="320" y="794"/>
                  </a:lnTo>
                  <a:lnTo>
                    <a:pt x="314" y="791"/>
                  </a:lnTo>
                  <a:lnTo>
                    <a:pt x="309" y="794"/>
                  </a:lnTo>
                  <a:lnTo>
                    <a:pt x="300" y="794"/>
                  </a:lnTo>
                  <a:lnTo>
                    <a:pt x="294" y="801"/>
                  </a:lnTo>
                  <a:lnTo>
                    <a:pt x="290" y="808"/>
                  </a:lnTo>
                  <a:lnTo>
                    <a:pt x="283" y="814"/>
                  </a:lnTo>
                  <a:lnTo>
                    <a:pt x="286" y="823"/>
                  </a:lnTo>
                  <a:lnTo>
                    <a:pt x="283" y="825"/>
                  </a:lnTo>
                  <a:lnTo>
                    <a:pt x="293" y="837"/>
                  </a:lnTo>
                  <a:lnTo>
                    <a:pt x="296" y="836"/>
                  </a:lnTo>
                  <a:lnTo>
                    <a:pt x="294" y="843"/>
                  </a:lnTo>
                  <a:lnTo>
                    <a:pt x="288" y="849"/>
                  </a:lnTo>
                  <a:lnTo>
                    <a:pt x="289" y="853"/>
                  </a:lnTo>
                  <a:lnTo>
                    <a:pt x="289" y="853"/>
                  </a:lnTo>
                  <a:close/>
                  <a:moveTo>
                    <a:pt x="220" y="877"/>
                  </a:moveTo>
                  <a:lnTo>
                    <a:pt x="222" y="886"/>
                  </a:lnTo>
                  <a:lnTo>
                    <a:pt x="222" y="891"/>
                  </a:lnTo>
                  <a:lnTo>
                    <a:pt x="225" y="894"/>
                  </a:lnTo>
                  <a:lnTo>
                    <a:pt x="228" y="887"/>
                  </a:lnTo>
                  <a:lnTo>
                    <a:pt x="233" y="874"/>
                  </a:lnTo>
                  <a:lnTo>
                    <a:pt x="235" y="859"/>
                  </a:lnTo>
                  <a:lnTo>
                    <a:pt x="239" y="846"/>
                  </a:lnTo>
                  <a:lnTo>
                    <a:pt x="241" y="833"/>
                  </a:lnTo>
                  <a:lnTo>
                    <a:pt x="236" y="829"/>
                  </a:lnTo>
                  <a:lnTo>
                    <a:pt x="231" y="836"/>
                  </a:lnTo>
                  <a:lnTo>
                    <a:pt x="232" y="840"/>
                  </a:lnTo>
                  <a:lnTo>
                    <a:pt x="228" y="852"/>
                  </a:lnTo>
                  <a:lnTo>
                    <a:pt x="224" y="856"/>
                  </a:lnTo>
                  <a:lnTo>
                    <a:pt x="220" y="877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88A49DF4-210B-AD4F-95DC-09A0266AC8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8313" y="719138"/>
              <a:ext cx="733425" cy="1185863"/>
            </a:xfrm>
            <a:custGeom>
              <a:avLst/>
              <a:gdLst/>
              <a:ahLst/>
              <a:cxnLst>
                <a:cxn ang="0">
                  <a:pos x="420" y="619"/>
                </a:cxn>
                <a:cxn ang="0">
                  <a:pos x="427" y="504"/>
                </a:cxn>
                <a:cxn ang="0">
                  <a:pos x="398" y="423"/>
                </a:cxn>
                <a:cxn ang="0">
                  <a:pos x="380" y="374"/>
                </a:cxn>
                <a:cxn ang="0">
                  <a:pos x="366" y="285"/>
                </a:cxn>
                <a:cxn ang="0">
                  <a:pos x="354" y="186"/>
                </a:cxn>
                <a:cxn ang="0">
                  <a:pos x="298" y="145"/>
                </a:cxn>
                <a:cxn ang="0">
                  <a:pos x="289" y="87"/>
                </a:cxn>
                <a:cxn ang="0">
                  <a:pos x="298" y="29"/>
                </a:cxn>
                <a:cxn ang="0">
                  <a:pos x="226" y="1"/>
                </a:cxn>
                <a:cxn ang="0">
                  <a:pos x="191" y="21"/>
                </a:cxn>
                <a:cxn ang="0">
                  <a:pos x="183" y="79"/>
                </a:cxn>
                <a:cxn ang="0">
                  <a:pos x="154" y="105"/>
                </a:cxn>
                <a:cxn ang="0">
                  <a:pos x="96" y="119"/>
                </a:cxn>
                <a:cxn ang="0">
                  <a:pos x="23" y="71"/>
                </a:cxn>
                <a:cxn ang="0">
                  <a:pos x="3" y="88"/>
                </a:cxn>
                <a:cxn ang="0">
                  <a:pos x="65" y="131"/>
                </a:cxn>
                <a:cxn ang="0">
                  <a:pos x="99" y="154"/>
                </a:cxn>
                <a:cxn ang="0">
                  <a:pos x="113" y="198"/>
                </a:cxn>
                <a:cxn ang="0">
                  <a:pos x="131" y="242"/>
                </a:cxn>
                <a:cxn ang="0">
                  <a:pos x="134" y="303"/>
                </a:cxn>
                <a:cxn ang="0">
                  <a:pos x="168" y="340"/>
                </a:cxn>
                <a:cxn ang="0">
                  <a:pos x="204" y="378"/>
                </a:cxn>
                <a:cxn ang="0">
                  <a:pos x="213" y="406"/>
                </a:cxn>
                <a:cxn ang="0">
                  <a:pos x="168" y="427"/>
                </a:cxn>
                <a:cxn ang="0">
                  <a:pos x="137" y="453"/>
                </a:cxn>
                <a:cxn ang="0">
                  <a:pos x="132" y="491"/>
                </a:cxn>
                <a:cxn ang="0">
                  <a:pos x="103" y="497"/>
                </a:cxn>
                <a:cxn ang="0">
                  <a:pos x="91" y="523"/>
                </a:cxn>
                <a:cxn ang="0">
                  <a:pos x="70" y="530"/>
                </a:cxn>
                <a:cxn ang="0">
                  <a:pos x="68" y="563"/>
                </a:cxn>
                <a:cxn ang="0">
                  <a:pos x="73" y="592"/>
                </a:cxn>
                <a:cxn ang="0">
                  <a:pos x="92" y="636"/>
                </a:cxn>
                <a:cxn ang="0">
                  <a:pos x="84" y="688"/>
                </a:cxn>
                <a:cxn ang="0">
                  <a:pos x="116" y="701"/>
                </a:cxn>
                <a:cxn ang="0">
                  <a:pos x="148" y="712"/>
                </a:cxn>
                <a:cxn ang="0">
                  <a:pos x="163" y="746"/>
                </a:cxn>
                <a:cxn ang="0">
                  <a:pos x="192" y="735"/>
                </a:cxn>
                <a:cxn ang="0">
                  <a:pos x="255" y="712"/>
                </a:cxn>
                <a:cxn ang="0">
                  <a:pos x="273" y="705"/>
                </a:cxn>
                <a:cxn ang="0">
                  <a:pos x="290" y="705"/>
                </a:cxn>
                <a:cxn ang="0">
                  <a:pos x="322" y="696"/>
                </a:cxn>
                <a:cxn ang="0">
                  <a:pos x="351" y="691"/>
                </a:cxn>
                <a:cxn ang="0">
                  <a:pos x="192" y="389"/>
                </a:cxn>
                <a:cxn ang="0">
                  <a:pos x="197" y="384"/>
                </a:cxn>
                <a:cxn ang="0">
                  <a:pos x="70" y="507"/>
                </a:cxn>
                <a:cxn ang="0">
                  <a:pos x="70" y="514"/>
                </a:cxn>
                <a:cxn ang="0">
                  <a:pos x="155" y="730"/>
                </a:cxn>
                <a:cxn ang="0">
                  <a:pos x="155" y="730"/>
                </a:cxn>
                <a:cxn ang="0">
                  <a:pos x="143" y="722"/>
                </a:cxn>
                <a:cxn ang="0">
                  <a:pos x="123" y="713"/>
                </a:cxn>
                <a:cxn ang="0">
                  <a:pos x="105" y="700"/>
                </a:cxn>
                <a:cxn ang="0">
                  <a:pos x="84" y="704"/>
                </a:cxn>
                <a:cxn ang="0">
                  <a:pos x="29" y="705"/>
                </a:cxn>
                <a:cxn ang="0">
                  <a:pos x="45" y="728"/>
                </a:cxn>
                <a:cxn ang="0">
                  <a:pos x="26" y="723"/>
                </a:cxn>
              </a:cxnLst>
              <a:rect l="0" t="0" r="r" b="b"/>
              <a:pathLst>
                <a:path w="462" h="747">
                  <a:moveTo>
                    <a:pt x="364" y="691"/>
                  </a:moveTo>
                  <a:lnTo>
                    <a:pt x="363" y="679"/>
                  </a:lnTo>
                  <a:lnTo>
                    <a:pt x="383" y="661"/>
                  </a:lnTo>
                  <a:lnTo>
                    <a:pt x="394" y="656"/>
                  </a:lnTo>
                  <a:lnTo>
                    <a:pt x="408" y="637"/>
                  </a:lnTo>
                  <a:lnTo>
                    <a:pt x="420" y="619"/>
                  </a:lnTo>
                  <a:lnTo>
                    <a:pt x="429" y="598"/>
                  </a:lnTo>
                  <a:lnTo>
                    <a:pt x="449" y="571"/>
                  </a:lnTo>
                  <a:lnTo>
                    <a:pt x="462" y="540"/>
                  </a:lnTo>
                  <a:lnTo>
                    <a:pt x="458" y="528"/>
                  </a:lnTo>
                  <a:lnTo>
                    <a:pt x="439" y="508"/>
                  </a:lnTo>
                  <a:lnTo>
                    <a:pt x="427" y="504"/>
                  </a:lnTo>
                  <a:lnTo>
                    <a:pt x="405" y="478"/>
                  </a:lnTo>
                  <a:lnTo>
                    <a:pt x="409" y="464"/>
                  </a:lnTo>
                  <a:lnTo>
                    <a:pt x="417" y="453"/>
                  </a:lnTo>
                  <a:lnTo>
                    <a:pt x="417" y="441"/>
                  </a:lnTo>
                  <a:lnTo>
                    <a:pt x="403" y="433"/>
                  </a:lnTo>
                  <a:lnTo>
                    <a:pt x="398" y="423"/>
                  </a:lnTo>
                  <a:lnTo>
                    <a:pt x="397" y="409"/>
                  </a:lnTo>
                  <a:lnTo>
                    <a:pt x="400" y="404"/>
                  </a:lnTo>
                  <a:lnTo>
                    <a:pt x="397" y="397"/>
                  </a:lnTo>
                  <a:lnTo>
                    <a:pt x="386" y="394"/>
                  </a:lnTo>
                  <a:lnTo>
                    <a:pt x="380" y="388"/>
                  </a:lnTo>
                  <a:lnTo>
                    <a:pt x="380" y="374"/>
                  </a:lnTo>
                  <a:lnTo>
                    <a:pt x="386" y="366"/>
                  </a:lnTo>
                  <a:lnTo>
                    <a:pt x="377" y="364"/>
                  </a:lnTo>
                  <a:lnTo>
                    <a:pt x="376" y="357"/>
                  </a:lnTo>
                  <a:lnTo>
                    <a:pt x="379" y="330"/>
                  </a:lnTo>
                  <a:lnTo>
                    <a:pt x="387" y="329"/>
                  </a:lnTo>
                  <a:lnTo>
                    <a:pt x="366" y="285"/>
                  </a:lnTo>
                  <a:lnTo>
                    <a:pt x="347" y="254"/>
                  </a:lnTo>
                  <a:lnTo>
                    <a:pt x="343" y="242"/>
                  </a:lnTo>
                  <a:lnTo>
                    <a:pt x="333" y="231"/>
                  </a:lnTo>
                  <a:lnTo>
                    <a:pt x="340" y="212"/>
                  </a:lnTo>
                  <a:lnTo>
                    <a:pt x="350" y="198"/>
                  </a:lnTo>
                  <a:lnTo>
                    <a:pt x="354" y="186"/>
                  </a:lnTo>
                  <a:lnTo>
                    <a:pt x="348" y="181"/>
                  </a:lnTo>
                  <a:lnTo>
                    <a:pt x="328" y="169"/>
                  </a:lnTo>
                  <a:lnTo>
                    <a:pt x="324" y="161"/>
                  </a:lnTo>
                  <a:lnTo>
                    <a:pt x="317" y="152"/>
                  </a:lnTo>
                  <a:lnTo>
                    <a:pt x="304" y="145"/>
                  </a:lnTo>
                  <a:lnTo>
                    <a:pt x="298" y="145"/>
                  </a:lnTo>
                  <a:lnTo>
                    <a:pt x="290" y="126"/>
                  </a:lnTo>
                  <a:lnTo>
                    <a:pt x="283" y="119"/>
                  </a:lnTo>
                  <a:lnTo>
                    <a:pt x="287" y="105"/>
                  </a:lnTo>
                  <a:lnTo>
                    <a:pt x="289" y="93"/>
                  </a:lnTo>
                  <a:lnTo>
                    <a:pt x="282" y="92"/>
                  </a:lnTo>
                  <a:lnTo>
                    <a:pt x="289" y="87"/>
                  </a:lnTo>
                  <a:lnTo>
                    <a:pt x="301" y="82"/>
                  </a:lnTo>
                  <a:lnTo>
                    <a:pt x="300" y="65"/>
                  </a:lnTo>
                  <a:lnTo>
                    <a:pt x="307" y="53"/>
                  </a:lnTo>
                  <a:lnTo>
                    <a:pt x="310" y="45"/>
                  </a:lnTo>
                  <a:lnTo>
                    <a:pt x="300" y="36"/>
                  </a:lnTo>
                  <a:lnTo>
                    <a:pt x="298" y="29"/>
                  </a:lnTo>
                  <a:lnTo>
                    <a:pt x="282" y="28"/>
                  </a:lnTo>
                  <a:lnTo>
                    <a:pt x="272" y="24"/>
                  </a:lnTo>
                  <a:lnTo>
                    <a:pt x="266" y="18"/>
                  </a:lnTo>
                  <a:lnTo>
                    <a:pt x="254" y="6"/>
                  </a:lnTo>
                  <a:lnTo>
                    <a:pt x="246" y="0"/>
                  </a:lnTo>
                  <a:lnTo>
                    <a:pt x="226" y="1"/>
                  </a:lnTo>
                  <a:lnTo>
                    <a:pt x="219" y="9"/>
                  </a:lnTo>
                  <a:lnTo>
                    <a:pt x="219" y="12"/>
                  </a:lnTo>
                  <a:lnTo>
                    <a:pt x="213" y="13"/>
                  </a:lnTo>
                  <a:lnTo>
                    <a:pt x="201" y="11"/>
                  </a:lnTo>
                  <a:lnTo>
                    <a:pt x="191" y="16"/>
                  </a:lnTo>
                  <a:lnTo>
                    <a:pt x="191" y="21"/>
                  </a:lnTo>
                  <a:lnTo>
                    <a:pt x="184" y="29"/>
                  </a:lnTo>
                  <a:lnTo>
                    <a:pt x="179" y="32"/>
                  </a:lnTo>
                  <a:lnTo>
                    <a:pt x="183" y="39"/>
                  </a:lnTo>
                  <a:lnTo>
                    <a:pt x="180" y="45"/>
                  </a:lnTo>
                  <a:lnTo>
                    <a:pt x="178" y="67"/>
                  </a:lnTo>
                  <a:lnTo>
                    <a:pt x="183" y="79"/>
                  </a:lnTo>
                  <a:lnTo>
                    <a:pt x="185" y="86"/>
                  </a:lnTo>
                  <a:lnTo>
                    <a:pt x="183" y="91"/>
                  </a:lnTo>
                  <a:lnTo>
                    <a:pt x="174" y="96"/>
                  </a:lnTo>
                  <a:lnTo>
                    <a:pt x="167" y="96"/>
                  </a:lnTo>
                  <a:lnTo>
                    <a:pt x="159" y="102"/>
                  </a:lnTo>
                  <a:lnTo>
                    <a:pt x="154" y="105"/>
                  </a:lnTo>
                  <a:lnTo>
                    <a:pt x="148" y="114"/>
                  </a:lnTo>
                  <a:lnTo>
                    <a:pt x="138" y="112"/>
                  </a:lnTo>
                  <a:lnTo>
                    <a:pt x="122" y="103"/>
                  </a:lnTo>
                  <a:lnTo>
                    <a:pt x="113" y="103"/>
                  </a:lnTo>
                  <a:lnTo>
                    <a:pt x="107" y="109"/>
                  </a:lnTo>
                  <a:lnTo>
                    <a:pt x="96" y="119"/>
                  </a:lnTo>
                  <a:lnTo>
                    <a:pt x="74" y="117"/>
                  </a:lnTo>
                  <a:lnTo>
                    <a:pt x="61" y="112"/>
                  </a:lnTo>
                  <a:lnTo>
                    <a:pt x="53" y="104"/>
                  </a:lnTo>
                  <a:lnTo>
                    <a:pt x="50" y="96"/>
                  </a:lnTo>
                  <a:lnTo>
                    <a:pt x="30" y="81"/>
                  </a:lnTo>
                  <a:lnTo>
                    <a:pt x="23" y="71"/>
                  </a:lnTo>
                  <a:lnTo>
                    <a:pt x="15" y="70"/>
                  </a:lnTo>
                  <a:lnTo>
                    <a:pt x="9" y="75"/>
                  </a:lnTo>
                  <a:lnTo>
                    <a:pt x="6" y="82"/>
                  </a:lnTo>
                  <a:lnTo>
                    <a:pt x="10" y="88"/>
                  </a:lnTo>
                  <a:lnTo>
                    <a:pt x="6" y="91"/>
                  </a:lnTo>
                  <a:lnTo>
                    <a:pt x="3" y="88"/>
                  </a:lnTo>
                  <a:lnTo>
                    <a:pt x="0" y="91"/>
                  </a:lnTo>
                  <a:lnTo>
                    <a:pt x="9" y="99"/>
                  </a:lnTo>
                  <a:lnTo>
                    <a:pt x="20" y="105"/>
                  </a:lnTo>
                  <a:lnTo>
                    <a:pt x="36" y="122"/>
                  </a:lnTo>
                  <a:lnTo>
                    <a:pt x="49" y="129"/>
                  </a:lnTo>
                  <a:lnTo>
                    <a:pt x="65" y="131"/>
                  </a:lnTo>
                  <a:lnTo>
                    <a:pt x="73" y="135"/>
                  </a:lnTo>
                  <a:lnTo>
                    <a:pt x="79" y="137"/>
                  </a:lnTo>
                  <a:lnTo>
                    <a:pt x="88" y="146"/>
                  </a:lnTo>
                  <a:lnTo>
                    <a:pt x="92" y="154"/>
                  </a:lnTo>
                  <a:lnTo>
                    <a:pt x="96" y="154"/>
                  </a:lnTo>
                  <a:lnTo>
                    <a:pt x="99" y="154"/>
                  </a:lnTo>
                  <a:lnTo>
                    <a:pt x="107" y="163"/>
                  </a:lnTo>
                  <a:lnTo>
                    <a:pt x="113" y="163"/>
                  </a:lnTo>
                  <a:lnTo>
                    <a:pt x="117" y="169"/>
                  </a:lnTo>
                  <a:lnTo>
                    <a:pt x="114" y="178"/>
                  </a:lnTo>
                  <a:lnTo>
                    <a:pt x="116" y="190"/>
                  </a:lnTo>
                  <a:lnTo>
                    <a:pt x="113" y="198"/>
                  </a:lnTo>
                  <a:lnTo>
                    <a:pt x="114" y="207"/>
                  </a:lnTo>
                  <a:lnTo>
                    <a:pt x="126" y="208"/>
                  </a:lnTo>
                  <a:lnTo>
                    <a:pt x="128" y="218"/>
                  </a:lnTo>
                  <a:lnTo>
                    <a:pt x="123" y="224"/>
                  </a:lnTo>
                  <a:lnTo>
                    <a:pt x="126" y="235"/>
                  </a:lnTo>
                  <a:lnTo>
                    <a:pt x="131" y="242"/>
                  </a:lnTo>
                  <a:lnTo>
                    <a:pt x="133" y="256"/>
                  </a:lnTo>
                  <a:lnTo>
                    <a:pt x="131" y="264"/>
                  </a:lnTo>
                  <a:lnTo>
                    <a:pt x="133" y="270"/>
                  </a:lnTo>
                  <a:lnTo>
                    <a:pt x="133" y="285"/>
                  </a:lnTo>
                  <a:lnTo>
                    <a:pt x="131" y="291"/>
                  </a:lnTo>
                  <a:lnTo>
                    <a:pt x="134" y="303"/>
                  </a:lnTo>
                  <a:lnTo>
                    <a:pt x="144" y="307"/>
                  </a:lnTo>
                  <a:lnTo>
                    <a:pt x="151" y="322"/>
                  </a:lnTo>
                  <a:lnTo>
                    <a:pt x="156" y="326"/>
                  </a:lnTo>
                  <a:lnTo>
                    <a:pt x="156" y="336"/>
                  </a:lnTo>
                  <a:lnTo>
                    <a:pt x="160" y="339"/>
                  </a:lnTo>
                  <a:lnTo>
                    <a:pt x="168" y="340"/>
                  </a:lnTo>
                  <a:lnTo>
                    <a:pt x="177" y="347"/>
                  </a:lnTo>
                  <a:lnTo>
                    <a:pt x="194" y="347"/>
                  </a:lnTo>
                  <a:lnTo>
                    <a:pt x="206" y="358"/>
                  </a:lnTo>
                  <a:lnTo>
                    <a:pt x="198" y="360"/>
                  </a:lnTo>
                  <a:lnTo>
                    <a:pt x="203" y="366"/>
                  </a:lnTo>
                  <a:lnTo>
                    <a:pt x="204" y="378"/>
                  </a:lnTo>
                  <a:lnTo>
                    <a:pt x="201" y="381"/>
                  </a:lnTo>
                  <a:lnTo>
                    <a:pt x="215" y="393"/>
                  </a:lnTo>
                  <a:lnTo>
                    <a:pt x="204" y="391"/>
                  </a:lnTo>
                  <a:lnTo>
                    <a:pt x="201" y="392"/>
                  </a:lnTo>
                  <a:lnTo>
                    <a:pt x="213" y="401"/>
                  </a:lnTo>
                  <a:lnTo>
                    <a:pt x="213" y="406"/>
                  </a:lnTo>
                  <a:lnTo>
                    <a:pt x="200" y="399"/>
                  </a:lnTo>
                  <a:lnTo>
                    <a:pt x="188" y="399"/>
                  </a:lnTo>
                  <a:lnTo>
                    <a:pt x="175" y="406"/>
                  </a:lnTo>
                  <a:lnTo>
                    <a:pt x="175" y="413"/>
                  </a:lnTo>
                  <a:lnTo>
                    <a:pt x="168" y="421"/>
                  </a:lnTo>
                  <a:lnTo>
                    <a:pt x="168" y="427"/>
                  </a:lnTo>
                  <a:lnTo>
                    <a:pt x="163" y="429"/>
                  </a:lnTo>
                  <a:lnTo>
                    <a:pt x="150" y="442"/>
                  </a:lnTo>
                  <a:lnTo>
                    <a:pt x="148" y="456"/>
                  </a:lnTo>
                  <a:lnTo>
                    <a:pt x="144" y="457"/>
                  </a:lnTo>
                  <a:lnTo>
                    <a:pt x="142" y="453"/>
                  </a:lnTo>
                  <a:lnTo>
                    <a:pt x="137" y="453"/>
                  </a:lnTo>
                  <a:lnTo>
                    <a:pt x="140" y="462"/>
                  </a:lnTo>
                  <a:lnTo>
                    <a:pt x="138" y="469"/>
                  </a:lnTo>
                  <a:lnTo>
                    <a:pt x="130" y="469"/>
                  </a:lnTo>
                  <a:lnTo>
                    <a:pt x="123" y="476"/>
                  </a:lnTo>
                  <a:lnTo>
                    <a:pt x="126" y="487"/>
                  </a:lnTo>
                  <a:lnTo>
                    <a:pt x="132" y="491"/>
                  </a:lnTo>
                  <a:lnTo>
                    <a:pt x="121" y="487"/>
                  </a:lnTo>
                  <a:lnTo>
                    <a:pt x="117" y="484"/>
                  </a:lnTo>
                  <a:lnTo>
                    <a:pt x="111" y="486"/>
                  </a:lnTo>
                  <a:lnTo>
                    <a:pt x="108" y="494"/>
                  </a:lnTo>
                  <a:lnTo>
                    <a:pt x="110" y="499"/>
                  </a:lnTo>
                  <a:lnTo>
                    <a:pt x="103" y="497"/>
                  </a:lnTo>
                  <a:lnTo>
                    <a:pt x="101" y="499"/>
                  </a:lnTo>
                  <a:lnTo>
                    <a:pt x="107" y="505"/>
                  </a:lnTo>
                  <a:lnTo>
                    <a:pt x="108" y="509"/>
                  </a:lnTo>
                  <a:lnTo>
                    <a:pt x="102" y="515"/>
                  </a:lnTo>
                  <a:lnTo>
                    <a:pt x="99" y="519"/>
                  </a:lnTo>
                  <a:lnTo>
                    <a:pt x="91" y="523"/>
                  </a:lnTo>
                  <a:lnTo>
                    <a:pt x="87" y="521"/>
                  </a:lnTo>
                  <a:lnTo>
                    <a:pt x="86" y="519"/>
                  </a:lnTo>
                  <a:lnTo>
                    <a:pt x="80" y="516"/>
                  </a:lnTo>
                  <a:lnTo>
                    <a:pt x="73" y="519"/>
                  </a:lnTo>
                  <a:lnTo>
                    <a:pt x="75" y="526"/>
                  </a:lnTo>
                  <a:lnTo>
                    <a:pt x="70" y="530"/>
                  </a:lnTo>
                  <a:lnTo>
                    <a:pt x="74" y="538"/>
                  </a:lnTo>
                  <a:lnTo>
                    <a:pt x="70" y="545"/>
                  </a:lnTo>
                  <a:lnTo>
                    <a:pt x="67" y="546"/>
                  </a:lnTo>
                  <a:lnTo>
                    <a:pt x="62" y="554"/>
                  </a:lnTo>
                  <a:lnTo>
                    <a:pt x="65" y="561"/>
                  </a:lnTo>
                  <a:lnTo>
                    <a:pt x="68" y="563"/>
                  </a:lnTo>
                  <a:lnTo>
                    <a:pt x="64" y="572"/>
                  </a:lnTo>
                  <a:lnTo>
                    <a:pt x="67" y="577"/>
                  </a:lnTo>
                  <a:lnTo>
                    <a:pt x="73" y="574"/>
                  </a:lnTo>
                  <a:lnTo>
                    <a:pt x="78" y="579"/>
                  </a:lnTo>
                  <a:lnTo>
                    <a:pt x="76" y="588"/>
                  </a:lnTo>
                  <a:lnTo>
                    <a:pt x="73" y="592"/>
                  </a:lnTo>
                  <a:lnTo>
                    <a:pt x="76" y="600"/>
                  </a:lnTo>
                  <a:lnTo>
                    <a:pt x="74" y="603"/>
                  </a:lnTo>
                  <a:lnTo>
                    <a:pt x="84" y="618"/>
                  </a:lnTo>
                  <a:lnTo>
                    <a:pt x="88" y="620"/>
                  </a:lnTo>
                  <a:lnTo>
                    <a:pt x="85" y="626"/>
                  </a:lnTo>
                  <a:lnTo>
                    <a:pt x="92" y="636"/>
                  </a:lnTo>
                  <a:lnTo>
                    <a:pt x="85" y="638"/>
                  </a:lnTo>
                  <a:lnTo>
                    <a:pt x="87" y="650"/>
                  </a:lnTo>
                  <a:lnTo>
                    <a:pt x="84" y="656"/>
                  </a:lnTo>
                  <a:lnTo>
                    <a:pt x="84" y="673"/>
                  </a:lnTo>
                  <a:lnTo>
                    <a:pt x="88" y="678"/>
                  </a:lnTo>
                  <a:lnTo>
                    <a:pt x="84" y="688"/>
                  </a:lnTo>
                  <a:lnTo>
                    <a:pt x="84" y="694"/>
                  </a:lnTo>
                  <a:lnTo>
                    <a:pt x="87" y="699"/>
                  </a:lnTo>
                  <a:lnTo>
                    <a:pt x="99" y="694"/>
                  </a:lnTo>
                  <a:lnTo>
                    <a:pt x="104" y="696"/>
                  </a:lnTo>
                  <a:lnTo>
                    <a:pt x="105" y="691"/>
                  </a:lnTo>
                  <a:lnTo>
                    <a:pt x="116" y="701"/>
                  </a:lnTo>
                  <a:lnTo>
                    <a:pt x="122" y="701"/>
                  </a:lnTo>
                  <a:lnTo>
                    <a:pt x="128" y="706"/>
                  </a:lnTo>
                  <a:lnTo>
                    <a:pt x="142" y="705"/>
                  </a:lnTo>
                  <a:lnTo>
                    <a:pt x="145" y="706"/>
                  </a:lnTo>
                  <a:lnTo>
                    <a:pt x="143" y="712"/>
                  </a:lnTo>
                  <a:lnTo>
                    <a:pt x="148" y="712"/>
                  </a:lnTo>
                  <a:lnTo>
                    <a:pt x="159" y="705"/>
                  </a:lnTo>
                  <a:lnTo>
                    <a:pt x="159" y="711"/>
                  </a:lnTo>
                  <a:lnTo>
                    <a:pt x="153" y="718"/>
                  </a:lnTo>
                  <a:lnTo>
                    <a:pt x="165" y="733"/>
                  </a:lnTo>
                  <a:lnTo>
                    <a:pt x="167" y="737"/>
                  </a:lnTo>
                  <a:lnTo>
                    <a:pt x="163" y="746"/>
                  </a:lnTo>
                  <a:lnTo>
                    <a:pt x="167" y="747"/>
                  </a:lnTo>
                  <a:lnTo>
                    <a:pt x="172" y="735"/>
                  </a:lnTo>
                  <a:lnTo>
                    <a:pt x="177" y="733"/>
                  </a:lnTo>
                  <a:lnTo>
                    <a:pt x="178" y="739"/>
                  </a:lnTo>
                  <a:lnTo>
                    <a:pt x="186" y="735"/>
                  </a:lnTo>
                  <a:lnTo>
                    <a:pt x="192" y="735"/>
                  </a:lnTo>
                  <a:lnTo>
                    <a:pt x="208" y="725"/>
                  </a:lnTo>
                  <a:lnTo>
                    <a:pt x="215" y="725"/>
                  </a:lnTo>
                  <a:lnTo>
                    <a:pt x="233" y="714"/>
                  </a:lnTo>
                  <a:lnTo>
                    <a:pt x="235" y="710"/>
                  </a:lnTo>
                  <a:lnTo>
                    <a:pt x="247" y="713"/>
                  </a:lnTo>
                  <a:lnTo>
                    <a:pt x="255" y="712"/>
                  </a:lnTo>
                  <a:lnTo>
                    <a:pt x="262" y="701"/>
                  </a:lnTo>
                  <a:lnTo>
                    <a:pt x="264" y="705"/>
                  </a:lnTo>
                  <a:lnTo>
                    <a:pt x="260" y="712"/>
                  </a:lnTo>
                  <a:lnTo>
                    <a:pt x="265" y="714"/>
                  </a:lnTo>
                  <a:lnTo>
                    <a:pt x="270" y="704"/>
                  </a:lnTo>
                  <a:lnTo>
                    <a:pt x="273" y="705"/>
                  </a:lnTo>
                  <a:lnTo>
                    <a:pt x="270" y="696"/>
                  </a:lnTo>
                  <a:lnTo>
                    <a:pt x="273" y="693"/>
                  </a:lnTo>
                  <a:lnTo>
                    <a:pt x="278" y="701"/>
                  </a:lnTo>
                  <a:lnTo>
                    <a:pt x="284" y="702"/>
                  </a:lnTo>
                  <a:lnTo>
                    <a:pt x="285" y="696"/>
                  </a:lnTo>
                  <a:lnTo>
                    <a:pt x="290" y="705"/>
                  </a:lnTo>
                  <a:lnTo>
                    <a:pt x="296" y="704"/>
                  </a:lnTo>
                  <a:lnTo>
                    <a:pt x="296" y="698"/>
                  </a:lnTo>
                  <a:lnTo>
                    <a:pt x="302" y="699"/>
                  </a:lnTo>
                  <a:lnTo>
                    <a:pt x="305" y="704"/>
                  </a:lnTo>
                  <a:lnTo>
                    <a:pt x="310" y="699"/>
                  </a:lnTo>
                  <a:lnTo>
                    <a:pt x="322" y="696"/>
                  </a:lnTo>
                  <a:lnTo>
                    <a:pt x="329" y="701"/>
                  </a:lnTo>
                  <a:lnTo>
                    <a:pt x="342" y="700"/>
                  </a:lnTo>
                  <a:lnTo>
                    <a:pt x="343" y="695"/>
                  </a:lnTo>
                  <a:lnTo>
                    <a:pt x="340" y="691"/>
                  </a:lnTo>
                  <a:lnTo>
                    <a:pt x="345" y="689"/>
                  </a:lnTo>
                  <a:lnTo>
                    <a:pt x="351" y="691"/>
                  </a:lnTo>
                  <a:lnTo>
                    <a:pt x="352" y="696"/>
                  </a:lnTo>
                  <a:lnTo>
                    <a:pt x="360" y="699"/>
                  </a:lnTo>
                  <a:lnTo>
                    <a:pt x="360" y="699"/>
                  </a:lnTo>
                  <a:lnTo>
                    <a:pt x="364" y="691"/>
                  </a:lnTo>
                  <a:lnTo>
                    <a:pt x="364" y="691"/>
                  </a:lnTo>
                  <a:close/>
                  <a:moveTo>
                    <a:pt x="192" y="389"/>
                  </a:moveTo>
                  <a:lnTo>
                    <a:pt x="189" y="393"/>
                  </a:lnTo>
                  <a:lnTo>
                    <a:pt x="182" y="393"/>
                  </a:lnTo>
                  <a:lnTo>
                    <a:pt x="175" y="384"/>
                  </a:lnTo>
                  <a:lnTo>
                    <a:pt x="184" y="378"/>
                  </a:lnTo>
                  <a:lnTo>
                    <a:pt x="197" y="381"/>
                  </a:lnTo>
                  <a:lnTo>
                    <a:pt x="197" y="384"/>
                  </a:lnTo>
                  <a:lnTo>
                    <a:pt x="189" y="384"/>
                  </a:lnTo>
                  <a:lnTo>
                    <a:pt x="192" y="389"/>
                  </a:lnTo>
                  <a:lnTo>
                    <a:pt x="192" y="389"/>
                  </a:lnTo>
                  <a:close/>
                  <a:moveTo>
                    <a:pt x="63" y="508"/>
                  </a:moveTo>
                  <a:lnTo>
                    <a:pt x="64" y="502"/>
                  </a:lnTo>
                  <a:lnTo>
                    <a:pt x="70" y="507"/>
                  </a:lnTo>
                  <a:lnTo>
                    <a:pt x="67" y="510"/>
                  </a:lnTo>
                  <a:lnTo>
                    <a:pt x="63" y="508"/>
                  </a:lnTo>
                  <a:lnTo>
                    <a:pt x="63" y="508"/>
                  </a:lnTo>
                  <a:close/>
                  <a:moveTo>
                    <a:pt x="59" y="513"/>
                  </a:moveTo>
                  <a:lnTo>
                    <a:pt x="65" y="516"/>
                  </a:lnTo>
                  <a:lnTo>
                    <a:pt x="70" y="514"/>
                  </a:lnTo>
                  <a:lnTo>
                    <a:pt x="70" y="521"/>
                  </a:lnTo>
                  <a:lnTo>
                    <a:pt x="62" y="525"/>
                  </a:lnTo>
                  <a:lnTo>
                    <a:pt x="57" y="519"/>
                  </a:lnTo>
                  <a:lnTo>
                    <a:pt x="59" y="513"/>
                  </a:lnTo>
                  <a:lnTo>
                    <a:pt x="59" y="513"/>
                  </a:lnTo>
                  <a:close/>
                  <a:moveTo>
                    <a:pt x="155" y="730"/>
                  </a:moveTo>
                  <a:lnTo>
                    <a:pt x="156" y="737"/>
                  </a:lnTo>
                  <a:lnTo>
                    <a:pt x="150" y="741"/>
                  </a:lnTo>
                  <a:lnTo>
                    <a:pt x="148" y="737"/>
                  </a:lnTo>
                  <a:lnTo>
                    <a:pt x="151" y="735"/>
                  </a:lnTo>
                  <a:lnTo>
                    <a:pt x="155" y="730"/>
                  </a:lnTo>
                  <a:lnTo>
                    <a:pt x="155" y="730"/>
                  </a:lnTo>
                  <a:close/>
                  <a:moveTo>
                    <a:pt x="143" y="722"/>
                  </a:moveTo>
                  <a:lnTo>
                    <a:pt x="143" y="722"/>
                  </a:lnTo>
                  <a:lnTo>
                    <a:pt x="145" y="728"/>
                  </a:lnTo>
                  <a:lnTo>
                    <a:pt x="142" y="728"/>
                  </a:lnTo>
                  <a:lnTo>
                    <a:pt x="143" y="722"/>
                  </a:lnTo>
                  <a:lnTo>
                    <a:pt x="143" y="722"/>
                  </a:lnTo>
                  <a:close/>
                  <a:moveTo>
                    <a:pt x="123" y="713"/>
                  </a:moveTo>
                  <a:lnTo>
                    <a:pt x="138" y="711"/>
                  </a:lnTo>
                  <a:lnTo>
                    <a:pt x="137" y="716"/>
                  </a:lnTo>
                  <a:lnTo>
                    <a:pt x="128" y="722"/>
                  </a:lnTo>
                  <a:lnTo>
                    <a:pt x="122" y="718"/>
                  </a:lnTo>
                  <a:lnTo>
                    <a:pt x="123" y="713"/>
                  </a:lnTo>
                  <a:lnTo>
                    <a:pt x="123" y="713"/>
                  </a:lnTo>
                  <a:close/>
                  <a:moveTo>
                    <a:pt x="105" y="700"/>
                  </a:moveTo>
                  <a:lnTo>
                    <a:pt x="114" y="707"/>
                  </a:lnTo>
                  <a:lnTo>
                    <a:pt x="109" y="710"/>
                  </a:lnTo>
                  <a:lnTo>
                    <a:pt x="105" y="706"/>
                  </a:lnTo>
                  <a:lnTo>
                    <a:pt x="105" y="700"/>
                  </a:lnTo>
                  <a:lnTo>
                    <a:pt x="105" y="700"/>
                  </a:lnTo>
                  <a:close/>
                  <a:moveTo>
                    <a:pt x="84" y="704"/>
                  </a:moveTo>
                  <a:lnTo>
                    <a:pt x="93" y="704"/>
                  </a:lnTo>
                  <a:lnTo>
                    <a:pt x="87" y="706"/>
                  </a:lnTo>
                  <a:lnTo>
                    <a:pt x="87" y="706"/>
                  </a:lnTo>
                  <a:lnTo>
                    <a:pt x="84" y="704"/>
                  </a:lnTo>
                  <a:lnTo>
                    <a:pt x="84" y="704"/>
                  </a:lnTo>
                  <a:close/>
                  <a:moveTo>
                    <a:pt x="23" y="714"/>
                  </a:moveTo>
                  <a:lnTo>
                    <a:pt x="34" y="718"/>
                  </a:lnTo>
                  <a:lnTo>
                    <a:pt x="36" y="714"/>
                  </a:lnTo>
                  <a:lnTo>
                    <a:pt x="29" y="711"/>
                  </a:lnTo>
                  <a:lnTo>
                    <a:pt x="29" y="705"/>
                  </a:lnTo>
                  <a:lnTo>
                    <a:pt x="34" y="704"/>
                  </a:lnTo>
                  <a:lnTo>
                    <a:pt x="47" y="712"/>
                  </a:lnTo>
                  <a:lnTo>
                    <a:pt x="50" y="718"/>
                  </a:lnTo>
                  <a:lnTo>
                    <a:pt x="43" y="718"/>
                  </a:lnTo>
                  <a:lnTo>
                    <a:pt x="40" y="721"/>
                  </a:lnTo>
                  <a:lnTo>
                    <a:pt x="45" y="728"/>
                  </a:lnTo>
                  <a:lnTo>
                    <a:pt x="51" y="728"/>
                  </a:lnTo>
                  <a:lnTo>
                    <a:pt x="53" y="734"/>
                  </a:lnTo>
                  <a:lnTo>
                    <a:pt x="47" y="737"/>
                  </a:lnTo>
                  <a:lnTo>
                    <a:pt x="40" y="731"/>
                  </a:lnTo>
                  <a:lnTo>
                    <a:pt x="30" y="729"/>
                  </a:lnTo>
                  <a:lnTo>
                    <a:pt x="26" y="723"/>
                  </a:lnTo>
                  <a:lnTo>
                    <a:pt x="20" y="719"/>
                  </a:lnTo>
                  <a:lnTo>
                    <a:pt x="23" y="714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33AD89AD-D30E-004F-B426-5EB8B3DCB4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338" y="1912938"/>
              <a:ext cx="388938" cy="239713"/>
            </a:xfrm>
            <a:custGeom>
              <a:avLst/>
              <a:gdLst/>
              <a:ahLst/>
              <a:cxnLst>
                <a:cxn ang="0">
                  <a:pos x="239" y="138"/>
                </a:cxn>
                <a:cxn ang="0">
                  <a:pos x="245" y="124"/>
                </a:cxn>
                <a:cxn ang="0">
                  <a:pos x="224" y="81"/>
                </a:cxn>
                <a:cxn ang="0">
                  <a:pos x="232" y="47"/>
                </a:cxn>
                <a:cxn ang="0">
                  <a:pos x="243" y="27"/>
                </a:cxn>
                <a:cxn ang="0">
                  <a:pos x="243" y="23"/>
                </a:cxn>
                <a:cxn ang="0">
                  <a:pos x="238" y="19"/>
                </a:cxn>
                <a:cxn ang="0">
                  <a:pos x="185" y="10"/>
                </a:cxn>
                <a:cxn ang="0">
                  <a:pos x="158" y="5"/>
                </a:cxn>
                <a:cxn ang="0">
                  <a:pos x="141" y="0"/>
                </a:cxn>
                <a:cxn ang="0">
                  <a:pos x="135" y="5"/>
                </a:cxn>
                <a:cxn ang="0">
                  <a:pos x="140" y="12"/>
                </a:cxn>
                <a:cxn ang="0">
                  <a:pos x="128" y="14"/>
                </a:cxn>
                <a:cxn ang="0">
                  <a:pos x="107" y="10"/>
                </a:cxn>
                <a:cxn ang="0">
                  <a:pos x="98" y="17"/>
                </a:cxn>
                <a:cxn ang="0">
                  <a:pos x="87" y="27"/>
                </a:cxn>
                <a:cxn ang="0">
                  <a:pos x="66" y="31"/>
                </a:cxn>
                <a:cxn ang="0">
                  <a:pos x="62" y="65"/>
                </a:cxn>
                <a:cxn ang="0">
                  <a:pos x="70" y="64"/>
                </a:cxn>
                <a:cxn ang="0">
                  <a:pos x="75" y="71"/>
                </a:cxn>
                <a:cxn ang="0">
                  <a:pos x="69" y="82"/>
                </a:cxn>
                <a:cxn ang="0">
                  <a:pos x="89" y="104"/>
                </a:cxn>
                <a:cxn ang="0">
                  <a:pos x="94" y="95"/>
                </a:cxn>
                <a:cxn ang="0">
                  <a:pos x="107" y="95"/>
                </a:cxn>
                <a:cxn ang="0">
                  <a:pos x="103" y="121"/>
                </a:cxn>
                <a:cxn ang="0">
                  <a:pos x="121" y="112"/>
                </a:cxn>
                <a:cxn ang="0">
                  <a:pos x="144" y="117"/>
                </a:cxn>
                <a:cxn ang="0">
                  <a:pos x="152" y="110"/>
                </a:cxn>
                <a:cxn ang="0">
                  <a:pos x="162" y="121"/>
                </a:cxn>
                <a:cxn ang="0">
                  <a:pos x="181" y="128"/>
                </a:cxn>
                <a:cxn ang="0">
                  <a:pos x="195" y="143"/>
                </a:cxn>
                <a:cxn ang="0">
                  <a:pos x="219" y="145"/>
                </a:cxn>
                <a:cxn ang="0">
                  <a:pos x="232" y="147"/>
                </a:cxn>
                <a:cxn ang="0">
                  <a:pos x="54" y="49"/>
                </a:cxn>
                <a:cxn ang="0">
                  <a:pos x="47" y="54"/>
                </a:cxn>
                <a:cxn ang="0">
                  <a:pos x="46" y="49"/>
                </a:cxn>
                <a:cxn ang="0">
                  <a:pos x="24" y="60"/>
                </a:cxn>
                <a:cxn ang="0">
                  <a:pos x="8" y="65"/>
                </a:cxn>
                <a:cxn ang="0">
                  <a:pos x="19" y="57"/>
                </a:cxn>
                <a:cxn ang="0">
                  <a:pos x="24" y="48"/>
                </a:cxn>
                <a:cxn ang="0">
                  <a:pos x="34" y="53"/>
                </a:cxn>
                <a:cxn ang="0">
                  <a:pos x="46" y="62"/>
                </a:cxn>
                <a:cxn ang="0">
                  <a:pos x="33" y="64"/>
                </a:cxn>
                <a:cxn ang="0">
                  <a:pos x="30" y="69"/>
                </a:cxn>
                <a:cxn ang="0">
                  <a:pos x="46" y="71"/>
                </a:cxn>
                <a:cxn ang="0">
                  <a:pos x="62" y="81"/>
                </a:cxn>
                <a:cxn ang="0">
                  <a:pos x="46" y="76"/>
                </a:cxn>
                <a:cxn ang="0">
                  <a:pos x="6" y="123"/>
                </a:cxn>
                <a:cxn ang="0">
                  <a:pos x="17" y="118"/>
                </a:cxn>
                <a:cxn ang="0">
                  <a:pos x="23" y="103"/>
                </a:cxn>
                <a:cxn ang="0">
                  <a:pos x="41" y="94"/>
                </a:cxn>
                <a:cxn ang="0">
                  <a:pos x="52" y="88"/>
                </a:cxn>
                <a:cxn ang="0">
                  <a:pos x="52" y="85"/>
                </a:cxn>
                <a:cxn ang="0">
                  <a:pos x="41" y="78"/>
                </a:cxn>
                <a:cxn ang="0">
                  <a:pos x="23" y="75"/>
                </a:cxn>
                <a:cxn ang="0">
                  <a:pos x="16" y="81"/>
                </a:cxn>
                <a:cxn ang="0">
                  <a:pos x="8" y="82"/>
                </a:cxn>
                <a:cxn ang="0">
                  <a:pos x="5" y="83"/>
                </a:cxn>
                <a:cxn ang="0">
                  <a:pos x="6" y="87"/>
                </a:cxn>
                <a:cxn ang="0">
                  <a:pos x="1" y="94"/>
                </a:cxn>
                <a:cxn ang="0">
                  <a:pos x="8" y="100"/>
                </a:cxn>
                <a:cxn ang="0">
                  <a:pos x="13" y="114"/>
                </a:cxn>
                <a:cxn ang="0">
                  <a:pos x="6" y="123"/>
                </a:cxn>
              </a:cxnLst>
              <a:rect l="0" t="0" r="r" b="b"/>
              <a:pathLst>
                <a:path w="245" h="151">
                  <a:moveTo>
                    <a:pt x="232" y="147"/>
                  </a:moveTo>
                  <a:lnTo>
                    <a:pt x="239" y="138"/>
                  </a:lnTo>
                  <a:lnTo>
                    <a:pt x="237" y="129"/>
                  </a:lnTo>
                  <a:lnTo>
                    <a:pt x="245" y="124"/>
                  </a:lnTo>
                  <a:lnTo>
                    <a:pt x="245" y="116"/>
                  </a:lnTo>
                  <a:lnTo>
                    <a:pt x="224" y="81"/>
                  </a:lnTo>
                  <a:lnTo>
                    <a:pt x="227" y="49"/>
                  </a:lnTo>
                  <a:lnTo>
                    <a:pt x="232" y="47"/>
                  </a:lnTo>
                  <a:lnTo>
                    <a:pt x="236" y="35"/>
                  </a:lnTo>
                  <a:lnTo>
                    <a:pt x="243" y="27"/>
                  </a:lnTo>
                  <a:lnTo>
                    <a:pt x="244" y="24"/>
                  </a:lnTo>
                  <a:lnTo>
                    <a:pt x="243" y="23"/>
                  </a:lnTo>
                  <a:lnTo>
                    <a:pt x="239" y="16"/>
                  </a:lnTo>
                  <a:lnTo>
                    <a:pt x="238" y="19"/>
                  </a:lnTo>
                  <a:lnTo>
                    <a:pt x="201" y="18"/>
                  </a:lnTo>
                  <a:lnTo>
                    <a:pt x="185" y="10"/>
                  </a:lnTo>
                  <a:lnTo>
                    <a:pt x="168" y="10"/>
                  </a:lnTo>
                  <a:lnTo>
                    <a:pt x="158" y="5"/>
                  </a:lnTo>
                  <a:lnTo>
                    <a:pt x="151" y="7"/>
                  </a:lnTo>
                  <a:lnTo>
                    <a:pt x="141" y="0"/>
                  </a:lnTo>
                  <a:lnTo>
                    <a:pt x="140" y="5"/>
                  </a:lnTo>
                  <a:lnTo>
                    <a:pt x="135" y="5"/>
                  </a:lnTo>
                  <a:lnTo>
                    <a:pt x="135" y="8"/>
                  </a:lnTo>
                  <a:lnTo>
                    <a:pt x="140" y="12"/>
                  </a:lnTo>
                  <a:lnTo>
                    <a:pt x="132" y="17"/>
                  </a:lnTo>
                  <a:lnTo>
                    <a:pt x="128" y="14"/>
                  </a:lnTo>
                  <a:lnTo>
                    <a:pt x="111" y="13"/>
                  </a:lnTo>
                  <a:lnTo>
                    <a:pt x="107" y="10"/>
                  </a:lnTo>
                  <a:lnTo>
                    <a:pt x="105" y="18"/>
                  </a:lnTo>
                  <a:lnTo>
                    <a:pt x="98" y="17"/>
                  </a:lnTo>
                  <a:lnTo>
                    <a:pt x="88" y="19"/>
                  </a:lnTo>
                  <a:lnTo>
                    <a:pt x="87" y="27"/>
                  </a:lnTo>
                  <a:lnTo>
                    <a:pt x="81" y="25"/>
                  </a:lnTo>
                  <a:lnTo>
                    <a:pt x="66" y="31"/>
                  </a:lnTo>
                  <a:lnTo>
                    <a:pt x="62" y="39"/>
                  </a:lnTo>
                  <a:lnTo>
                    <a:pt x="62" y="65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8" y="65"/>
                  </a:lnTo>
                  <a:lnTo>
                    <a:pt x="75" y="71"/>
                  </a:lnTo>
                  <a:lnTo>
                    <a:pt x="68" y="71"/>
                  </a:lnTo>
                  <a:lnTo>
                    <a:pt x="69" y="82"/>
                  </a:lnTo>
                  <a:lnTo>
                    <a:pt x="76" y="93"/>
                  </a:lnTo>
                  <a:lnTo>
                    <a:pt x="89" y="104"/>
                  </a:lnTo>
                  <a:lnTo>
                    <a:pt x="94" y="103"/>
                  </a:lnTo>
                  <a:lnTo>
                    <a:pt x="94" y="95"/>
                  </a:lnTo>
                  <a:lnTo>
                    <a:pt x="104" y="89"/>
                  </a:lnTo>
                  <a:lnTo>
                    <a:pt x="107" y="95"/>
                  </a:lnTo>
                  <a:lnTo>
                    <a:pt x="103" y="117"/>
                  </a:lnTo>
                  <a:lnTo>
                    <a:pt x="103" y="121"/>
                  </a:lnTo>
                  <a:lnTo>
                    <a:pt x="106" y="120"/>
                  </a:lnTo>
                  <a:lnTo>
                    <a:pt x="121" y="112"/>
                  </a:lnTo>
                  <a:lnTo>
                    <a:pt x="132" y="110"/>
                  </a:lnTo>
                  <a:lnTo>
                    <a:pt x="144" y="117"/>
                  </a:lnTo>
                  <a:lnTo>
                    <a:pt x="150" y="117"/>
                  </a:lnTo>
                  <a:lnTo>
                    <a:pt x="152" y="110"/>
                  </a:lnTo>
                  <a:lnTo>
                    <a:pt x="158" y="115"/>
                  </a:lnTo>
                  <a:lnTo>
                    <a:pt x="162" y="121"/>
                  </a:lnTo>
                  <a:lnTo>
                    <a:pt x="168" y="121"/>
                  </a:lnTo>
                  <a:lnTo>
                    <a:pt x="181" y="128"/>
                  </a:lnTo>
                  <a:lnTo>
                    <a:pt x="186" y="138"/>
                  </a:lnTo>
                  <a:lnTo>
                    <a:pt x="195" y="143"/>
                  </a:lnTo>
                  <a:lnTo>
                    <a:pt x="202" y="151"/>
                  </a:lnTo>
                  <a:lnTo>
                    <a:pt x="219" y="145"/>
                  </a:lnTo>
                  <a:lnTo>
                    <a:pt x="232" y="147"/>
                  </a:lnTo>
                  <a:lnTo>
                    <a:pt x="232" y="147"/>
                  </a:lnTo>
                  <a:close/>
                  <a:moveTo>
                    <a:pt x="46" y="49"/>
                  </a:moveTo>
                  <a:lnTo>
                    <a:pt x="54" y="49"/>
                  </a:lnTo>
                  <a:lnTo>
                    <a:pt x="56" y="53"/>
                  </a:lnTo>
                  <a:lnTo>
                    <a:pt x="47" y="54"/>
                  </a:lnTo>
                  <a:lnTo>
                    <a:pt x="46" y="49"/>
                  </a:lnTo>
                  <a:lnTo>
                    <a:pt x="46" y="49"/>
                  </a:lnTo>
                  <a:close/>
                  <a:moveTo>
                    <a:pt x="30" y="69"/>
                  </a:moveTo>
                  <a:lnTo>
                    <a:pt x="24" y="60"/>
                  </a:lnTo>
                  <a:lnTo>
                    <a:pt x="16" y="62"/>
                  </a:lnTo>
                  <a:lnTo>
                    <a:pt x="8" y="65"/>
                  </a:lnTo>
                  <a:lnTo>
                    <a:pt x="5" y="63"/>
                  </a:lnTo>
                  <a:lnTo>
                    <a:pt x="19" y="57"/>
                  </a:lnTo>
                  <a:lnTo>
                    <a:pt x="24" y="51"/>
                  </a:lnTo>
                  <a:lnTo>
                    <a:pt x="24" y="48"/>
                  </a:lnTo>
                  <a:lnTo>
                    <a:pt x="29" y="49"/>
                  </a:lnTo>
                  <a:lnTo>
                    <a:pt x="34" y="53"/>
                  </a:lnTo>
                  <a:lnTo>
                    <a:pt x="42" y="53"/>
                  </a:lnTo>
                  <a:lnTo>
                    <a:pt x="46" y="62"/>
                  </a:lnTo>
                  <a:lnTo>
                    <a:pt x="40" y="60"/>
                  </a:lnTo>
                  <a:lnTo>
                    <a:pt x="33" y="64"/>
                  </a:lnTo>
                  <a:lnTo>
                    <a:pt x="30" y="69"/>
                  </a:lnTo>
                  <a:lnTo>
                    <a:pt x="30" y="69"/>
                  </a:lnTo>
                  <a:close/>
                  <a:moveTo>
                    <a:pt x="46" y="76"/>
                  </a:moveTo>
                  <a:lnTo>
                    <a:pt x="46" y="71"/>
                  </a:lnTo>
                  <a:lnTo>
                    <a:pt x="58" y="71"/>
                  </a:lnTo>
                  <a:lnTo>
                    <a:pt x="62" y="81"/>
                  </a:lnTo>
                  <a:lnTo>
                    <a:pt x="57" y="83"/>
                  </a:lnTo>
                  <a:lnTo>
                    <a:pt x="46" y="76"/>
                  </a:lnTo>
                  <a:lnTo>
                    <a:pt x="46" y="76"/>
                  </a:lnTo>
                  <a:close/>
                  <a:moveTo>
                    <a:pt x="6" y="123"/>
                  </a:moveTo>
                  <a:lnTo>
                    <a:pt x="10" y="124"/>
                  </a:lnTo>
                  <a:lnTo>
                    <a:pt x="17" y="118"/>
                  </a:lnTo>
                  <a:lnTo>
                    <a:pt x="16" y="115"/>
                  </a:lnTo>
                  <a:lnTo>
                    <a:pt x="23" y="103"/>
                  </a:lnTo>
                  <a:lnTo>
                    <a:pt x="35" y="100"/>
                  </a:lnTo>
                  <a:lnTo>
                    <a:pt x="41" y="94"/>
                  </a:lnTo>
                  <a:lnTo>
                    <a:pt x="46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2" y="85"/>
                  </a:lnTo>
                  <a:lnTo>
                    <a:pt x="48" y="83"/>
                  </a:lnTo>
                  <a:lnTo>
                    <a:pt x="41" y="78"/>
                  </a:lnTo>
                  <a:lnTo>
                    <a:pt x="27" y="77"/>
                  </a:lnTo>
                  <a:lnTo>
                    <a:pt x="23" y="75"/>
                  </a:lnTo>
                  <a:lnTo>
                    <a:pt x="18" y="80"/>
                  </a:lnTo>
                  <a:lnTo>
                    <a:pt x="16" y="81"/>
                  </a:lnTo>
                  <a:lnTo>
                    <a:pt x="11" y="86"/>
                  </a:lnTo>
                  <a:lnTo>
                    <a:pt x="8" y="82"/>
                  </a:lnTo>
                  <a:lnTo>
                    <a:pt x="4" y="81"/>
                  </a:lnTo>
                  <a:lnTo>
                    <a:pt x="5" y="83"/>
                  </a:lnTo>
                  <a:lnTo>
                    <a:pt x="0" y="86"/>
                  </a:lnTo>
                  <a:lnTo>
                    <a:pt x="6" y="87"/>
                  </a:lnTo>
                  <a:lnTo>
                    <a:pt x="6" y="91"/>
                  </a:lnTo>
                  <a:lnTo>
                    <a:pt x="1" y="94"/>
                  </a:lnTo>
                  <a:lnTo>
                    <a:pt x="1" y="99"/>
                  </a:lnTo>
                  <a:lnTo>
                    <a:pt x="8" y="100"/>
                  </a:lnTo>
                  <a:lnTo>
                    <a:pt x="16" y="106"/>
                  </a:lnTo>
                  <a:lnTo>
                    <a:pt x="13" y="114"/>
                  </a:lnTo>
                  <a:lnTo>
                    <a:pt x="10" y="112"/>
                  </a:lnTo>
                  <a:lnTo>
                    <a:pt x="6" y="12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03983309-C376-8445-A8A4-E64ECFCF0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8650" y="2087563"/>
              <a:ext cx="463550" cy="227013"/>
            </a:xfrm>
            <a:custGeom>
              <a:avLst/>
              <a:gdLst/>
              <a:ahLst/>
              <a:cxnLst>
                <a:cxn ang="0">
                  <a:pos x="291" y="99"/>
                </a:cxn>
                <a:cxn ang="0">
                  <a:pos x="280" y="78"/>
                </a:cxn>
                <a:cxn ang="0">
                  <a:pos x="270" y="65"/>
                </a:cxn>
                <a:cxn ang="0">
                  <a:pos x="269" y="52"/>
                </a:cxn>
                <a:cxn ang="0">
                  <a:pos x="268" y="45"/>
                </a:cxn>
                <a:cxn ang="0">
                  <a:pos x="244" y="35"/>
                </a:cxn>
                <a:cxn ang="0">
                  <a:pos x="220" y="33"/>
                </a:cxn>
                <a:cxn ang="0">
                  <a:pos x="206" y="18"/>
                </a:cxn>
                <a:cxn ang="0">
                  <a:pos x="187" y="11"/>
                </a:cxn>
                <a:cxn ang="0">
                  <a:pos x="177" y="0"/>
                </a:cxn>
                <a:cxn ang="0">
                  <a:pos x="169" y="7"/>
                </a:cxn>
                <a:cxn ang="0">
                  <a:pos x="146" y="2"/>
                </a:cxn>
                <a:cxn ang="0">
                  <a:pos x="128" y="11"/>
                </a:cxn>
                <a:cxn ang="0">
                  <a:pos x="131" y="40"/>
                </a:cxn>
                <a:cxn ang="0">
                  <a:pos x="112" y="69"/>
                </a:cxn>
                <a:cxn ang="0">
                  <a:pos x="90" y="59"/>
                </a:cxn>
                <a:cxn ang="0">
                  <a:pos x="67" y="31"/>
                </a:cxn>
                <a:cxn ang="0">
                  <a:pos x="62" y="19"/>
                </a:cxn>
                <a:cxn ang="0">
                  <a:pos x="42" y="29"/>
                </a:cxn>
                <a:cxn ang="0">
                  <a:pos x="27" y="34"/>
                </a:cxn>
                <a:cxn ang="0">
                  <a:pos x="21" y="52"/>
                </a:cxn>
                <a:cxn ang="0">
                  <a:pos x="19" y="65"/>
                </a:cxn>
                <a:cxn ang="0">
                  <a:pos x="6" y="86"/>
                </a:cxn>
                <a:cxn ang="0">
                  <a:pos x="0" y="99"/>
                </a:cxn>
                <a:cxn ang="0">
                  <a:pos x="9" y="123"/>
                </a:cxn>
                <a:cxn ang="0">
                  <a:pos x="18" y="123"/>
                </a:cxn>
                <a:cxn ang="0">
                  <a:pos x="35" y="104"/>
                </a:cxn>
                <a:cxn ang="0">
                  <a:pos x="71" y="101"/>
                </a:cxn>
                <a:cxn ang="0">
                  <a:pos x="88" y="105"/>
                </a:cxn>
                <a:cxn ang="0">
                  <a:pos x="106" y="98"/>
                </a:cxn>
                <a:cxn ang="0">
                  <a:pos x="116" y="103"/>
                </a:cxn>
                <a:cxn ang="0">
                  <a:pos x="137" y="110"/>
                </a:cxn>
                <a:cxn ang="0">
                  <a:pos x="157" y="103"/>
                </a:cxn>
                <a:cxn ang="0">
                  <a:pos x="188" y="112"/>
                </a:cxn>
                <a:cxn ang="0">
                  <a:pos x="210" y="126"/>
                </a:cxn>
                <a:cxn ang="0">
                  <a:pos x="233" y="140"/>
                </a:cxn>
                <a:cxn ang="0">
                  <a:pos x="238" y="143"/>
                </a:cxn>
                <a:cxn ang="0">
                  <a:pos x="271" y="134"/>
                </a:cxn>
                <a:cxn ang="0">
                  <a:pos x="281" y="121"/>
                </a:cxn>
                <a:cxn ang="0">
                  <a:pos x="292" y="110"/>
                </a:cxn>
              </a:cxnLst>
              <a:rect l="0" t="0" r="r" b="b"/>
              <a:pathLst>
                <a:path w="292" h="143">
                  <a:moveTo>
                    <a:pt x="292" y="110"/>
                  </a:moveTo>
                  <a:lnTo>
                    <a:pt x="291" y="99"/>
                  </a:lnTo>
                  <a:lnTo>
                    <a:pt x="285" y="91"/>
                  </a:lnTo>
                  <a:lnTo>
                    <a:pt x="280" y="78"/>
                  </a:lnTo>
                  <a:lnTo>
                    <a:pt x="276" y="75"/>
                  </a:lnTo>
                  <a:lnTo>
                    <a:pt x="270" y="65"/>
                  </a:lnTo>
                  <a:lnTo>
                    <a:pt x="271" y="59"/>
                  </a:lnTo>
                  <a:lnTo>
                    <a:pt x="269" y="52"/>
                  </a:lnTo>
                  <a:lnTo>
                    <a:pt x="265" y="49"/>
                  </a:lnTo>
                  <a:lnTo>
                    <a:pt x="268" y="45"/>
                  </a:lnTo>
                  <a:lnTo>
                    <a:pt x="267" y="39"/>
                  </a:lnTo>
                  <a:lnTo>
                    <a:pt x="244" y="35"/>
                  </a:lnTo>
                  <a:lnTo>
                    <a:pt x="227" y="41"/>
                  </a:lnTo>
                  <a:lnTo>
                    <a:pt x="220" y="33"/>
                  </a:lnTo>
                  <a:lnTo>
                    <a:pt x="211" y="28"/>
                  </a:lnTo>
                  <a:lnTo>
                    <a:pt x="206" y="18"/>
                  </a:lnTo>
                  <a:lnTo>
                    <a:pt x="193" y="11"/>
                  </a:lnTo>
                  <a:lnTo>
                    <a:pt x="187" y="11"/>
                  </a:lnTo>
                  <a:lnTo>
                    <a:pt x="183" y="5"/>
                  </a:lnTo>
                  <a:lnTo>
                    <a:pt x="177" y="0"/>
                  </a:lnTo>
                  <a:lnTo>
                    <a:pt x="175" y="7"/>
                  </a:lnTo>
                  <a:lnTo>
                    <a:pt x="169" y="7"/>
                  </a:lnTo>
                  <a:lnTo>
                    <a:pt x="157" y="0"/>
                  </a:lnTo>
                  <a:lnTo>
                    <a:pt x="146" y="2"/>
                  </a:lnTo>
                  <a:lnTo>
                    <a:pt x="131" y="10"/>
                  </a:lnTo>
                  <a:lnTo>
                    <a:pt x="128" y="11"/>
                  </a:lnTo>
                  <a:lnTo>
                    <a:pt x="128" y="22"/>
                  </a:lnTo>
                  <a:lnTo>
                    <a:pt x="131" y="40"/>
                  </a:lnTo>
                  <a:lnTo>
                    <a:pt x="126" y="54"/>
                  </a:lnTo>
                  <a:lnTo>
                    <a:pt x="112" y="69"/>
                  </a:lnTo>
                  <a:lnTo>
                    <a:pt x="101" y="69"/>
                  </a:lnTo>
                  <a:lnTo>
                    <a:pt x="90" y="59"/>
                  </a:lnTo>
                  <a:lnTo>
                    <a:pt x="89" y="52"/>
                  </a:lnTo>
                  <a:lnTo>
                    <a:pt x="67" y="31"/>
                  </a:lnTo>
                  <a:lnTo>
                    <a:pt x="66" y="19"/>
                  </a:lnTo>
                  <a:lnTo>
                    <a:pt x="62" y="19"/>
                  </a:lnTo>
                  <a:lnTo>
                    <a:pt x="54" y="27"/>
                  </a:lnTo>
                  <a:lnTo>
                    <a:pt x="42" y="29"/>
                  </a:lnTo>
                  <a:lnTo>
                    <a:pt x="37" y="33"/>
                  </a:lnTo>
                  <a:lnTo>
                    <a:pt x="27" y="34"/>
                  </a:lnTo>
                  <a:lnTo>
                    <a:pt x="21" y="43"/>
                  </a:lnTo>
                  <a:lnTo>
                    <a:pt x="21" y="52"/>
                  </a:lnTo>
                  <a:lnTo>
                    <a:pt x="18" y="51"/>
                  </a:lnTo>
                  <a:lnTo>
                    <a:pt x="19" y="65"/>
                  </a:lnTo>
                  <a:lnTo>
                    <a:pt x="7" y="77"/>
                  </a:lnTo>
                  <a:lnTo>
                    <a:pt x="6" y="86"/>
                  </a:lnTo>
                  <a:lnTo>
                    <a:pt x="6" y="94"/>
                  </a:lnTo>
                  <a:lnTo>
                    <a:pt x="0" y="99"/>
                  </a:lnTo>
                  <a:lnTo>
                    <a:pt x="4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18" y="123"/>
                  </a:lnTo>
                  <a:lnTo>
                    <a:pt x="21" y="115"/>
                  </a:lnTo>
                  <a:lnTo>
                    <a:pt x="35" y="104"/>
                  </a:lnTo>
                  <a:lnTo>
                    <a:pt x="55" y="99"/>
                  </a:lnTo>
                  <a:lnTo>
                    <a:pt x="71" y="101"/>
                  </a:lnTo>
                  <a:lnTo>
                    <a:pt x="82" y="100"/>
                  </a:lnTo>
                  <a:lnTo>
                    <a:pt x="88" y="105"/>
                  </a:lnTo>
                  <a:lnTo>
                    <a:pt x="97" y="99"/>
                  </a:lnTo>
                  <a:lnTo>
                    <a:pt x="106" y="98"/>
                  </a:lnTo>
                  <a:lnTo>
                    <a:pt x="108" y="103"/>
                  </a:lnTo>
                  <a:lnTo>
                    <a:pt x="116" y="103"/>
                  </a:lnTo>
                  <a:lnTo>
                    <a:pt x="124" y="111"/>
                  </a:lnTo>
                  <a:lnTo>
                    <a:pt x="137" y="110"/>
                  </a:lnTo>
                  <a:lnTo>
                    <a:pt x="142" y="112"/>
                  </a:lnTo>
                  <a:lnTo>
                    <a:pt x="157" y="103"/>
                  </a:lnTo>
                  <a:lnTo>
                    <a:pt x="174" y="110"/>
                  </a:lnTo>
                  <a:lnTo>
                    <a:pt x="188" y="112"/>
                  </a:lnTo>
                  <a:lnTo>
                    <a:pt x="199" y="124"/>
                  </a:lnTo>
                  <a:lnTo>
                    <a:pt x="210" y="126"/>
                  </a:lnTo>
                  <a:lnTo>
                    <a:pt x="220" y="139"/>
                  </a:lnTo>
                  <a:lnTo>
                    <a:pt x="233" y="140"/>
                  </a:lnTo>
                  <a:lnTo>
                    <a:pt x="238" y="143"/>
                  </a:lnTo>
                  <a:lnTo>
                    <a:pt x="238" y="143"/>
                  </a:lnTo>
                  <a:lnTo>
                    <a:pt x="252" y="137"/>
                  </a:lnTo>
                  <a:lnTo>
                    <a:pt x="271" y="134"/>
                  </a:lnTo>
                  <a:lnTo>
                    <a:pt x="274" y="124"/>
                  </a:lnTo>
                  <a:lnTo>
                    <a:pt x="281" y="121"/>
                  </a:lnTo>
                  <a:lnTo>
                    <a:pt x="285" y="112"/>
                  </a:lnTo>
                  <a:lnTo>
                    <a:pt x="292" y="11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35D7DAD4-7576-6B43-B354-838817CA3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2243138"/>
              <a:ext cx="363538" cy="239713"/>
            </a:xfrm>
            <a:custGeom>
              <a:avLst/>
              <a:gdLst/>
              <a:ahLst/>
              <a:cxnLst>
                <a:cxn ang="0">
                  <a:pos x="75" y="110"/>
                </a:cxn>
                <a:cxn ang="0">
                  <a:pos x="73" y="95"/>
                </a:cxn>
                <a:cxn ang="0">
                  <a:pos x="79" y="88"/>
                </a:cxn>
                <a:cxn ang="0">
                  <a:pos x="74" y="83"/>
                </a:cxn>
                <a:cxn ang="0">
                  <a:pos x="68" y="82"/>
                </a:cxn>
                <a:cxn ang="0">
                  <a:pos x="67" y="75"/>
                </a:cxn>
                <a:cxn ang="0">
                  <a:pos x="61" y="71"/>
                </a:cxn>
                <a:cxn ang="0">
                  <a:pos x="44" y="75"/>
                </a:cxn>
                <a:cxn ang="0">
                  <a:pos x="32" y="70"/>
                </a:cxn>
                <a:cxn ang="0">
                  <a:pos x="20" y="54"/>
                </a:cxn>
                <a:cxn ang="0">
                  <a:pos x="4" y="57"/>
                </a:cxn>
                <a:cxn ang="0">
                  <a:pos x="1" y="55"/>
                </a:cxn>
                <a:cxn ang="0">
                  <a:pos x="5" y="51"/>
                </a:cxn>
                <a:cxn ang="0">
                  <a:pos x="1" y="40"/>
                </a:cxn>
                <a:cxn ang="0">
                  <a:pos x="0" y="28"/>
                </a:cxn>
                <a:cxn ang="0">
                  <a:pos x="9" y="25"/>
                </a:cxn>
                <a:cxn ang="0">
                  <a:pos x="12" y="17"/>
                </a:cxn>
                <a:cxn ang="0">
                  <a:pos x="26" y="6"/>
                </a:cxn>
                <a:cxn ang="0">
                  <a:pos x="46" y="1"/>
                </a:cxn>
                <a:cxn ang="0">
                  <a:pos x="62" y="3"/>
                </a:cxn>
                <a:cxn ang="0">
                  <a:pos x="73" y="2"/>
                </a:cxn>
                <a:cxn ang="0">
                  <a:pos x="79" y="7"/>
                </a:cxn>
                <a:cxn ang="0">
                  <a:pos x="88" y="1"/>
                </a:cxn>
                <a:cxn ang="0">
                  <a:pos x="97" y="0"/>
                </a:cxn>
                <a:cxn ang="0">
                  <a:pos x="99" y="5"/>
                </a:cxn>
                <a:cxn ang="0">
                  <a:pos x="107" y="5"/>
                </a:cxn>
                <a:cxn ang="0">
                  <a:pos x="115" y="13"/>
                </a:cxn>
                <a:cxn ang="0">
                  <a:pos x="128" y="12"/>
                </a:cxn>
                <a:cxn ang="0">
                  <a:pos x="133" y="14"/>
                </a:cxn>
                <a:cxn ang="0">
                  <a:pos x="148" y="5"/>
                </a:cxn>
                <a:cxn ang="0">
                  <a:pos x="165" y="12"/>
                </a:cxn>
                <a:cxn ang="0">
                  <a:pos x="179" y="14"/>
                </a:cxn>
                <a:cxn ang="0">
                  <a:pos x="190" y="26"/>
                </a:cxn>
                <a:cxn ang="0">
                  <a:pos x="201" y="28"/>
                </a:cxn>
                <a:cxn ang="0">
                  <a:pos x="211" y="41"/>
                </a:cxn>
                <a:cxn ang="0">
                  <a:pos x="224" y="42"/>
                </a:cxn>
                <a:cxn ang="0">
                  <a:pos x="229" y="45"/>
                </a:cxn>
                <a:cxn ang="0">
                  <a:pos x="218" y="58"/>
                </a:cxn>
                <a:cxn ang="0">
                  <a:pos x="225" y="60"/>
                </a:cxn>
                <a:cxn ang="0">
                  <a:pos x="225" y="69"/>
                </a:cxn>
                <a:cxn ang="0">
                  <a:pos x="209" y="76"/>
                </a:cxn>
                <a:cxn ang="0">
                  <a:pos x="201" y="89"/>
                </a:cxn>
                <a:cxn ang="0">
                  <a:pos x="195" y="90"/>
                </a:cxn>
                <a:cxn ang="0">
                  <a:pos x="191" y="104"/>
                </a:cxn>
                <a:cxn ang="0">
                  <a:pos x="203" y="109"/>
                </a:cxn>
                <a:cxn ang="0">
                  <a:pos x="203" y="117"/>
                </a:cxn>
                <a:cxn ang="0">
                  <a:pos x="194" y="117"/>
                </a:cxn>
                <a:cxn ang="0">
                  <a:pos x="190" y="112"/>
                </a:cxn>
                <a:cxn ang="0">
                  <a:pos x="183" y="116"/>
                </a:cxn>
                <a:cxn ang="0">
                  <a:pos x="178" y="126"/>
                </a:cxn>
                <a:cxn ang="0">
                  <a:pos x="165" y="127"/>
                </a:cxn>
                <a:cxn ang="0">
                  <a:pos x="169" y="139"/>
                </a:cxn>
                <a:cxn ang="0">
                  <a:pos x="161" y="139"/>
                </a:cxn>
                <a:cxn ang="0">
                  <a:pos x="149" y="145"/>
                </a:cxn>
                <a:cxn ang="0">
                  <a:pos x="137" y="139"/>
                </a:cxn>
                <a:cxn ang="0">
                  <a:pos x="121" y="144"/>
                </a:cxn>
                <a:cxn ang="0">
                  <a:pos x="110" y="151"/>
                </a:cxn>
                <a:cxn ang="0">
                  <a:pos x="104" y="142"/>
                </a:cxn>
                <a:cxn ang="0">
                  <a:pos x="105" y="132"/>
                </a:cxn>
                <a:cxn ang="0">
                  <a:pos x="101" y="117"/>
                </a:cxn>
                <a:cxn ang="0">
                  <a:pos x="94" y="116"/>
                </a:cxn>
                <a:cxn ang="0">
                  <a:pos x="84" y="109"/>
                </a:cxn>
                <a:cxn ang="0">
                  <a:pos x="75" y="110"/>
                </a:cxn>
              </a:cxnLst>
              <a:rect l="0" t="0" r="r" b="b"/>
              <a:pathLst>
                <a:path w="229" h="151">
                  <a:moveTo>
                    <a:pt x="75" y="110"/>
                  </a:moveTo>
                  <a:lnTo>
                    <a:pt x="73" y="95"/>
                  </a:lnTo>
                  <a:lnTo>
                    <a:pt x="79" y="88"/>
                  </a:lnTo>
                  <a:lnTo>
                    <a:pt x="74" y="83"/>
                  </a:lnTo>
                  <a:lnTo>
                    <a:pt x="68" y="82"/>
                  </a:lnTo>
                  <a:lnTo>
                    <a:pt x="67" y="75"/>
                  </a:lnTo>
                  <a:lnTo>
                    <a:pt x="61" y="71"/>
                  </a:lnTo>
                  <a:lnTo>
                    <a:pt x="44" y="75"/>
                  </a:lnTo>
                  <a:lnTo>
                    <a:pt x="32" y="70"/>
                  </a:lnTo>
                  <a:lnTo>
                    <a:pt x="20" y="54"/>
                  </a:lnTo>
                  <a:lnTo>
                    <a:pt x="4" y="57"/>
                  </a:lnTo>
                  <a:lnTo>
                    <a:pt x="1" y="55"/>
                  </a:lnTo>
                  <a:lnTo>
                    <a:pt x="5" y="51"/>
                  </a:lnTo>
                  <a:lnTo>
                    <a:pt x="1" y="40"/>
                  </a:lnTo>
                  <a:lnTo>
                    <a:pt x="0" y="28"/>
                  </a:lnTo>
                  <a:lnTo>
                    <a:pt x="9" y="25"/>
                  </a:lnTo>
                  <a:lnTo>
                    <a:pt x="12" y="17"/>
                  </a:lnTo>
                  <a:lnTo>
                    <a:pt x="26" y="6"/>
                  </a:lnTo>
                  <a:lnTo>
                    <a:pt x="46" y="1"/>
                  </a:lnTo>
                  <a:lnTo>
                    <a:pt x="62" y="3"/>
                  </a:lnTo>
                  <a:lnTo>
                    <a:pt x="73" y="2"/>
                  </a:lnTo>
                  <a:lnTo>
                    <a:pt x="79" y="7"/>
                  </a:lnTo>
                  <a:lnTo>
                    <a:pt x="88" y="1"/>
                  </a:lnTo>
                  <a:lnTo>
                    <a:pt x="97" y="0"/>
                  </a:lnTo>
                  <a:lnTo>
                    <a:pt x="99" y="5"/>
                  </a:lnTo>
                  <a:lnTo>
                    <a:pt x="107" y="5"/>
                  </a:lnTo>
                  <a:lnTo>
                    <a:pt x="115" y="13"/>
                  </a:lnTo>
                  <a:lnTo>
                    <a:pt x="128" y="12"/>
                  </a:lnTo>
                  <a:lnTo>
                    <a:pt x="133" y="14"/>
                  </a:lnTo>
                  <a:lnTo>
                    <a:pt x="148" y="5"/>
                  </a:lnTo>
                  <a:lnTo>
                    <a:pt x="165" y="12"/>
                  </a:lnTo>
                  <a:lnTo>
                    <a:pt x="179" y="14"/>
                  </a:lnTo>
                  <a:lnTo>
                    <a:pt x="190" y="26"/>
                  </a:lnTo>
                  <a:lnTo>
                    <a:pt x="201" y="28"/>
                  </a:lnTo>
                  <a:lnTo>
                    <a:pt x="211" y="41"/>
                  </a:lnTo>
                  <a:lnTo>
                    <a:pt x="224" y="42"/>
                  </a:lnTo>
                  <a:lnTo>
                    <a:pt x="229" y="45"/>
                  </a:lnTo>
                  <a:lnTo>
                    <a:pt x="218" y="58"/>
                  </a:lnTo>
                  <a:lnTo>
                    <a:pt x="225" y="60"/>
                  </a:lnTo>
                  <a:lnTo>
                    <a:pt x="225" y="69"/>
                  </a:lnTo>
                  <a:lnTo>
                    <a:pt x="209" y="76"/>
                  </a:lnTo>
                  <a:lnTo>
                    <a:pt x="201" y="89"/>
                  </a:lnTo>
                  <a:lnTo>
                    <a:pt x="195" y="90"/>
                  </a:lnTo>
                  <a:lnTo>
                    <a:pt x="191" y="104"/>
                  </a:lnTo>
                  <a:lnTo>
                    <a:pt x="203" y="109"/>
                  </a:lnTo>
                  <a:lnTo>
                    <a:pt x="203" y="117"/>
                  </a:lnTo>
                  <a:lnTo>
                    <a:pt x="194" y="117"/>
                  </a:lnTo>
                  <a:lnTo>
                    <a:pt x="190" y="112"/>
                  </a:lnTo>
                  <a:lnTo>
                    <a:pt x="183" y="116"/>
                  </a:lnTo>
                  <a:lnTo>
                    <a:pt x="178" y="126"/>
                  </a:lnTo>
                  <a:lnTo>
                    <a:pt x="165" y="127"/>
                  </a:lnTo>
                  <a:lnTo>
                    <a:pt x="169" y="139"/>
                  </a:lnTo>
                  <a:lnTo>
                    <a:pt x="161" y="139"/>
                  </a:lnTo>
                  <a:lnTo>
                    <a:pt x="149" y="145"/>
                  </a:lnTo>
                  <a:lnTo>
                    <a:pt x="137" y="139"/>
                  </a:lnTo>
                  <a:lnTo>
                    <a:pt x="121" y="144"/>
                  </a:lnTo>
                  <a:lnTo>
                    <a:pt x="110" y="151"/>
                  </a:lnTo>
                  <a:lnTo>
                    <a:pt x="104" y="142"/>
                  </a:lnTo>
                  <a:lnTo>
                    <a:pt x="105" y="132"/>
                  </a:lnTo>
                  <a:lnTo>
                    <a:pt x="101" y="117"/>
                  </a:lnTo>
                  <a:lnTo>
                    <a:pt x="94" y="116"/>
                  </a:lnTo>
                  <a:lnTo>
                    <a:pt x="84" y="109"/>
                  </a:lnTo>
                  <a:lnTo>
                    <a:pt x="75" y="11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3D1C7413-EAF6-DD4B-AB3D-6DC37CAFB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260600"/>
              <a:ext cx="612775" cy="425450"/>
            </a:xfrm>
            <a:custGeom>
              <a:avLst/>
              <a:gdLst/>
              <a:ahLst/>
              <a:cxnLst>
                <a:cxn ang="0">
                  <a:pos x="11" y="133"/>
                </a:cxn>
                <a:cxn ang="0">
                  <a:pos x="39" y="134"/>
                </a:cxn>
                <a:cxn ang="0">
                  <a:pos x="59" y="128"/>
                </a:cxn>
                <a:cxn ang="0">
                  <a:pos x="68" y="115"/>
                </a:cxn>
                <a:cxn ang="0">
                  <a:pos x="80" y="101"/>
                </a:cxn>
                <a:cxn ang="0">
                  <a:pos x="93" y="106"/>
                </a:cxn>
                <a:cxn ang="0">
                  <a:pos x="81" y="93"/>
                </a:cxn>
                <a:cxn ang="0">
                  <a:pos x="91" y="78"/>
                </a:cxn>
                <a:cxn ang="0">
                  <a:pos x="115" y="58"/>
                </a:cxn>
                <a:cxn ang="0">
                  <a:pos x="108" y="47"/>
                </a:cxn>
                <a:cxn ang="0">
                  <a:pos x="133" y="28"/>
                </a:cxn>
                <a:cxn ang="0">
                  <a:pos x="155" y="15"/>
                </a:cxn>
                <a:cxn ang="0">
                  <a:pos x="166" y="3"/>
                </a:cxn>
                <a:cxn ang="0">
                  <a:pos x="185" y="6"/>
                </a:cxn>
                <a:cxn ang="0">
                  <a:pos x="204" y="13"/>
                </a:cxn>
                <a:cxn ang="0">
                  <a:pos x="225" y="9"/>
                </a:cxn>
                <a:cxn ang="0">
                  <a:pos x="246" y="15"/>
                </a:cxn>
                <a:cxn ang="0">
                  <a:pos x="265" y="18"/>
                </a:cxn>
                <a:cxn ang="0">
                  <a:pos x="291" y="24"/>
                </a:cxn>
                <a:cxn ang="0">
                  <a:pos x="290" y="44"/>
                </a:cxn>
                <a:cxn ang="0">
                  <a:pos x="299" y="65"/>
                </a:cxn>
                <a:cxn ang="0">
                  <a:pos x="314" y="87"/>
                </a:cxn>
                <a:cxn ang="0">
                  <a:pos x="336" y="107"/>
                </a:cxn>
                <a:cxn ang="0">
                  <a:pos x="354" y="125"/>
                </a:cxn>
                <a:cxn ang="0">
                  <a:pos x="374" y="147"/>
                </a:cxn>
                <a:cxn ang="0">
                  <a:pos x="380" y="158"/>
                </a:cxn>
                <a:cxn ang="0">
                  <a:pos x="347" y="175"/>
                </a:cxn>
                <a:cxn ang="0">
                  <a:pos x="333" y="174"/>
                </a:cxn>
                <a:cxn ang="0">
                  <a:pos x="343" y="197"/>
                </a:cxn>
                <a:cxn ang="0">
                  <a:pos x="352" y="219"/>
                </a:cxn>
                <a:cxn ang="0">
                  <a:pos x="351" y="229"/>
                </a:cxn>
                <a:cxn ang="0">
                  <a:pos x="318" y="234"/>
                </a:cxn>
                <a:cxn ang="0">
                  <a:pos x="311" y="264"/>
                </a:cxn>
                <a:cxn ang="0">
                  <a:pos x="293" y="260"/>
                </a:cxn>
                <a:cxn ang="0">
                  <a:pos x="271" y="258"/>
                </a:cxn>
                <a:cxn ang="0">
                  <a:pos x="253" y="268"/>
                </a:cxn>
                <a:cxn ang="0">
                  <a:pos x="244" y="258"/>
                </a:cxn>
                <a:cxn ang="0">
                  <a:pos x="217" y="264"/>
                </a:cxn>
                <a:cxn ang="0">
                  <a:pos x="197" y="261"/>
                </a:cxn>
                <a:cxn ang="0">
                  <a:pos x="186" y="264"/>
                </a:cxn>
                <a:cxn ang="0">
                  <a:pos x="163" y="263"/>
                </a:cxn>
                <a:cxn ang="0">
                  <a:pos x="150" y="254"/>
                </a:cxn>
                <a:cxn ang="0">
                  <a:pos x="113" y="244"/>
                </a:cxn>
                <a:cxn ang="0">
                  <a:pos x="97" y="251"/>
                </a:cxn>
                <a:cxn ang="0">
                  <a:pos x="50" y="256"/>
                </a:cxn>
                <a:cxn ang="0">
                  <a:pos x="27" y="254"/>
                </a:cxn>
                <a:cxn ang="0">
                  <a:pos x="21" y="250"/>
                </a:cxn>
                <a:cxn ang="0">
                  <a:pos x="7" y="225"/>
                </a:cxn>
                <a:cxn ang="0">
                  <a:pos x="23" y="211"/>
                </a:cxn>
                <a:cxn ang="0">
                  <a:pos x="18" y="181"/>
                </a:cxn>
                <a:cxn ang="0">
                  <a:pos x="10" y="162"/>
                </a:cxn>
                <a:cxn ang="0">
                  <a:pos x="0" y="140"/>
                </a:cxn>
              </a:cxnLst>
              <a:rect l="0" t="0" r="r" b="b"/>
              <a:pathLst>
                <a:path w="386" h="268">
                  <a:moveTo>
                    <a:pt x="0" y="140"/>
                  </a:moveTo>
                  <a:lnTo>
                    <a:pt x="11" y="133"/>
                  </a:lnTo>
                  <a:lnTo>
                    <a:pt x="27" y="128"/>
                  </a:lnTo>
                  <a:lnTo>
                    <a:pt x="39" y="134"/>
                  </a:lnTo>
                  <a:lnTo>
                    <a:pt x="51" y="128"/>
                  </a:lnTo>
                  <a:lnTo>
                    <a:pt x="59" y="128"/>
                  </a:lnTo>
                  <a:lnTo>
                    <a:pt x="55" y="116"/>
                  </a:lnTo>
                  <a:lnTo>
                    <a:pt x="68" y="115"/>
                  </a:lnTo>
                  <a:lnTo>
                    <a:pt x="73" y="105"/>
                  </a:lnTo>
                  <a:lnTo>
                    <a:pt x="80" y="101"/>
                  </a:lnTo>
                  <a:lnTo>
                    <a:pt x="84" y="106"/>
                  </a:lnTo>
                  <a:lnTo>
                    <a:pt x="93" y="106"/>
                  </a:lnTo>
                  <a:lnTo>
                    <a:pt x="93" y="98"/>
                  </a:lnTo>
                  <a:lnTo>
                    <a:pt x="81" y="93"/>
                  </a:lnTo>
                  <a:lnTo>
                    <a:pt x="85" y="79"/>
                  </a:lnTo>
                  <a:lnTo>
                    <a:pt x="91" y="78"/>
                  </a:lnTo>
                  <a:lnTo>
                    <a:pt x="99" y="65"/>
                  </a:lnTo>
                  <a:lnTo>
                    <a:pt x="115" y="58"/>
                  </a:lnTo>
                  <a:lnTo>
                    <a:pt x="115" y="49"/>
                  </a:lnTo>
                  <a:lnTo>
                    <a:pt x="108" y="47"/>
                  </a:lnTo>
                  <a:lnTo>
                    <a:pt x="119" y="34"/>
                  </a:lnTo>
                  <a:lnTo>
                    <a:pt x="133" y="28"/>
                  </a:lnTo>
                  <a:lnTo>
                    <a:pt x="152" y="25"/>
                  </a:lnTo>
                  <a:lnTo>
                    <a:pt x="155" y="15"/>
                  </a:lnTo>
                  <a:lnTo>
                    <a:pt x="162" y="12"/>
                  </a:lnTo>
                  <a:lnTo>
                    <a:pt x="166" y="3"/>
                  </a:lnTo>
                  <a:lnTo>
                    <a:pt x="177" y="1"/>
                  </a:lnTo>
                  <a:lnTo>
                    <a:pt x="185" y="6"/>
                  </a:lnTo>
                  <a:lnTo>
                    <a:pt x="195" y="0"/>
                  </a:lnTo>
                  <a:lnTo>
                    <a:pt x="204" y="13"/>
                  </a:lnTo>
                  <a:lnTo>
                    <a:pt x="215" y="8"/>
                  </a:lnTo>
                  <a:lnTo>
                    <a:pt x="225" y="9"/>
                  </a:lnTo>
                  <a:lnTo>
                    <a:pt x="235" y="24"/>
                  </a:lnTo>
                  <a:lnTo>
                    <a:pt x="246" y="15"/>
                  </a:lnTo>
                  <a:lnTo>
                    <a:pt x="259" y="12"/>
                  </a:lnTo>
                  <a:lnTo>
                    <a:pt x="265" y="18"/>
                  </a:lnTo>
                  <a:lnTo>
                    <a:pt x="271" y="18"/>
                  </a:lnTo>
                  <a:lnTo>
                    <a:pt x="291" y="24"/>
                  </a:lnTo>
                  <a:lnTo>
                    <a:pt x="294" y="34"/>
                  </a:lnTo>
                  <a:lnTo>
                    <a:pt x="290" y="44"/>
                  </a:lnTo>
                  <a:lnTo>
                    <a:pt x="299" y="53"/>
                  </a:lnTo>
                  <a:lnTo>
                    <a:pt x="299" y="65"/>
                  </a:lnTo>
                  <a:lnTo>
                    <a:pt x="310" y="76"/>
                  </a:lnTo>
                  <a:lnTo>
                    <a:pt x="314" y="87"/>
                  </a:lnTo>
                  <a:lnTo>
                    <a:pt x="327" y="101"/>
                  </a:lnTo>
                  <a:lnTo>
                    <a:pt x="336" y="107"/>
                  </a:lnTo>
                  <a:lnTo>
                    <a:pt x="340" y="122"/>
                  </a:lnTo>
                  <a:lnTo>
                    <a:pt x="354" y="125"/>
                  </a:lnTo>
                  <a:lnTo>
                    <a:pt x="372" y="139"/>
                  </a:lnTo>
                  <a:lnTo>
                    <a:pt x="374" y="147"/>
                  </a:lnTo>
                  <a:lnTo>
                    <a:pt x="386" y="154"/>
                  </a:lnTo>
                  <a:lnTo>
                    <a:pt x="380" y="158"/>
                  </a:lnTo>
                  <a:lnTo>
                    <a:pt x="371" y="173"/>
                  </a:lnTo>
                  <a:lnTo>
                    <a:pt x="347" y="175"/>
                  </a:lnTo>
                  <a:lnTo>
                    <a:pt x="337" y="167"/>
                  </a:lnTo>
                  <a:lnTo>
                    <a:pt x="333" y="174"/>
                  </a:lnTo>
                  <a:lnTo>
                    <a:pt x="334" y="183"/>
                  </a:lnTo>
                  <a:lnTo>
                    <a:pt x="343" y="197"/>
                  </a:lnTo>
                  <a:lnTo>
                    <a:pt x="342" y="208"/>
                  </a:lnTo>
                  <a:lnTo>
                    <a:pt x="352" y="219"/>
                  </a:lnTo>
                  <a:lnTo>
                    <a:pt x="352" y="229"/>
                  </a:lnTo>
                  <a:lnTo>
                    <a:pt x="351" y="229"/>
                  </a:lnTo>
                  <a:lnTo>
                    <a:pt x="331" y="233"/>
                  </a:lnTo>
                  <a:lnTo>
                    <a:pt x="318" y="234"/>
                  </a:lnTo>
                  <a:lnTo>
                    <a:pt x="311" y="251"/>
                  </a:lnTo>
                  <a:lnTo>
                    <a:pt x="311" y="264"/>
                  </a:lnTo>
                  <a:lnTo>
                    <a:pt x="300" y="266"/>
                  </a:lnTo>
                  <a:lnTo>
                    <a:pt x="293" y="260"/>
                  </a:lnTo>
                  <a:lnTo>
                    <a:pt x="279" y="263"/>
                  </a:lnTo>
                  <a:lnTo>
                    <a:pt x="271" y="258"/>
                  </a:lnTo>
                  <a:lnTo>
                    <a:pt x="261" y="260"/>
                  </a:lnTo>
                  <a:lnTo>
                    <a:pt x="253" y="268"/>
                  </a:lnTo>
                  <a:lnTo>
                    <a:pt x="246" y="266"/>
                  </a:lnTo>
                  <a:lnTo>
                    <a:pt x="244" y="258"/>
                  </a:lnTo>
                  <a:lnTo>
                    <a:pt x="231" y="257"/>
                  </a:lnTo>
                  <a:lnTo>
                    <a:pt x="217" y="264"/>
                  </a:lnTo>
                  <a:lnTo>
                    <a:pt x="211" y="262"/>
                  </a:lnTo>
                  <a:lnTo>
                    <a:pt x="197" y="261"/>
                  </a:lnTo>
                  <a:lnTo>
                    <a:pt x="192" y="263"/>
                  </a:lnTo>
                  <a:lnTo>
                    <a:pt x="186" y="264"/>
                  </a:lnTo>
                  <a:lnTo>
                    <a:pt x="179" y="258"/>
                  </a:lnTo>
                  <a:lnTo>
                    <a:pt x="163" y="263"/>
                  </a:lnTo>
                  <a:lnTo>
                    <a:pt x="161" y="258"/>
                  </a:lnTo>
                  <a:lnTo>
                    <a:pt x="150" y="254"/>
                  </a:lnTo>
                  <a:lnTo>
                    <a:pt x="123" y="250"/>
                  </a:lnTo>
                  <a:lnTo>
                    <a:pt x="113" y="244"/>
                  </a:lnTo>
                  <a:lnTo>
                    <a:pt x="107" y="244"/>
                  </a:lnTo>
                  <a:lnTo>
                    <a:pt x="97" y="251"/>
                  </a:lnTo>
                  <a:lnTo>
                    <a:pt x="82" y="252"/>
                  </a:lnTo>
                  <a:lnTo>
                    <a:pt x="50" y="256"/>
                  </a:lnTo>
                  <a:lnTo>
                    <a:pt x="42" y="260"/>
                  </a:lnTo>
                  <a:lnTo>
                    <a:pt x="27" y="254"/>
                  </a:lnTo>
                  <a:lnTo>
                    <a:pt x="20" y="254"/>
                  </a:lnTo>
                  <a:lnTo>
                    <a:pt x="21" y="250"/>
                  </a:lnTo>
                  <a:lnTo>
                    <a:pt x="11" y="237"/>
                  </a:lnTo>
                  <a:lnTo>
                    <a:pt x="7" y="225"/>
                  </a:lnTo>
                  <a:lnTo>
                    <a:pt x="15" y="214"/>
                  </a:lnTo>
                  <a:lnTo>
                    <a:pt x="23" y="211"/>
                  </a:lnTo>
                  <a:lnTo>
                    <a:pt x="23" y="185"/>
                  </a:lnTo>
                  <a:lnTo>
                    <a:pt x="18" y="181"/>
                  </a:lnTo>
                  <a:lnTo>
                    <a:pt x="16" y="170"/>
                  </a:lnTo>
                  <a:lnTo>
                    <a:pt x="10" y="162"/>
                  </a:lnTo>
                  <a:lnTo>
                    <a:pt x="3" y="142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8D0A55DB-EA45-F847-8FF8-A9BC8F26C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113" y="2601913"/>
              <a:ext cx="1201738" cy="674688"/>
            </a:xfrm>
            <a:custGeom>
              <a:avLst/>
              <a:gdLst/>
              <a:ahLst/>
              <a:cxnLst>
                <a:cxn ang="0">
                  <a:pos x="110" y="37"/>
                </a:cxn>
                <a:cxn ang="0">
                  <a:pos x="178" y="39"/>
                </a:cxn>
                <a:cxn ang="0">
                  <a:pos x="220" y="48"/>
                </a:cxn>
                <a:cxn ang="0">
                  <a:pos x="272" y="43"/>
                </a:cxn>
                <a:cxn ang="0">
                  <a:pos x="307" y="48"/>
                </a:cxn>
                <a:cxn ang="0">
                  <a:pos x="346" y="19"/>
                </a:cxn>
                <a:cxn ang="0">
                  <a:pos x="397" y="5"/>
                </a:cxn>
                <a:cxn ang="0">
                  <a:pos x="473" y="1"/>
                </a:cxn>
                <a:cxn ang="0">
                  <a:pos x="523" y="48"/>
                </a:cxn>
                <a:cxn ang="0">
                  <a:pos x="547" y="91"/>
                </a:cxn>
                <a:cxn ang="0">
                  <a:pos x="608" y="106"/>
                </a:cxn>
                <a:cxn ang="0">
                  <a:pos x="660" y="130"/>
                </a:cxn>
                <a:cxn ang="0">
                  <a:pos x="715" y="132"/>
                </a:cxn>
                <a:cxn ang="0">
                  <a:pos x="757" y="147"/>
                </a:cxn>
                <a:cxn ang="0">
                  <a:pos x="751" y="196"/>
                </a:cxn>
                <a:cxn ang="0">
                  <a:pos x="718" y="240"/>
                </a:cxn>
                <a:cxn ang="0">
                  <a:pos x="691" y="275"/>
                </a:cxn>
                <a:cxn ang="0">
                  <a:pos x="652" y="289"/>
                </a:cxn>
                <a:cxn ang="0">
                  <a:pos x="614" y="306"/>
                </a:cxn>
                <a:cxn ang="0">
                  <a:pos x="573" y="303"/>
                </a:cxn>
                <a:cxn ang="0">
                  <a:pos x="566" y="332"/>
                </a:cxn>
                <a:cxn ang="0">
                  <a:pos x="570" y="317"/>
                </a:cxn>
                <a:cxn ang="0">
                  <a:pos x="539" y="338"/>
                </a:cxn>
                <a:cxn ang="0">
                  <a:pos x="506" y="341"/>
                </a:cxn>
                <a:cxn ang="0">
                  <a:pos x="543" y="350"/>
                </a:cxn>
                <a:cxn ang="0">
                  <a:pos x="550" y="360"/>
                </a:cxn>
                <a:cxn ang="0">
                  <a:pos x="566" y="379"/>
                </a:cxn>
                <a:cxn ang="0">
                  <a:pos x="546" y="338"/>
                </a:cxn>
                <a:cxn ang="0">
                  <a:pos x="587" y="381"/>
                </a:cxn>
                <a:cxn ang="0">
                  <a:pos x="627" y="367"/>
                </a:cxn>
                <a:cxn ang="0">
                  <a:pos x="629" y="390"/>
                </a:cxn>
                <a:cxn ang="0">
                  <a:pos x="562" y="405"/>
                </a:cxn>
                <a:cxn ang="0">
                  <a:pos x="503" y="416"/>
                </a:cxn>
                <a:cxn ang="0">
                  <a:pos x="478" y="381"/>
                </a:cxn>
                <a:cxn ang="0">
                  <a:pos x="503" y="359"/>
                </a:cxn>
                <a:cxn ang="0">
                  <a:pos x="491" y="344"/>
                </a:cxn>
                <a:cxn ang="0">
                  <a:pos x="445" y="338"/>
                </a:cxn>
                <a:cxn ang="0">
                  <a:pos x="425" y="323"/>
                </a:cxn>
                <a:cxn ang="0">
                  <a:pos x="439" y="318"/>
                </a:cxn>
                <a:cxn ang="0">
                  <a:pos x="428" y="307"/>
                </a:cxn>
                <a:cxn ang="0">
                  <a:pos x="409" y="311"/>
                </a:cxn>
                <a:cxn ang="0">
                  <a:pos x="378" y="332"/>
                </a:cxn>
                <a:cxn ang="0">
                  <a:pos x="342" y="367"/>
                </a:cxn>
                <a:cxn ang="0">
                  <a:pos x="340" y="385"/>
                </a:cxn>
                <a:cxn ang="0">
                  <a:pos x="294" y="385"/>
                </a:cxn>
                <a:cxn ang="0">
                  <a:pos x="288" y="361"/>
                </a:cxn>
                <a:cxn ang="0">
                  <a:pos x="312" y="323"/>
                </a:cxn>
                <a:cxn ang="0">
                  <a:pos x="341" y="312"/>
                </a:cxn>
                <a:cxn ang="0">
                  <a:pos x="315" y="277"/>
                </a:cxn>
                <a:cxn ang="0">
                  <a:pos x="277" y="230"/>
                </a:cxn>
                <a:cxn ang="0">
                  <a:pos x="229" y="221"/>
                </a:cxn>
                <a:cxn ang="0">
                  <a:pos x="197" y="214"/>
                </a:cxn>
                <a:cxn ang="0">
                  <a:pos x="190" y="240"/>
                </a:cxn>
                <a:cxn ang="0">
                  <a:pos x="120" y="261"/>
                </a:cxn>
                <a:cxn ang="0">
                  <a:pos x="67" y="249"/>
                </a:cxn>
                <a:cxn ang="0">
                  <a:pos x="23" y="238"/>
                </a:cxn>
                <a:cxn ang="0">
                  <a:pos x="14" y="188"/>
                </a:cxn>
                <a:cxn ang="0">
                  <a:pos x="54" y="124"/>
                </a:cxn>
                <a:cxn ang="0">
                  <a:pos x="66" y="93"/>
                </a:cxn>
                <a:cxn ang="0">
                  <a:pos x="48" y="46"/>
                </a:cxn>
              </a:cxnLst>
              <a:rect l="0" t="0" r="r" b="b"/>
              <a:pathLst>
                <a:path w="757" h="425">
                  <a:moveTo>
                    <a:pt x="48" y="39"/>
                  </a:moveTo>
                  <a:lnTo>
                    <a:pt x="55" y="39"/>
                  </a:lnTo>
                  <a:lnTo>
                    <a:pt x="70" y="45"/>
                  </a:lnTo>
                  <a:lnTo>
                    <a:pt x="78" y="41"/>
                  </a:lnTo>
                  <a:lnTo>
                    <a:pt x="110" y="37"/>
                  </a:lnTo>
                  <a:lnTo>
                    <a:pt x="125" y="36"/>
                  </a:lnTo>
                  <a:lnTo>
                    <a:pt x="135" y="29"/>
                  </a:lnTo>
                  <a:lnTo>
                    <a:pt x="141" y="29"/>
                  </a:lnTo>
                  <a:lnTo>
                    <a:pt x="151" y="35"/>
                  </a:lnTo>
                  <a:lnTo>
                    <a:pt x="178" y="39"/>
                  </a:lnTo>
                  <a:lnTo>
                    <a:pt x="189" y="43"/>
                  </a:lnTo>
                  <a:lnTo>
                    <a:pt x="191" y="48"/>
                  </a:lnTo>
                  <a:lnTo>
                    <a:pt x="207" y="43"/>
                  </a:lnTo>
                  <a:lnTo>
                    <a:pt x="214" y="49"/>
                  </a:lnTo>
                  <a:lnTo>
                    <a:pt x="220" y="48"/>
                  </a:lnTo>
                  <a:lnTo>
                    <a:pt x="225" y="46"/>
                  </a:lnTo>
                  <a:lnTo>
                    <a:pt x="239" y="47"/>
                  </a:lnTo>
                  <a:lnTo>
                    <a:pt x="245" y="49"/>
                  </a:lnTo>
                  <a:lnTo>
                    <a:pt x="259" y="42"/>
                  </a:lnTo>
                  <a:lnTo>
                    <a:pt x="272" y="43"/>
                  </a:lnTo>
                  <a:lnTo>
                    <a:pt x="274" y="51"/>
                  </a:lnTo>
                  <a:lnTo>
                    <a:pt x="281" y="53"/>
                  </a:lnTo>
                  <a:lnTo>
                    <a:pt x="289" y="45"/>
                  </a:lnTo>
                  <a:lnTo>
                    <a:pt x="299" y="43"/>
                  </a:lnTo>
                  <a:lnTo>
                    <a:pt x="307" y="48"/>
                  </a:lnTo>
                  <a:lnTo>
                    <a:pt x="321" y="45"/>
                  </a:lnTo>
                  <a:lnTo>
                    <a:pt x="328" y="51"/>
                  </a:lnTo>
                  <a:lnTo>
                    <a:pt x="339" y="49"/>
                  </a:lnTo>
                  <a:lnTo>
                    <a:pt x="339" y="36"/>
                  </a:lnTo>
                  <a:lnTo>
                    <a:pt x="346" y="19"/>
                  </a:lnTo>
                  <a:lnTo>
                    <a:pt x="359" y="18"/>
                  </a:lnTo>
                  <a:lnTo>
                    <a:pt x="379" y="14"/>
                  </a:lnTo>
                  <a:lnTo>
                    <a:pt x="387" y="16"/>
                  </a:lnTo>
                  <a:lnTo>
                    <a:pt x="398" y="14"/>
                  </a:lnTo>
                  <a:lnTo>
                    <a:pt x="397" y="5"/>
                  </a:lnTo>
                  <a:lnTo>
                    <a:pt x="404" y="0"/>
                  </a:lnTo>
                  <a:lnTo>
                    <a:pt x="427" y="6"/>
                  </a:lnTo>
                  <a:lnTo>
                    <a:pt x="450" y="6"/>
                  </a:lnTo>
                  <a:lnTo>
                    <a:pt x="462" y="1"/>
                  </a:lnTo>
                  <a:lnTo>
                    <a:pt x="473" y="1"/>
                  </a:lnTo>
                  <a:lnTo>
                    <a:pt x="480" y="20"/>
                  </a:lnTo>
                  <a:lnTo>
                    <a:pt x="490" y="28"/>
                  </a:lnTo>
                  <a:lnTo>
                    <a:pt x="484" y="37"/>
                  </a:lnTo>
                  <a:lnTo>
                    <a:pt x="497" y="52"/>
                  </a:lnTo>
                  <a:lnTo>
                    <a:pt x="523" y="48"/>
                  </a:lnTo>
                  <a:lnTo>
                    <a:pt x="531" y="55"/>
                  </a:lnTo>
                  <a:lnTo>
                    <a:pt x="532" y="64"/>
                  </a:lnTo>
                  <a:lnTo>
                    <a:pt x="542" y="65"/>
                  </a:lnTo>
                  <a:lnTo>
                    <a:pt x="542" y="77"/>
                  </a:lnTo>
                  <a:lnTo>
                    <a:pt x="547" y="91"/>
                  </a:lnTo>
                  <a:lnTo>
                    <a:pt x="567" y="109"/>
                  </a:lnTo>
                  <a:lnTo>
                    <a:pt x="576" y="100"/>
                  </a:lnTo>
                  <a:lnTo>
                    <a:pt x="588" y="106"/>
                  </a:lnTo>
                  <a:lnTo>
                    <a:pt x="599" y="104"/>
                  </a:lnTo>
                  <a:lnTo>
                    <a:pt x="608" y="106"/>
                  </a:lnTo>
                  <a:lnTo>
                    <a:pt x="624" y="95"/>
                  </a:lnTo>
                  <a:lnTo>
                    <a:pt x="631" y="94"/>
                  </a:lnTo>
                  <a:lnTo>
                    <a:pt x="642" y="115"/>
                  </a:lnTo>
                  <a:lnTo>
                    <a:pt x="657" y="122"/>
                  </a:lnTo>
                  <a:lnTo>
                    <a:pt x="660" y="130"/>
                  </a:lnTo>
                  <a:lnTo>
                    <a:pt x="666" y="124"/>
                  </a:lnTo>
                  <a:lnTo>
                    <a:pt x="683" y="128"/>
                  </a:lnTo>
                  <a:lnTo>
                    <a:pt x="695" y="128"/>
                  </a:lnTo>
                  <a:lnTo>
                    <a:pt x="704" y="133"/>
                  </a:lnTo>
                  <a:lnTo>
                    <a:pt x="715" y="132"/>
                  </a:lnTo>
                  <a:lnTo>
                    <a:pt x="726" y="139"/>
                  </a:lnTo>
                  <a:lnTo>
                    <a:pt x="740" y="141"/>
                  </a:lnTo>
                  <a:lnTo>
                    <a:pt x="747" y="134"/>
                  </a:lnTo>
                  <a:lnTo>
                    <a:pt x="751" y="144"/>
                  </a:lnTo>
                  <a:lnTo>
                    <a:pt x="757" y="147"/>
                  </a:lnTo>
                  <a:lnTo>
                    <a:pt x="757" y="158"/>
                  </a:lnTo>
                  <a:lnTo>
                    <a:pt x="750" y="168"/>
                  </a:lnTo>
                  <a:lnTo>
                    <a:pt x="740" y="169"/>
                  </a:lnTo>
                  <a:lnTo>
                    <a:pt x="738" y="187"/>
                  </a:lnTo>
                  <a:lnTo>
                    <a:pt x="751" y="196"/>
                  </a:lnTo>
                  <a:lnTo>
                    <a:pt x="752" y="208"/>
                  </a:lnTo>
                  <a:lnTo>
                    <a:pt x="747" y="223"/>
                  </a:lnTo>
                  <a:lnTo>
                    <a:pt x="749" y="233"/>
                  </a:lnTo>
                  <a:lnTo>
                    <a:pt x="740" y="239"/>
                  </a:lnTo>
                  <a:lnTo>
                    <a:pt x="718" y="240"/>
                  </a:lnTo>
                  <a:lnTo>
                    <a:pt x="709" y="255"/>
                  </a:lnTo>
                  <a:lnTo>
                    <a:pt x="703" y="257"/>
                  </a:lnTo>
                  <a:lnTo>
                    <a:pt x="699" y="277"/>
                  </a:lnTo>
                  <a:lnTo>
                    <a:pt x="691" y="279"/>
                  </a:lnTo>
                  <a:lnTo>
                    <a:pt x="691" y="275"/>
                  </a:lnTo>
                  <a:lnTo>
                    <a:pt x="685" y="274"/>
                  </a:lnTo>
                  <a:lnTo>
                    <a:pt x="674" y="279"/>
                  </a:lnTo>
                  <a:lnTo>
                    <a:pt x="663" y="278"/>
                  </a:lnTo>
                  <a:lnTo>
                    <a:pt x="657" y="282"/>
                  </a:lnTo>
                  <a:lnTo>
                    <a:pt x="652" y="289"/>
                  </a:lnTo>
                  <a:lnTo>
                    <a:pt x="642" y="290"/>
                  </a:lnTo>
                  <a:lnTo>
                    <a:pt x="637" y="296"/>
                  </a:lnTo>
                  <a:lnTo>
                    <a:pt x="628" y="306"/>
                  </a:lnTo>
                  <a:lnTo>
                    <a:pt x="624" y="304"/>
                  </a:lnTo>
                  <a:lnTo>
                    <a:pt x="614" y="306"/>
                  </a:lnTo>
                  <a:lnTo>
                    <a:pt x="607" y="311"/>
                  </a:lnTo>
                  <a:lnTo>
                    <a:pt x="595" y="308"/>
                  </a:lnTo>
                  <a:lnTo>
                    <a:pt x="585" y="314"/>
                  </a:lnTo>
                  <a:lnTo>
                    <a:pt x="579" y="313"/>
                  </a:lnTo>
                  <a:lnTo>
                    <a:pt x="573" y="303"/>
                  </a:lnTo>
                  <a:lnTo>
                    <a:pt x="570" y="304"/>
                  </a:lnTo>
                  <a:lnTo>
                    <a:pt x="572" y="309"/>
                  </a:lnTo>
                  <a:lnTo>
                    <a:pt x="578" y="315"/>
                  </a:lnTo>
                  <a:lnTo>
                    <a:pt x="576" y="320"/>
                  </a:lnTo>
                  <a:lnTo>
                    <a:pt x="566" y="332"/>
                  </a:lnTo>
                  <a:lnTo>
                    <a:pt x="560" y="336"/>
                  </a:lnTo>
                  <a:lnTo>
                    <a:pt x="559" y="332"/>
                  </a:lnTo>
                  <a:lnTo>
                    <a:pt x="561" y="330"/>
                  </a:lnTo>
                  <a:lnTo>
                    <a:pt x="571" y="320"/>
                  </a:lnTo>
                  <a:lnTo>
                    <a:pt x="570" y="317"/>
                  </a:lnTo>
                  <a:lnTo>
                    <a:pt x="565" y="314"/>
                  </a:lnTo>
                  <a:lnTo>
                    <a:pt x="562" y="319"/>
                  </a:lnTo>
                  <a:lnTo>
                    <a:pt x="549" y="332"/>
                  </a:lnTo>
                  <a:lnTo>
                    <a:pt x="541" y="333"/>
                  </a:lnTo>
                  <a:lnTo>
                    <a:pt x="539" y="338"/>
                  </a:lnTo>
                  <a:lnTo>
                    <a:pt x="530" y="338"/>
                  </a:lnTo>
                  <a:lnTo>
                    <a:pt x="523" y="333"/>
                  </a:lnTo>
                  <a:lnTo>
                    <a:pt x="518" y="338"/>
                  </a:lnTo>
                  <a:lnTo>
                    <a:pt x="507" y="337"/>
                  </a:lnTo>
                  <a:lnTo>
                    <a:pt x="506" y="341"/>
                  </a:lnTo>
                  <a:lnTo>
                    <a:pt x="512" y="344"/>
                  </a:lnTo>
                  <a:lnTo>
                    <a:pt x="526" y="343"/>
                  </a:lnTo>
                  <a:lnTo>
                    <a:pt x="532" y="349"/>
                  </a:lnTo>
                  <a:lnTo>
                    <a:pt x="537" y="353"/>
                  </a:lnTo>
                  <a:lnTo>
                    <a:pt x="543" y="350"/>
                  </a:lnTo>
                  <a:lnTo>
                    <a:pt x="546" y="354"/>
                  </a:lnTo>
                  <a:lnTo>
                    <a:pt x="541" y="359"/>
                  </a:lnTo>
                  <a:lnTo>
                    <a:pt x="542" y="363"/>
                  </a:lnTo>
                  <a:lnTo>
                    <a:pt x="546" y="360"/>
                  </a:lnTo>
                  <a:lnTo>
                    <a:pt x="550" y="360"/>
                  </a:lnTo>
                  <a:lnTo>
                    <a:pt x="548" y="367"/>
                  </a:lnTo>
                  <a:lnTo>
                    <a:pt x="554" y="363"/>
                  </a:lnTo>
                  <a:lnTo>
                    <a:pt x="559" y="365"/>
                  </a:lnTo>
                  <a:lnTo>
                    <a:pt x="561" y="375"/>
                  </a:lnTo>
                  <a:lnTo>
                    <a:pt x="566" y="379"/>
                  </a:lnTo>
                  <a:lnTo>
                    <a:pt x="577" y="383"/>
                  </a:lnTo>
                  <a:lnTo>
                    <a:pt x="581" y="381"/>
                  </a:lnTo>
                  <a:lnTo>
                    <a:pt x="566" y="367"/>
                  </a:lnTo>
                  <a:lnTo>
                    <a:pt x="550" y="349"/>
                  </a:lnTo>
                  <a:lnTo>
                    <a:pt x="546" y="338"/>
                  </a:lnTo>
                  <a:lnTo>
                    <a:pt x="549" y="337"/>
                  </a:lnTo>
                  <a:lnTo>
                    <a:pt x="556" y="346"/>
                  </a:lnTo>
                  <a:lnTo>
                    <a:pt x="560" y="356"/>
                  </a:lnTo>
                  <a:lnTo>
                    <a:pt x="582" y="378"/>
                  </a:lnTo>
                  <a:lnTo>
                    <a:pt x="587" y="381"/>
                  </a:lnTo>
                  <a:lnTo>
                    <a:pt x="595" y="373"/>
                  </a:lnTo>
                  <a:lnTo>
                    <a:pt x="600" y="373"/>
                  </a:lnTo>
                  <a:lnTo>
                    <a:pt x="608" y="378"/>
                  </a:lnTo>
                  <a:lnTo>
                    <a:pt x="612" y="370"/>
                  </a:lnTo>
                  <a:lnTo>
                    <a:pt x="627" y="367"/>
                  </a:lnTo>
                  <a:lnTo>
                    <a:pt x="639" y="369"/>
                  </a:lnTo>
                  <a:lnTo>
                    <a:pt x="635" y="373"/>
                  </a:lnTo>
                  <a:lnTo>
                    <a:pt x="631" y="377"/>
                  </a:lnTo>
                  <a:lnTo>
                    <a:pt x="635" y="384"/>
                  </a:lnTo>
                  <a:lnTo>
                    <a:pt x="629" y="390"/>
                  </a:lnTo>
                  <a:lnTo>
                    <a:pt x="614" y="392"/>
                  </a:lnTo>
                  <a:lnTo>
                    <a:pt x="596" y="389"/>
                  </a:lnTo>
                  <a:lnTo>
                    <a:pt x="585" y="394"/>
                  </a:lnTo>
                  <a:lnTo>
                    <a:pt x="577" y="405"/>
                  </a:lnTo>
                  <a:lnTo>
                    <a:pt x="562" y="405"/>
                  </a:lnTo>
                  <a:lnTo>
                    <a:pt x="541" y="418"/>
                  </a:lnTo>
                  <a:lnTo>
                    <a:pt x="525" y="425"/>
                  </a:lnTo>
                  <a:lnTo>
                    <a:pt x="508" y="424"/>
                  </a:lnTo>
                  <a:lnTo>
                    <a:pt x="501" y="419"/>
                  </a:lnTo>
                  <a:lnTo>
                    <a:pt x="503" y="416"/>
                  </a:lnTo>
                  <a:lnTo>
                    <a:pt x="508" y="401"/>
                  </a:lnTo>
                  <a:lnTo>
                    <a:pt x="508" y="395"/>
                  </a:lnTo>
                  <a:lnTo>
                    <a:pt x="494" y="384"/>
                  </a:lnTo>
                  <a:lnTo>
                    <a:pt x="488" y="385"/>
                  </a:lnTo>
                  <a:lnTo>
                    <a:pt x="478" y="381"/>
                  </a:lnTo>
                  <a:lnTo>
                    <a:pt x="472" y="385"/>
                  </a:lnTo>
                  <a:lnTo>
                    <a:pt x="463" y="382"/>
                  </a:lnTo>
                  <a:lnTo>
                    <a:pt x="473" y="370"/>
                  </a:lnTo>
                  <a:lnTo>
                    <a:pt x="490" y="360"/>
                  </a:lnTo>
                  <a:lnTo>
                    <a:pt x="503" y="359"/>
                  </a:lnTo>
                  <a:lnTo>
                    <a:pt x="507" y="356"/>
                  </a:lnTo>
                  <a:lnTo>
                    <a:pt x="502" y="350"/>
                  </a:lnTo>
                  <a:lnTo>
                    <a:pt x="500" y="340"/>
                  </a:lnTo>
                  <a:lnTo>
                    <a:pt x="495" y="338"/>
                  </a:lnTo>
                  <a:lnTo>
                    <a:pt x="491" y="344"/>
                  </a:lnTo>
                  <a:lnTo>
                    <a:pt x="484" y="341"/>
                  </a:lnTo>
                  <a:lnTo>
                    <a:pt x="474" y="336"/>
                  </a:lnTo>
                  <a:lnTo>
                    <a:pt x="463" y="338"/>
                  </a:lnTo>
                  <a:lnTo>
                    <a:pt x="454" y="343"/>
                  </a:lnTo>
                  <a:lnTo>
                    <a:pt x="445" y="338"/>
                  </a:lnTo>
                  <a:lnTo>
                    <a:pt x="438" y="338"/>
                  </a:lnTo>
                  <a:lnTo>
                    <a:pt x="432" y="332"/>
                  </a:lnTo>
                  <a:lnTo>
                    <a:pt x="437" y="330"/>
                  </a:lnTo>
                  <a:lnTo>
                    <a:pt x="439" y="326"/>
                  </a:lnTo>
                  <a:lnTo>
                    <a:pt x="425" y="323"/>
                  </a:lnTo>
                  <a:lnTo>
                    <a:pt x="409" y="323"/>
                  </a:lnTo>
                  <a:lnTo>
                    <a:pt x="404" y="318"/>
                  </a:lnTo>
                  <a:lnTo>
                    <a:pt x="415" y="318"/>
                  </a:lnTo>
                  <a:lnTo>
                    <a:pt x="431" y="315"/>
                  </a:lnTo>
                  <a:lnTo>
                    <a:pt x="439" y="318"/>
                  </a:lnTo>
                  <a:lnTo>
                    <a:pt x="445" y="315"/>
                  </a:lnTo>
                  <a:lnTo>
                    <a:pt x="455" y="309"/>
                  </a:lnTo>
                  <a:lnTo>
                    <a:pt x="440" y="313"/>
                  </a:lnTo>
                  <a:lnTo>
                    <a:pt x="434" y="311"/>
                  </a:lnTo>
                  <a:lnTo>
                    <a:pt x="428" y="307"/>
                  </a:lnTo>
                  <a:lnTo>
                    <a:pt x="425" y="302"/>
                  </a:lnTo>
                  <a:lnTo>
                    <a:pt x="421" y="308"/>
                  </a:lnTo>
                  <a:lnTo>
                    <a:pt x="417" y="313"/>
                  </a:lnTo>
                  <a:lnTo>
                    <a:pt x="409" y="313"/>
                  </a:lnTo>
                  <a:lnTo>
                    <a:pt x="409" y="311"/>
                  </a:lnTo>
                  <a:lnTo>
                    <a:pt x="404" y="306"/>
                  </a:lnTo>
                  <a:lnTo>
                    <a:pt x="396" y="317"/>
                  </a:lnTo>
                  <a:lnTo>
                    <a:pt x="385" y="317"/>
                  </a:lnTo>
                  <a:lnTo>
                    <a:pt x="378" y="321"/>
                  </a:lnTo>
                  <a:lnTo>
                    <a:pt x="378" y="332"/>
                  </a:lnTo>
                  <a:lnTo>
                    <a:pt x="368" y="343"/>
                  </a:lnTo>
                  <a:lnTo>
                    <a:pt x="363" y="343"/>
                  </a:lnTo>
                  <a:lnTo>
                    <a:pt x="367" y="348"/>
                  </a:lnTo>
                  <a:lnTo>
                    <a:pt x="349" y="367"/>
                  </a:lnTo>
                  <a:lnTo>
                    <a:pt x="342" y="367"/>
                  </a:lnTo>
                  <a:lnTo>
                    <a:pt x="339" y="361"/>
                  </a:lnTo>
                  <a:lnTo>
                    <a:pt x="339" y="367"/>
                  </a:lnTo>
                  <a:lnTo>
                    <a:pt x="338" y="373"/>
                  </a:lnTo>
                  <a:lnTo>
                    <a:pt x="342" y="378"/>
                  </a:lnTo>
                  <a:lnTo>
                    <a:pt x="340" y="385"/>
                  </a:lnTo>
                  <a:lnTo>
                    <a:pt x="340" y="385"/>
                  </a:lnTo>
                  <a:lnTo>
                    <a:pt x="333" y="379"/>
                  </a:lnTo>
                  <a:lnTo>
                    <a:pt x="318" y="381"/>
                  </a:lnTo>
                  <a:lnTo>
                    <a:pt x="311" y="385"/>
                  </a:lnTo>
                  <a:lnTo>
                    <a:pt x="294" y="385"/>
                  </a:lnTo>
                  <a:lnTo>
                    <a:pt x="282" y="383"/>
                  </a:lnTo>
                  <a:lnTo>
                    <a:pt x="274" y="371"/>
                  </a:lnTo>
                  <a:lnTo>
                    <a:pt x="281" y="367"/>
                  </a:lnTo>
                  <a:lnTo>
                    <a:pt x="288" y="369"/>
                  </a:lnTo>
                  <a:lnTo>
                    <a:pt x="288" y="361"/>
                  </a:lnTo>
                  <a:lnTo>
                    <a:pt x="298" y="347"/>
                  </a:lnTo>
                  <a:lnTo>
                    <a:pt x="301" y="348"/>
                  </a:lnTo>
                  <a:lnTo>
                    <a:pt x="301" y="337"/>
                  </a:lnTo>
                  <a:lnTo>
                    <a:pt x="303" y="323"/>
                  </a:lnTo>
                  <a:lnTo>
                    <a:pt x="312" y="323"/>
                  </a:lnTo>
                  <a:lnTo>
                    <a:pt x="324" y="319"/>
                  </a:lnTo>
                  <a:lnTo>
                    <a:pt x="332" y="324"/>
                  </a:lnTo>
                  <a:lnTo>
                    <a:pt x="345" y="324"/>
                  </a:lnTo>
                  <a:lnTo>
                    <a:pt x="346" y="319"/>
                  </a:lnTo>
                  <a:lnTo>
                    <a:pt x="341" y="312"/>
                  </a:lnTo>
                  <a:lnTo>
                    <a:pt x="342" y="306"/>
                  </a:lnTo>
                  <a:lnTo>
                    <a:pt x="341" y="297"/>
                  </a:lnTo>
                  <a:lnTo>
                    <a:pt x="328" y="290"/>
                  </a:lnTo>
                  <a:lnTo>
                    <a:pt x="316" y="282"/>
                  </a:lnTo>
                  <a:lnTo>
                    <a:pt x="315" y="277"/>
                  </a:lnTo>
                  <a:lnTo>
                    <a:pt x="305" y="272"/>
                  </a:lnTo>
                  <a:lnTo>
                    <a:pt x="305" y="262"/>
                  </a:lnTo>
                  <a:lnTo>
                    <a:pt x="303" y="248"/>
                  </a:lnTo>
                  <a:lnTo>
                    <a:pt x="290" y="242"/>
                  </a:lnTo>
                  <a:lnTo>
                    <a:pt x="277" y="230"/>
                  </a:lnTo>
                  <a:lnTo>
                    <a:pt x="272" y="230"/>
                  </a:lnTo>
                  <a:lnTo>
                    <a:pt x="270" y="234"/>
                  </a:lnTo>
                  <a:lnTo>
                    <a:pt x="255" y="232"/>
                  </a:lnTo>
                  <a:lnTo>
                    <a:pt x="241" y="221"/>
                  </a:lnTo>
                  <a:lnTo>
                    <a:pt x="229" y="221"/>
                  </a:lnTo>
                  <a:lnTo>
                    <a:pt x="223" y="211"/>
                  </a:lnTo>
                  <a:lnTo>
                    <a:pt x="219" y="214"/>
                  </a:lnTo>
                  <a:lnTo>
                    <a:pt x="208" y="214"/>
                  </a:lnTo>
                  <a:lnTo>
                    <a:pt x="206" y="219"/>
                  </a:lnTo>
                  <a:lnTo>
                    <a:pt x="197" y="214"/>
                  </a:lnTo>
                  <a:lnTo>
                    <a:pt x="195" y="216"/>
                  </a:lnTo>
                  <a:lnTo>
                    <a:pt x="188" y="214"/>
                  </a:lnTo>
                  <a:lnTo>
                    <a:pt x="190" y="225"/>
                  </a:lnTo>
                  <a:lnTo>
                    <a:pt x="188" y="230"/>
                  </a:lnTo>
                  <a:lnTo>
                    <a:pt x="190" y="240"/>
                  </a:lnTo>
                  <a:lnTo>
                    <a:pt x="179" y="242"/>
                  </a:lnTo>
                  <a:lnTo>
                    <a:pt x="168" y="248"/>
                  </a:lnTo>
                  <a:lnTo>
                    <a:pt x="138" y="253"/>
                  </a:lnTo>
                  <a:lnTo>
                    <a:pt x="130" y="261"/>
                  </a:lnTo>
                  <a:lnTo>
                    <a:pt x="120" y="261"/>
                  </a:lnTo>
                  <a:lnTo>
                    <a:pt x="106" y="266"/>
                  </a:lnTo>
                  <a:lnTo>
                    <a:pt x="96" y="261"/>
                  </a:lnTo>
                  <a:lnTo>
                    <a:pt x="92" y="255"/>
                  </a:lnTo>
                  <a:lnTo>
                    <a:pt x="80" y="249"/>
                  </a:lnTo>
                  <a:lnTo>
                    <a:pt x="67" y="249"/>
                  </a:lnTo>
                  <a:lnTo>
                    <a:pt x="50" y="240"/>
                  </a:lnTo>
                  <a:lnTo>
                    <a:pt x="41" y="240"/>
                  </a:lnTo>
                  <a:lnTo>
                    <a:pt x="35" y="245"/>
                  </a:lnTo>
                  <a:lnTo>
                    <a:pt x="26" y="246"/>
                  </a:lnTo>
                  <a:lnTo>
                    <a:pt x="23" y="238"/>
                  </a:lnTo>
                  <a:lnTo>
                    <a:pt x="11" y="232"/>
                  </a:lnTo>
                  <a:lnTo>
                    <a:pt x="0" y="222"/>
                  </a:lnTo>
                  <a:lnTo>
                    <a:pt x="3" y="221"/>
                  </a:lnTo>
                  <a:lnTo>
                    <a:pt x="4" y="207"/>
                  </a:lnTo>
                  <a:lnTo>
                    <a:pt x="14" y="188"/>
                  </a:lnTo>
                  <a:lnTo>
                    <a:pt x="22" y="190"/>
                  </a:lnTo>
                  <a:lnTo>
                    <a:pt x="23" y="176"/>
                  </a:lnTo>
                  <a:lnTo>
                    <a:pt x="21" y="165"/>
                  </a:lnTo>
                  <a:lnTo>
                    <a:pt x="50" y="136"/>
                  </a:lnTo>
                  <a:lnTo>
                    <a:pt x="54" y="124"/>
                  </a:lnTo>
                  <a:lnTo>
                    <a:pt x="61" y="117"/>
                  </a:lnTo>
                  <a:lnTo>
                    <a:pt x="68" y="117"/>
                  </a:lnTo>
                  <a:lnTo>
                    <a:pt x="70" y="105"/>
                  </a:lnTo>
                  <a:lnTo>
                    <a:pt x="67" y="100"/>
                  </a:lnTo>
                  <a:lnTo>
                    <a:pt x="66" y="93"/>
                  </a:lnTo>
                  <a:lnTo>
                    <a:pt x="70" y="89"/>
                  </a:lnTo>
                  <a:lnTo>
                    <a:pt x="58" y="82"/>
                  </a:lnTo>
                  <a:lnTo>
                    <a:pt x="54" y="70"/>
                  </a:lnTo>
                  <a:lnTo>
                    <a:pt x="48" y="65"/>
                  </a:lnTo>
                  <a:lnTo>
                    <a:pt x="48" y="46"/>
                  </a:lnTo>
                  <a:lnTo>
                    <a:pt x="48" y="3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F1D0A77B-336D-9949-B7B5-34DF64DCD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1563" y="2936875"/>
              <a:ext cx="250825" cy="254000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0" y="19"/>
                </a:cxn>
                <a:cxn ang="0">
                  <a:pos x="2" y="14"/>
                </a:cxn>
                <a:cxn ang="0">
                  <a:pos x="0" y="3"/>
                </a:cxn>
                <a:cxn ang="0">
                  <a:pos x="7" y="5"/>
                </a:cxn>
                <a:cxn ang="0">
                  <a:pos x="9" y="3"/>
                </a:cxn>
                <a:cxn ang="0">
                  <a:pos x="18" y="8"/>
                </a:cxn>
                <a:cxn ang="0">
                  <a:pos x="20" y="3"/>
                </a:cxn>
                <a:cxn ang="0">
                  <a:pos x="31" y="3"/>
                </a:cxn>
                <a:cxn ang="0">
                  <a:pos x="35" y="0"/>
                </a:cxn>
                <a:cxn ang="0">
                  <a:pos x="41" y="10"/>
                </a:cxn>
                <a:cxn ang="0">
                  <a:pos x="53" y="10"/>
                </a:cxn>
                <a:cxn ang="0">
                  <a:pos x="67" y="21"/>
                </a:cxn>
                <a:cxn ang="0">
                  <a:pos x="82" y="23"/>
                </a:cxn>
                <a:cxn ang="0">
                  <a:pos x="84" y="19"/>
                </a:cxn>
                <a:cxn ang="0">
                  <a:pos x="89" y="19"/>
                </a:cxn>
                <a:cxn ang="0">
                  <a:pos x="102" y="31"/>
                </a:cxn>
                <a:cxn ang="0">
                  <a:pos x="115" y="37"/>
                </a:cxn>
                <a:cxn ang="0">
                  <a:pos x="117" y="51"/>
                </a:cxn>
                <a:cxn ang="0">
                  <a:pos x="117" y="61"/>
                </a:cxn>
                <a:cxn ang="0">
                  <a:pos x="127" y="66"/>
                </a:cxn>
                <a:cxn ang="0">
                  <a:pos x="128" y="71"/>
                </a:cxn>
                <a:cxn ang="0">
                  <a:pos x="140" y="79"/>
                </a:cxn>
                <a:cxn ang="0">
                  <a:pos x="153" y="86"/>
                </a:cxn>
                <a:cxn ang="0">
                  <a:pos x="154" y="95"/>
                </a:cxn>
                <a:cxn ang="0">
                  <a:pos x="153" y="101"/>
                </a:cxn>
                <a:cxn ang="0">
                  <a:pos x="158" y="108"/>
                </a:cxn>
                <a:cxn ang="0">
                  <a:pos x="157" y="113"/>
                </a:cxn>
                <a:cxn ang="0">
                  <a:pos x="144" y="113"/>
                </a:cxn>
                <a:cxn ang="0">
                  <a:pos x="136" y="108"/>
                </a:cxn>
                <a:cxn ang="0">
                  <a:pos x="124" y="112"/>
                </a:cxn>
                <a:cxn ang="0">
                  <a:pos x="115" y="112"/>
                </a:cxn>
                <a:cxn ang="0">
                  <a:pos x="113" y="126"/>
                </a:cxn>
                <a:cxn ang="0">
                  <a:pos x="113" y="137"/>
                </a:cxn>
                <a:cxn ang="0">
                  <a:pos x="110" y="136"/>
                </a:cxn>
                <a:cxn ang="0">
                  <a:pos x="100" y="150"/>
                </a:cxn>
                <a:cxn ang="0">
                  <a:pos x="100" y="158"/>
                </a:cxn>
                <a:cxn ang="0">
                  <a:pos x="93" y="156"/>
                </a:cxn>
                <a:cxn ang="0">
                  <a:pos x="86" y="160"/>
                </a:cxn>
                <a:cxn ang="0">
                  <a:pos x="86" y="159"/>
                </a:cxn>
                <a:cxn ang="0">
                  <a:pos x="80" y="148"/>
                </a:cxn>
                <a:cxn ang="0">
                  <a:pos x="82" y="109"/>
                </a:cxn>
                <a:cxn ang="0">
                  <a:pos x="73" y="97"/>
                </a:cxn>
                <a:cxn ang="0">
                  <a:pos x="70" y="85"/>
                </a:cxn>
                <a:cxn ang="0">
                  <a:pos x="46" y="68"/>
                </a:cxn>
                <a:cxn ang="0">
                  <a:pos x="43" y="60"/>
                </a:cxn>
                <a:cxn ang="0">
                  <a:pos x="25" y="45"/>
                </a:cxn>
                <a:cxn ang="0">
                  <a:pos x="20" y="26"/>
                </a:cxn>
                <a:cxn ang="0">
                  <a:pos x="2" y="29"/>
                </a:cxn>
              </a:cxnLst>
              <a:rect l="0" t="0" r="r" b="b"/>
              <a:pathLst>
                <a:path w="158" h="160">
                  <a:moveTo>
                    <a:pt x="2" y="29"/>
                  </a:moveTo>
                  <a:lnTo>
                    <a:pt x="0" y="19"/>
                  </a:lnTo>
                  <a:lnTo>
                    <a:pt x="2" y="14"/>
                  </a:lnTo>
                  <a:lnTo>
                    <a:pt x="0" y="3"/>
                  </a:lnTo>
                  <a:lnTo>
                    <a:pt x="7" y="5"/>
                  </a:lnTo>
                  <a:lnTo>
                    <a:pt x="9" y="3"/>
                  </a:lnTo>
                  <a:lnTo>
                    <a:pt x="18" y="8"/>
                  </a:lnTo>
                  <a:lnTo>
                    <a:pt x="20" y="3"/>
                  </a:lnTo>
                  <a:lnTo>
                    <a:pt x="31" y="3"/>
                  </a:lnTo>
                  <a:lnTo>
                    <a:pt x="35" y="0"/>
                  </a:lnTo>
                  <a:lnTo>
                    <a:pt x="41" y="10"/>
                  </a:lnTo>
                  <a:lnTo>
                    <a:pt x="53" y="10"/>
                  </a:lnTo>
                  <a:lnTo>
                    <a:pt x="67" y="21"/>
                  </a:lnTo>
                  <a:lnTo>
                    <a:pt x="82" y="23"/>
                  </a:lnTo>
                  <a:lnTo>
                    <a:pt x="84" y="19"/>
                  </a:lnTo>
                  <a:lnTo>
                    <a:pt x="89" y="19"/>
                  </a:lnTo>
                  <a:lnTo>
                    <a:pt x="102" y="31"/>
                  </a:lnTo>
                  <a:lnTo>
                    <a:pt x="115" y="37"/>
                  </a:lnTo>
                  <a:lnTo>
                    <a:pt x="117" y="51"/>
                  </a:lnTo>
                  <a:lnTo>
                    <a:pt x="117" y="61"/>
                  </a:lnTo>
                  <a:lnTo>
                    <a:pt x="127" y="66"/>
                  </a:lnTo>
                  <a:lnTo>
                    <a:pt x="128" y="71"/>
                  </a:lnTo>
                  <a:lnTo>
                    <a:pt x="140" y="79"/>
                  </a:lnTo>
                  <a:lnTo>
                    <a:pt x="153" y="86"/>
                  </a:lnTo>
                  <a:lnTo>
                    <a:pt x="154" y="95"/>
                  </a:lnTo>
                  <a:lnTo>
                    <a:pt x="153" y="101"/>
                  </a:lnTo>
                  <a:lnTo>
                    <a:pt x="158" y="108"/>
                  </a:lnTo>
                  <a:lnTo>
                    <a:pt x="157" y="113"/>
                  </a:lnTo>
                  <a:lnTo>
                    <a:pt x="144" y="113"/>
                  </a:lnTo>
                  <a:lnTo>
                    <a:pt x="136" y="108"/>
                  </a:lnTo>
                  <a:lnTo>
                    <a:pt x="124" y="112"/>
                  </a:lnTo>
                  <a:lnTo>
                    <a:pt x="115" y="112"/>
                  </a:lnTo>
                  <a:lnTo>
                    <a:pt x="113" y="126"/>
                  </a:lnTo>
                  <a:lnTo>
                    <a:pt x="113" y="137"/>
                  </a:lnTo>
                  <a:lnTo>
                    <a:pt x="110" y="136"/>
                  </a:lnTo>
                  <a:lnTo>
                    <a:pt x="100" y="150"/>
                  </a:lnTo>
                  <a:lnTo>
                    <a:pt x="100" y="158"/>
                  </a:lnTo>
                  <a:lnTo>
                    <a:pt x="93" y="156"/>
                  </a:lnTo>
                  <a:lnTo>
                    <a:pt x="86" y="160"/>
                  </a:lnTo>
                  <a:lnTo>
                    <a:pt x="86" y="159"/>
                  </a:lnTo>
                  <a:lnTo>
                    <a:pt x="80" y="148"/>
                  </a:lnTo>
                  <a:lnTo>
                    <a:pt x="82" y="109"/>
                  </a:lnTo>
                  <a:lnTo>
                    <a:pt x="73" y="97"/>
                  </a:lnTo>
                  <a:lnTo>
                    <a:pt x="70" y="85"/>
                  </a:lnTo>
                  <a:lnTo>
                    <a:pt x="46" y="68"/>
                  </a:lnTo>
                  <a:lnTo>
                    <a:pt x="43" y="60"/>
                  </a:lnTo>
                  <a:lnTo>
                    <a:pt x="25" y="45"/>
                  </a:lnTo>
                  <a:lnTo>
                    <a:pt x="20" y="26"/>
                  </a:lnTo>
                  <a:lnTo>
                    <a:pt x="2" y="2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B257DA0D-D58B-6D44-A5C1-B4FAAF352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9925" y="2978150"/>
              <a:ext cx="642938" cy="374650"/>
            </a:xfrm>
            <a:custGeom>
              <a:avLst/>
              <a:gdLst/>
              <a:ahLst/>
              <a:cxnLst>
                <a:cxn ang="0">
                  <a:pos x="100" y="8"/>
                </a:cxn>
                <a:cxn ang="0">
                  <a:pos x="115" y="3"/>
                </a:cxn>
                <a:cxn ang="0">
                  <a:pos x="145" y="12"/>
                </a:cxn>
                <a:cxn ang="0">
                  <a:pos x="161" y="24"/>
                </a:cxn>
                <a:cxn ang="0">
                  <a:pos x="185" y="24"/>
                </a:cxn>
                <a:cxn ang="0">
                  <a:pos x="203" y="16"/>
                </a:cxn>
                <a:cxn ang="0">
                  <a:pos x="244" y="5"/>
                </a:cxn>
                <a:cxn ang="0">
                  <a:pos x="278" y="19"/>
                </a:cxn>
                <a:cxn ang="0">
                  <a:pos x="299" y="42"/>
                </a:cxn>
                <a:cxn ang="0">
                  <a:pos x="326" y="71"/>
                </a:cxn>
                <a:cxn ang="0">
                  <a:pos x="333" y="122"/>
                </a:cxn>
                <a:cxn ang="0">
                  <a:pos x="347" y="146"/>
                </a:cxn>
                <a:cxn ang="0">
                  <a:pos x="376" y="148"/>
                </a:cxn>
                <a:cxn ang="0">
                  <a:pos x="398" y="142"/>
                </a:cxn>
                <a:cxn ang="0">
                  <a:pos x="400" y="152"/>
                </a:cxn>
                <a:cxn ang="0">
                  <a:pos x="405" y="162"/>
                </a:cxn>
                <a:cxn ang="0">
                  <a:pos x="389" y="175"/>
                </a:cxn>
                <a:cxn ang="0">
                  <a:pos x="371" y="185"/>
                </a:cxn>
                <a:cxn ang="0">
                  <a:pos x="369" y="196"/>
                </a:cxn>
                <a:cxn ang="0">
                  <a:pos x="363" y="216"/>
                </a:cxn>
                <a:cxn ang="0">
                  <a:pos x="355" y="226"/>
                </a:cxn>
                <a:cxn ang="0">
                  <a:pos x="342" y="216"/>
                </a:cxn>
                <a:cxn ang="0">
                  <a:pos x="328" y="215"/>
                </a:cxn>
                <a:cxn ang="0">
                  <a:pos x="299" y="208"/>
                </a:cxn>
                <a:cxn ang="0">
                  <a:pos x="260" y="221"/>
                </a:cxn>
                <a:cxn ang="0">
                  <a:pos x="244" y="231"/>
                </a:cxn>
                <a:cxn ang="0">
                  <a:pos x="221" y="232"/>
                </a:cxn>
                <a:cxn ang="0">
                  <a:pos x="204" y="229"/>
                </a:cxn>
                <a:cxn ang="0">
                  <a:pos x="187" y="229"/>
                </a:cxn>
                <a:cxn ang="0">
                  <a:pos x="158" y="229"/>
                </a:cxn>
                <a:cxn ang="0">
                  <a:pos x="149" y="226"/>
                </a:cxn>
                <a:cxn ang="0">
                  <a:pos x="125" y="232"/>
                </a:cxn>
                <a:cxn ang="0">
                  <a:pos x="123" y="220"/>
                </a:cxn>
                <a:cxn ang="0">
                  <a:pos x="119" y="209"/>
                </a:cxn>
                <a:cxn ang="0">
                  <a:pos x="103" y="199"/>
                </a:cxn>
                <a:cxn ang="0">
                  <a:pos x="109" y="186"/>
                </a:cxn>
                <a:cxn ang="0">
                  <a:pos x="86" y="192"/>
                </a:cxn>
                <a:cxn ang="0">
                  <a:pos x="69" y="190"/>
                </a:cxn>
                <a:cxn ang="0">
                  <a:pos x="50" y="177"/>
                </a:cxn>
                <a:cxn ang="0">
                  <a:pos x="53" y="163"/>
                </a:cxn>
                <a:cxn ang="0">
                  <a:pos x="29" y="150"/>
                </a:cxn>
                <a:cxn ang="0">
                  <a:pos x="11" y="127"/>
                </a:cxn>
                <a:cxn ang="0">
                  <a:pos x="0" y="118"/>
                </a:cxn>
                <a:cxn ang="0">
                  <a:pos x="17" y="107"/>
                </a:cxn>
                <a:cxn ang="0">
                  <a:pos x="34" y="101"/>
                </a:cxn>
                <a:cxn ang="0">
                  <a:pos x="41" y="86"/>
                </a:cxn>
                <a:cxn ang="0">
                  <a:pos x="67" y="38"/>
                </a:cxn>
                <a:cxn ang="0">
                  <a:pos x="87" y="20"/>
                </a:cxn>
                <a:cxn ang="0">
                  <a:pos x="91" y="9"/>
                </a:cxn>
              </a:cxnLst>
              <a:rect l="0" t="0" r="r" b="b"/>
              <a:pathLst>
                <a:path w="405" h="236">
                  <a:moveTo>
                    <a:pt x="91" y="9"/>
                  </a:moveTo>
                  <a:lnTo>
                    <a:pt x="100" y="8"/>
                  </a:lnTo>
                  <a:lnTo>
                    <a:pt x="106" y="3"/>
                  </a:lnTo>
                  <a:lnTo>
                    <a:pt x="115" y="3"/>
                  </a:lnTo>
                  <a:lnTo>
                    <a:pt x="132" y="12"/>
                  </a:lnTo>
                  <a:lnTo>
                    <a:pt x="145" y="12"/>
                  </a:lnTo>
                  <a:lnTo>
                    <a:pt x="157" y="18"/>
                  </a:lnTo>
                  <a:lnTo>
                    <a:pt x="161" y="24"/>
                  </a:lnTo>
                  <a:lnTo>
                    <a:pt x="171" y="29"/>
                  </a:lnTo>
                  <a:lnTo>
                    <a:pt x="185" y="24"/>
                  </a:lnTo>
                  <a:lnTo>
                    <a:pt x="195" y="24"/>
                  </a:lnTo>
                  <a:lnTo>
                    <a:pt x="203" y="16"/>
                  </a:lnTo>
                  <a:lnTo>
                    <a:pt x="233" y="11"/>
                  </a:lnTo>
                  <a:lnTo>
                    <a:pt x="244" y="5"/>
                  </a:lnTo>
                  <a:lnTo>
                    <a:pt x="273" y="0"/>
                  </a:lnTo>
                  <a:lnTo>
                    <a:pt x="278" y="19"/>
                  </a:lnTo>
                  <a:lnTo>
                    <a:pt x="296" y="34"/>
                  </a:lnTo>
                  <a:lnTo>
                    <a:pt x="299" y="42"/>
                  </a:lnTo>
                  <a:lnTo>
                    <a:pt x="323" y="59"/>
                  </a:lnTo>
                  <a:lnTo>
                    <a:pt x="326" y="71"/>
                  </a:lnTo>
                  <a:lnTo>
                    <a:pt x="335" y="83"/>
                  </a:lnTo>
                  <a:lnTo>
                    <a:pt x="333" y="122"/>
                  </a:lnTo>
                  <a:lnTo>
                    <a:pt x="339" y="133"/>
                  </a:lnTo>
                  <a:lnTo>
                    <a:pt x="347" y="146"/>
                  </a:lnTo>
                  <a:lnTo>
                    <a:pt x="359" y="148"/>
                  </a:lnTo>
                  <a:lnTo>
                    <a:pt x="376" y="148"/>
                  </a:lnTo>
                  <a:lnTo>
                    <a:pt x="383" y="144"/>
                  </a:lnTo>
                  <a:lnTo>
                    <a:pt x="398" y="142"/>
                  </a:lnTo>
                  <a:lnTo>
                    <a:pt x="405" y="148"/>
                  </a:lnTo>
                  <a:lnTo>
                    <a:pt x="400" y="152"/>
                  </a:lnTo>
                  <a:lnTo>
                    <a:pt x="405" y="156"/>
                  </a:lnTo>
                  <a:lnTo>
                    <a:pt x="405" y="162"/>
                  </a:lnTo>
                  <a:lnTo>
                    <a:pt x="399" y="173"/>
                  </a:lnTo>
                  <a:lnTo>
                    <a:pt x="389" y="175"/>
                  </a:lnTo>
                  <a:lnTo>
                    <a:pt x="374" y="176"/>
                  </a:lnTo>
                  <a:lnTo>
                    <a:pt x="371" y="185"/>
                  </a:lnTo>
                  <a:lnTo>
                    <a:pt x="365" y="190"/>
                  </a:lnTo>
                  <a:lnTo>
                    <a:pt x="369" y="196"/>
                  </a:lnTo>
                  <a:lnTo>
                    <a:pt x="368" y="209"/>
                  </a:lnTo>
                  <a:lnTo>
                    <a:pt x="363" y="216"/>
                  </a:lnTo>
                  <a:lnTo>
                    <a:pt x="366" y="226"/>
                  </a:lnTo>
                  <a:lnTo>
                    <a:pt x="355" y="226"/>
                  </a:lnTo>
                  <a:lnTo>
                    <a:pt x="353" y="221"/>
                  </a:lnTo>
                  <a:lnTo>
                    <a:pt x="342" y="216"/>
                  </a:lnTo>
                  <a:lnTo>
                    <a:pt x="333" y="219"/>
                  </a:lnTo>
                  <a:lnTo>
                    <a:pt x="328" y="215"/>
                  </a:lnTo>
                  <a:lnTo>
                    <a:pt x="313" y="209"/>
                  </a:lnTo>
                  <a:lnTo>
                    <a:pt x="299" y="208"/>
                  </a:lnTo>
                  <a:lnTo>
                    <a:pt x="287" y="209"/>
                  </a:lnTo>
                  <a:lnTo>
                    <a:pt x="260" y="221"/>
                  </a:lnTo>
                  <a:lnTo>
                    <a:pt x="255" y="227"/>
                  </a:lnTo>
                  <a:lnTo>
                    <a:pt x="244" y="231"/>
                  </a:lnTo>
                  <a:lnTo>
                    <a:pt x="238" y="234"/>
                  </a:lnTo>
                  <a:lnTo>
                    <a:pt x="221" y="232"/>
                  </a:lnTo>
                  <a:lnTo>
                    <a:pt x="213" y="232"/>
                  </a:lnTo>
                  <a:lnTo>
                    <a:pt x="204" y="229"/>
                  </a:lnTo>
                  <a:lnTo>
                    <a:pt x="196" y="232"/>
                  </a:lnTo>
                  <a:lnTo>
                    <a:pt x="187" y="229"/>
                  </a:lnTo>
                  <a:lnTo>
                    <a:pt x="174" y="236"/>
                  </a:lnTo>
                  <a:lnTo>
                    <a:pt x="158" y="229"/>
                  </a:lnTo>
                  <a:lnTo>
                    <a:pt x="154" y="231"/>
                  </a:lnTo>
                  <a:lnTo>
                    <a:pt x="149" y="226"/>
                  </a:lnTo>
                  <a:lnTo>
                    <a:pt x="137" y="226"/>
                  </a:lnTo>
                  <a:lnTo>
                    <a:pt x="125" y="232"/>
                  </a:lnTo>
                  <a:lnTo>
                    <a:pt x="120" y="225"/>
                  </a:lnTo>
                  <a:lnTo>
                    <a:pt x="123" y="220"/>
                  </a:lnTo>
                  <a:lnTo>
                    <a:pt x="125" y="214"/>
                  </a:lnTo>
                  <a:lnTo>
                    <a:pt x="119" y="209"/>
                  </a:lnTo>
                  <a:lnTo>
                    <a:pt x="105" y="209"/>
                  </a:lnTo>
                  <a:lnTo>
                    <a:pt x="103" y="199"/>
                  </a:lnTo>
                  <a:lnTo>
                    <a:pt x="102" y="193"/>
                  </a:lnTo>
                  <a:lnTo>
                    <a:pt x="109" y="186"/>
                  </a:lnTo>
                  <a:lnTo>
                    <a:pt x="93" y="182"/>
                  </a:lnTo>
                  <a:lnTo>
                    <a:pt x="86" y="192"/>
                  </a:lnTo>
                  <a:lnTo>
                    <a:pt x="79" y="186"/>
                  </a:lnTo>
                  <a:lnTo>
                    <a:pt x="69" y="190"/>
                  </a:lnTo>
                  <a:lnTo>
                    <a:pt x="64" y="182"/>
                  </a:lnTo>
                  <a:lnTo>
                    <a:pt x="50" y="177"/>
                  </a:lnTo>
                  <a:lnTo>
                    <a:pt x="47" y="174"/>
                  </a:lnTo>
                  <a:lnTo>
                    <a:pt x="53" y="163"/>
                  </a:lnTo>
                  <a:lnTo>
                    <a:pt x="41" y="155"/>
                  </a:lnTo>
                  <a:lnTo>
                    <a:pt x="29" y="150"/>
                  </a:lnTo>
                  <a:lnTo>
                    <a:pt x="26" y="142"/>
                  </a:lnTo>
                  <a:lnTo>
                    <a:pt x="11" y="127"/>
                  </a:lnTo>
                  <a:lnTo>
                    <a:pt x="9" y="121"/>
                  </a:lnTo>
                  <a:lnTo>
                    <a:pt x="0" y="118"/>
                  </a:lnTo>
                  <a:lnTo>
                    <a:pt x="9" y="110"/>
                  </a:lnTo>
                  <a:lnTo>
                    <a:pt x="17" y="107"/>
                  </a:lnTo>
                  <a:lnTo>
                    <a:pt x="21" y="100"/>
                  </a:lnTo>
                  <a:lnTo>
                    <a:pt x="34" y="101"/>
                  </a:lnTo>
                  <a:lnTo>
                    <a:pt x="41" y="94"/>
                  </a:lnTo>
                  <a:lnTo>
                    <a:pt x="41" y="86"/>
                  </a:lnTo>
                  <a:lnTo>
                    <a:pt x="58" y="64"/>
                  </a:lnTo>
                  <a:lnTo>
                    <a:pt x="67" y="38"/>
                  </a:lnTo>
                  <a:lnTo>
                    <a:pt x="76" y="23"/>
                  </a:lnTo>
                  <a:lnTo>
                    <a:pt x="87" y="20"/>
                  </a:lnTo>
                  <a:lnTo>
                    <a:pt x="92" y="12"/>
                  </a:lnTo>
                  <a:lnTo>
                    <a:pt x="91" y="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0554CF57-8C50-7F44-9083-3B33081F1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875" y="2954338"/>
              <a:ext cx="419100" cy="246063"/>
            </a:xfrm>
            <a:custGeom>
              <a:avLst/>
              <a:gdLst/>
              <a:ahLst/>
              <a:cxnLst>
                <a:cxn ang="0">
                  <a:pos x="172" y="133"/>
                </a:cxn>
                <a:cxn ang="0">
                  <a:pos x="181" y="125"/>
                </a:cxn>
                <a:cxn ang="0">
                  <a:pos x="189" y="122"/>
                </a:cxn>
                <a:cxn ang="0">
                  <a:pos x="193" y="115"/>
                </a:cxn>
                <a:cxn ang="0">
                  <a:pos x="206" y="116"/>
                </a:cxn>
                <a:cxn ang="0">
                  <a:pos x="213" y="109"/>
                </a:cxn>
                <a:cxn ang="0">
                  <a:pos x="213" y="101"/>
                </a:cxn>
                <a:cxn ang="0">
                  <a:pos x="230" y="79"/>
                </a:cxn>
                <a:cxn ang="0">
                  <a:pos x="239" y="53"/>
                </a:cxn>
                <a:cxn ang="0">
                  <a:pos x="248" y="38"/>
                </a:cxn>
                <a:cxn ang="0">
                  <a:pos x="259" y="35"/>
                </a:cxn>
                <a:cxn ang="0">
                  <a:pos x="264" y="27"/>
                </a:cxn>
                <a:cxn ang="0">
                  <a:pos x="260" y="16"/>
                </a:cxn>
                <a:cxn ang="0">
                  <a:pos x="248" y="10"/>
                </a:cxn>
                <a:cxn ang="0">
                  <a:pos x="237" y="0"/>
                </a:cxn>
                <a:cxn ang="0">
                  <a:pos x="228" y="6"/>
                </a:cxn>
                <a:cxn ang="0">
                  <a:pos x="213" y="3"/>
                </a:cxn>
                <a:cxn ang="0">
                  <a:pos x="194" y="4"/>
                </a:cxn>
                <a:cxn ang="0">
                  <a:pos x="184" y="1"/>
                </a:cxn>
                <a:cxn ang="0">
                  <a:pos x="168" y="3"/>
                </a:cxn>
                <a:cxn ang="0">
                  <a:pos x="161" y="14"/>
                </a:cxn>
                <a:cxn ang="0">
                  <a:pos x="153" y="20"/>
                </a:cxn>
                <a:cxn ang="0">
                  <a:pos x="152" y="28"/>
                </a:cxn>
                <a:cxn ang="0">
                  <a:pos x="138" y="16"/>
                </a:cxn>
                <a:cxn ang="0">
                  <a:pos x="124" y="27"/>
                </a:cxn>
                <a:cxn ang="0">
                  <a:pos x="110" y="31"/>
                </a:cxn>
                <a:cxn ang="0">
                  <a:pos x="109" y="39"/>
                </a:cxn>
                <a:cxn ang="0">
                  <a:pos x="85" y="40"/>
                </a:cxn>
                <a:cxn ang="0">
                  <a:pos x="69" y="45"/>
                </a:cxn>
                <a:cxn ang="0">
                  <a:pos x="54" y="43"/>
                </a:cxn>
                <a:cxn ang="0">
                  <a:pos x="22" y="27"/>
                </a:cxn>
                <a:cxn ang="0">
                  <a:pos x="23" y="32"/>
                </a:cxn>
                <a:cxn ang="0">
                  <a:pos x="25" y="40"/>
                </a:cxn>
                <a:cxn ang="0">
                  <a:pos x="23" y="49"/>
                </a:cxn>
                <a:cxn ang="0">
                  <a:pos x="3" y="49"/>
                </a:cxn>
                <a:cxn ang="0">
                  <a:pos x="0" y="52"/>
                </a:cxn>
                <a:cxn ang="0">
                  <a:pos x="9" y="61"/>
                </a:cxn>
                <a:cxn ang="0">
                  <a:pos x="5" y="70"/>
                </a:cxn>
                <a:cxn ang="0">
                  <a:pos x="4" y="79"/>
                </a:cxn>
                <a:cxn ang="0">
                  <a:pos x="9" y="86"/>
                </a:cxn>
                <a:cxn ang="0">
                  <a:pos x="2" y="95"/>
                </a:cxn>
                <a:cxn ang="0">
                  <a:pos x="0" y="95"/>
                </a:cxn>
                <a:cxn ang="0">
                  <a:pos x="11" y="107"/>
                </a:cxn>
                <a:cxn ang="0">
                  <a:pos x="14" y="120"/>
                </a:cxn>
                <a:cxn ang="0">
                  <a:pos x="21" y="122"/>
                </a:cxn>
                <a:cxn ang="0">
                  <a:pos x="40" y="138"/>
                </a:cxn>
                <a:cxn ang="0">
                  <a:pos x="50" y="142"/>
                </a:cxn>
                <a:cxn ang="0">
                  <a:pos x="57" y="147"/>
                </a:cxn>
                <a:cxn ang="0">
                  <a:pos x="81" y="150"/>
                </a:cxn>
                <a:cxn ang="0">
                  <a:pos x="98" y="155"/>
                </a:cxn>
                <a:cxn ang="0">
                  <a:pos x="106" y="148"/>
                </a:cxn>
                <a:cxn ang="0">
                  <a:pos x="110" y="150"/>
                </a:cxn>
                <a:cxn ang="0">
                  <a:pos x="117" y="143"/>
                </a:cxn>
                <a:cxn ang="0">
                  <a:pos x="127" y="138"/>
                </a:cxn>
                <a:cxn ang="0">
                  <a:pos x="135" y="139"/>
                </a:cxn>
                <a:cxn ang="0">
                  <a:pos x="138" y="136"/>
                </a:cxn>
                <a:cxn ang="0">
                  <a:pos x="149" y="127"/>
                </a:cxn>
                <a:cxn ang="0">
                  <a:pos x="155" y="130"/>
                </a:cxn>
                <a:cxn ang="0">
                  <a:pos x="165" y="131"/>
                </a:cxn>
                <a:cxn ang="0">
                  <a:pos x="172" y="133"/>
                </a:cxn>
              </a:cxnLst>
              <a:rect l="0" t="0" r="r" b="b"/>
              <a:pathLst>
                <a:path w="264" h="155">
                  <a:moveTo>
                    <a:pt x="172" y="133"/>
                  </a:moveTo>
                  <a:lnTo>
                    <a:pt x="181" y="125"/>
                  </a:lnTo>
                  <a:lnTo>
                    <a:pt x="189" y="122"/>
                  </a:lnTo>
                  <a:lnTo>
                    <a:pt x="193" y="115"/>
                  </a:lnTo>
                  <a:lnTo>
                    <a:pt x="206" y="116"/>
                  </a:lnTo>
                  <a:lnTo>
                    <a:pt x="213" y="109"/>
                  </a:lnTo>
                  <a:lnTo>
                    <a:pt x="213" y="101"/>
                  </a:lnTo>
                  <a:lnTo>
                    <a:pt x="230" y="79"/>
                  </a:lnTo>
                  <a:lnTo>
                    <a:pt x="239" y="53"/>
                  </a:lnTo>
                  <a:lnTo>
                    <a:pt x="248" y="38"/>
                  </a:lnTo>
                  <a:lnTo>
                    <a:pt x="259" y="35"/>
                  </a:lnTo>
                  <a:lnTo>
                    <a:pt x="264" y="27"/>
                  </a:lnTo>
                  <a:lnTo>
                    <a:pt x="260" y="16"/>
                  </a:lnTo>
                  <a:lnTo>
                    <a:pt x="248" y="10"/>
                  </a:lnTo>
                  <a:lnTo>
                    <a:pt x="237" y="0"/>
                  </a:lnTo>
                  <a:lnTo>
                    <a:pt x="228" y="6"/>
                  </a:lnTo>
                  <a:lnTo>
                    <a:pt x="213" y="3"/>
                  </a:lnTo>
                  <a:lnTo>
                    <a:pt x="194" y="4"/>
                  </a:lnTo>
                  <a:lnTo>
                    <a:pt x="184" y="1"/>
                  </a:lnTo>
                  <a:lnTo>
                    <a:pt x="168" y="3"/>
                  </a:lnTo>
                  <a:lnTo>
                    <a:pt x="161" y="14"/>
                  </a:lnTo>
                  <a:lnTo>
                    <a:pt x="153" y="20"/>
                  </a:lnTo>
                  <a:lnTo>
                    <a:pt x="152" y="28"/>
                  </a:lnTo>
                  <a:lnTo>
                    <a:pt x="138" y="16"/>
                  </a:lnTo>
                  <a:lnTo>
                    <a:pt x="124" y="27"/>
                  </a:lnTo>
                  <a:lnTo>
                    <a:pt x="110" y="31"/>
                  </a:lnTo>
                  <a:lnTo>
                    <a:pt x="109" y="39"/>
                  </a:lnTo>
                  <a:lnTo>
                    <a:pt x="85" y="40"/>
                  </a:lnTo>
                  <a:lnTo>
                    <a:pt x="69" y="45"/>
                  </a:lnTo>
                  <a:lnTo>
                    <a:pt x="54" y="43"/>
                  </a:lnTo>
                  <a:lnTo>
                    <a:pt x="22" y="27"/>
                  </a:lnTo>
                  <a:lnTo>
                    <a:pt x="23" y="32"/>
                  </a:lnTo>
                  <a:lnTo>
                    <a:pt x="25" y="40"/>
                  </a:lnTo>
                  <a:lnTo>
                    <a:pt x="23" y="49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9" y="61"/>
                  </a:lnTo>
                  <a:lnTo>
                    <a:pt x="5" y="70"/>
                  </a:lnTo>
                  <a:lnTo>
                    <a:pt x="4" y="79"/>
                  </a:lnTo>
                  <a:lnTo>
                    <a:pt x="9" y="86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11" y="107"/>
                  </a:lnTo>
                  <a:lnTo>
                    <a:pt x="14" y="120"/>
                  </a:lnTo>
                  <a:lnTo>
                    <a:pt x="21" y="122"/>
                  </a:lnTo>
                  <a:lnTo>
                    <a:pt x="40" y="138"/>
                  </a:lnTo>
                  <a:lnTo>
                    <a:pt x="50" y="142"/>
                  </a:lnTo>
                  <a:lnTo>
                    <a:pt x="57" y="147"/>
                  </a:lnTo>
                  <a:lnTo>
                    <a:pt x="81" y="150"/>
                  </a:lnTo>
                  <a:lnTo>
                    <a:pt x="98" y="155"/>
                  </a:lnTo>
                  <a:lnTo>
                    <a:pt x="106" y="148"/>
                  </a:lnTo>
                  <a:lnTo>
                    <a:pt x="110" y="150"/>
                  </a:lnTo>
                  <a:lnTo>
                    <a:pt x="117" y="143"/>
                  </a:lnTo>
                  <a:lnTo>
                    <a:pt x="127" y="138"/>
                  </a:lnTo>
                  <a:lnTo>
                    <a:pt x="135" y="139"/>
                  </a:lnTo>
                  <a:lnTo>
                    <a:pt x="138" y="136"/>
                  </a:lnTo>
                  <a:lnTo>
                    <a:pt x="149" y="127"/>
                  </a:lnTo>
                  <a:lnTo>
                    <a:pt x="155" y="130"/>
                  </a:lnTo>
                  <a:lnTo>
                    <a:pt x="165" y="131"/>
                  </a:lnTo>
                  <a:lnTo>
                    <a:pt x="172" y="13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A111DA1A-96DF-E045-9EB1-364C3B5CF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8625" y="2884488"/>
              <a:ext cx="366713" cy="141288"/>
            </a:xfrm>
            <a:custGeom>
              <a:avLst/>
              <a:gdLst/>
              <a:ahLst/>
              <a:cxnLst>
                <a:cxn ang="0">
                  <a:pos x="2" y="71"/>
                </a:cxn>
                <a:cxn ang="0">
                  <a:pos x="34" y="87"/>
                </a:cxn>
                <a:cxn ang="0">
                  <a:pos x="49" y="89"/>
                </a:cxn>
                <a:cxn ang="0">
                  <a:pos x="65" y="84"/>
                </a:cxn>
                <a:cxn ang="0">
                  <a:pos x="89" y="83"/>
                </a:cxn>
                <a:cxn ang="0">
                  <a:pos x="90" y="75"/>
                </a:cxn>
                <a:cxn ang="0">
                  <a:pos x="104" y="71"/>
                </a:cxn>
                <a:cxn ang="0">
                  <a:pos x="118" y="60"/>
                </a:cxn>
                <a:cxn ang="0">
                  <a:pos x="132" y="72"/>
                </a:cxn>
                <a:cxn ang="0">
                  <a:pos x="133" y="64"/>
                </a:cxn>
                <a:cxn ang="0">
                  <a:pos x="141" y="58"/>
                </a:cxn>
                <a:cxn ang="0">
                  <a:pos x="148" y="47"/>
                </a:cxn>
                <a:cxn ang="0">
                  <a:pos x="164" y="45"/>
                </a:cxn>
                <a:cxn ang="0">
                  <a:pos x="174" y="48"/>
                </a:cxn>
                <a:cxn ang="0">
                  <a:pos x="193" y="47"/>
                </a:cxn>
                <a:cxn ang="0">
                  <a:pos x="208" y="50"/>
                </a:cxn>
                <a:cxn ang="0">
                  <a:pos x="220" y="43"/>
                </a:cxn>
                <a:cxn ang="0">
                  <a:pos x="221" y="29"/>
                </a:cxn>
                <a:cxn ang="0">
                  <a:pos x="231" y="10"/>
                </a:cxn>
                <a:cxn ang="0">
                  <a:pos x="229" y="10"/>
                </a:cxn>
                <a:cxn ang="0">
                  <a:pos x="210" y="1"/>
                </a:cxn>
                <a:cxn ang="0">
                  <a:pos x="193" y="0"/>
                </a:cxn>
                <a:cxn ang="0">
                  <a:pos x="187" y="2"/>
                </a:cxn>
                <a:cxn ang="0">
                  <a:pos x="180" y="0"/>
                </a:cxn>
                <a:cxn ang="0">
                  <a:pos x="173" y="1"/>
                </a:cxn>
                <a:cxn ang="0">
                  <a:pos x="167" y="6"/>
                </a:cxn>
                <a:cxn ang="0">
                  <a:pos x="161" y="2"/>
                </a:cxn>
                <a:cxn ang="0">
                  <a:pos x="150" y="2"/>
                </a:cxn>
                <a:cxn ang="0">
                  <a:pos x="142" y="1"/>
                </a:cxn>
                <a:cxn ang="0">
                  <a:pos x="135" y="3"/>
                </a:cxn>
                <a:cxn ang="0">
                  <a:pos x="130" y="10"/>
                </a:cxn>
                <a:cxn ang="0">
                  <a:pos x="121" y="10"/>
                </a:cxn>
                <a:cxn ang="0">
                  <a:pos x="118" y="9"/>
                </a:cxn>
                <a:cxn ang="0">
                  <a:pos x="118" y="10"/>
                </a:cxn>
                <a:cxn ang="0">
                  <a:pos x="98" y="8"/>
                </a:cxn>
                <a:cxn ang="0">
                  <a:pos x="88" y="16"/>
                </a:cxn>
                <a:cxn ang="0">
                  <a:pos x="76" y="18"/>
                </a:cxn>
                <a:cxn ang="0">
                  <a:pos x="63" y="29"/>
                </a:cxn>
                <a:cxn ang="0">
                  <a:pos x="46" y="31"/>
                </a:cxn>
                <a:cxn ang="0">
                  <a:pos x="29" y="37"/>
                </a:cxn>
                <a:cxn ang="0">
                  <a:pos x="24" y="33"/>
                </a:cxn>
                <a:cxn ang="0">
                  <a:pos x="14" y="33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53"/>
                </a:cxn>
                <a:cxn ang="0">
                  <a:pos x="2" y="71"/>
                </a:cxn>
              </a:cxnLst>
              <a:rect l="0" t="0" r="r" b="b"/>
              <a:pathLst>
                <a:path w="231" h="89">
                  <a:moveTo>
                    <a:pt x="2" y="71"/>
                  </a:moveTo>
                  <a:lnTo>
                    <a:pt x="34" y="87"/>
                  </a:lnTo>
                  <a:lnTo>
                    <a:pt x="49" y="89"/>
                  </a:lnTo>
                  <a:lnTo>
                    <a:pt x="65" y="84"/>
                  </a:lnTo>
                  <a:lnTo>
                    <a:pt x="89" y="83"/>
                  </a:lnTo>
                  <a:lnTo>
                    <a:pt x="90" y="75"/>
                  </a:lnTo>
                  <a:lnTo>
                    <a:pt x="104" y="71"/>
                  </a:lnTo>
                  <a:lnTo>
                    <a:pt x="118" y="60"/>
                  </a:lnTo>
                  <a:lnTo>
                    <a:pt x="132" y="72"/>
                  </a:lnTo>
                  <a:lnTo>
                    <a:pt x="133" y="64"/>
                  </a:lnTo>
                  <a:lnTo>
                    <a:pt x="141" y="58"/>
                  </a:lnTo>
                  <a:lnTo>
                    <a:pt x="148" y="47"/>
                  </a:lnTo>
                  <a:lnTo>
                    <a:pt x="164" y="45"/>
                  </a:lnTo>
                  <a:lnTo>
                    <a:pt x="174" y="48"/>
                  </a:lnTo>
                  <a:lnTo>
                    <a:pt x="193" y="47"/>
                  </a:lnTo>
                  <a:lnTo>
                    <a:pt x="208" y="50"/>
                  </a:lnTo>
                  <a:lnTo>
                    <a:pt x="220" y="43"/>
                  </a:lnTo>
                  <a:lnTo>
                    <a:pt x="221" y="29"/>
                  </a:lnTo>
                  <a:lnTo>
                    <a:pt x="231" y="10"/>
                  </a:lnTo>
                  <a:lnTo>
                    <a:pt x="229" y="10"/>
                  </a:lnTo>
                  <a:lnTo>
                    <a:pt x="210" y="1"/>
                  </a:lnTo>
                  <a:lnTo>
                    <a:pt x="193" y="0"/>
                  </a:lnTo>
                  <a:lnTo>
                    <a:pt x="187" y="2"/>
                  </a:lnTo>
                  <a:lnTo>
                    <a:pt x="180" y="0"/>
                  </a:lnTo>
                  <a:lnTo>
                    <a:pt x="173" y="1"/>
                  </a:lnTo>
                  <a:lnTo>
                    <a:pt x="167" y="6"/>
                  </a:lnTo>
                  <a:lnTo>
                    <a:pt x="161" y="2"/>
                  </a:lnTo>
                  <a:lnTo>
                    <a:pt x="150" y="2"/>
                  </a:lnTo>
                  <a:lnTo>
                    <a:pt x="142" y="1"/>
                  </a:lnTo>
                  <a:lnTo>
                    <a:pt x="135" y="3"/>
                  </a:lnTo>
                  <a:lnTo>
                    <a:pt x="130" y="10"/>
                  </a:lnTo>
                  <a:lnTo>
                    <a:pt x="121" y="10"/>
                  </a:lnTo>
                  <a:lnTo>
                    <a:pt x="118" y="9"/>
                  </a:lnTo>
                  <a:lnTo>
                    <a:pt x="118" y="10"/>
                  </a:lnTo>
                  <a:lnTo>
                    <a:pt x="98" y="8"/>
                  </a:lnTo>
                  <a:lnTo>
                    <a:pt x="88" y="16"/>
                  </a:lnTo>
                  <a:lnTo>
                    <a:pt x="76" y="18"/>
                  </a:lnTo>
                  <a:lnTo>
                    <a:pt x="63" y="29"/>
                  </a:lnTo>
                  <a:lnTo>
                    <a:pt x="46" y="31"/>
                  </a:lnTo>
                  <a:lnTo>
                    <a:pt x="29" y="37"/>
                  </a:lnTo>
                  <a:lnTo>
                    <a:pt x="24" y="33"/>
                  </a:lnTo>
                  <a:lnTo>
                    <a:pt x="14" y="33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53"/>
                  </a:lnTo>
                  <a:lnTo>
                    <a:pt x="2" y="7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8" name="Freeform 22">
              <a:extLst>
                <a:ext uri="{FF2B5EF4-FFF2-40B4-BE49-F238E27FC236}">
                  <a16:creationId xmlns:a16="http://schemas.microsoft.com/office/drawing/2014/main" id="{D0D7DAAC-0E04-E54B-B0B8-55DD05348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675" y="3308350"/>
              <a:ext cx="422275" cy="241300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23" y="12"/>
                </a:cxn>
                <a:cxn ang="0">
                  <a:pos x="25" y="24"/>
                </a:cxn>
                <a:cxn ang="0">
                  <a:pos x="49" y="18"/>
                </a:cxn>
                <a:cxn ang="0">
                  <a:pos x="58" y="21"/>
                </a:cxn>
                <a:cxn ang="0">
                  <a:pos x="87" y="21"/>
                </a:cxn>
                <a:cxn ang="0">
                  <a:pos x="104" y="21"/>
                </a:cxn>
                <a:cxn ang="0">
                  <a:pos x="121" y="24"/>
                </a:cxn>
                <a:cxn ang="0">
                  <a:pos x="144" y="23"/>
                </a:cxn>
                <a:cxn ang="0">
                  <a:pos x="160" y="13"/>
                </a:cxn>
                <a:cxn ang="0">
                  <a:pos x="199" y="0"/>
                </a:cxn>
                <a:cxn ang="0">
                  <a:pos x="228" y="7"/>
                </a:cxn>
                <a:cxn ang="0">
                  <a:pos x="242" y="8"/>
                </a:cxn>
                <a:cxn ang="0">
                  <a:pos x="255" y="18"/>
                </a:cxn>
                <a:cxn ang="0">
                  <a:pos x="266" y="20"/>
                </a:cxn>
                <a:cxn ang="0">
                  <a:pos x="259" y="41"/>
                </a:cxn>
                <a:cxn ang="0">
                  <a:pos x="239" y="49"/>
                </a:cxn>
                <a:cxn ang="0">
                  <a:pos x="237" y="76"/>
                </a:cxn>
                <a:cxn ang="0">
                  <a:pos x="226" y="89"/>
                </a:cxn>
                <a:cxn ang="0">
                  <a:pos x="243" y="102"/>
                </a:cxn>
                <a:cxn ang="0">
                  <a:pos x="251" y="113"/>
                </a:cxn>
                <a:cxn ang="0">
                  <a:pos x="234" y="116"/>
                </a:cxn>
                <a:cxn ang="0">
                  <a:pos x="207" y="106"/>
                </a:cxn>
                <a:cxn ang="0">
                  <a:pos x="195" y="112"/>
                </a:cxn>
                <a:cxn ang="0">
                  <a:pos x="188" y="121"/>
                </a:cxn>
                <a:cxn ang="0">
                  <a:pos x="171" y="128"/>
                </a:cxn>
                <a:cxn ang="0">
                  <a:pos x="173" y="145"/>
                </a:cxn>
                <a:cxn ang="0">
                  <a:pos x="148" y="147"/>
                </a:cxn>
                <a:cxn ang="0">
                  <a:pos x="131" y="147"/>
                </a:cxn>
                <a:cxn ang="0">
                  <a:pos x="116" y="152"/>
                </a:cxn>
                <a:cxn ang="0">
                  <a:pos x="107" y="145"/>
                </a:cxn>
                <a:cxn ang="0">
                  <a:pos x="83" y="142"/>
                </a:cxn>
                <a:cxn ang="0">
                  <a:pos x="63" y="152"/>
                </a:cxn>
                <a:cxn ang="0">
                  <a:pos x="44" y="150"/>
                </a:cxn>
                <a:cxn ang="0">
                  <a:pos x="42" y="142"/>
                </a:cxn>
                <a:cxn ang="0">
                  <a:pos x="28" y="112"/>
                </a:cxn>
                <a:cxn ang="0">
                  <a:pos x="10" y="99"/>
                </a:cxn>
                <a:cxn ang="0">
                  <a:pos x="6" y="83"/>
                </a:cxn>
                <a:cxn ang="0">
                  <a:pos x="22" y="63"/>
                </a:cxn>
                <a:cxn ang="0">
                  <a:pos x="19" y="44"/>
                </a:cxn>
                <a:cxn ang="0">
                  <a:pos x="0" y="15"/>
                </a:cxn>
                <a:cxn ang="0">
                  <a:pos x="5" y="1"/>
                </a:cxn>
              </a:cxnLst>
              <a:rect l="0" t="0" r="r" b="b"/>
              <a:pathLst>
                <a:path w="266" h="152">
                  <a:moveTo>
                    <a:pt x="5" y="1"/>
                  </a:moveTo>
                  <a:lnTo>
                    <a:pt x="19" y="1"/>
                  </a:lnTo>
                  <a:lnTo>
                    <a:pt x="25" y="6"/>
                  </a:lnTo>
                  <a:lnTo>
                    <a:pt x="23" y="12"/>
                  </a:lnTo>
                  <a:lnTo>
                    <a:pt x="20" y="17"/>
                  </a:lnTo>
                  <a:lnTo>
                    <a:pt x="25" y="24"/>
                  </a:lnTo>
                  <a:lnTo>
                    <a:pt x="37" y="18"/>
                  </a:lnTo>
                  <a:lnTo>
                    <a:pt x="49" y="18"/>
                  </a:lnTo>
                  <a:lnTo>
                    <a:pt x="54" y="23"/>
                  </a:lnTo>
                  <a:lnTo>
                    <a:pt x="58" y="21"/>
                  </a:lnTo>
                  <a:lnTo>
                    <a:pt x="74" y="28"/>
                  </a:lnTo>
                  <a:lnTo>
                    <a:pt x="87" y="21"/>
                  </a:lnTo>
                  <a:lnTo>
                    <a:pt x="96" y="24"/>
                  </a:lnTo>
                  <a:lnTo>
                    <a:pt x="104" y="21"/>
                  </a:lnTo>
                  <a:lnTo>
                    <a:pt x="113" y="24"/>
                  </a:lnTo>
                  <a:lnTo>
                    <a:pt x="121" y="24"/>
                  </a:lnTo>
                  <a:lnTo>
                    <a:pt x="138" y="26"/>
                  </a:lnTo>
                  <a:lnTo>
                    <a:pt x="144" y="23"/>
                  </a:lnTo>
                  <a:lnTo>
                    <a:pt x="155" y="19"/>
                  </a:lnTo>
                  <a:lnTo>
                    <a:pt x="160" y="13"/>
                  </a:lnTo>
                  <a:lnTo>
                    <a:pt x="187" y="1"/>
                  </a:lnTo>
                  <a:lnTo>
                    <a:pt x="199" y="0"/>
                  </a:lnTo>
                  <a:lnTo>
                    <a:pt x="213" y="1"/>
                  </a:lnTo>
                  <a:lnTo>
                    <a:pt x="228" y="7"/>
                  </a:lnTo>
                  <a:lnTo>
                    <a:pt x="233" y="11"/>
                  </a:lnTo>
                  <a:lnTo>
                    <a:pt x="242" y="8"/>
                  </a:lnTo>
                  <a:lnTo>
                    <a:pt x="253" y="13"/>
                  </a:lnTo>
                  <a:lnTo>
                    <a:pt x="255" y="18"/>
                  </a:lnTo>
                  <a:lnTo>
                    <a:pt x="266" y="18"/>
                  </a:lnTo>
                  <a:lnTo>
                    <a:pt x="266" y="20"/>
                  </a:lnTo>
                  <a:lnTo>
                    <a:pt x="265" y="36"/>
                  </a:lnTo>
                  <a:lnTo>
                    <a:pt x="259" y="41"/>
                  </a:lnTo>
                  <a:lnTo>
                    <a:pt x="251" y="40"/>
                  </a:lnTo>
                  <a:lnTo>
                    <a:pt x="239" y="49"/>
                  </a:lnTo>
                  <a:lnTo>
                    <a:pt x="241" y="67"/>
                  </a:lnTo>
                  <a:lnTo>
                    <a:pt x="237" y="76"/>
                  </a:lnTo>
                  <a:lnTo>
                    <a:pt x="224" y="84"/>
                  </a:lnTo>
                  <a:lnTo>
                    <a:pt x="226" y="89"/>
                  </a:lnTo>
                  <a:lnTo>
                    <a:pt x="234" y="90"/>
                  </a:lnTo>
                  <a:lnTo>
                    <a:pt x="243" y="102"/>
                  </a:lnTo>
                  <a:lnTo>
                    <a:pt x="251" y="112"/>
                  </a:lnTo>
                  <a:lnTo>
                    <a:pt x="251" y="113"/>
                  </a:lnTo>
                  <a:lnTo>
                    <a:pt x="240" y="111"/>
                  </a:lnTo>
                  <a:lnTo>
                    <a:pt x="234" y="116"/>
                  </a:lnTo>
                  <a:lnTo>
                    <a:pt x="220" y="106"/>
                  </a:lnTo>
                  <a:lnTo>
                    <a:pt x="207" y="106"/>
                  </a:lnTo>
                  <a:lnTo>
                    <a:pt x="202" y="112"/>
                  </a:lnTo>
                  <a:lnTo>
                    <a:pt x="195" y="112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82" y="121"/>
                  </a:lnTo>
                  <a:lnTo>
                    <a:pt x="171" y="128"/>
                  </a:lnTo>
                  <a:lnTo>
                    <a:pt x="170" y="138"/>
                  </a:lnTo>
                  <a:lnTo>
                    <a:pt x="173" y="145"/>
                  </a:lnTo>
                  <a:lnTo>
                    <a:pt x="167" y="148"/>
                  </a:lnTo>
                  <a:lnTo>
                    <a:pt x="148" y="147"/>
                  </a:lnTo>
                  <a:lnTo>
                    <a:pt x="139" y="152"/>
                  </a:lnTo>
                  <a:lnTo>
                    <a:pt x="131" y="147"/>
                  </a:lnTo>
                  <a:lnTo>
                    <a:pt x="123" y="147"/>
                  </a:lnTo>
                  <a:lnTo>
                    <a:pt x="116" y="152"/>
                  </a:lnTo>
                  <a:lnTo>
                    <a:pt x="108" y="151"/>
                  </a:lnTo>
                  <a:lnTo>
                    <a:pt x="107" y="145"/>
                  </a:lnTo>
                  <a:lnTo>
                    <a:pt x="95" y="145"/>
                  </a:lnTo>
                  <a:lnTo>
                    <a:pt x="83" y="142"/>
                  </a:lnTo>
                  <a:lnTo>
                    <a:pt x="75" y="150"/>
                  </a:lnTo>
                  <a:lnTo>
                    <a:pt x="63" y="152"/>
                  </a:lnTo>
                  <a:lnTo>
                    <a:pt x="49" y="152"/>
                  </a:lnTo>
                  <a:lnTo>
                    <a:pt x="44" y="150"/>
                  </a:lnTo>
                  <a:lnTo>
                    <a:pt x="43" y="151"/>
                  </a:lnTo>
                  <a:lnTo>
                    <a:pt x="42" y="142"/>
                  </a:lnTo>
                  <a:lnTo>
                    <a:pt x="40" y="131"/>
                  </a:lnTo>
                  <a:lnTo>
                    <a:pt x="28" y="112"/>
                  </a:lnTo>
                  <a:lnTo>
                    <a:pt x="9" y="99"/>
                  </a:lnTo>
                  <a:lnTo>
                    <a:pt x="10" y="99"/>
                  </a:lnTo>
                  <a:lnTo>
                    <a:pt x="13" y="92"/>
                  </a:lnTo>
                  <a:lnTo>
                    <a:pt x="6" y="83"/>
                  </a:lnTo>
                  <a:lnTo>
                    <a:pt x="5" y="77"/>
                  </a:lnTo>
                  <a:lnTo>
                    <a:pt x="22" y="63"/>
                  </a:lnTo>
                  <a:lnTo>
                    <a:pt x="25" y="55"/>
                  </a:lnTo>
                  <a:lnTo>
                    <a:pt x="19" y="44"/>
                  </a:lnTo>
                  <a:lnTo>
                    <a:pt x="5" y="31"/>
                  </a:lnTo>
                  <a:lnTo>
                    <a:pt x="0" y="15"/>
                  </a:lnTo>
                  <a:lnTo>
                    <a:pt x="8" y="8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69" name="Freeform 23">
              <a:extLst>
                <a:ext uri="{FF2B5EF4-FFF2-40B4-BE49-F238E27FC236}">
                  <a16:creationId xmlns:a16="http://schemas.microsoft.com/office/drawing/2014/main" id="{C7B035F9-D4C8-9E4F-B0EB-4C27AC8E8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963" y="3465513"/>
              <a:ext cx="180975" cy="133350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99" y="13"/>
                </a:cxn>
                <a:cxn ang="0">
                  <a:pos x="111" y="32"/>
                </a:cxn>
                <a:cxn ang="0">
                  <a:pos x="113" y="43"/>
                </a:cxn>
                <a:cxn ang="0">
                  <a:pos x="114" y="52"/>
                </a:cxn>
                <a:cxn ang="0">
                  <a:pos x="109" y="55"/>
                </a:cxn>
                <a:cxn ang="0">
                  <a:pos x="100" y="55"/>
                </a:cxn>
                <a:cxn ang="0">
                  <a:pos x="90" y="61"/>
                </a:cxn>
                <a:cxn ang="0">
                  <a:pos x="67" y="61"/>
                </a:cxn>
                <a:cxn ang="0">
                  <a:pos x="57" y="66"/>
                </a:cxn>
                <a:cxn ang="0">
                  <a:pos x="57" y="70"/>
                </a:cxn>
                <a:cxn ang="0">
                  <a:pos x="44" y="74"/>
                </a:cxn>
                <a:cxn ang="0">
                  <a:pos x="26" y="84"/>
                </a:cxn>
                <a:cxn ang="0">
                  <a:pos x="26" y="84"/>
                </a:cxn>
                <a:cxn ang="0">
                  <a:pos x="16" y="78"/>
                </a:cxn>
                <a:cxn ang="0">
                  <a:pos x="11" y="69"/>
                </a:cxn>
                <a:cxn ang="0">
                  <a:pos x="4" y="57"/>
                </a:cxn>
                <a:cxn ang="0">
                  <a:pos x="0" y="42"/>
                </a:cxn>
                <a:cxn ang="0">
                  <a:pos x="3" y="28"/>
                </a:cxn>
                <a:cxn ang="0">
                  <a:pos x="3" y="29"/>
                </a:cxn>
                <a:cxn ang="0">
                  <a:pos x="7" y="25"/>
                </a:cxn>
                <a:cxn ang="0">
                  <a:pos x="6" y="19"/>
                </a:cxn>
                <a:cxn ang="0">
                  <a:pos x="17" y="13"/>
                </a:cxn>
                <a:cxn ang="0">
                  <a:pos x="27" y="11"/>
                </a:cxn>
                <a:cxn ang="0">
                  <a:pos x="34" y="6"/>
                </a:cxn>
                <a:cxn ang="0">
                  <a:pos x="52" y="2"/>
                </a:cxn>
                <a:cxn ang="0">
                  <a:pos x="61" y="3"/>
                </a:cxn>
                <a:cxn ang="0">
                  <a:pos x="74" y="0"/>
                </a:cxn>
                <a:cxn ang="0">
                  <a:pos x="80" y="0"/>
                </a:cxn>
              </a:cxnLst>
              <a:rect l="0" t="0" r="r" b="b"/>
              <a:pathLst>
                <a:path w="114" h="84">
                  <a:moveTo>
                    <a:pt x="80" y="0"/>
                  </a:moveTo>
                  <a:lnTo>
                    <a:pt x="99" y="13"/>
                  </a:lnTo>
                  <a:lnTo>
                    <a:pt x="111" y="32"/>
                  </a:lnTo>
                  <a:lnTo>
                    <a:pt x="113" y="43"/>
                  </a:lnTo>
                  <a:lnTo>
                    <a:pt x="114" y="52"/>
                  </a:lnTo>
                  <a:lnTo>
                    <a:pt x="109" y="55"/>
                  </a:lnTo>
                  <a:lnTo>
                    <a:pt x="100" y="55"/>
                  </a:lnTo>
                  <a:lnTo>
                    <a:pt x="90" y="61"/>
                  </a:lnTo>
                  <a:lnTo>
                    <a:pt x="67" y="61"/>
                  </a:lnTo>
                  <a:lnTo>
                    <a:pt x="57" y="66"/>
                  </a:lnTo>
                  <a:lnTo>
                    <a:pt x="57" y="70"/>
                  </a:lnTo>
                  <a:lnTo>
                    <a:pt x="44" y="7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16" y="78"/>
                  </a:lnTo>
                  <a:lnTo>
                    <a:pt x="11" y="69"/>
                  </a:lnTo>
                  <a:lnTo>
                    <a:pt x="4" y="57"/>
                  </a:lnTo>
                  <a:lnTo>
                    <a:pt x="0" y="42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7" y="25"/>
                  </a:lnTo>
                  <a:lnTo>
                    <a:pt x="6" y="19"/>
                  </a:lnTo>
                  <a:lnTo>
                    <a:pt x="17" y="13"/>
                  </a:lnTo>
                  <a:lnTo>
                    <a:pt x="27" y="11"/>
                  </a:lnTo>
                  <a:lnTo>
                    <a:pt x="34" y="6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74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0" name="Freeform 24">
              <a:extLst>
                <a:ext uri="{FF2B5EF4-FFF2-40B4-BE49-F238E27FC236}">
                  <a16:creationId xmlns:a16="http://schemas.microsoft.com/office/drawing/2014/main" id="{6DF9B392-7B14-D140-A1A6-3442563F8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00" y="3444875"/>
              <a:ext cx="134938" cy="239713"/>
            </a:xfrm>
            <a:custGeom>
              <a:avLst/>
              <a:gdLst/>
              <a:ahLst/>
              <a:cxnLst>
                <a:cxn ang="0">
                  <a:pos x="62" y="41"/>
                </a:cxn>
                <a:cxn ang="0">
                  <a:pos x="59" y="55"/>
                </a:cxn>
                <a:cxn ang="0">
                  <a:pos x="63" y="70"/>
                </a:cxn>
                <a:cxn ang="0">
                  <a:pos x="70" y="82"/>
                </a:cxn>
                <a:cxn ang="0">
                  <a:pos x="75" y="91"/>
                </a:cxn>
                <a:cxn ang="0">
                  <a:pos x="85" y="97"/>
                </a:cxn>
                <a:cxn ang="0">
                  <a:pos x="82" y="108"/>
                </a:cxn>
                <a:cxn ang="0">
                  <a:pos x="75" y="120"/>
                </a:cxn>
                <a:cxn ang="0">
                  <a:pos x="57" y="126"/>
                </a:cxn>
                <a:cxn ang="0">
                  <a:pos x="57" y="136"/>
                </a:cxn>
                <a:cxn ang="0">
                  <a:pos x="51" y="148"/>
                </a:cxn>
                <a:cxn ang="0">
                  <a:pos x="45" y="151"/>
                </a:cxn>
                <a:cxn ang="0">
                  <a:pos x="36" y="146"/>
                </a:cxn>
                <a:cxn ang="0">
                  <a:pos x="28" y="126"/>
                </a:cxn>
                <a:cxn ang="0">
                  <a:pos x="11" y="125"/>
                </a:cxn>
                <a:cxn ang="0">
                  <a:pos x="6" y="120"/>
                </a:cxn>
                <a:cxn ang="0">
                  <a:pos x="10" y="111"/>
                </a:cxn>
                <a:cxn ang="0">
                  <a:pos x="5" y="103"/>
                </a:cxn>
                <a:cxn ang="0">
                  <a:pos x="5" y="94"/>
                </a:cxn>
                <a:cxn ang="0">
                  <a:pos x="8" y="84"/>
                </a:cxn>
                <a:cxn ang="0">
                  <a:pos x="4" y="71"/>
                </a:cxn>
                <a:cxn ang="0">
                  <a:pos x="7" y="53"/>
                </a:cxn>
                <a:cxn ang="0">
                  <a:pos x="12" y="52"/>
                </a:cxn>
                <a:cxn ang="0">
                  <a:pos x="13" y="44"/>
                </a:cxn>
                <a:cxn ang="0">
                  <a:pos x="0" y="38"/>
                </a:cxn>
                <a:cxn ang="0">
                  <a:pos x="0" y="24"/>
                </a:cxn>
                <a:cxn ang="0">
                  <a:pos x="7" y="12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5" y="9"/>
                </a:cxn>
                <a:cxn ang="0">
                  <a:pos x="34" y="1"/>
                </a:cxn>
                <a:cxn ang="0">
                  <a:pos x="34" y="0"/>
                </a:cxn>
                <a:cxn ang="0">
                  <a:pos x="37" y="2"/>
                </a:cxn>
                <a:cxn ang="0">
                  <a:pos x="43" y="12"/>
                </a:cxn>
                <a:cxn ang="0">
                  <a:pos x="47" y="12"/>
                </a:cxn>
                <a:cxn ang="0">
                  <a:pos x="57" y="18"/>
                </a:cxn>
                <a:cxn ang="0">
                  <a:pos x="59" y="24"/>
                </a:cxn>
                <a:cxn ang="0">
                  <a:pos x="59" y="37"/>
                </a:cxn>
                <a:cxn ang="0">
                  <a:pos x="62" y="41"/>
                </a:cxn>
              </a:cxnLst>
              <a:rect l="0" t="0" r="r" b="b"/>
              <a:pathLst>
                <a:path w="85" h="151">
                  <a:moveTo>
                    <a:pt x="62" y="41"/>
                  </a:moveTo>
                  <a:lnTo>
                    <a:pt x="59" y="55"/>
                  </a:lnTo>
                  <a:lnTo>
                    <a:pt x="63" y="70"/>
                  </a:lnTo>
                  <a:lnTo>
                    <a:pt x="70" y="82"/>
                  </a:lnTo>
                  <a:lnTo>
                    <a:pt x="75" y="91"/>
                  </a:lnTo>
                  <a:lnTo>
                    <a:pt x="85" y="97"/>
                  </a:lnTo>
                  <a:lnTo>
                    <a:pt x="82" y="108"/>
                  </a:lnTo>
                  <a:lnTo>
                    <a:pt x="75" y="120"/>
                  </a:lnTo>
                  <a:lnTo>
                    <a:pt x="57" y="126"/>
                  </a:lnTo>
                  <a:lnTo>
                    <a:pt x="57" y="136"/>
                  </a:lnTo>
                  <a:lnTo>
                    <a:pt x="51" y="148"/>
                  </a:lnTo>
                  <a:lnTo>
                    <a:pt x="45" y="151"/>
                  </a:lnTo>
                  <a:lnTo>
                    <a:pt x="36" y="146"/>
                  </a:lnTo>
                  <a:lnTo>
                    <a:pt x="28" y="126"/>
                  </a:lnTo>
                  <a:lnTo>
                    <a:pt x="11" y="125"/>
                  </a:lnTo>
                  <a:lnTo>
                    <a:pt x="6" y="120"/>
                  </a:lnTo>
                  <a:lnTo>
                    <a:pt x="10" y="111"/>
                  </a:lnTo>
                  <a:lnTo>
                    <a:pt x="5" y="103"/>
                  </a:lnTo>
                  <a:lnTo>
                    <a:pt x="5" y="94"/>
                  </a:lnTo>
                  <a:lnTo>
                    <a:pt x="8" y="84"/>
                  </a:lnTo>
                  <a:lnTo>
                    <a:pt x="4" y="71"/>
                  </a:lnTo>
                  <a:lnTo>
                    <a:pt x="7" y="53"/>
                  </a:lnTo>
                  <a:lnTo>
                    <a:pt x="12" y="52"/>
                  </a:lnTo>
                  <a:lnTo>
                    <a:pt x="13" y="44"/>
                  </a:lnTo>
                  <a:lnTo>
                    <a:pt x="0" y="38"/>
                  </a:lnTo>
                  <a:lnTo>
                    <a:pt x="0" y="24"/>
                  </a:lnTo>
                  <a:lnTo>
                    <a:pt x="7" y="12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5" y="9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7" y="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57" y="18"/>
                  </a:lnTo>
                  <a:lnTo>
                    <a:pt x="59" y="24"/>
                  </a:lnTo>
                  <a:lnTo>
                    <a:pt x="59" y="37"/>
                  </a:lnTo>
                  <a:lnTo>
                    <a:pt x="62" y="4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1" name="Freeform 25">
              <a:extLst>
                <a:ext uri="{FF2B5EF4-FFF2-40B4-BE49-F238E27FC236}">
                  <a16:creationId xmlns:a16="http://schemas.microsoft.com/office/drawing/2014/main" id="{87234CD9-F76C-3447-947C-5FA4EF7CA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0" y="3155950"/>
              <a:ext cx="296863" cy="355600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5" y="12"/>
                </a:cxn>
                <a:cxn ang="0">
                  <a:pos x="39" y="0"/>
                </a:cxn>
                <a:cxn ang="0">
                  <a:pos x="55" y="4"/>
                </a:cxn>
                <a:cxn ang="0">
                  <a:pos x="73" y="15"/>
                </a:cxn>
                <a:cxn ang="0">
                  <a:pos x="91" y="38"/>
                </a:cxn>
                <a:cxn ang="0">
                  <a:pos x="115" y="51"/>
                </a:cxn>
                <a:cxn ang="0">
                  <a:pos x="112" y="65"/>
                </a:cxn>
                <a:cxn ang="0">
                  <a:pos x="131" y="78"/>
                </a:cxn>
                <a:cxn ang="0">
                  <a:pos x="148" y="80"/>
                </a:cxn>
                <a:cxn ang="0">
                  <a:pos x="171" y="74"/>
                </a:cxn>
                <a:cxn ang="0">
                  <a:pos x="165" y="87"/>
                </a:cxn>
                <a:cxn ang="0">
                  <a:pos x="162" y="111"/>
                </a:cxn>
                <a:cxn ang="0">
                  <a:pos x="181" y="140"/>
                </a:cxn>
                <a:cxn ang="0">
                  <a:pos x="184" y="159"/>
                </a:cxn>
                <a:cxn ang="0">
                  <a:pos x="168" y="179"/>
                </a:cxn>
                <a:cxn ang="0">
                  <a:pos x="172" y="195"/>
                </a:cxn>
                <a:cxn ang="0">
                  <a:pos x="152" y="198"/>
                </a:cxn>
                <a:cxn ang="0">
                  <a:pos x="125" y="201"/>
                </a:cxn>
                <a:cxn ang="0">
                  <a:pos x="108" y="208"/>
                </a:cxn>
                <a:cxn ang="0">
                  <a:pos x="98" y="220"/>
                </a:cxn>
                <a:cxn ang="0">
                  <a:pos x="91" y="219"/>
                </a:cxn>
                <a:cxn ang="0">
                  <a:pos x="89" y="200"/>
                </a:cxn>
                <a:cxn ang="0">
                  <a:pos x="75" y="194"/>
                </a:cxn>
                <a:cxn ang="0">
                  <a:pos x="66" y="182"/>
                </a:cxn>
                <a:cxn ang="0">
                  <a:pos x="73" y="172"/>
                </a:cxn>
                <a:cxn ang="0">
                  <a:pos x="61" y="161"/>
                </a:cxn>
                <a:cxn ang="0">
                  <a:pos x="44" y="155"/>
                </a:cxn>
                <a:cxn ang="0">
                  <a:pos x="39" y="144"/>
                </a:cxn>
                <a:cxn ang="0">
                  <a:pos x="33" y="132"/>
                </a:cxn>
                <a:cxn ang="0">
                  <a:pos x="22" y="113"/>
                </a:cxn>
                <a:cxn ang="0">
                  <a:pos x="34" y="114"/>
                </a:cxn>
                <a:cxn ang="0">
                  <a:pos x="33" y="104"/>
                </a:cxn>
                <a:cxn ang="0">
                  <a:pos x="13" y="94"/>
                </a:cxn>
                <a:cxn ang="0">
                  <a:pos x="21" y="76"/>
                </a:cxn>
                <a:cxn ang="0">
                  <a:pos x="17" y="64"/>
                </a:cxn>
                <a:cxn ang="0">
                  <a:pos x="11" y="64"/>
                </a:cxn>
                <a:cxn ang="0">
                  <a:pos x="19" y="55"/>
                </a:cxn>
                <a:cxn ang="0">
                  <a:pos x="23" y="52"/>
                </a:cxn>
                <a:cxn ang="0">
                  <a:pos x="10" y="46"/>
                </a:cxn>
                <a:cxn ang="0">
                  <a:pos x="2" y="23"/>
                </a:cxn>
              </a:cxnLst>
              <a:rect l="0" t="0" r="r" b="b"/>
              <a:pathLst>
                <a:path w="187" h="224">
                  <a:moveTo>
                    <a:pt x="0" y="23"/>
                  </a:moveTo>
                  <a:lnTo>
                    <a:pt x="7" y="16"/>
                  </a:lnTo>
                  <a:lnTo>
                    <a:pt x="17" y="11"/>
                  </a:lnTo>
                  <a:lnTo>
                    <a:pt x="25" y="12"/>
                  </a:lnTo>
                  <a:lnTo>
                    <a:pt x="28" y="9"/>
                  </a:lnTo>
                  <a:lnTo>
                    <a:pt x="39" y="0"/>
                  </a:lnTo>
                  <a:lnTo>
                    <a:pt x="45" y="3"/>
                  </a:lnTo>
                  <a:lnTo>
                    <a:pt x="55" y="4"/>
                  </a:lnTo>
                  <a:lnTo>
                    <a:pt x="71" y="9"/>
                  </a:lnTo>
                  <a:lnTo>
                    <a:pt x="73" y="15"/>
                  </a:lnTo>
                  <a:lnTo>
                    <a:pt x="88" y="30"/>
                  </a:lnTo>
                  <a:lnTo>
                    <a:pt x="91" y="38"/>
                  </a:lnTo>
                  <a:lnTo>
                    <a:pt x="103" y="43"/>
                  </a:lnTo>
                  <a:lnTo>
                    <a:pt x="115" y="51"/>
                  </a:lnTo>
                  <a:lnTo>
                    <a:pt x="109" y="62"/>
                  </a:lnTo>
                  <a:lnTo>
                    <a:pt x="112" y="65"/>
                  </a:lnTo>
                  <a:lnTo>
                    <a:pt x="126" y="70"/>
                  </a:lnTo>
                  <a:lnTo>
                    <a:pt x="131" y="78"/>
                  </a:lnTo>
                  <a:lnTo>
                    <a:pt x="141" y="74"/>
                  </a:lnTo>
                  <a:lnTo>
                    <a:pt x="148" y="80"/>
                  </a:lnTo>
                  <a:lnTo>
                    <a:pt x="155" y="70"/>
                  </a:lnTo>
                  <a:lnTo>
                    <a:pt x="171" y="74"/>
                  </a:lnTo>
                  <a:lnTo>
                    <a:pt x="164" y="81"/>
                  </a:lnTo>
                  <a:lnTo>
                    <a:pt x="165" y="87"/>
                  </a:lnTo>
                  <a:lnTo>
                    <a:pt x="170" y="104"/>
                  </a:lnTo>
                  <a:lnTo>
                    <a:pt x="162" y="111"/>
                  </a:lnTo>
                  <a:lnTo>
                    <a:pt x="167" y="127"/>
                  </a:lnTo>
                  <a:lnTo>
                    <a:pt x="181" y="140"/>
                  </a:lnTo>
                  <a:lnTo>
                    <a:pt x="187" y="151"/>
                  </a:lnTo>
                  <a:lnTo>
                    <a:pt x="184" y="159"/>
                  </a:lnTo>
                  <a:lnTo>
                    <a:pt x="167" y="173"/>
                  </a:lnTo>
                  <a:lnTo>
                    <a:pt x="168" y="179"/>
                  </a:lnTo>
                  <a:lnTo>
                    <a:pt x="175" y="188"/>
                  </a:lnTo>
                  <a:lnTo>
                    <a:pt x="172" y="195"/>
                  </a:lnTo>
                  <a:lnTo>
                    <a:pt x="165" y="195"/>
                  </a:lnTo>
                  <a:lnTo>
                    <a:pt x="152" y="198"/>
                  </a:lnTo>
                  <a:lnTo>
                    <a:pt x="143" y="197"/>
                  </a:lnTo>
                  <a:lnTo>
                    <a:pt x="125" y="201"/>
                  </a:lnTo>
                  <a:lnTo>
                    <a:pt x="118" y="206"/>
                  </a:lnTo>
                  <a:lnTo>
                    <a:pt x="108" y="208"/>
                  </a:lnTo>
                  <a:lnTo>
                    <a:pt x="97" y="214"/>
                  </a:lnTo>
                  <a:lnTo>
                    <a:pt x="98" y="220"/>
                  </a:lnTo>
                  <a:lnTo>
                    <a:pt x="94" y="224"/>
                  </a:lnTo>
                  <a:lnTo>
                    <a:pt x="91" y="219"/>
                  </a:lnTo>
                  <a:lnTo>
                    <a:pt x="91" y="206"/>
                  </a:lnTo>
                  <a:lnTo>
                    <a:pt x="89" y="200"/>
                  </a:lnTo>
                  <a:lnTo>
                    <a:pt x="79" y="194"/>
                  </a:lnTo>
                  <a:lnTo>
                    <a:pt x="75" y="194"/>
                  </a:lnTo>
                  <a:lnTo>
                    <a:pt x="69" y="184"/>
                  </a:lnTo>
                  <a:lnTo>
                    <a:pt x="66" y="182"/>
                  </a:lnTo>
                  <a:lnTo>
                    <a:pt x="67" y="178"/>
                  </a:lnTo>
                  <a:lnTo>
                    <a:pt x="73" y="172"/>
                  </a:lnTo>
                  <a:lnTo>
                    <a:pt x="73" y="163"/>
                  </a:lnTo>
                  <a:lnTo>
                    <a:pt x="61" y="161"/>
                  </a:lnTo>
                  <a:lnTo>
                    <a:pt x="54" y="155"/>
                  </a:lnTo>
                  <a:lnTo>
                    <a:pt x="44" y="155"/>
                  </a:lnTo>
                  <a:lnTo>
                    <a:pt x="39" y="150"/>
                  </a:lnTo>
                  <a:lnTo>
                    <a:pt x="39" y="144"/>
                  </a:lnTo>
                  <a:lnTo>
                    <a:pt x="29" y="136"/>
                  </a:lnTo>
                  <a:lnTo>
                    <a:pt x="33" y="132"/>
                  </a:lnTo>
                  <a:lnTo>
                    <a:pt x="22" y="122"/>
                  </a:lnTo>
                  <a:lnTo>
                    <a:pt x="22" y="113"/>
                  </a:lnTo>
                  <a:lnTo>
                    <a:pt x="27" y="110"/>
                  </a:lnTo>
                  <a:lnTo>
                    <a:pt x="34" y="114"/>
                  </a:lnTo>
                  <a:lnTo>
                    <a:pt x="38" y="109"/>
                  </a:lnTo>
                  <a:lnTo>
                    <a:pt x="33" y="104"/>
                  </a:lnTo>
                  <a:lnTo>
                    <a:pt x="26" y="104"/>
                  </a:lnTo>
                  <a:lnTo>
                    <a:pt x="13" y="94"/>
                  </a:lnTo>
                  <a:lnTo>
                    <a:pt x="13" y="88"/>
                  </a:lnTo>
                  <a:lnTo>
                    <a:pt x="21" y="76"/>
                  </a:lnTo>
                  <a:lnTo>
                    <a:pt x="23" y="65"/>
                  </a:lnTo>
                  <a:lnTo>
                    <a:pt x="17" y="64"/>
                  </a:lnTo>
                  <a:lnTo>
                    <a:pt x="14" y="68"/>
                  </a:lnTo>
                  <a:lnTo>
                    <a:pt x="11" y="64"/>
                  </a:lnTo>
                  <a:lnTo>
                    <a:pt x="10" y="58"/>
                  </a:lnTo>
                  <a:lnTo>
                    <a:pt x="19" y="55"/>
                  </a:lnTo>
                  <a:lnTo>
                    <a:pt x="23" y="55"/>
                  </a:lnTo>
                  <a:lnTo>
                    <a:pt x="23" y="52"/>
                  </a:lnTo>
                  <a:lnTo>
                    <a:pt x="14" y="50"/>
                  </a:lnTo>
                  <a:lnTo>
                    <a:pt x="10" y="46"/>
                  </a:lnTo>
                  <a:lnTo>
                    <a:pt x="7" y="35"/>
                  </a:lnTo>
                  <a:lnTo>
                    <a:pt x="2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2" name="Freeform 26">
              <a:extLst>
                <a:ext uri="{FF2B5EF4-FFF2-40B4-BE49-F238E27FC236}">
                  <a16:creationId xmlns:a16="http://schemas.microsoft.com/office/drawing/2014/main" id="{C102B898-3DD4-1B4B-9FA9-3040B1133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7213" y="3359150"/>
              <a:ext cx="130175" cy="146050"/>
            </a:xfrm>
            <a:custGeom>
              <a:avLst/>
              <a:gdLst/>
              <a:ahLst/>
              <a:cxnLst>
                <a:cxn ang="0">
                  <a:pos x="41" y="92"/>
                </a:cxn>
                <a:cxn ang="0">
                  <a:pos x="41" y="78"/>
                </a:cxn>
                <a:cxn ang="0">
                  <a:pos x="48" y="66"/>
                </a:cxn>
                <a:cxn ang="0">
                  <a:pos x="58" y="55"/>
                </a:cxn>
                <a:cxn ang="0">
                  <a:pos x="60" y="56"/>
                </a:cxn>
                <a:cxn ang="0">
                  <a:pos x="66" y="63"/>
                </a:cxn>
                <a:cxn ang="0">
                  <a:pos x="75" y="55"/>
                </a:cxn>
                <a:cxn ang="0">
                  <a:pos x="76" y="50"/>
                </a:cxn>
                <a:cxn ang="0">
                  <a:pos x="82" y="44"/>
                </a:cxn>
                <a:cxn ang="0">
                  <a:pos x="82" y="35"/>
                </a:cxn>
                <a:cxn ang="0">
                  <a:pos x="70" y="33"/>
                </a:cxn>
                <a:cxn ang="0">
                  <a:pos x="63" y="27"/>
                </a:cxn>
                <a:cxn ang="0">
                  <a:pos x="53" y="27"/>
                </a:cxn>
                <a:cxn ang="0">
                  <a:pos x="48" y="22"/>
                </a:cxn>
                <a:cxn ang="0">
                  <a:pos x="48" y="16"/>
                </a:cxn>
                <a:cxn ang="0">
                  <a:pos x="38" y="8"/>
                </a:cxn>
                <a:cxn ang="0">
                  <a:pos x="37" y="8"/>
                </a:cxn>
                <a:cxn ang="0">
                  <a:pos x="30" y="6"/>
                </a:cxn>
                <a:cxn ang="0">
                  <a:pos x="20" y="0"/>
                </a:cxn>
                <a:cxn ang="0">
                  <a:pos x="16" y="4"/>
                </a:cxn>
                <a:cxn ang="0">
                  <a:pos x="16" y="10"/>
                </a:cxn>
                <a:cxn ang="0">
                  <a:pos x="24" y="15"/>
                </a:cxn>
                <a:cxn ang="0">
                  <a:pos x="26" y="21"/>
                </a:cxn>
                <a:cxn ang="0">
                  <a:pos x="20" y="25"/>
                </a:cxn>
                <a:cxn ang="0">
                  <a:pos x="13" y="25"/>
                </a:cxn>
                <a:cxn ang="0">
                  <a:pos x="9" y="33"/>
                </a:cxn>
                <a:cxn ang="0">
                  <a:pos x="9" y="44"/>
                </a:cxn>
                <a:cxn ang="0">
                  <a:pos x="5" y="54"/>
                </a:cxn>
                <a:cxn ang="0">
                  <a:pos x="0" y="55"/>
                </a:cxn>
                <a:cxn ang="0">
                  <a:pos x="3" y="58"/>
                </a:cxn>
                <a:cxn ang="0">
                  <a:pos x="12" y="62"/>
                </a:cxn>
                <a:cxn ang="0">
                  <a:pos x="29" y="81"/>
                </a:cxn>
                <a:cxn ang="0">
                  <a:pos x="30" y="89"/>
                </a:cxn>
                <a:cxn ang="0">
                  <a:pos x="41" y="92"/>
                </a:cxn>
              </a:cxnLst>
              <a:rect l="0" t="0" r="r" b="b"/>
              <a:pathLst>
                <a:path w="82" h="92">
                  <a:moveTo>
                    <a:pt x="41" y="92"/>
                  </a:moveTo>
                  <a:lnTo>
                    <a:pt x="41" y="78"/>
                  </a:lnTo>
                  <a:lnTo>
                    <a:pt x="48" y="66"/>
                  </a:lnTo>
                  <a:lnTo>
                    <a:pt x="58" y="55"/>
                  </a:lnTo>
                  <a:lnTo>
                    <a:pt x="60" y="56"/>
                  </a:lnTo>
                  <a:lnTo>
                    <a:pt x="66" y="63"/>
                  </a:lnTo>
                  <a:lnTo>
                    <a:pt x="75" y="55"/>
                  </a:lnTo>
                  <a:lnTo>
                    <a:pt x="76" y="50"/>
                  </a:lnTo>
                  <a:lnTo>
                    <a:pt x="82" y="44"/>
                  </a:lnTo>
                  <a:lnTo>
                    <a:pt x="82" y="35"/>
                  </a:lnTo>
                  <a:lnTo>
                    <a:pt x="70" y="33"/>
                  </a:lnTo>
                  <a:lnTo>
                    <a:pt x="63" y="27"/>
                  </a:lnTo>
                  <a:lnTo>
                    <a:pt x="53" y="27"/>
                  </a:lnTo>
                  <a:lnTo>
                    <a:pt x="48" y="22"/>
                  </a:lnTo>
                  <a:lnTo>
                    <a:pt x="48" y="16"/>
                  </a:lnTo>
                  <a:lnTo>
                    <a:pt x="38" y="8"/>
                  </a:lnTo>
                  <a:lnTo>
                    <a:pt x="37" y="8"/>
                  </a:lnTo>
                  <a:lnTo>
                    <a:pt x="30" y="6"/>
                  </a:lnTo>
                  <a:lnTo>
                    <a:pt x="20" y="0"/>
                  </a:lnTo>
                  <a:lnTo>
                    <a:pt x="16" y="4"/>
                  </a:lnTo>
                  <a:lnTo>
                    <a:pt x="16" y="10"/>
                  </a:lnTo>
                  <a:lnTo>
                    <a:pt x="24" y="15"/>
                  </a:lnTo>
                  <a:lnTo>
                    <a:pt x="26" y="21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9" y="33"/>
                  </a:lnTo>
                  <a:lnTo>
                    <a:pt x="9" y="44"/>
                  </a:lnTo>
                  <a:lnTo>
                    <a:pt x="5" y="54"/>
                  </a:lnTo>
                  <a:lnTo>
                    <a:pt x="0" y="55"/>
                  </a:lnTo>
                  <a:lnTo>
                    <a:pt x="3" y="58"/>
                  </a:lnTo>
                  <a:lnTo>
                    <a:pt x="12" y="62"/>
                  </a:lnTo>
                  <a:lnTo>
                    <a:pt x="29" y="81"/>
                  </a:lnTo>
                  <a:lnTo>
                    <a:pt x="30" y="89"/>
                  </a:lnTo>
                  <a:lnTo>
                    <a:pt x="41" y="92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3" name="Freeform 27">
              <a:extLst>
                <a:ext uri="{FF2B5EF4-FFF2-40B4-BE49-F238E27FC236}">
                  <a16:creationId xmlns:a16="http://schemas.microsoft.com/office/drawing/2014/main" id="{77469089-BC0C-C947-B518-377ECBE49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1138" y="3144838"/>
              <a:ext cx="396875" cy="279400"/>
            </a:xfrm>
            <a:custGeom>
              <a:avLst/>
              <a:gdLst/>
              <a:ahLst/>
              <a:cxnLst>
                <a:cxn ang="0">
                  <a:pos x="246" y="62"/>
                </a:cxn>
                <a:cxn ang="0">
                  <a:pos x="241" y="57"/>
                </a:cxn>
                <a:cxn ang="0">
                  <a:pos x="229" y="30"/>
                </a:cxn>
                <a:cxn ang="0">
                  <a:pos x="198" y="30"/>
                </a:cxn>
                <a:cxn ang="0">
                  <a:pos x="157" y="18"/>
                </a:cxn>
                <a:cxn ang="0">
                  <a:pos x="131" y="2"/>
                </a:cxn>
                <a:cxn ang="0">
                  <a:pos x="81" y="27"/>
                </a:cxn>
                <a:cxn ang="0">
                  <a:pos x="55" y="48"/>
                </a:cxn>
                <a:cxn ang="0">
                  <a:pos x="16" y="51"/>
                </a:cxn>
                <a:cxn ang="0">
                  <a:pos x="3" y="69"/>
                </a:cxn>
                <a:cxn ang="0">
                  <a:pos x="16" y="85"/>
                </a:cxn>
                <a:cxn ang="0">
                  <a:pos x="35" y="52"/>
                </a:cxn>
                <a:cxn ang="0">
                  <a:pos x="58" y="66"/>
                </a:cxn>
                <a:cxn ang="0">
                  <a:pos x="81" y="101"/>
                </a:cxn>
                <a:cxn ang="0">
                  <a:pos x="86" y="108"/>
                </a:cxn>
                <a:cxn ang="0">
                  <a:pos x="79" y="123"/>
                </a:cxn>
                <a:cxn ang="0">
                  <a:pos x="109" y="135"/>
                </a:cxn>
                <a:cxn ang="0">
                  <a:pos x="128" y="145"/>
                </a:cxn>
                <a:cxn ang="0">
                  <a:pos x="182" y="173"/>
                </a:cxn>
                <a:cxn ang="0">
                  <a:pos x="171" y="175"/>
                </a:cxn>
                <a:cxn ang="0">
                  <a:pos x="183" y="169"/>
                </a:cxn>
                <a:cxn ang="0">
                  <a:pos x="113" y="103"/>
                </a:cxn>
                <a:cxn ang="0">
                  <a:pos x="108" y="86"/>
                </a:cxn>
                <a:cxn ang="0">
                  <a:pos x="92" y="70"/>
                </a:cxn>
                <a:cxn ang="0">
                  <a:pos x="99" y="53"/>
                </a:cxn>
                <a:cxn ang="0">
                  <a:pos x="120" y="64"/>
                </a:cxn>
                <a:cxn ang="0">
                  <a:pos x="134" y="58"/>
                </a:cxn>
                <a:cxn ang="0">
                  <a:pos x="150" y="54"/>
                </a:cxn>
                <a:cxn ang="0">
                  <a:pos x="168" y="59"/>
                </a:cxn>
                <a:cxn ang="0">
                  <a:pos x="188" y="62"/>
                </a:cxn>
                <a:cxn ang="0">
                  <a:pos x="214" y="63"/>
                </a:cxn>
                <a:cxn ang="0">
                  <a:pos x="238" y="71"/>
                </a:cxn>
                <a:cxn ang="0">
                  <a:pos x="142" y="170"/>
                </a:cxn>
                <a:cxn ang="0">
                  <a:pos x="150" y="174"/>
                </a:cxn>
                <a:cxn ang="0">
                  <a:pos x="132" y="161"/>
                </a:cxn>
                <a:cxn ang="0">
                  <a:pos x="132" y="161"/>
                </a:cxn>
                <a:cxn ang="0">
                  <a:pos x="150" y="151"/>
                </a:cxn>
                <a:cxn ang="0">
                  <a:pos x="136" y="157"/>
                </a:cxn>
                <a:cxn ang="0">
                  <a:pos x="67" y="99"/>
                </a:cxn>
                <a:cxn ang="0">
                  <a:pos x="74" y="109"/>
                </a:cxn>
                <a:cxn ang="0">
                  <a:pos x="59" y="87"/>
                </a:cxn>
                <a:cxn ang="0">
                  <a:pos x="59" y="87"/>
                </a:cxn>
                <a:cxn ang="0">
                  <a:pos x="70" y="120"/>
                </a:cxn>
                <a:cxn ang="0">
                  <a:pos x="61" y="112"/>
                </a:cxn>
                <a:cxn ang="0">
                  <a:pos x="57" y="108"/>
                </a:cxn>
                <a:cxn ang="0">
                  <a:pos x="33" y="76"/>
                </a:cxn>
                <a:cxn ang="0">
                  <a:pos x="45" y="95"/>
                </a:cxn>
                <a:cxn ang="0">
                  <a:pos x="33" y="76"/>
                </a:cxn>
                <a:cxn ang="0">
                  <a:pos x="55" y="77"/>
                </a:cxn>
                <a:cxn ang="0">
                  <a:pos x="38" y="75"/>
                </a:cxn>
                <a:cxn ang="0">
                  <a:pos x="41" y="59"/>
                </a:cxn>
              </a:cxnLst>
              <a:rect l="0" t="0" r="r" b="b"/>
              <a:pathLst>
                <a:path w="250" h="176">
                  <a:moveTo>
                    <a:pt x="238" y="71"/>
                  </a:moveTo>
                  <a:lnTo>
                    <a:pt x="237" y="65"/>
                  </a:lnTo>
                  <a:lnTo>
                    <a:pt x="246" y="62"/>
                  </a:lnTo>
                  <a:lnTo>
                    <a:pt x="250" y="62"/>
                  </a:lnTo>
                  <a:lnTo>
                    <a:pt x="250" y="59"/>
                  </a:lnTo>
                  <a:lnTo>
                    <a:pt x="241" y="57"/>
                  </a:lnTo>
                  <a:lnTo>
                    <a:pt x="237" y="53"/>
                  </a:lnTo>
                  <a:lnTo>
                    <a:pt x="234" y="42"/>
                  </a:lnTo>
                  <a:lnTo>
                    <a:pt x="229" y="30"/>
                  </a:lnTo>
                  <a:lnTo>
                    <a:pt x="223" y="28"/>
                  </a:lnTo>
                  <a:lnTo>
                    <a:pt x="215" y="35"/>
                  </a:lnTo>
                  <a:lnTo>
                    <a:pt x="198" y="30"/>
                  </a:lnTo>
                  <a:lnTo>
                    <a:pt x="174" y="27"/>
                  </a:lnTo>
                  <a:lnTo>
                    <a:pt x="167" y="22"/>
                  </a:lnTo>
                  <a:lnTo>
                    <a:pt x="157" y="18"/>
                  </a:lnTo>
                  <a:lnTo>
                    <a:pt x="138" y="2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10" y="2"/>
                  </a:lnTo>
                  <a:lnTo>
                    <a:pt x="82" y="16"/>
                  </a:lnTo>
                  <a:lnTo>
                    <a:pt x="81" y="27"/>
                  </a:lnTo>
                  <a:lnTo>
                    <a:pt x="67" y="33"/>
                  </a:lnTo>
                  <a:lnTo>
                    <a:pt x="63" y="47"/>
                  </a:lnTo>
                  <a:lnTo>
                    <a:pt x="55" y="48"/>
                  </a:lnTo>
                  <a:lnTo>
                    <a:pt x="38" y="41"/>
                  </a:lnTo>
                  <a:lnTo>
                    <a:pt x="28" y="43"/>
                  </a:lnTo>
                  <a:lnTo>
                    <a:pt x="16" y="51"/>
                  </a:lnTo>
                  <a:lnTo>
                    <a:pt x="0" y="52"/>
                  </a:lnTo>
                  <a:lnTo>
                    <a:pt x="0" y="53"/>
                  </a:lnTo>
                  <a:lnTo>
                    <a:pt x="3" y="69"/>
                  </a:lnTo>
                  <a:lnTo>
                    <a:pt x="12" y="77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27" y="68"/>
                  </a:lnTo>
                  <a:lnTo>
                    <a:pt x="29" y="59"/>
                  </a:lnTo>
                  <a:lnTo>
                    <a:pt x="35" y="52"/>
                  </a:lnTo>
                  <a:lnTo>
                    <a:pt x="47" y="52"/>
                  </a:lnTo>
                  <a:lnTo>
                    <a:pt x="50" y="59"/>
                  </a:lnTo>
                  <a:lnTo>
                    <a:pt x="58" y="66"/>
                  </a:lnTo>
                  <a:lnTo>
                    <a:pt x="61" y="79"/>
                  </a:lnTo>
                  <a:lnTo>
                    <a:pt x="68" y="91"/>
                  </a:lnTo>
                  <a:lnTo>
                    <a:pt x="81" y="101"/>
                  </a:lnTo>
                  <a:lnTo>
                    <a:pt x="85" y="103"/>
                  </a:lnTo>
                  <a:lnTo>
                    <a:pt x="93" y="110"/>
                  </a:lnTo>
                  <a:lnTo>
                    <a:pt x="86" y="108"/>
                  </a:lnTo>
                  <a:lnTo>
                    <a:pt x="79" y="109"/>
                  </a:lnTo>
                  <a:lnTo>
                    <a:pt x="75" y="116"/>
                  </a:lnTo>
                  <a:lnTo>
                    <a:pt x="79" y="123"/>
                  </a:lnTo>
                  <a:lnTo>
                    <a:pt x="90" y="123"/>
                  </a:lnTo>
                  <a:lnTo>
                    <a:pt x="99" y="132"/>
                  </a:lnTo>
                  <a:lnTo>
                    <a:pt x="109" y="135"/>
                  </a:lnTo>
                  <a:lnTo>
                    <a:pt x="113" y="143"/>
                  </a:lnTo>
                  <a:lnTo>
                    <a:pt x="117" y="147"/>
                  </a:lnTo>
                  <a:lnTo>
                    <a:pt x="128" y="145"/>
                  </a:lnTo>
                  <a:lnTo>
                    <a:pt x="148" y="147"/>
                  </a:lnTo>
                  <a:lnTo>
                    <a:pt x="160" y="152"/>
                  </a:lnTo>
                  <a:lnTo>
                    <a:pt x="182" y="173"/>
                  </a:lnTo>
                  <a:lnTo>
                    <a:pt x="176" y="173"/>
                  </a:lnTo>
                  <a:lnTo>
                    <a:pt x="165" y="168"/>
                  </a:lnTo>
                  <a:lnTo>
                    <a:pt x="171" y="175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3" y="169"/>
                  </a:lnTo>
                  <a:lnTo>
                    <a:pt x="151" y="137"/>
                  </a:lnTo>
                  <a:lnTo>
                    <a:pt x="114" y="108"/>
                  </a:lnTo>
                  <a:lnTo>
                    <a:pt x="113" y="103"/>
                  </a:lnTo>
                  <a:lnTo>
                    <a:pt x="116" y="99"/>
                  </a:lnTo>
                  <a:lnTo>
                    <a:pt x="110" y="93"/>
                  </a:lnTo>
                  <a:lnTo>
                    <a:pt x="108" y="86"/>
                  </a:lnTo>
                  <a:lnTo>
                    <a:pt x="99" y="76"/>
                  </a:lnTo>
                  <a:lnTo>
                    <a:pt x="93" y="76"/>
                  </a:lnTo>
                  <a:lnTo>
                    <a:pt x="92" y="70"/>
                  </a:lnTo>
                  <a:lnTo>
                    <a:pt x="96" y="68"/>
                  </a:lnTo>
                  <a:lnTo>
                    <a:pt x="96" y="57"/>
                  </a:lnTo>
                  <a:lnTo>
                    <a:pt x="99" y="53"/>
                  </a:lnTo>
                  <a:lnTo>
                    <a:pt x="110" y="60"/>
                  </a:lnTo>
                  <a:lnTo>
                    <a:pt x="114" y="65"/>
                  </a:lnTo>
                  <a:lnTo>
                    <a:pt x="120" y="64"/>
                  </a:lnTo>
                  <a:lnTo>
                    <a:pt x="121" y="59"/>
                  </a:lnTo>
                  <a:lnTo>
                    <a:pt x="130" y="58"/>
                  </a:lnTo>
                  <a:lnTo>
                    <a:pt x="134" y="58"/>
                  </a:lnTo>
                  <a:lnTo>
                    <a:pt x="139" y="53"/>
                  </a:lnTo>
                  <a:lnTo>
                    <a:pt x="146" y="58"/>
                  </a:lnTo>
                  <a:lnTo>
                    <a:pt x="150" y="54"/>
                  </a:lnTo>
                  <a:lnTo>
                    <a:pt x="157" y="56"/>
                  </a:lnTo>
                  <a:lnTo>
                    <a:pt x="162" y="63"/>
                  </a:lnTo>
                  <a:lnTo>
                    <a:pt x="168" y="59"/>
                  </a:lnTo>
                  <a:lnTo>
                    <a:pt x="178" y="62"/>
                  </a:lnTo>
                  <a:lnTo>
                    <a:pt x="185" y="59"/>
                  </a:lnTo>
                  <a:lnTo>
                    <a:pt x="188" y="62"/>
                  </a:lnTo>
                  <a:lnTo>
                    <a:pt x="198" y="60"/>
                  </a:lnTo>
                  <a:lnTo>
                    <a:pt x="208" y="64"/>
                  </a:lnTo>
                  <a:lnTo>
                    <a:pt x="214" y="63"/>
                  </a:lnTo>
                  <a:lnTo>
                    <a:pt x="224" y="70"/>
                  </a:lnTo>
                  <a:lnTo>
                    <a:pt x="237" y="70"/>
                  </a:lnTo>
                  <a:lnTo>
                    <a:pt x="238" y="71"/>
                  </a:lnTo>
                  <a:lnTo>
                    <a:pt x="238" y="71"/>
                  </a:lnTo>
                  <a:close/>
                  <a:moveTo>
                    <a:pt x="142" y="170"/>
                  </a:moveTo>
                  <a:lnTo>
                    <a:pt x="142" y="170"/>
                  </a:lnTo>
                  <a:lnTo>
                    <a:pt x="157" y="170"/>
                  </a:lnTo>
                  <a:lnTo>
                    <a:pt x="165" y="175"/>
                  </a:lnTo>
                  <a:lnTo>
                    <a:pt x="150" y="174"/>
                  </a:lnTo>
                  <a:lnTo>
                    <a:pt x="142" y="170"/>
                  </a:lnTo>
                  <a:lnTo>
                    <a:pt x="142" y="170"/>
                  </a:lnTo>
                  <a:close/>
                  <a:moveTo>
                    <a:pt x="132" y="161"/>
                  </a:moveTo>
                  <a:lnTo>
                    <a:pt x="155" y="162"/>
                  </a:lnTo>
                  <a:lnTo>
                    <a:pt x="145" y="166"/>
                  </a:lnTo>
                  <a:lnTo>
                    <a:pt x="132" y="161"/>
                  </a:lnTo>
                  <a:lnTo>
                    <a:pt x="132" y="161"/>
                  </a:lnTo>
                  <a:close/>
                  <a:moveTo>
                    <a:pt x="132" y="151"/>
                  </a:moveTo>
                  <a:lnTo>
                    <a:pt x="150" y="151"/>
                  </a:lnTo>
                  <a:lnTo>
                    <a:pt x="154" y="153"/>
                  </a:lnTo>
                  <a:lnTo>
                    <a:pt x="145" y="158"/>
                  </a:lnTo>
                  <a:lnTo>
                    <a:pt x="136" y="157"/>
                  </a:lnTo>
                  <a:lnTo>
                    <a:pt x="132" y="151"/>
                  </a:lnTo>
                  <a:lnTo>
                    <a:pt x="132" y="151"/>
                  </a:lnTo>
                  <a:close/>
                  <a:moveTo>
                    <a:pt x="67" y="99"/>
                  </a:moveTo>
                  <a:lnTo>
                    <a:pt x="72" y="100"/>
                  </a:lnTo>
                  <a:lnTo>
                    <a:pt x="78" y="108"/>
                  </a:lnTo>
                  <a:lnTo>
                    <a:pt x="74" y="109"/>
                  </a:lnTo>
                  <a:lnTo>
                    <a:pt x="67" y="99"/>
                  </a:lnTo>
                  <a:lnTo>
                    <a:pt x="67" y="99"/>
                  </a:lnTo>
                  <a:close/>
                  <a:moveTo>
                    <a:pt x="59" y="87"/>
                  </a:moveTo>
                  <a:lnTo>
                    <a:pt x="68" y="95"/>
                  </a:lnTo>
                  <a:lnTo>
                    <a:pt x="58" y="93"/>
                  </a:lnTo>
                  <a:lnTo>
                    <a:pt x="59" y="87"/>
                  </a:lnTo>
                  <a:lnTo>
                    <a:pt x="59" y="87"/>
                  </a:lnTo>
                  <a:close/>
                  <a:moveTo>
                    <a:pt x="61" y="112"/>
                  </a:moveTo>
                  <a:lnTo>
                    <a:pt x="70" y="120"/>
                  </a:lnTo>
                  <a:lnTo>
                    <a:pt x="73" y="127"/>
                  </a:lnTo>
                  <a:lnTo>
                    <a:pt x="61" y="112"/>
                  </a:lnTo>
                  <a:lnTo>
                    <a:pt x="61" y="112"/>
                  </a:lnTo>
                  <a:close/>
                  <a:moveTo>
                    <a:pt x="50" y="99"/>
                  </a:moveTo>
                  <a:lnTo>
                    <a:pt x="56" y="101"/>
                  </a:lnTo>
                  <a:lnTo>
                    <a:pt x="57" y="108"/>
                  </a:lnTo>
                  <a:lnTo>
                    <a:pt x="50" y="99"/>
                  </a:lnTo>
                  <a:lnTo>
                    <a:pt x="50" y="99"/>
                  </a:lnTo>
                  <a:close/>
                  <a:moveTo>
                    <a:pt x="33" y="76"/>
                  </a:moveTo>
                  <a:lnTo>
                    <a:pt x="45" y="83"/>
                  </a:lnTo>
                  <a:lnTo>
                    <a:pt x="49" y="94"/>
                  </a:lnTo>
                  <a:lnTo>
                    <a:pt x="45" y="95"/>
                  </a:lnTo>
                  <a:lnTo>
                    <a:pt x="38" y="87"/>
                  </a:lnTo>
                  <a:lnTo>
                    <a:pt x="39" y="85"/>
                  </a:lnTo>
                  <a:lnTo>
                    <a:pt x="33" y="76"/>
                  </a:lnTo>
                  <a:lnTo>
                    <a:pt x="33" y="76"/>
                  </a:lnTo>
                  <a:close/>
                  <a:moveTo>
                    <a:pt x="41" y="59"/>
                  </a:moveTo>
                  <a:lnTo>
                    <a:pt x="55" y="77"/>
                  </a:lnTo>
                  <a:lnTo>
                    <a:pt x="47" y="80"/>
                  </a:lnTo>
                  <a:lnTo>
                    <a:pt x="44" y="76"/>
                  </a:lnTo>
                  <a:lnTo>
                    <a:pt x="38" y="7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41" y="59"/>
                  </a:lnTo>
                  <a:lnTo>
                    <a:pt x="41" y="5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4" name="Freeform 28">
              <a:extLst>
                <a:ext uri="{FF2B5EF4-FFF2-40B4-BE49-F238E27FC236}">
                  <a16:creationId xmlns:a16="http://schemas.microsoft.com/office/drawing/2014/main" id="{6A14615D-D11A-094D-B9B1-0C4A1DD48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3228975"/>
              <a:ext cx="274638" cy="217488"/>
            </a:xfrm>
            <a:custGeom>
              <a:avLst/>
              <a:gdLst/>
              <a:ahLst/>
              <a:cxnLst>
                <a:cxn ang="0">
                  <a:pos x="91" y="116"/>
                </a:cxn>
                <a:cxn ang="0">
                  <a:pos x="22" y="55"/>
                </a:cxn>
                <a:cxn ang="0">
                  <a:pos x="24" y="46"/>
                </a:cxn>
                <a:cxn ang="0">
                  <a:pos x="16" y="33"/>
                </a:cxn>
                <a:cxn ang="0">
                  <a:pos x="1" y="23"/>
                </a:cxn>
                <a:cxn ang="0">
                  <a:pos x="4" y="15"/>
                </a:cxn>
                <a:cxn ang="0">
                  <a:pos x="7" y="0"/>
                </a:cxn>
                <a:cxn ang="0">
                  <a:pos x="22" y="12"/>
                </a:cxn>
                <a:cxn ang="0">
                  <a:pos x="29" y="6"/>
                </a:cxn>
                <a:cxn ang="0">
                  <a:pos x="42" y="5"/>
                </a:cxn>
                <a:cxn ang="0">
                  <a:pos x="54" y="5"/>
                </a:cxn>
                <a:cxn ang="0">
                  <a:pos x="65" y="3"/>
                </a:cxn>
                <a:cxn ang="0">
                  <a:pos x="76" y="6"/>
                </a:cxn>
                <a:cxn ang="0">
                  <a:pos x="93" y="6"/>
                </a:cxn>
                <a:cxn ang="0">
                  <a:pos x="106" y="7"/>
                </a:cxn>
                <a:cxn ang="0">
                  <a:pos x="122" y="10"/>
                </a:cxn>
                <a:cxn ang="0">
                  <a:pos x="145" y="17"/>
                </a:cxn>
                <a:cxn ang="0">
                  <a:pos x="152" y="18"/>
                </a:cxn>
                <a:cxn ang="0">
                  <a:pos x="156" y="30"/>
                </a:cxn>
                <a:cxn ang="0">
                  <a:pos x="148" y="48"/>
                </a:cxn>
                <a:cxn ang="0">
                  <a:pos x="168" y="58"/>
                </a:cxn>
                <a:cxn ang="0">
                  <a:pos x="169" y="68"/>
                </a:cxn>
                <a:cxn ang="0">
                  <a:pos x="157" y="67"/>
                </a:cxn>
                <a:cxn ang="0">
                  <a:pos x="168" y="86"/>
                </a:cxn>
                <a:cxn ang="0">
                  <a:pos x="156" y="88"/>
                </a:cxn>
                <a:cxn ang="0">
                  <a:pos x="142" y="86"/>
                </a:cxn>
                <a:cxn ang="0">
                  <a:pos x="150" y="97"/>
                </a:cxn>
                <a:cxn ang="0">
                  <a:pos x="146" y="107"/>
                </a:cxn>
                <a:cxn ang="0">
                  <a:pos x="135" y="115"/>
                </a:cxn>
                <a:cxn ang="0">
                  <a:pos x="131" y="136"/>
                </a:cxn>
                <a:cxn ang="0">
                  <a:pos x="116" y="125"/>
                </a:cxn>
                <a:cxn ang="0">
                  <a:pos x="94" y="125"/>
                </a:cxn>
                <a:cxn ang="0">
                  <a:pos x="88" y="123"/>
                </a:cxn>
              </a:cxnLst>
              <a:rect l="0" t="0" r="r" b="b"/>
              <a:pathLst>
                <a:path w="173" h="137">
                  <a:moveTo>
                    <a:pt x="88" y="123"/>
                  </a:moveTo>
                  <a:lnTo>
                    <a:pt x="91" y="116"/>
                  </a:lnTo>
                  <a:lnTo>
                    <a:pt x="59" y="84"/>
                  </a:lnTo>
                  <a:lnTo>
                    <a:pt x="22" y="55"/>
                  </a:lnTo>
                  <a:lnTo>
                    <a:pt x="21" y="50"/>
                  </a:lnTo>
                  <a:lnTo>
                    <a:pt x="24" y="46"/>
                  </a:lnTo>
                  <a:lnTo>
                    <a:pt x="18" y="40"/>
                  </a:lnTo>
                  <a:lnTo>
                    <a:pt x="16" y="33"/>
                  </a:lnTo>
                  <a:lnTo>
                    <a:pt x="7" y="23"/>
                  </a:lnTo>
                  <a:lnTo>
                    <a:pt x="1" y="23"/>
                  </a:lnTo>
                  <a:lnTo>
                    <a:pt x="0" y="17"/>
                  </a:lnTo>
                  <a:lnTo>
                    <a:pt x="4" y="15"/>
                  </a:lnTo>
                  <a:lnTo>
                    <a:pt x="4" y="4"/>
                  </a:lnTo>
                  <a:lnTo>
                    <a:pt x="7" y="0"/>
                  </a:lnTo>
                  <a:lnTo>
                    <a:pt x="18" y="7"/>
                  </a:lnTo>
                  <a:lnTo>
                    <a:pt x="22" y="12"/>
                  </a:lnTo>
                  <a:lnTo>
                    <a:pt x="28" y="11"/>
                  </a:lnTo>
                  <a:lnTo>
                    <a:pt x="29" y="6"/>
                  </a:lnTo>
                  <a:lnTo>
                    <a:pt x="38" y="5"/>
                  </a:lnTo>
                  <a:lnTo>
                    <a:pt x="42" y="5"/>
                  </a:lnTo>
                  <a:lnTo>
                    <a:pt x="47" y="0"/>
                  </a:lnTo>
                  <a:lnTo>
                    <a:pt x="54" y="5"/>
                  </a:lnTo>
                  <a:lnTo>
                    <a:pt x="58" y="1"/>
                  </a:lnTo>
                  <a:lnTo>
                    <a:pt x="65" y="3"/>
                  </a:lnTo>
                  <a:lnTo>
                    <a:pt x="70" y="10"/>
                  </a:lnTo>
                  <a:lnTo>
                    <a:pt x="76" y="6"/>
                  </a:lnTo>
                  <a:lnTo>
                    <a:pt x="86" y="9"/>
                  </a:lnTo>
                  <a:lnTo>
                    <a:pt x="93" y="6"/>
                  </a:lnTo>
                  <a:lnTo>
                    <a:pt x="96" y="9"/>
                  </a:lnTo>
                  <a:lnTo>
                    <a:pt x="106" y="7"/>
                  </a:lnTo>
                  <a:lnTo>
                    <a:pt x="116" y="11"/>
                  </a:lnTo>
                  <a:lnTo>
                    <a:pt x="122" y="10"/>
                  </a:lnTo>
                  <a:lnTo>
                    <a:pt x="132" y="17"/>
                  </a:lnTo>
                  <a:lnTo>
                    <a:pt x="145" y="17"/>
                  </a:lnTo>
                  <a:lnTo>
                    <a:pt x="149" y="22"/>
                  </a:lnTo>
                  <a:lnTo>
                    <a:pt x="152" y="18"/>
                  </a:lnTo>
                  <a:lnTo>
                    <a:pt x="158" y="19"/>
                  </a:lnTo>
                  <a:lnTo>
                    <a:pt x="156" y="30"/>
                  </a:lnTo>
                  <a:lnTo>
                    <a:pt x="148" y="42"/>
                  </a:lnTo>
                  <a:lnTo>
                    <a:pt x="148" y="48"/>
                  </a:lnTo>
                  <a:lnTo>
                    <a:pt x="161" y="58"/>
                  </a:lnTo>
                  <a:lnTo>
                    <a:pt x="168" y="58"/>
                  </a:lnTo>
                  <a:lnTo>
                    <a:pt x="173" y="63"/>
                  </a:lnTo>
                  <a:lnTo>
                    <a:pt x="169" y="68"/>
                  </a:lnTo>
                  <a:lnTo>
                    <a:pt x="162" y="64"/>
                  </a:lnTo>
                  <a:lnTo>
                    <a:pt x="157" y="67"/>
                  </a:lnTo>
                  <a:lnTo>
                    <a:pt x="157" y="76"/>
                  </a:lnTo>
                  <a:lnTo>
                    <a:pt x="168" y="86"/>
                  </a:lnTo>
                  <a:lnTo>
                    <a:pt x="163" y="90"/>
                  </a:lnTo>
                  <a:lnTo>
                    <a:pt x="156" y="88"/>
                  </a:lnTo>
                  <a:lnTo>
                    <a:pt x="146" y="82"/>
                  </a:lnTo>
                  <a:lnTo>
                    <a:pt x="142" y="86"/>
                  </a:lnTo>
                  <a:lnTo>
                    <a:pt x="142" y="92"/>
                  </a:lnTo>
                  <a:lnTo>
                    <a:pt x="150" y="97"/>
                  </a:lnTo>
                  <a:lnTo>
                    <a:pt x="152" y="103"/>
                  </a:lnTo>
                  <a:lnTo>
                    <a:pt x="146" y="107"/>
                  </a:lnTo>
                  <a:lnTo>
                    <a:pt x="139" y="107"/>
                  </a:lnTo>
                  <a:lnTo>
                    <a:pt x="135" y="115"/>
                  </a:lnTo>
                  <a:lnTo>
                    <a:pt x="135" y="126"/>
                  </a:lnTo>
                  <a:lnTo>
                    <a:pt x="131" y="136"/>
                  </a:lnTo>
                  <a:lnTo>
                    <a:pt x="126" y="137"/>
                  </a:lnTo>
                  <a:lnTo>
                    <a:pt x="116" y="125"/>
                  </a:lnTo>
                  <a:lnTo>
                    <a:pt x="111" y="127"/>
                  </a:lnTo>
                  <a:lnTo>
                    <a:pt x="94" y="125"/>
                  </a:lnTo>
                  <a:lnTo>
                    <a:pt x="88" y="123"/>
                  </a:lnTo>
                  <a:lnTo>
                    <a:pt x="88" y="12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5" name="Freeform 29">
              <a:extLst>
                <a:ext uri="{FF2B5EF4-FFF2-40B4-BE49-F238E27FC236}">
                  <a16:creationId xmlns:a16="http://schemas.microsoft.com/office/drawing/2014/main" id="{1A755019-3C15-DC42-943B-15BC0C19F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200" y="3105150"/>
              <a:ext cx="215900" cy="122238"/>
            </a:xfrm>
            <a:custGeom>
              <a:avLst/>
              <a:gdLst/>
              <a:ahLst/>
              <a:cxnLst>
                <a:cxn ang="0">
                  <a:pos x="5" y="77"/>
                </a:cxn>
                <a:cxn ang="0">
                  <a:pos x="21" y="76"/>
                </a:cxn>
                <a:cxn ang="0">
                  <a:pos x="33" y="68"/>
                </a:cxn>
                <a:cxn ang="0">
                  <a:pos x="43" y="66"/>
                </a:cxn>
                <a:cxn ang="0">
                  <a:pos x="60" y="73"/>
                </a:cxn>
                <a:cxn ang="0">
                  <a:pos x="68" y="72"/>
                </a:cxn>
                <a:cxn ang="0">
                  <a:pos x="72" y="58"/>
                </a:cxn>
                <a:cxn ang="0">
                  <a:pos x="86" y="52"/>
                </a:cxn>
                <a:cxn ang="0">
                  <a:pos x="87" y="41"/>
                </a:cxn>
                <a:cxn ang="0">
                  <a:pos x="115" y="27"/>
                </a:cxn>
                <a:cxn ang="0">
                  <a:pos x="136" y="27"/>
                </a:cxn>
                <a:cxn ang="0">
                  <a:pos x="133" y="12"/>
                </a:cxn>
                <a:cxn ang="0">
                  <a:pos x="122" y="0"/>
                </a:cxn>
                <a:cxn ang="0">
                  <a:pos x="110" y="3"/>
                </a:cxn>
                <a:cxn ang="0">
                  <a:pos x="91" y="13"/>
                </a:cxn>
                <a:cxn ang="0">
                  <a:pos x="86" y="13"/>
                </a:cxn>
                <a:cxn ang="0">
                  <a:pos x="79" y="14"/>
                </a:cxn>
                <a:cxn ang="0">
                  <a:pos x="69" y="18"/>
                </a:cxn>
                <a:cxn ang="0">
                  <a:pos x="58" y="18"/>
                </a:cxn>
                <a:cxn ang="0">
                  <a:pos x="48" y="21"/>
                </a:cxn>
                <a:cxn ang="0">
                  <a:pos x="41" y="15"/>
                </a:cxn>
                <a:cxn ang="0">
                  <a:pos x="21" y="15"/>
                </a:cxn>
                <a:cxn ang="0">
                  <a:pos x="14" y="15"/>
                </a:cxn>
                <a:cxn ang="0">
                  <a:pos x="4" y="29"/>
                </a:cxn>
                <a:cxn ang="0">
                  <a:pos x="6" y="36"/>
                </a:cxn>
                <a:cxn ang="0">
                  <a:pos x="0" y="43"/>
                </a:cxn>
                <a:cxn ang="0">
                  <a:pos x="3" y="58"/>
                </a:cxn>
                <a:cxn ang="0">
                  <a:pos x="4" y="58"/>
                </a:cxn>
                <a:cxn ang="0">
                  <a:pos x="12" y="61"/>
                </a:cxn>
                <a:cxn ang="0">
                  <a:pos x="12" y="67"/>
                </a:cxn>
                <a:cxn ang="0">
                  <a:pos x="5" y="70"/>
                </a:cxn>
                <a:cxn ang="0">
                  <a:pos x="5" y="77"/>
                </a:cxn>
              </a:cxnLst>
              <a:rect l="0" t="0" r="r" b="b"/>
              <a:pathLst>
                <a:path w="136" h="77">
                  <a:moveTo>
                    <a:pt x="5" y="77"/>
                  </a:moveTo>
                  <a:lnTo>
                    <a:pt x="21" y="76"/>
                  </a:lnTo>
                  <a:lnTo>
                    <a:pt x="33" y="68"/>
                  </a:lnTo>
                  <a:lnTo>
                    <a:pt x="43" y="66"/>
                  </a:lnTo>
                  <a:lnTo>
                    <a:pt x="60" y="73"/>
                  </a:lnTo>
                  <a:lnTo>
                    <a:pt x="68" y="72"/>
                  </a:lnTo>
                  <a:lnTo>
                    <a:pt x="72" y="58"/>
                  </a:lnTo>
                  <a:lnTo>
                    <a:pt x="86" y="52"/>
                  </a:lnTo>
                  <a:lnTo>
                    <a:pt x="87" y="41"/>
                  </a:lnTo>
                  <a:lnTo>
                    <a:pt x="115" y="27"/>
                  </a:lnTo>
                  <a:lnTo>
                    <a:pt x="136" y="27"/>
                  </a:lnTo>
                  <a:lnTo>
                    <a:pt x="133" y="12"/>
                  </a:lnTo>
                  <a:lnTo>
                    <a:pt x="122" y="0"/>
                  </a:lnTo>
                  <a:lnTo>
                    <a:pt x="110" y="3"/>
                  </a:lnTo>
                  <a:lnTo>
                    <a:pt x="91" y="13"/>
                  </a:lnTo>
                  <a:lnTo>
                    <a:pt x="86" y="13"/>
                  </a:lnTo>
                  <a:lnTo>
                    <a:pt x="79" y="14"/>
                  </a:lnTo>
                  <a:lnTo>
                    <a:pt x="69" y="18"/>
                  </a:lnTo>
                  <a:lnTo>
                    <a:pt x="58" y="18"/>
                  </a:lnTo>
                  <a:lnTo>
                    <a:pt x="48" y="21"/>
                  </a:lnTo>
                  <a:lnTo>
                    <a:pt x="41" y="15"/>
                  </a:lnTo>
                  <a:lnTo>
                    <a:pt x="21" y="15"/>
                  </a:lnTo>
                  <a:lnTo>
                    <a:pt x="14" y="15"/>
                  </a:lnTo>
                  <a:lnTo>
                    <a:pt x="4" y="29"/>
                  </a:lnTo>
                  <a:lnTo>
                    <a:pt x="6" y="36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12" y="61"/>
                  </a:lnTo>
                  <a:lnTo>
                    <a:pt x="12" y="67"/>
                  </a:lnTo>
                  <a:lnTo>
                    <a:pt x="5" y="70"/>
                  </a:lnTo>
                  <a:lnTo>
                    <a:pt x="5" y="77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6" name="Freeform 30">
              <a:extLst>
                <a:ext uri="{FF2B5EF4-FFF2-40B4-BE49-F238E27FC236}">
                  <a16:creationId xmlns:a16="http://schemas.microsoft.com/office/drawing/2014/main" id="{925DFA63-CFE2-0941-BEAA-836B0F94F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975" y="2917825"/>
              <a:ext cx="509588" cy="220663"/>
            </a:xfrm>
            <a:custGeom>
              <a:avLst/>
              <a:gdLst/>
              <a:ahLst/>
              <a:cxnLst>
                <a:cxn ang="0">
                  <a:pos x="195" y="133"/>
                </a:cxn>
                <a:cxn ang="0">
                  <a:pos x="222" y="139"/>
                </a:cxn>
                <a:cxn ang="0">
                  <a:pos x="243" y="136"/>
                </a:cxn>
                <a:cxn ang="0">
                  <a:pos x="260" y="131"/>
                </a:cxn>
                <a:cxn ang="0">
                  <a:pos x="284" y="121"/>
                </a:cxn>
                <a:cxn ang="0">
                  <a:pos x="305" y="109"/>
                </a:cxn>
                <a:cxn ang="0">
                  <a:pos x="301" y="93"/>
                </a:cxn>
                <a:cxn ang="0">
                  <a:pos x="296" y="75"/>
                </a:cxn>
                <a:cxn ang="0">
                  <a:pos x="319" y="72"/>
                </a:cxn>
                <a:cxn ang="0">
                  <a:pos x="319" y="55"/>
                </a:cxn>
                <a:cxn ang="0">
                  <a:pos x="317" y="18"/>
                </a:cxn>
                <a:cxn ang="0">
                  <a:pos x="290" y="10"/>
                </a:cxn>
                <a:cxn ang="0">
                  <a:pos x="265" y="11"/>
                </a:cxn>
                <a:cxn ang="0">
                  <a:pos x="237" y="4"/>
                </a:cxn>
                <a:cxn ang="0">
                  <a:pos x="225" y="9"/>
                </a:cxn>
                <a:cxn ang="0">
                  <a:pos x="219" y="18"/>
                </a:cxn>
                <a:cxn ang="0">
                  <a:pos x="202" y="23"/>
                </a:cxn>
                <a:cxn ang="0">
                  <a:pos x="173" y="11"/>
                </a:cxn>
                <a:cxn ang="0">
                  <a:pos x="172" y="27"/>
                </a:cxn>
                <a:cxn ang="0">
                  <a:pos x="159" y="35"/>
                </a:cxn>
                <a:cxn ang="0">
                  <a:pos x="136" y="54"/>
                </a:cxn>
                <a:cxn ang="0">
                  <a:pos x="148" y="64"/>
                </a:cxn>
                <a:cxn ang="0">
                  <a:pos x="144" y="75"/>
                </a:cxn>
                <a:cxn ang="0">
                  <a:pos x="124" y="73"/>
                </a:cxn>
                <a:cxn ang="0">
                  <a:pos x="106" y="70"/>
                </a:cxn>
                <a:cxn ang="0">
                  <a:pos x="83" y="80"/>
                </a:cxn>
                <a:cxn ang="0">
                  <a:pos x="68" y="80"/>
                </a:cxn>
                <a:cxn ang="0">
                  <a:pos x="49" y="75"/>
                </a:cxn>
                <a:cxn ang="0">
                  <a:pos x="38" y="81"/>
                </a:cxn>
                <a:cxn ang="0">
                  <a:pos x="23" y="83"/>
                </a:cxn>
                <a:cxn ang="0">
                  <a:pos x="9" y="79"/>
                </a:cxn>
                <a:cxn ang="0">
                  <a:pos x="0" y="81"/>
                </a:cxn>
                <a:cxn ang="0">
                  <a:pos x="6" y="91"/>
                </a:cxn>
                <a:cxn ang="0">
                  <a:pos x="11" y="102"/>
                </a:cxn>
                <a:cxn ang="0">
                  <a:pos x="23" y="101"/>
                </a:cxn>
                <a:cxn ang="0">
                  <a:pos x="41" y="102"/>
                </a:cxn>
                <a:cxn ang="0">
                  <a:pos x="52" y="109"/>
                </a:cxn>
                <a:cxn ang="0">
                  <a:pos x="68" y="115"/>
                </a:cxn>
                <a:cxn ang="0">
                  <a:pos x="102" y="104"/>
                </a:cxn>
                <a:cxn ang="0">
                  <a:pos x="116" y="112"/>
                </a:cxn>
                <a:cxn ang="0">
                  <a:pos x="166" y="128"/>
                </a:cxn>
                <a:cxn ang="0">
                  <a:pos x="188" y="133"/>
                </a:cxn>
              </a:cxnLst>
              <a:rect l="0" t="0" r="r" b="b"/>
              <a:pathLst>
                <a:path w="321" h="139">
                  <a:moveTo>
                    <a:pt x="188" y="133"/>
                  </a:moveTo>
                  <a:lnTo>
                    <a:pt x="195" y="133"/>
                  </a:lnTo>
                  <a:lnTo>
                    <a:pt x="215" y="133"/>
                  </a:lnTo>
                  <a:lnTo>
                    <a:pt x="222" y="139"/>
                  </a:lnTo>
                  <a:lnTo>
                    <a:pt x="232" y="136"/>
                  </a:lnTo>
                  <a:lnTo>
                    <a:pt x="243" y="136"/>
                  </a:lnTo>
                  <a:lnTo>
                    <a:pt x="253" y="132"/>
                  </a:lnTo>
                  <a:lnTo>
                    <a:pt x="260" y="131"/>
                  </a:lnTo>
                  <a:lnTo>
                    <a:pt x="265" y="131"/>
                  </a:lnTo>
                  <a:lnTo>
                    <a:pt x="284" y="121"/>
                  </a:lnTo>
                  <a:lnTo>
                    <a:pt x="298" y="118"/>
                  </a:lnTo>
                  <a:lnTo>
                    <a:pt x="305" y="109"/>
                  </a:lnTo>
                  <a:lnTo>
                    <a:pt x="300" y="102"/>
                  </a:lnTo>
                  <a:lnTo>
                    <a:pt x="301" y="93"/>
                  </a:lnTo>
                  <a:lnTo>
                    <a:pt x="305" y="84"/>
                  </a:lnTo>
                  <a:lnTo>
                    <a:pt x="296" y="75"/>
                  </a:lnTo>
                  <a:lnTo>
                    <a:pt x="299" y="72"/>
                  </a:lnTo>
                  <a:lnTo>
                    <a:pt x="319" y="72"/>
                  </a:lnTo>
                  <a:lnTo>
                    <a:pt x="321" y="63"/>
                  </a:lnTo>
                  <a:lnTo>
                    <a:pt x="319" y="55"/>
                  </a:lnTo>
                  <a:lnTo>
                    <a:pt x="316" y="32"/>
                  </a:lnTo>
                  <a:lnTo>
                    <a:pt x="317" y="18"/>
                  </a:lnTo>
                  <a:lnTo>
                    <a:pt x="299" y="15"/>
                  </a:lnTo>
                  <a:lnTo>
                    <a:pt x="290" y="10"/>
                  </a:lnTo>
                  <a:lnTo>
                    <a:pt x="278" y="12"/>
                  </a:lnTo>
                  <a:lnTo>
                    <a:pt x="265" y="11"/>
                  </a:lnTo>
                  <a:lnTo>
                    <a:pt x="254" y="4"/>
                  </a:lnTo>
                  <a:lnTo>
                    <a:pt x="237" y="4"/>
                  </a:lnTo>
                  <a:lnTo>
                    <a:pt x="228" y="0"/>
                  </a:lnTo>
                  <a:lnTo>
                    <a:pt x="225" y="9"/>
                  </a:lnTo>
                  <a:lnTo>
                    <a:pt x="220" y="12"/>
                  </a:lnTo>
                  <a:lnTo>
                    <a:pt x="219" y="18"/>
                  </a:lnTo>
                  <a:lnTo>
                    <a:pt x="207" y="18"/>
                  </a:lnTo>
                  <a:lnTo>
                    <a:pt x="202" y="23"/>
                  </a:lnTo>
                  <a:lnTo>
                    <a:pt x="179" y="11"/>
                  </a:lnTo>
                  <a:lnTo>
                    <a:pt x="173" y="11"/>
                  </a:lnTo>
                  <a:lnTo>
                    <a:pt x="171" y="18"/>
                  </a:lnTo>
                  <a:lnTo>
                    <a:pt x="172" y="27"/>
                  </a:lnTo>
                  <a:lnTo>
                    <a:pt x="165" y="27"/>
                  </a:lnTo>
                  <a:lnTo>
                    <a:pt x="159" y="35"/>
                  </a:lnTo>
                  <a:lnTo>
                    <a:pt x="148" y="40"/>
                  </a:lnTo>
                  <a:lnTo>
                    <a:pt x="136" y="54"/>
                  </a:lnTo>
                  <a:lnTo>
                    <a:pt x="136" y="60"/>
                  </a:lnTo>
                  <a:lnTo>
                    <a:pt x="148" y="64"/>
                  </a:lnTo>
                  <a:lnTo>
                    <a:pt x="149" y="72"/>
                  </a:lnTo>
                  <a:lnTo>
                    <a:pt x="144" y="75"/>
                  </a:lnTo>
                  <a:lnTo>
                    <a:pt x="133" y="69"/>
                  </a:lnTo>
                  <a:lnTo>
                    <a:pt x="124" y="73"/>
                  </a:lnTo>
                  <a:lnTo>
                    <a:pt x="113" y="69"/>
                  </a:lnTo>
                  <a:lnTo>
                    <a:pt x="106" y="70"/>
                  </a:lnTo>
                  <a:lnTo>
                    <a:pt x="91" y="79"/>
                  </a:lnTo>
                  <a:lnTo>
                    <a:pt x="83" y="80"/>
                  </a:lnTo>
                  <a:lnTo>
                    <a:pt x="76" y="79"/>
                  </a:lnTo>
                  <a:lnTo>
                    <a:pt x="68" y="80"/>
                  </a:lnTo>
                  <a:lnTo>
                    <a:pt x="61" y="76"/>
                  </a:lnTo>
                  <a:lnTo>
                    <a:pt x="49" y="75"/>
                  </a:lnTo>
                  <a:lnTo>
                    <a:pt x="37" y="76"/>
                  </a:lnTo>
                  <a:lnTo>
                    <a:pt x="38" y="81"/>
                  </a:lnTo>
                  <a:lnTo>
                    <a:pt x="34" y="85"/>
                  </a:lnTo>
                  <a:lnTo>
                    <a:pt x="23" y="83"/>
                  </a:lnTo>
                  <a:lnTo>
                    <a:pt x="16" y="76"/>
                  </a:lnTo>
                  <a:lnTo>
                    <a:pt x="9" y="79"/>
                  </a:lnTo>
                  <a:lnTo>
                    <a:pt x="3" y="81"/>
                  </a:lnTo>
                  <a:lnTo>
                    <a:pt x="0" y="81"/>
                  </a:lnTo>
                  <a:lnTo>
                    <a:pt x="6" y="85"/>
                  </a:lnTo>
                  <a:lnTo>
                    <a:pt x="6" y="91"/>
                  </a:lnTo>
                  <a:lnTo>
                    <a:pt x="11" y="95"/>
                  </a:lnTo>
                  <a:lnTo>
                    <a:pt x="11" y="102"/>
                  </a:lnTo>
                  <a:lnTo>
                    <a:pt x="17" y="103"/>
                  </a:lnTo>
                  <a:lnTo>
                    <a:pt x="23" y="101"/>
                  </a:lnTo>
                  <a:lnTo>
                    <a:pt x="33" y="109"/>
                  </a:lnTo>
                  <a:lnTo>
                    <a:pt x="41" y="102"/>
                  </a:lnTo>
                  <a:lnTo>
                    <a:pt x="49" y="102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68" y="115"/>
                  </a:lnTo>
                  <a:lnTo>
                    <a:pt x="91" y="102"/>
                  </a:lnTo>
                  <a:lnTo>
                    <a:pt x="102" y="104"/>
                  </a:lnTo>
                  <a:lnTo>
                    <a:pt x="118" y="103"/>
                  </a:lnTo>
                  <a:lnTo>
                    <a:pt x="116" y="112"/>
                  </a:lnTo>
                  <a:lnTo>
                    <a:pt x="138" y="124"/>
                  </a:lnTo>
                  <a:lnTo>
                    <a:pt x="166" y="128"/>
                  </a:lnTo>
                  <a:lnTo>
                    <a:pt x="182" y="127"/>
                  </a:lnTo>
                  <a:lnTo>
                    <a:pt x="188" y="133"/>
                  </a:lnTo>
                  <a:lnTo>
                    <a:pt x="188" y="133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7" name="Freeform 31">
              <a:extLst>
                <a:ext uri="{FF2B5EF4-FFF2-40B4-BE49-F238E27FC236}">
                  <a16:creationId xmlns:a16="http://schemas.microsoft.com/office/drawing/2014/main" id="{97003A51-B424-D242-A30F-89F929837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390775"/>
              <a:ext cx="668338" cy="512763"/>
            </a:xfrm>
            <a:custGeom>
              <a:avLst/>
              <a:gdLst/>
              <a:ahLst/>
              <a:cxnLst>
                <a:cxn ang="0">
                  <a:pos x="255" y="321"/>
                </a:cxn>
                <a:cxn ang="0">
                  <a:pos x="269" y="314"/>
                </a:cxn>
                <a:cxn ang="0">
                  <a:pos x="284" y="313"/>
                </a:cxn>
                <a:cxn ang="0">
                  <a:pos x="301" y="317"/>
                </a:cxn>
                <a:cxn ang="0">
                  <a:pos x="314" y="311"/>
                </a:cxn>
                <a:cxn ang="0">
                  <a:pos x="327" y="311"/>
                </a:cxn>
                <a:cxn ang="0">
                  <a:pos x="363" y="321"/>
                </a:cxn>
                <a:cxn ang="0">
                  <a:pos x="374" y="309"/>
                </a:cxn>
                <a:cxn ang="0">
                  <a:pos x="401" y="269"/>
                </a:cxn>
                <a:cxn ang="0">
                  <a:pos x="412" y="250"/>
                </a:cxn>
                <a:cxn ang="0">
                  <a:pos x="421" y="238"/>
                </a:cxn>
                <a:cxn ang="0">
                  <a:pos x="417" y="226"/>
                </a:cxn>
                <a:cxn ang="0">
                  <a:pos x="409" y="215"/>
                </a:cxn>
                <a:cxn ang="0">
                  <a:pos x="399" y="198"/>
                </a:cxn>
                <a:cxn ang="0">
                  <a:pos x="400" y="168"/>
                </a:cxn>
                <a:cxn ang="0">
                  <a:pos x="386" y="143"/>
                </a:cxn>
                <a:cxn ang="0">
                  <a:pos x="402" y="129"/>
                </a:cxn>
                <a:cxn ang="0">
                  <a:pos x="397" y="99"/>
                </a:cxn>
                <a:cxn ang="0">
                  <a:pos x="389" y="80"/>
                </a:cxn>
                <a:cxn ang="0">
                  <a:pos x="373" y="49"/>
                </a:cxn>
                <a:cxn ang="0">
                  <a:pos x="370" y="24"/>
                </a:cxn>
                <a:cxn ang="0">
                  <a:pos x="353" y="16"/>
                </a:cxn>
                <a:cxn ang="0">
                  <a:pos x="234" y="18"/>
                </a:cxn>
                <a:cxn ang="0">
                  <a:pos x="212" y="33"/>
                </a:cxn>
                <a:cxn ang="0">
                  <a:pos x="197" y="33"/>
                </a:cxn>
                <a:cxn ang="0">
                  <a:pos x="222" y="14"/>
                </a:cxn>
                <a:cxn ang="0">
                  <a:pos x="208" y="24"/>
                </a:cxn>
                <a:cxn ang="0">
                  <a:pos x="171" y="25"/>
                </a:cxn>
                <a:cxn ang="0">
                  <a:pos x="170" y="10"/>
                </a:cxn>
                <a:cxn ang="0">
                  <a:pos x="185" y="13"/>
                </a:cxn>
                <a:cxn ang="0">
                  <a:pos x="173" y="5"/>
                </a:cxn>
                <a:cxn ang="0">
                  <a:pos x="131" y="8"/>
                </a:cxn>
                <a:cxn ang="0">
                  <a:pos x="105" y="12"/>
                </a:cxn>
                <a:cxn ang="0">
                  <a:pos x="83" y="23"/>
                </a:cxn>
                <a:cxn ang="0">
                  <a:pos x="75" y="37"/>
                </a:cxn>
                <a:cxn ang="0">
                  <a:pos x="38" y="48"/>
                </a:cxn>
                <a:cxn ang="0">
                  <a:pos x="19" y="59"/>
                </a:cxn>
                <a:cxn ang="0">
                  <a:pos x="13" y="71"/>
                </a:cxn>
                <a:cxn ang="0">
                  <a:pos x="8" y="75"/>
                </a:cxn>
                <a:cxn ang="0">
                  <a:pos x="12" y="107"/>
                </a:cxn>
                <a:cxn ang="0">
                  <a:pos x="0" y="120"/>
                </a:cxn>
                <a:cxn ang="0">
                  <a:pos x="12" y="141"/>
                </a:cxn>
                <a:cxn ang="0">
                  <a:pos x="18" y="156"/>
                </a:cxn>
                <a:cxn ang="0">
                  <a:pos x="19" y="172"/>
                </a:cxn>
                <a:cxn ang="0">
                  <a:pos x="33" y="192"/>
                </a:cxn>
                <a:cxn ang="0">
                  <a:pos x="40" y="220"/>
                </a:cxn>
                <a:cxn ang="0">
                  <a:pos x="40" y="231"/>
                </a:cxn>
                <a:cxn ang="0">
                  <a:pos x="52" y="227"/>
                </a:cxn>
                <a:cxn ang="0">
                  <a:pos x="75" y="228"/>
                </a:cxn>
                <a:cxn ang="0">
                  <a:pos x="83" y="240"/>
                </a:cxn>
                <a:cxn ang="0">
                  <a:pos x="96" y="244"/>
                </a:cxn>
                <a:cxn ang="0">
                  <a:pos x="96" y="259"/>
                </a:cxn>
                <a:cxn ang="0">
                  <a:pos x="99" y="268"/>
                </a:cxn>
                <a:cxn ang="0">
                  <a:pos x="110" y="267"/>
                </a:cxn>
                <a:cxn ang="0">
                  <a:pos x="105" y="254"/>
                </a:cxn>
                <a:cxn ang="0">
                  <a:pos x="130" y="262"/>
                </a:cxn>
                <a:cxn ang="0">
                  <a:pos x="142" y="268"/>
                </a:cxn>
                <a:cxn ang="0">
                  <a:pos x="169" y="272"/>
                </a:cxn>
                <a:cxn ang="0">
                  <a:pos x="210" y="294"/>
                </a:cxn>
                <a:cxn ang="0">
                  <a:pos x="227" y="307"/>
                </a:cxn>
                <a:cxn ang="0">
                  <a:pos x="244" y="303"/>
                </a:cxn>
                <a:cxn ang="0">
                  <a:pos x="252" y="320"/>
                </a:cxn>
              </a:cxnLst>
              <a:rect l="0" t="0" r="r" b="b"/>
              <a:pathLst>
                <a:path w="421" h="323">
                  <a:moveTo>
                    <a:pt x="252" y="320"/>
                  </a:moveTo>
                  <a:lnTo>
                    <a:pt x="255" y="321"/>
                  </a:lnTo>
                  <a:lnTo>
                    <a:pt x="264" y="321"/>
                  </a:lnTo>
                  <a:lnTo>
                    <a:pt x="269" y="314"/>
                  </a:lnTo>
                  <a:lnTo>
                    <a:pt x="276" y="312"/>
                  </a:lnTo>
                  <a:lnTo>
                    <a:pt x="284" y="313"/>
                  </a:lnTo>
                  <a:lnTo>
                    <a:pt x="295" y="313"/>
                  </a:lnTo>
                  <a:lnTo>
                    <a:pt x="301" y="317"/>
                  </a:lnTo>
                  <a:lnTo>
                    <a:pt x="307" y="312"/>
                  </a:lnTo>
                  <a:lnTo>
                    <a:pt x="314" y="311"/>
                  </a:lnTo>
                  <a:lnTo>
                    <a:pt x="321" y="313"/>
                  </a:lnTo>
                  <a:lnTo>
                    <a:pt x="327" y="311"/>
                  </a:lnTo>
                  <a:lnTo>
                    <a:pt x="344" y="312"/>
                  </a:lnTo>
                  <a:lnTo>
                    <a:pt x="363" y="321"/>
                  </a:lnTo>
                  <a:lnTo>
                    <a:pt x="373" y="323"/>
                  </a:lnTo>
                  <a:lnTo>
                    <a:pt x="374" y="309"/>
                  </a:lnTo>
                  <a:lnTo>
                    <a:pt x="372" y="298"/>
                  </a:lnTo>
                  <a:lnTo>
                    <a:pt x="401" y="269"/>
                  </a:lnTo>
                  <a:lnTo>
                    <a:pt x="405" y="257"/>
                  </a:lnTo>
                  <a:lnTo>
                    <a:pt x="412" y="250"/>
                  </a:lnTo>
                  <a:lnTo>
                    <a:pt x="419" y="250"/>
                  </a:lnTo>
                  <a:lnTo>
                    <a:pt x="421" y="238"/>
                  </a:lnTo>
                  <a:lnTo>
                    <a:pt x="418" y="233"/>
                  </a:lnTo>
                  <a:lnTo>
                    <a:pt x="417" y="226"/>
                  </a:lnTo>
                  <a:lnTo>
                    <a:pt x="421" y="222"/>
                  </a:lnTo>
                  <a:lnTo>
                    <a:pt x="409" y="215"/>
                  </a:lnTo>
                  <a:lnTo>
                    <a:pt x="405" y="203"/>
                  </a:lnTo>
                  <a:lnTo>
                    <a:pt x="399" y="198"/>
                  </a:lnTo>
                  <a:lnTo>
                    <a:pt x="399" y="179"/>
                  </a:lnTo>
                  <a:lnTo>
                    <a:pt x="400" y="168"/>
                  </a:lnTo>
                  <a:lnTo>
                    <a:pt x="390" y="155"/>
                  </a:lnTo>
                  <a:lnTo>
                    <a:pt x="386" y="143"/>
                  </a:lnTo>
                  <a:lnTo>
                    <a:pt x="394" y="132"/>
                  </a:lnTo>
                  <a:lnTo>
                    <a:pt x="402" y="129"/>
                  </a:lnTo>
                  <a:lnTo>
                    <a:pt x="402" y="103"/>
                  </a:lnTo>
                  <a:lnTo>
                    <a:pt x="397" y="99"/>
                  </a:lnTo>
                  <a:lnTo>
                    <a:pt x="395" y="88"/>
                  </a:lnTo>
                  <a:lnTo>
                    <a:pt x="389" y="80"/>
                  </a:lnTo>
                  <a:lnTo>
                    <a:pt x="382" y="60"/>
                  </a:lnTo>
                  <a:lnTo>
                    <a:pt x="373" y="49"/>
                  </a:lnTo>
                  <a:lnTo>
                    <a:pt x="374" y="39"/>
                  </a:lnTo>
                  <a:lnTo>
                    <a:pt x="370" y="24"/>
                  </a:lnTo>
                  <a:lnTo>
                    <a:pt x="363" y="23"/>
                  </a:lnTo>
                  <a:lnTo>
                    <a:pt x="353" y="16"/>
                  </a:lnTo>
                  <a:lnTo>
                    <a:pt x="292" y="20"/>
                  </a:lnTo>
                  <a:lnTo>
                    <a:pt x="234" y="18"/>
                  </a:lnTo>
                  <a:lnTo>
                    <a:pt x="228" y="20"/>
                  </a:lnTo>
                  <a:lnTo>
                    <a:pt x="212" y="33"/>
                  </a:lnTo>
                  <a:lnTo>
                    <a:pt x="199" y="35"/>
                  </a:lnTo>
                  <a:lnTo>
                    <a:pt x="197" y="33"/>
                  </a:lnTo>
                  <a:lnTo>
                    <a:pt x="210" y="25"/>
                  </a:lnTo>
                  <a:lnTo>
                    <a:pt x="222" y="14"/>
                  </a:lnTo>
                  <a:lnTo>
                    <a:pt x="217" y="14"/>
                  </a:lnTo>
                  <a:lnTo>
                    <a:pt x="208" y="24"/>
                  </a:lnTo>
                  <a:lnTo>
                    <a:pt x="191" y="31"/>
                  </a:lnTo>
                  <a:lnTo>
                    <a:pt x="171" y="25"/>
                  </a:lnTo>
                  <a:lnTo>
                    <a:pt x="166" y="16"/>
                  </a:lnTo>
                  <a:lnTo>
                    <a:pt x="170" y="10"/>
                  </a:lnTo>
                  <a:lnTo>
                    <a:pt x="180" y="11"/>
                  </a:lnTo>
                  <a:lnTo>
                    <a:pt x="185" y="13"/>
                  </a:lnTo>
                  <a:lnTo>
                    <a:pt x="186" y="11"/>
                  </a:lnTo>
                  <a:lnTo>
                    <a:pt x="173" y="5"/>
                  </a:lnTo>
                  <a:lnTo>
                    <a:pt x="150" y="0"/>
                  </a:lnTo>
                  <a:lnTo>
                    <a:pt x="131" y="8"/>
                  </a:lnTo>
                  <a:lnTo>
                    <a:pt x="118" y="7"/>
                  </a:lnTo>
                  <a:lnTo>
                    <a:pt x="105" y="12"/>
                  </a:lnTo>
                  <a:lnTo>
                    <a:pt x="96" y="22"/>
                  </a:lnTo>
                  <a:lnTo>
                    <a:pt x="83" y="23"/>
                  </a:lnTo>
                  <a:lnTo>
                    <a:pt x="75" y="31"/>
                  </a:lnTo>
                  <a:lnTo>
                    <a:pt x="75" y="37"/>
                  </a:lnTo>
                  <a:lnTo>
                    <a:pt x="60" y="37"/>
                  </a:lnTo>
                  <a:lnTo>
                    <a:pt x="38" y="48"/>
                  </a:lnTo>
                  <a:lnTo>
                    <a:pt x="24" y="49"/>
                  </a:lnTo>
                  <a:lnTo>
                    <a:pt x="19" y="59"/>
                  </a:lnTo>
                  <a:lnTo>
                    <a:pt x="15" y="70"/>
                  </a:lnTo>
                  <a:lnTo>
                    <a:pt x="13" y="71"/>
                  </a:lnTo>
                  <a:lnTo>
                    <a:pt x="13" y="75"/>
                  </a:lnTo>
                  <a:lnTo>
                    <a:pt x="8" y="75"/>
                  </a:lnTo>
                  <a:lnTo>
                    <a:pt x="13" y="94"/>
                  </a:lnTo>
                  <a:lnTo>
                    <a:pt x="12" y="107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13" y="133"/>
                  </a:lnTo>
                  <a:lnTo>
                    <a:pt x="12" y="141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3" y="164"/>
                  </a:lnTo>
                  <a:lnTo>
                    <a:pt x="19" y="172"/>
                  </a:lnTo>
                  <a:lnTo>
                    <a:pt x="27" y="188"/>
                  </a:lnTo>
                  <a:lnTo>
                    <a:pt x="33" y="192"/>
                  </a:lnTo>
                  <a:lnTo>
                    <a:pt x="38" y="198"/>
                  </a:lnTo>
                  <a:lnTo>
                    <a:pt x="40" y="220"/>
                  </a:lnTo>
                  <a:lnTo>
                    <a:pt x="37" y="224"/>
                  </a:lnTo>
                  <a:lnTo>
                    <a:pt x="40" y="231"/>
                  </a:lnTo>
                  <a:lnTo>
                    <a:pt x="44" y="226"/>
                  </a:lnTo>
                  <a:lnTo>
                    <a:pt x="52" y="227"/>
                  </a:lnTo>
                  <a:lnTo>
                    <a:pt x="56" y="226"/>
                  </a:lnTo>
                  <a:lnTo>
                    <a:pt x="75" y="228"/>
                  </a:lnTo>
                  <a:lnTo>
                    <a:pt x="75" y="233"/>
                  </a:lnTo>
                  <a:lnTo>
                    <a:pt x="83" y="240"/>
                  </a:lnTo>
                  <a:lnTo>
                    <a:pt x="90" y="239"/>
                  </a:lnTo>
                  <a:lnTo>
                    <a:pt x="96" y="244"/>
                  </a:lnTo>
                  <a:lnTo>
                    <a:pt x="93" y="254"/>
                  </a:lnTo>
                  <a:lnTo>
                    <a:pt x="96" y="259"/>
                  </a:lnTo>
                  <a:lnTo>
                    <a:pt x="99" y="260"/>
                  </a:lnTo>
                  <a:lnTo>
                    <a:pt x="99" y="268"/>
                  </a:lnTo>
                  <a:lnTo>
                    <a:pt x="105" y="271"/>
                  </a:lnTo>
                  <a:lnTo>
                    <a:pt x="110" y="267"/>
                  </a:lnTo>
                  <a:lnTo>
                    <a:pt x="116" y="267"/>
                  </a:lnTo>
                  <a:lnTo>
                    <a:pt x="105" y="254"/>
                  </a:lnTo>
                  <a:lnTo>
                    <a:pt x="110" y="251"/>
                  </a:lnTo>
                  <a:lnTo>
                    <a:pt x="130" y="262"/>
                  </a:lnTo>
                  <a:lnTo>
                    <a:pt x="145" y="261"/>
                  </a:lnTo>
                  <a:lnTo>
                    <a:pt x="142" y="268"/>
                  </a:lnTo>
                  <a:lnTo>
                    <a:pt x="152" y="276"/>
                  </a:lnTo>
                  <a:lnTo>
                    <a:pt x="169" y="272"/>
                  </a:lnTo>
                  <a:lnTo>
                    <a:pt x="182" y="276"/>
                  </a:lnTo>
                  <a:lnTo>
                    <a:pt x="210" y="294"/>
                  </a:lnTo>
                  <a:lnTo>
                    <a:pt x="220" y="307"/>
                  </a:lnTo>
                  <a:lnTo>
                    <a:pt x="227" y="307"/>
                  </a:lnTo>
                  <a:lnTo>
                    <a:pt x="231" y="303"/>
                  </a:lnTo>
                  <a:lnTo>
                    <a:pt x="244" y="303"/>
                  </a:lnTo>
                  <a:lnTo>
                    <a:pt x="250" y="309"/>
                  </a:lnTo>
                  <a:lnTo>
                    <a:pt x="252" y="32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8" name="Freeform 32">
              <a:extLst>
                <a:ext uri="{FF2B5EF4-FFF2-40B4-BE49-F238E27FC236}">
                  <a16:creationId xmlns:a16="http://schemas.microsoft.com/office/drawing/2014/main" id="{6309E539-E75D-7C4E-A1AF-A82185628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963" y="2746375"/>
              <a:ext cx="534988" cy="207963"/>
            </a:xfrm>
            <a:custGeom>
              <a:avLst/>
              <a:gdLst/>
              <a:ahLst/>
              <a:cxnLst>
                <a:cxn ang="0">
                  <a:pos x="125" y="7"/>
                </a:cxn>
                <a:cxn ang="0">
                  <a:pos x="137" y="3"/>
                </a:cxn>
                <a:cxn ang="0">
                  <a:pos x="160" y="4"/>
                </a:cxn>
                <a:cxn ang="0">
                  <a:pos x="168" y="16"/>
                </a:cxn>
                <a:cxn ang="0">
                  <a:pos x="181" y="20"/>
                </a:cxn>
                <a:cxn ang="0">
                  <a:pos x="181" y="35"/>
                </a:cxn>
                <a:cxn ang="0">
                  <a:pos x="184" y="44"/>
                </a:cxn>
                <a:cxn ang="0">
                  <a:pos x="195" y="43"/>
                </a:cxn>
                <a:cxn ang="0">
                  <a:pos x="190" y="30"/>
                </a:cxn>
                <a:cxn ang="0">
                  <a:pos x="215" y="38"/>
                </a:cxn>
                <a:cxn ang="0">
                  <a:pos x="227" y="44"/>
                </a:cxn>
                <a:cxn ang="0">
                  <a:pos x="254" y="48"/>
                </a:cxn>
                <a:cxn ang="0">
                  <a:pos x="295" y="70"/>
                </a:cxn>
                <a:cxn ang="0">
                  <a:pos x="312" y="83"/>
                </a:cxn>
                <a:cxn ang="0">
                  <a:pos x="329" y="79"/>
                </a:cxn>
                <a:cxn ang="0">
                  <a:pos x="337" y="97"/>
                </a:cxn>
                <a:cxn ang="0">
                  <a:pos x="307" y="103"/>
                </a:cxn>
                <a:cxn ang="0">
                  <a:pos x="282" y="116"/>
                </a:cxn>
                <a:cxn ang="0">
                  <a:pos x="248" y="124"/>
                </a:cxn>
                <a:cxn ang="0">
                  <a:pos x="233" y="120"/>
                </a:cxn>
                <a:cxn ang="0">
                  <a:pos x="202" y="123"/>
                </a:cxn>
                <a:cxn ang="0">
                  <a:pos x="181" y="120"/>
                </a:cxn>
                <a:cxn ang="0">
                  <a:pos x="157" y="112"/>
                </a:cxn>
                <a:cxn ang="0">
                  <a:pos x="131" y="108"/>
                </a:cxn>
                <a:cxn ang="0">
                  <a:pos x="123" y="120"/>
                </a:cxn>
                <a:cxn ang="0">
                  <a:pos x="110" y="126"/>
                </a:cxn>
                <a:cxn ang="0">
                  <a:pos x="82" y="119"/>
                </a:cxn>
                <a:cxn ang="0">
                  <a:pos x="76" y="118"/>
                </a:cxn>
                <a:cxn ang="0">
                  <a:pos x="48" y="94"/>
                </a:cxn>
                <a:cxn ang="0">
                  <a:pos x="24" y="79"/>
                </a:cxn>
                <a:cxn ang="0">
                  <a:pos x="22" y="64"/>
                </a:cxn>
                <a:cxn ang="0">
                  <a:pos x="0" y="43"/>
                </a:cxn>
                <a:cxn ang="0">
                  <a:pos x="4" y="35"/>
                </a:cxn>
                <a:cxn ang="0">
                  <a:pos x="16" y="41"/>
                </a:cxn>
                <a:cxn ang="0">
                  <a:pos x="40" y="27"/>
                </a:cxn>
                <a:cxn ang="0">
                  <a:pos x="58" y="18"/>
                </a:cxn>
                <a:cxn ang="0">
                  <a:pos x="79" y="10"/>
                </a:cxn>
                <a:cxn ang="0">
                  <a:pos x="93" y="8"/>
                </a:cxn>
                <a:cxn ang="0">
                  <a:pos x="108" y="3"/>
                </a:cxn>
                <a:cxn ang="0">
                  <a:pos x="120" y="2"/>
                </a:cxn>
              </a:cxnLst>
              <a:rect l="0" t="0" r="r" b="b"/>
              <a:pathLst>
                <a:path w="337" h="131">
                  <a:moveTo>
                    <a:pt x="122" y="0"/>
                  </a:moveTo>
                  <a:lnTo>
                    <a:pt x="125" y="7"/>
                  </a:lnTo>
                  <a:lnTo>
                    <a:pt x="129" y="2"/>
                  </a:lnTo>
                  <a:lnTo>
                    <a:pt x="137" y="3"/>
                  </a:lnTo>
                  <a:lnTo>
                    <a:pt x="141" y="2"/>
                  </a:lnTo>
                  <a:lnTo>
                    <a:pt x="160" y="4"/>
                  </a:lnTo>
                  <a:lnTo>
                    <a:pt x="160" y="9"/>
                  </a:lnTo>
                  <a:lnTo>
                    <a:pt x="168" y="16"/>
                  </a:lnTo>
                  <a:lnTo>
                    <a:pt x="175" y="15"/>
                  </a:lnTo>
                  <a:lnTo>
                    <a:pt x="181" y="20"/>
                  </a:lnTo>
                  <a:lnTo>
                    <a:pt x="178" y="30"/>
                  </a:lnTo>
                  <a:lnTo>
                    <a:pt x="181" y="35"/>
                  </a:lnTo>
                  <a:lnTo>
                    <a:pt x="184" y="36"/>
                  </a:lnTo>
                  <a:lnTo>
                    <a:pt x="184" y="44"/>
                  </a:lnTo>
                  <a:lnTo>
                    <a:pt x="190" y="47"/>
                  </a:lnTo>
                  <a:lnTo>
                    <a:pt x="195" y="43"/>
                  </a:lnTo>
                  <a:lnTo>
                    <a:pt x="201" y="43"/>
                  </a:lnTo>
                  <a:lnTo>
                    <a:pt x="190" y="30"/>
                  </a:lnTo>
                  <a:lnTo>
                    <a:pt x="195" y="27"/>
                  </a:lnTo>
                  <a:lnTo>
                    <a:pt x="215" y="38"/>
                  </a:lnTo>
                  <a:lnTo>
                    <a:pt x="230" y="37"/>
                  </a:lnTo>
                  <a:lnTo>
                    <a:pt x="227" y="44"/>
                  </a:lnTo>
                  <a:lnTo>
                    <a:pt x="237" y="52"/>
                  </a:lnTo>
                  <a:lnTo>
                    <a:pt x="254" y="48"/>
                  </a:lnTo>
                  <a:lnTo>
                    <a:pt x="267" y="52"/>
                  </a:lnTo>
                  <a:lnTo>
                    <a:pt x="295" y="70"/>
                  </a:lnTo>
                  <a:lnTo>
                    <a:pt x="305" y="83"/>
                  </a:lnTo>
                  <a:lnTo>
                    <a:pt x="312" y="83"/>
                  </a:lnTo>
                  <a:lnTo>
                    <a:pt x="316" y="79"/>
                  </a:lnTo>
                  <a:lnTo>
                    <a:pt x="329" y="79"/>
                  </a:lnTo>
                  <a:lnTo>
                    <a:pt x="335" y="85"/>
                  </a:lnTo>
                  <a:lnTo>
                    <a:pt x="337" y="97"/>
                  </a:lnTo>
                  <a:lnTo>
                    <a:pt x="317" y="95"/>
                  </a:lnTo>
                  <a:lnTo>
                    <a:pt x="307" y="103"/>
                  </a:lnTo>
                  <a:lnTo>
                    <a:pt x="295" y="105"/>
                  </a:lnTo>
                  <a:lnTo>
                    <a:pt x="282" y="116"/>
                  </a:lnTo>
                  <a:lnTo>
                    <a:pt x="265" y="118"/>
                  </a:lnTo>
                  <a:lnTo>
                    <a:pt x="248" y="124"/>
                  </a:lnTo>
                  <a:lnTo>
                    <a:pt x="243" y="120"/>
                  </a:lnTo>
                  <a:lnTo>
                    <a:pt x="233" y="120"/>
                  </a:lnTo>
                  <a:lnTo>
                    <a:pt x="222" y="128"/>
                  </a:lnTo>
                  <a:lnTo>
                    <a:pt x="202" y="123"/>
                  </a:lnTo>
                  <a:lnTo>
                    <a:pt x="193" y="118"/>
                  </a:lnTo>
                  <a:lnTo>
                    <a:pt x="181" y="120"/>
                  </a:lnTo>
                  <a:lnTo>
                    <a:pt x="168" y="119"/>
                  </a:lnTo>
                  <a:lnTo>
                    <a:pt x="157" y="112"/>
                  </a:lnTo>
                  <a:lnTo>
                    <a:pt x="140" y="112"/>
                  </a:lnTo>
                  <a:lnTo>
                    <a:pt x="131" y="108"/>
                  </a:lnTo>
                  <a:lnTo>
                    <a:pt x="128" y="117"/>
                  </a:lnTo>
                  <a:lnTo>
                    <a:pt x="123" y="120"/>
                  </a:lnTo>
                  <a:lnTo>
                    <a:pt x="122" y="126"/>
                  </a:lnTo>
                  <a:lnTo>
                    <a:pt x="110" y="126"/>
                  </a:lnTo>
                  <a:lnTo>
                    <a:pt x="105" y="131"/>
                  </a:lnTo>
                  <a:lnTo>
                    <a:pt x="82" y="119"/>
                  </a:lnTo>
                  <a:lnTo>
                    <a:pt x="76" y="119"/>
                  </a:lnTo>
                  <a:lnTo>
                    <a:pt x="76" y="118"/>
                  </a:lnTo>
                  <a:lnTo>
                    <a:pt x="57" y="100"/>
                  </a:lnTo>
                  <a:lnTo>
                    <a:pt x="48" y="94"/>
                  </a:lnTo>
                  <a:lnTo>
                    <a:pt x="33" y="84"/>
                  </a:lnTo>
                  <a:lnTo>
                    <a:pt x="24" y="79"/>
                  </a:lnTo>
                  <a:lnTo>
                    <a:pt x="22" y="73"/>
                  </a:lnTo>
                  <a:lnTo>
                    <a:pt x="22" y="64"/>
                  </a:lnTo>
                  <a:lnTo>
                    <a:pt x="12" y="50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4" y="35"/>
                  </a:lnTo>
                  <a:lnTo>
                    <a:pt x="9" y="38"/>
                  </a:lnTo>
                  <a:lnTo>
                    <a:pt x="16" y="41"/>
                  </a:lnTo>
                  <a:lnTo>
                    <a:pt x="31" y="27"/>
                  </a:lnTo>
                  <a:lnTo>
                    <a:pt x="40" y="27"/>
                  </a:lnTo>
                  <a:lnTo>
                    <a:pt x="48" y="18"/>
                  </a:lnTo>
                  <a:lnTo>
                    <a:pt x="58" y="18"/>
                  </a:lnTo>
                  <a:lnTo>
                    <a:pt x="64" y="10"/>
                  </a:lnTo>
                  <a:lnTo>
                    <a:pt x="79" y="10"/>
                  </a:lnTo>
                  <a:lnTo>
                    <a:pt x="86" y="12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108" y="3"/>
                  </a:lnTo>
                  <a:lnTo>
                    <a:pt x="114" y="0"/>
                  </a:lnTo>
                  <a:lnTo>
                    <a:pt x="120" y="2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79" name="Freeform 33">
              <a:extLst>
                <a:ext uri="{FF2B5EF4-FFF2-40B4-BE49-F238E27FC236}">
                  <a16:creationId xmlns:a16="http://schemas.microsoft.com/office/drawing/2014/main" id="{84B078E6-5B87-0143-9D74-556298A44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6625" y="2393950"/>
              <a:ext cx="612775" cy="658813"/>
            </a:xfrm>
            <a:custGeom>
              <a:avLst/>
              <a:gdLst/>
              <a:ahLst/>
              <a:cxnLst>
                <a:cxn ang="0">
                  <a:pos x="141" y="6"/>
                </a:cxn>
                <a:cxn ang="0">
                  <a:pos x="163" y="25"/>
                </a:cxn>
                <a:cxn ang="0">
                  <a:pos x="170" y="41"/>
                </a:cxn>
                <a:cxn ang="0">
                  <a:pos x="189" y="34"/>
                </a:cxn>
                <a:cxn ang="0">
                  <a:pos x="213" y="37"/>
                </a:cxn>
                <a:cxn ang="0">
                  <a:pos x="193" y="54"/>
                </a:cxn>
                <a:cxn ang="0">
                  <a:pos x="220" y="61"/>
                </a:cxn>
                <a:cxn ang="0">
                  <a:pos x="255" y="44"/>
                </a:cxn>
                <a:cxn ang="0">
                  <a:pos x="270" y="29"/>
                </a:cxn>
                <a:cxn ang="0">
                  <a:pos x="267" y="37"/>
                </a:cxn>
                <a:cxn ang="0">
                  <a:pos x="285" y="37"/>
                </a:cxn>
                <a:cxn ang="0">
                  <a:pos x="312" y="51"/>
                </a:cxn>
                <a:cxn ang="0">
                  <a:pos x="334" y="70"/>
                </a:cxn>
                <a:cxn ang="0">
                  <a:pos x="359" y="92"/>
                </a:cxn>
                <a:cxn ang="0">
                  <a:pos x="359" y="131"/>
                </a:cxn>
                <a:cxn ang="0">
                  <a:pos x="369" y="162"/>
                </a:cxn>
                <a:cxn ang="0">
                  <a:pos x="384" y="196"/>
                </a:cxn>
                <a:cxn ang="0">
                  <a:pos x="369" y="225"/>
                </a:cxn>
                <a:cxn ang="0">
                  <a:pos x="340" y="232"/>
                </a:cxn>
                <a:cxn ang="0">
                  <a:pos x="301" y="249"/>
                </a:cxn>
                <a:cxn ang="0">
                  <a:pos x="265" y="257"/>
                </a:cxn>
                <a:cxn ang="0">
                  <a:pos x="283" y="286"/>
                </a:cxn>
                <a:cxn ang="0">
                  <a:pos x="309" y="316"/>
                </a:cxn>
                <a:cxn ang="0">
                  <a:pos x="336" y="357"/>
                </a:cxn>
                <a:cxn ang="0">
                  <a:pos x="300" y="384"/>
                </a:cxn>
                <a:cxn ang="0">
                  <a:pos x="308" y="405"/>
                </a:cxn>
                <a:cxn ang="0">
                  <a:pos x="270" y="400"/>
                </a:cxn>
                <a:cxn ang="0">
                  <a:pos x="232" y="410"/>
                </a:cxn>
                <a:cxn ang="0">
                  <a:pos x="202" y="411"/>
                </a:cxn>
                <a:cxn ang="0">
                  <a:pos x="173" y="409"/>
                </a:cxn>
                <a:cxn ang="0">
                  <a:pos x="147" y="400"/>
                </a:cxn>
                <a:cxn ang="0">
                  <a:pos x="128" y="394"/>
                </a:cxn>
                <a:cxn ang="0">
                  <a:pos x="105" y="404"/>
                </a:cxn>
                <a:cxn ang="0">
                  <a:pos x="85" y="398"/>
                </a:cxn>
                <a:cxn ang="0">
                  <a:pos x="87" y="362"/>
                </a:cxn>
                <a:cxn ang="0">
                  <a:pos x="93" y="328"/>
                </a:cxn>
                <a:cxn ang="0">
                  <a:pos x="59" y="323"/>
                </a:cxn>
                <a:cxn ang="0">
                  <a:pos x="36" y="315"/>
                </a:cxn>
                <a:cxn ang="0">
                  <a:pos x="23" y="292"/>
                </a:cxn>
                <a:cxn ang="0">
                  <a:pos x="13" y="259"/>
                </a:cxn>
                <a:cxn ang="0">
                  <a:pos x="4" y="228"/>
                </a:cxn>
                <a:cxn ang="0">
                  <a:pos x="6" y="193"/>
                </a:cxn>
                <a:cxn ang="0">
                  <a:pos x="42" y="177"/>
                </a:cxn>
                <a:cxn ang="0">
                  <a:pos x="51" y="153"/>
                </a:cxn>
                <a:cxn ang="0">
                  <a:pos x="36" y="139"/>
                </a:cxn>
                <a:cxn ang="0">
                  <a:pos x="56" y="122"/>
                </a:cxn>
                <a:cxn ang="0">
                  <a:pos x="63" y="105"/>
                </a:cxn>
                <a:cxn ang="0">
                  <a:pos x="47" y="89"/>
                </a:cxn>
                <a:cxn ang="0">
                  <a:pos x="86" y="80"/>
                </a:cxn>
                <a:cxn ang="0">
                  <a:pos x="94" y="86"/>
                </a:cxn>
                <a:cxn ang="0">
                  <a:pos x="104" y="93"/>
                </a:cxn>
                <a:cxn ang="0">
                  <a:pos x="108" y="76"/>
                </a:cxn>
                <a:cxn ang="0">
                  <a:pos x="138" y="67"/>
                </a:cxn>
                <a:cxn ang="0">
                  <a:pos x="139" y="64"/>
                </a:cxn>
                <a:cxn ang="0">
                  <a:pos x="128" y="50"/>
                </a:cxn>
                <a:cxn ang="0">
                  <a:pos x="112" y="31"/>
                </a:cxn>
                <a:cxn ang="0">
                  <a:pos x="118" y="14"/>
                </a:cxn>
                <a:cxn ang="0">
                  <a:pos x="108" y="0"/>
                </a:cxn>
              </a:cxnLst>
              <a:rect l="0" t="0" r="r" b="b"/>
              <a:pathLst>
                <a:path w="386" h="415">
                  <a:moveTo>
                    <a:pt x="108" y="0"/>
                  </a:moveTo>
                  <a:lnTo>
                    <a:pt x="120" y="0"/>
                  </a:lnTo>
                  <a:lnTo>
                    <a:pt x="137" y="4"/>
                  </a:lnTo>
                  <a:lnTo>
                    <a:pt x="141" y="6"/>
                  </a:lnTo>
                  <a:lnTo>
                    <a:pt x="150" y="5"/>
                  </a:lnTo>
                  <a:lnTo>
                    <a:pt x="158" y="14"/>
                  </a:lnTo>
                  <a:lnTo>
                    <a:pt x="168" y="15"/>
                  </a:lnTo>
                  <a:lnTo>
                    <a:pt x="163" y="25"/>
                  </a:lnTo>
                  <a:lnTo>
                    <a:pt x="158" y="28"/>
                  </a:lnTo>
                  <a:lnTo>
                    <a:pt x="161" y="33"/>
                  </a:lnTo>
                  <a:lnTo>
                    <a:pt x="168" y="35"/>
                  </a:lnTo>
                  <a:lnTo>
                    <a:pt x="170" y="41"/>
                  </a:lnTo>
                  <a:lnTo>
                    <a:pt x="178" y="37"/>
                  </a:lnTo>
                  <a:lnTo>
                    <a:pt x="180" y="33"/>
                  </a:lnTo>
                  <a:lnTo>
                    <a:pt x="185" y="31"/>
                  </a:lnTo>
                  <a:lnTo>
                    <a:pt x="189" y="34"/>
                  </a:lnTo>
                  <a:lnTo>
                    <a:pt x="199" y="43"/>
                  </a:lnTo>
                  <a:lnTo>
                    <a:pt x="202" y="39"/>
                  </a:lnTo>
                  <a:lnTo>
                    <a:pt x="209" y="34"/>
                  </a:lnTo>
                  <a:lnTo>
                    <a:pt x="213" y="37"/>
                  </a:lnTo>
                  <a:lnTo>
                    <a:pt x="213" y="43"/>
                  </a:lnTo>
                  <a:lnTo>
                    <a:pt x="207" y="50"/>
                  </a:lnTo>
                  <a:lnTo>
                    <a:pt x="202" y="49"/>
                  </a:lnTo>
                  <a:lnTo>
                    <a:pt x="193" y="54"/>
                  </a:lnTo>
                  <a:lnTo>
                    <a:pt x="205" y="57"/>
                  </a:lnTo>
                  <a:lnTo>
                    <a:pt x="209" y="55"/>
                  </a:lnTo>
                  <a:lnTo>
                    <a:pt x="218" y="56"/>
                  </a:lnTo>
                  <a:lnTo>
                    <a:pt x="220" y="61"/>
                  </a:lnTo>
                  <a:lnTo>
                    <a:pt x="230" y="60"/>
                  </a:lnTo>
                  <a:lnTo>
                    <a:pt x="232" y="54"/>
                  </a:lnTo>
                  <a:lnTo>
                    <a:pt x="238" y="46"/>
                  </a:lnTo>
                  <a:lnTo>
                    <a:pt x="255" y="44"/>
                  </a:lnTo>
                  <a:lnTo>
                    <a:pt x="255" y="40"/>
                  </a:lnTo>
                  <a:lnTo>
                    <a:pt x="265" y="35"/>
                  </a:lnTo>
                  <a:lnTo>
                    <a:pt x="266" y="32"/>
                  </a:lnTo>
                  <a:lnTo>
                    <a:pt x="270" y="29"/>
                  </a:lnTo>
                  <a:lnTo>
                    <a:pt x="282" y="31"/>
                  </a:lnTo>
                  <a:lnTo>
                    <a:pt x="272" y="34"/>
                  </a:lnTo>
                  <a:lnTo>
                    <a:pt x="268" y="38"/>
                  </a:lnTo>
                  <a:lnTo>
                    <a:pt x="267" y="37"/>
                  </a:lnTo>
                  <a:lnTo>
                    <a:pt x="262" y="40"/>
                  </a:lnTo>
                  <a:lnTo>
                    <a:pt x="266" y="44"/>
                  </a:lnTo>
                  <a:lnTo>
                    <a:pt x="276" y="38"/>
                  </a:lnTo>
                  <a:lnTo>
                    <a:pt x="285" y="37"/>
                  </a:lnTo>
                  <a:lnTo>
                    <a:pt x="289" y="35"/>
                  </a:lnTo>
                  <a:lnTo>
                    <a:pt x="292" y="39"/>
                  </a:lnTo>
                  <a:lnTo>
                    <a:pt x="300" y="40"/>
                  </a:lnTo>
                  <a:lnTo>
                    <a:pt x="312" y="51"/>
                  </a:lnTo>
                  <a:lnTo>
                    <a:pt x="321" y="50"/>
                  </a:lnTo>
                  <a:lnTo>
                    <a:pt x="326" y="56"/>
                  </a:lnTo>
                  <a:lnTo>
                    <a:pt x="325" y="64"/>
                  </a:lnTo>
                  <a:lnTo>
                    <a:pt x="334" y="70"/>
                  </a:lnTo>
                  <a:lnTo>
                    <a:pt x="341" y="69"/>
                  </a:lnTo>
                  <a:lnTo>
                    <a:pt x="346" y="74"/>
                  </a:lnTo>
                  <a:lnTo>
                    <a:pt x="354" y="73"/>
                  </a:lnTo>
                  <a:lnTo>
                    <a:pt x="359" y="92"/>
                  </a:lnTo>
                  <a:lnTo>
                    <a:pt x="358" y="105"/>
                  </a:lnTo>
                  <a:lnTo>
                    <a:pt x="346" y="112"/>
                  </a:lnTo>
                  <a:lnTo>
                    <a:pt x="346" y="118"/>
                  </a:lnTo>
                  <a:lnTo>
                    <a:pt x="359" y="131"/>
                  </a:lnTo>
                  <a:lnTo>
                    <a:pt x="358" y="139"/>
                  </a:lnTo>
                  <a:lnTo>
                    <a:pt x="364" y="148"/>
                  </a:lnTo>
                  <a:lnTo>
                    <a:pt x="364" y="154"/>
                  </a:lnTo>
                  <a:lnTo>
                    <a:pt x="369" y="162"/>
                  </a:lnTo>
                  <a:lnTo>
                    <a:pt x="365" y="170"/>
                  </a:lnTo>
                  <a:lnTo>
                    <a:pt x="373" y="186"/>
                  </a:lnTo>
                  <a:lnTo>
                    <a:pt x="379" y="190"/>
                  </a:lnTo>
                  <a:lnTo>
                    <a:pt x="384" y="196"/>
                  </a:lnTo>
                  <a:lnTo>
                    <a:pt x="386" y="218"/>
                  </a:lnTo>
                  <a:lnTo>
                    <a:pt x="381" y="224"/>
                  </a:lnTo>
                  <a:lnTo>
                    <a:pt x="375" y="222"/>
                  </a:lnTo>
                  <a:lnTo>
                    <a:pt x="369" y="225"/>
                  </a:lnTo>
                  <a:lnTo>
                    <a:pt x="354" y="222"/>
                  </a:lnTo>
                  <a:lnTo>
                    <a:pt x="354" y="230"/>
                  </a:lnTo>
                  <a:lnTo>
                    <a:pt x="347" y="234"/>
                  </a:lnTo>
                  <a:lnTo>
                    <a:pt x="340" y="232"/>
                  </a:lnTo>
                  <a:lnTo>
                    <a:pt x="325" y="232"/>
                  </a:lnTo>
                  <a:lnTo>
                    <a:pt x="319" y="240"/>
                  </a:lnTo>
                  <a:lnTo>
                    <a:pt x="309" y="240"/>
                  </a:lnTo>
                  <a:lnTo>
                    <a:pt x="301" y="249"/>
                  </a:lnTo>
                  <a:lnTo>
                    <a:pt x="292" y="249"/>
                  </a:lnTo>
                  <a:lnTo>
                    <a:pt x="277" y="263"/>
                  </a:lnTo>
                  <a:lnTo>
                    <a:pt x="270" y="260"/>
                  </a:lnTo>
                  <a:lnTo>
                    <a:pt x="265" y="257"/>
                  </a:lnTo>
                  <a:lnTo>
                    <a:pt x="261" y="259"/>
                  </a:lnTo>
                  <a:lnTo>
                    <a:pt x="261" y="265"/>
                  </a:lnTo>
                  <a:lnTo>
                    <a:pt x="273" y="272"/>
                  </a:lnTo>
                  <a:lnTo>
                    <a:pt x="283" y="286"/>
                  </a:lnTo>
                  <a:lnTo>
                    <a:pt x="283" y="295"/>
                  </a:lnTo>
                  <a:lnTo>
                    <a:pt x="285" y="301"/>
                  </a:lnTo>
                  <a:lnTo>
                    <a:pt x="294" y="306"/>
                  </a:lnTo>
                  <a:lnTo>
                    <a:pt x="309" y="316"/>
                  </a:lnTo>
                  <a:lnTo>
                    <a:pt x="318" y="322"/>
                  </a:lnTo>
                  <a:lnTo>
                    <a:pt x="337" y="340"/>
                  </a:lnTo>
                  <a:lnTo>
                    <a:pt x="335" y="348"/>
                  </a:lnTo>
                  <a:lnTo>
                    <a:pt x="336" y="357"/>
                  </a:lnTo>
                  <a:lnTo>
                    <a:pt x="329" y="357"/>
                  </a:lnTo>
                  <a:lnTo>
                    <a:pt x="323" y="365"/>
                  </a:lnTo>
                  <a:lnTo>
                    <a:pt x="312" y="370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12" y="394"/>
                  </a:lnTo>
                  <a:lnTo>
                    <a:pt x="313" y="402"/>
                  </a:lnTo>
                  <a:lnTo>
                    <a:pt x="308" y="405"/>
                  </a:lnTo>
                  <a:lnTo>
                    <a:pt x="297" y="399"/>
                  </a:lnTo>
                  <a:lnTo>
                    <a:pt x="288" y="403"/>
                  </a:lnTo>
                  <a:lnTo>
                    <a:pt x="277" y="399"/>
                  </a:lnTo>
                  <a:lnTo>
                    <a:pt x="270" y="400"/>
                  </a:lnTo>
                  <a:lnTo>
                    <a:pt x="255" y="409"/>
                  </a:lnTo>
                  <a:lnTo>
                    <a:pt x="247" y="410"/>
                  </a:lnTo>
                  <a:lnTo>
                    <a:pt x="240" y="409"/>
                  </a:lnTo>
                  <a:lnTo>
                    <a:pt x="232" y="410"/>
                  </a:lnTo>
                  <a:lnTo>
                    <a:pt x="225" y="406"/>
                  </a:lnTo>
                  <a:lnTo>
                    <a:pt x="213" y="405"/>
                  </a:lnTo>
                  <a:lnTo>
                    <a:pt x="201" y="406"/>
                  </a:lnTo>
                  <a:lnTo>
                    <a:pt x="202" y="411"/>
                  </a:lnTo>
                  <a:lnTo>
                    <a:pt x="198" y="415"/>
                  </a:lnTo>
                  <a:lnTo>
                    <a:pt x="187" y="413"/>
                  </a:lnTo>
                  <a:lnTo>
                    <a:pt x="180" y="406"/>
                  </a:lnTo>
                  <a:lnTo>
                    <a:pt x="173" y="409"/>
                  </a:lnTo>
                  <a:lnTo>
                    <a:pt x="167" y="411"/>
                  </a:lnTo>
                  <a:lnTo>
                    <a:pt x="164" y="411"/>
                  </a:lnTo>
                  <a:lnTo>
                    <a:pt x="160" y="409"/>
                  </a:lnTo>
                  <a:lnTo>
                    <a:pt x="147" y="400"/>
                  </a:lnTo>
                  <a:lnTo>
                    <a:pt x="141" y="400"/>
                  </a:lnTo>
                  <a:lnTo>
                    <a:pt x="137" y="404"/>
                  </a:lnTo>
                  <a:lnTo>
                    <a:pt x="131" y="403"/>
                  </a:lnTo>
                  <a:lnTo>
                    <a:pt x="128" y="394"/>
                  </a:lnTo>
                  <a:lnTo>
                    <a:pt x="118" y="397"/>
                  </a:lnTo>
                  <a:lnTo>
                    <a:pt x="120" y="403"/>
                  </a:lnTo>
                  <a:lnTo>
                    <a:pt x="116" y="408"/>
                  </a:lnTo>
                  <a:lnTo>
                    <a:pt x="105" y="404"/>
                  </a:lnTo>
                  <a:lnTo>
                    <a:pt x="97" y="408"/>
                  </a:lnTo>
                  <a:lnTo>
                    <a:pt x="89" y="406"/>
                  </a:lnTo>
                  <a:lnTo>
                    <a:pt x="89" y="406"/>
                  </a:lnTo>
                  <a:lnTo>
                    <a:pt x="85" y="398"/>
                  </a:lnTo>
                  <a:lnTo>
                    <a:pt x="77" y="393"/>
                  </a:lnTo>
                  <a:lnTo>
                    <a:pt x="76" y="381"/>
                  </a:lnTo>
                  <a:lnTo>
                    <a:pt x="81" y="367"/>
                  </a:lnTo>
                  <a:lnTo>
                    <a:pt x="87" y="362"/>
                  </a:lnTo>
                  <a:lnTo>
                    <a:pt x="87" y="356"/>
                  </a:lnTo>
                  <a:lnTo>
                    <a:pt x="92" y="342"/>
                  </a:lnTo>
                  <a:lnTo>
                    <a:pt x="103" y="333"/>
                  </a:lnTo>
                  <a:lnTo>
                    <a:pt x="93" y="328"/>
                  </a:lnTo>
                  <a:lnTo>
                    <a:pt x="85" y="328"/>
                  </a:lnTo>
                  <a:lnTo>
                    <a:pt x="74" y="323"/>
                  </a:lnTo>
                  <a:lnTo>
                    <a:pt x="65" y="325"/>
                  </a:lnTo>
                  <a:lnTo>
                    <a:pt x="59" y="323"/>
                  </a:lnTo>
                  <a:lnTo>
                    <a:pt x="52" y="323"/>
                  </a:lnTo>
                  <a:lnTo>
                    <a:pt x="45" y="325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28" y="309"/>
                  </a:lnTo>
                  <a:lnTo>
                    <a:pt x="28" y="309"/>
                  </a:lnTo>
                  <a:lnTo>
                    <a:pt x="28" y="295"/>
                  </a:lnTo>
                  <a:lnTo>
                    <a:pt x="23" y="292"/>
                  </a:lnTo>
                  <a:lnTo>
                    <a:pt x="22" y="283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13" y="259"/>
                  </a:lnTo>
                  <a:lnTo>
                    <a:pt x="7" y="252"/>
                  </a:lnTo>
                  <a:lnTo>
                    <a:pt x="7" y="246"/>
                  </a:lnTo>
                  <a:lnTo>
                    <a:pt x="0" y="234"/>
                  </a:lnTo>
                  <a:lnTo>
                    <a:pt x="4" y="228"/>
                  </a:lnTo>
                  <a:lnTo>
                    <a:pt x="2" y="228"/>
                  </a:lnTo>
                  <a:lnTo>
                    <a:pt x="6" y="218"/>
                  </a:lnTo>
                  <a:lnTo>
                    <a:pt x="10" y="205"/>
                  </a:lnTo>
                  <a:lnTo>
                    <a:pt x="6" y="193"/>
                  </a:lnTo>
                  <a:lnTo>
                    <a:pt x="12" y="185"/>
                  </a:lnTo>
                  <a:lnTo>
                    <a:pt x="18" y="177"/>
                  </a:lnTo>
                  <a:lnTo>
                    <a:pt x="30" y="174"/>
                  </a:lnTo>
                  <a:lnTo>
                    <a:pt x="42" y="177"/>
                  </a:lnTo>
                  <a:lnTo>
                    <a:pt x="48" y="173"/>
                  </a:lnTo>
                  <a:lnTo>
                    <a:pt x="43" y="166"/>
                  </a:lnTo>
                  <a:lnTo>
                    <a:pt x="50" y="162"/>
                  </a:lnTo>
                  <a:lnTo>
                    <a:pt x="51" y="153"/>
                  </a:lnTo>
                  <a:lnTo>
                    <a:pt x="53" y="148"/>
                  </a:lnTo>
                  <a:lnTo>
                    <a:pt x="48" y="144"/>
                  </a:lnTo>
                  <a:lnTo>
                    <a:pt x="37" y="144"/>
                  </a:lnTo>
                  <a:lnTo>
                    <a:pt x="36" y="139"/>
                  </a:lnTo>
                  <a:lnTo>
                    <a:pt x="40" y="131"/>
                  </a:lnTo>
                  <a:lnTo>
                    <a:pt x="50" y="135"/>
                  </a:lnTo>
                  <a:lnTo>
                    <a:pt x="56" y="130"/>
                  </a:lnTo>
                  <a:lnTo>
                    <a:pt x="56" y="122"/>
                  </a:lnTo>
                  <a:lnTo>
                    <a:pt x="59" y="115"/>
                  </a:lnTo>
                  <a:lnTo>
                    <a:pt x="60" y="110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4" y="105"/>
                  </a:lnTo>
                  <a:lnTo>
                    <a:pt x="62" y="98"/>
                  </a:lnTo>
                  <a:lnTo>
                    <a:pt x="52" y="96"/>
                  </a:lnTo>
                  <a:lnTo>
                    <a:pt x="47" y="89"/>
                  </a:lnTo>
                  <a:lnTo>
                    <a:pt x="50" y="81"/>
                  </a:lnTo>
                  <a:lnTo>
                    <a:pt x="70" y="75"/>
                  </a:lnTo>
                  <a:lnTo>
                    <a:pt x="76" y="73"/>
                  </a:lnTo>
                  <a:lnTo>
                    <a:pt x="86" y="80"/>
                  </a:lnTo>
                  <a:lnTo>
                    <a:pt x="86" y="90"/>
                  </a:lnTo>
                  <a:lnTo>
                    <a:pt x="93" y="97"/>
                  </a:lnTo>
                  <a:lnTo>
                    <a:pt x="98" y="93"/>
                  </a:lnTo>
                  <a:lnTo>
                    <a:pt x="94" y="86"/>
                  </a:lnTo>
                  <a:lnTo>
                    <a:pt x="94" y="80"/>
                  </a:lnTo>
                  <a:lnTo>
                    <a:pt x="98" y="78"/>
                  </a:lnTo>
                  <a:lnTo>
                    <a:pt x="105" y="84"/>
                  </a:lnTo>
                  <a:lnTo>
                    <a:pt x="104" y="93"/>
                  </a:lnTo>
                  <a:lnTo>
                    <a:pt x="114" y="103"/>
                  </a:lnTo>
                  <a:lnTo>
                    <a:pt x="110" y="96"/>
                  </a:lnTo>
                  <a:lnTo>
                    <a:pt x="110" y="84"/>
                  </a:lnTo>
                  <a:lnTo>
                    <a:pt x="108" y="76"/>
                  </a:lnTo>
                  <a:lnTo>
                    <a:pt x="114" y="68"/>
                  </a:lnTo>
                  <a:lnTo>
                    <a:pt x="121" y="67"/>
                  </a:lnTo>
                  <a:lnTo>
                    <a:pt x="128" y="70"/>
                  </a:lnTo>
                  <a:lnTo>
                    <a:pt x="138" y="67"/>
                  </a:lnTo>
                  <a:lnTo>
                    <a:pt x="152" y="81"/>
                  </a:lnTo>
                  <a:lnTo>
                    <a:pt x="172" y="85"/>
                  </a:lnTo>
                  <a:lnTo>
                    <a:pt x="153" y="78"/>
                  </a:lnTo>
                  <a:lnTo>
                    <a:pt x="139" y="64"/>
                  </a:lnTo>
                  <a:lnTo>
                    <a:pt x="128" y="63"/>
                  </a:lnTo>
                  <a:lnTo>
                    <a:pt x="121" y="61"/>
                  </a:lnTo>
                  <a:lnTo>
                    <a:pt x="121" y="55"/>
                  </a:lnTo>
                  <a:lnTo>
                    <a:pt x="128" y="50"/>
                  </a:lnTo>
                  <a:lnTo>
                    <a:pt x="121" y="45"/>
                  </a:lnTo>
                  <a:lnTo>
                    <a:pt x="121" y="35"/>
                  </a:lnTo>
                  <a:lnTo>
                    <a:pt x="112" y="38"/>
                  </a:lnTo>
                  <a:lnTo>
                    <a:pt x="112" y="31"/>
                  </a:lnTo>
                  <a:lnTo>
                    <a:pt x="120" y="31"/>
                  </a:lnTo>
                  <a:lnTo>
                    <a:pt x="128" y="28"/>
                  </a:lnTo>
                  <a:lnTo>
                    <a:pt x="117" y="20"/>
                  </a:lnTo>
                  <a:lnTo>
                    <a:pt x="118" y="14"/>
                  </a:lnTo>
                  <a:lnTo>
                    <a:pt x="114" y="14"/>
                  </a:lnTo>
                  <a:lnTo>
                    <a:pt x="108" y="10"/>
                  </a:lnTo>
                  <a:lnTo>
                    <a:pt x="108" y="3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0" name="Freeform 34">
              <a:extLst>
                <a:ext uri="{FF2B5EF4-FFF2-40B4-BE49-F238E27FC236}">
                  <a16:creationId xmlns:a16="http://schemas.microsoft.com/office/drawing/2014/main" id="{AC0EA6BF-0408-A64D-8AE1-EDA7845B9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8" y="3062288"/>
              <a:ext cx="12700" cy="1746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8" y="4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0" y="6"/>
                </a:cxn>
                <a:cxn ang="0">
                  <a:pos x="2" y="1"/>
                </a:cxn>
                <a:cxn ang="0">
                  <a:pos x="3" y="0"/>
                </a:cxn>
              </a:cxnLst>
              <a:rect l="0" t="0" r="r" b="b"/>
              <a:pathLst>
                <a:path w="8" h="11">
                  <a:moveTo>
                    <a:pt x="3" y="0"/>
                  </a:moveTo>
                  <a:lnTo>
                    <a:pt x="8" y="4"/>
                  </a:lnTo>
                  <a:lnTo>
                    <a:pt x="8" y="11"/>
                  </a:lnTo>
                  <a:lnTo>
                    <a:pt x="3" y="11"/>
                  </a:lnTo>
                  <a:lnTo>
                    <a:pt x="0" y="6"/>
                  </a:lnTo>
                  <a:lnTo>
                    <a:pt x="2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1" name="Freeform 35">
              <a:extLst>
                <a:ext uri="{FF2B5EF4-FFF2-40B4-BE49-F238E27FC236}">
                  <a16:creationId xmlns:a16="http://schemas.microsoft.com/office/drawing/2014/main" id="{20ACA6B4-A3F7-6B43-8C9D-3387C6416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2500" y="3019425"/>
              <a:ext cx="327025" cy="168275"/>
            </a:xfrm>
            <a:custGeom>
              <a:avLst/>
              <a:gdLst/>
              <a:ahLst/>
              <a:cxnLst>
                <a:cxn ang="0">
                  <a:pos x="87" y="14"/>
                </a:cxn>
                <a:cxn ang="0">
                  <a:pos x="106" y="14"/>
                </a:cxn>
                <a:cxn ang="0">
                  <a:pos x="108" y="3"/>
                </a:cxn>
                <a:cxn ang="0">
                  <a:pos x="121" y="9"/>
                </a:cxn>
                <a:cxn ang="0">
                  <a:pos x="131" y="6"/>
                </a:cxn>
                <a:cxn ang="0">
                  <a:pos x="150" y="15"/>
                </a:cxn>
                <a:cxn ang="0">
                  <a:pos x="159" y="28"/>
                </a:cxn>
                <a:cxn ang="0">
                  <a:pos x="160" y="38"/>
                </a:cxn>
                <a:cxn ang="0">
                  <a:pos x="177" y="37"/>
                </a:cxn>
                <a:cxn ang="0">
                  <a:pos x="195" y="38"/>
                </a:cxn>
                <a:cxn ang="0">
                  <a:pos x="206" y="45"/>
                </a:cxn>
                <a:cxn ang="0">
                  <a:pos x="201" y="68"/>
                </a:cxn>
                <a:cxn ang="0">
                  <a:pos x="182" y="87"/>
                </a:cxn>
                <a:cxn ang="0">
                  <a:pos x="166" y="83"/>
                </a:cxn>
                <a:cxn ang="0">
                  <a:pos x="146" y="89"/>
                </a:cxn>
                <a:cxn ang="0">
                  <a:pos x="131" y="95"/>
                </a:cxn>
                <a:cxn ang="0">
                  <a:pos x="119" y="79"/>
                </a:cxn>
                <a:cxn ang="0">
                  <a:pos x="91" y="98"/>
                </a:cxn>
                <a:cxn ang="0">
                  <a:pos x="61" y="106"/>
                </a:cxn>
                <a:cxn ang="0">
                  <a:pos x="50" y="96"/>
                </a:cxn>
                <a:cxn ang="0">
                  <a:pos x="42" y="81"/>
                </a:cxn>
                <a:cxn ang="0">
                  <a:pos x="24" y="73"/>
                </a:cxn>
                <a:cxn ang="0">
                  <a:pos x="21" y="89"/>
                </a:cxn>
                <a:cxn ang="0">
                  <a:pos x="1" y="92"/>
                </a:cxn>
                <a:cxn ang="0">
                  <a:pos x="4" y="83"/>
                </a:cxn>
                <a:cxn ang="0">
                  <a:pos x="11" y="75"/>
                </a:cxn>
                <a:cxn ang="0">
                  <a:pos x="24" y="45"/>
                </a:cxn>
                <a:cxn ang="0">
                  <a:pos x="40" y="33"/>
                </a:cxn>
                <a:cxn ang="0">
                  <a:pos x="47" y="21"/>
                </a:cxn>
                <a:cxn ang="0">
                  <a:pos x="43" y="10"/>
                </a:cxn>
                <a:cxn ang="0">
                  <a:pos x="56" y="15"/>
                </a:cxn>
                <a:cxn ang="0">
                  <a:pos x="79" y="12"/>
                </a:cxn>
              </a:cxnLst>
              <a:rect l="0" t="0" r="r" b="b"/>
              <a:pathLst>
                <a:path w="206" h="106">
                  <a:moveTo>
                    <a:pt x="79" y="12"/>
                  </a:moveTo>
                  <a:lnTo>
                    <a:pt x="87" y="14"/>
                  </a:lnTo>
                  <a:lnTo>
                    <a:pt x="95" y="10"/>
                  </a:lnTo>
                  <a:lnTo>
                    <a:pt x="106" y="14"/>
                  </a:lnTo>
                  <a:lnTo>
                    <a:pt x="110" y="9"/>
                  </a:lnTo>
                  <a:lnTo>
                    <a:pt x="108" y="3"/>
                  </a:lnTo>
                  <a:lnTo>
                    <a:pt x="118" y="0"/>
                  </a:lnTo>
                  <a:lnTo>
                    <a:pt x="121" y="9"/>
                  </a:lnTo>
                  <a:lnTo>
                    <a:pt x="127" y="10"/>
                  </a:lnTo>
                  <a:lnTo>
                    <a:pt x="131" y="6"/>
                  </a:lnTo>
                  <a:lnTo>
                    <a:pt x="137" y="6"/>
                  </a:lnTo>
                  <a:lnTo>
                    <a:pt x="150" y="15"/>
                  </a:lnTo>
                  <a:lnTo>
                    <a:pt x="160" y="21"/>
                  </a:lnTo>
                  <a:lnTo>
                    <a:pt x="159" y="28"/>
                  </a:lnTo>
                  <a:lnTo>
                    <a:pt x="157" y="33"/>
                  </a:lnTo>
                  <a:lnTo>
                    <a:pt x="160" y="38"/>
                  </a:lnTo>
                  <a:lnTo>
                    <a:pt x="171" y="39"/>
                  </a:lnTo>
                  <a:lnTo>
                    <a:pt x="177" y="37"/>
                  </a:lnTo>
                  <a:lnTo>
                    <a:pt x="187" y="45"/>
                  </a:lnTo>
                  <a:lnTo>
                    <a:pt x="195" y="38"/>
                  </a:lnTo>
                  <a:lnTo>
                    <a:pt x="203" y="38"/>
                  </a:lnTo>
                  <a:lnTo>
                    <a:pt x="206" y="45"/>
                  </a:lnTo>
                  <a:lnTo>
                    <a:pt x="197" y="55"/>
                  </a:lnTo>
                  <a:lnTo>
                    <a:pt x="201" y="68"/>
                  </a:lnTo>
                  <a:lnTo>
                    <a:pt x="183" y="72"/>
                  </a:lnTo>
                  <a:lnTo>
                    <a:pt x="182" y="87"/>
                  </a:lnTo>
                  <a:lnTo>
                    <a:pt x="174" y="81"/>
                  </a:lnTo>
                  <a:lnTo>
                    <a:pt x="166" y="83"/>
                  </a:lnTo>
                  <a:lnTo>
                    <a:pt x="146" y="78"/>
                  </a:lnTo>
                  <a:lnTo>
                    <a:pt x="146" y="89"/>
                  </a:lnTo>
                  <a:lnTo>
                    <a:pt x="136" y="103"/>
                  </a:lnTo>
                  <a:lnTo>
                    <a:pt x="131" y="95"/>
                  </a:lnTo>
                  <a:lnTo>
                    <a:pt x="117" y="89"/>
                  </a:lnTo>
                  <a:lnTo>
                    <a:pt x="119" y="79"/>
                  </a:lnTo>
                  <a:lnTo>
                    <a:pt x="108" y="73"/>
                  </a:lnTo>
                  <a:lnTo>
                    <a:pt x="91" y="98"/>
                  </a:lnTo>
                  <a:lnTo>
                    <a:pt x="79" y="93"/>
                  </a:lnTo>
                  <a:lnTo>
                    <a:pt x="61" y="106"/>
                  </a:lnTo>
                  <a:lnTo>
                    <a:pt x="52" y="103"/>
                  </a:lnTo>
                  <a:lnTo>
                    <a:pt x="50" y="96"/>
                  </a:lnTo>
                  <a:lnTo>
                    <a:pt x="46" y="92"/>
                  </a:lnTo>
                  <a:lnTo>
                    <a:pt x="42" y="81"/>
                  </a:lnTo>
                  <a:lnTo>
                    <a:pt x="37" y="74"/>
                  </a:lnTo>
                  <a:lnTo>
                    <a:pt x="24" y="73"/>
                  </a:lnTo>
                  <a:lnTo>
                    <a:pt x="18" y="78"/>
                  </a:lnTo>
                  <a:lnTo>
                    <a:pt x="21" y="89"/>
                  </a:lnTo>
                  <a:lnTo>
                    <a:pt x="11" y="92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4" y="83"/>
                  </a:lnTo>
                  <a:lnTo>
                    <a:pt x="11" y="83"/>
                  </a:lnTo>
                  <a:lnTo>
                    <a:pt x="11" y="75"/>
                  </a:lnTo>
                  <a:lnTo>
                    <a:pt x="12" y="62"/>
                  </a:lnTo>
                  <a:lnTo>
                    <a:pt x="24" y="45"/>
                  </a:lnTo>
                  <a:lnTo>
                    <a:pt x="31" y="43"/>
                  </a:lnTo>
                  <a:lnTo>
                    <a:pt x="40" y="33"/>
                  </a:lnTo>
                  <a:lnTo>
                    <a:pt x="48" y="29"/>
                  </a:lnTo>
                  <a:lnTo>
                    <a:pt x="47" y="21"/>
                  </a:lnTo>
                  <a:lnTo>
                    <a:pt x="37" y="17"/>
                  </a:lnTo>
                  <a:lnTo>
                    <a:pt x="43" y="10"/>
                  </a:lnTo>
                  <a:lnTo>
                    <a:pt x="53" y="10"/>
                  </a:lnTo>
                  <a:lnTo>
                    <a:pt x="56" y="15"/>
                  </a:lnTo>
                  <a:lnTo>
                    <a:pt x="64" y="16"/>
                  </a:lnTo>
                  <a:lnTo>
                    <a:pt x="79" y="12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2" name="Freeform 36">
              <a:extLst>
                <a:ext uri="{FF2B5EF4-FFF2-40B4-BE49-F238E27FC236}">
                  <a16:creationId xmlns:a16="http://schemas.microsoft.com/office/drawing/2014/main" id="{48AE630F-D684-1D42-A17C-6EE3961BAF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75" y="2538413"/>
              <a:ext cx="258763" cy="217488"/>
            </a:xfrm>
            <a:custGeom>
              <a:avLst/>
              <a:gdLst/>
              <a:ahLst/>
              <a:cxnLst>
                <a:cxn ang="0">
                  <a:pos x="106" y="127"/>
                </a:cxn>
                <a:cxn ang="0">
                  <a:pos x="106" y="102"/>
                </a:cxn>
                <a:cxn ang="0">
                  <a:pos x="118" y="86"/>
                </a:cxn>
                <a:cxn ang="0">
                  <a:pos x="142" y="86"/>
                </a:cxn>
                <a:cxn ang="0">
                  <a:pos x="143" y="75"/>
                </a:cxn>
                <a:cxn ang="0">
                  <a:pos x="151" y="62"/>
                </a:cxn>
                <a:cxn ang="0">
                  <a:pos x="148" y="53"/>
                </a:cxn>
                <a:cxn ang="0">
                  <a:pos x="136" y="48"/>
                </a:cxn>
                <a:cxn ang="0">
                  <a:pos x="150" y="44"/>
                </a:cxn>
                <a:cxn ang="0">
                  <a:pos x="156" y="31"/>
                </a:cxn>
                <a:cxn ang="0">
                  <a:pos x="160" y="19"/>
                </a:cxn>
                <a:cxn ang="0">
                  <a:pos x="163" y="14"/>
                </a:cxn>
                <a:cxn ang="0">
                  <a:pos x="147" y="6"/>
                </a:cxn>
                <a:cxn ang="0">
                  <a:pos x="121" y="2"/>
                </a:cxn>
                <a:cxn ang="0">
                  <a:pos x="105" y="6"/>
                </a:cxn>
                <a:cxn ang="0">
                  <a:pos x="89" y="8"/>
                </a:cxn>
                <a:cxn ang="0">
                  <a:pos x="62" y="27"/>
                </a:cxn>
                <a:cxn ang="0">
                  <a:pos x="49" y="29"/>
                </a:cxn>
                <a:cxn ang="0">
                  <a:pos x="40" y="45"/>
                </a:cxn>
                <a:cxn ang="0">
                  <a:pos x="41" y="63"/>
                </a:cxn>
                <a:cxn ang="0">
                  <a:pos x="33" y="75"/>
                </a:cxn>
                <a:cxn ang="0">
                  <a:pos x="26" y="87"/>
                </a:cxn>
                <a:cxn ang="0">
                  <a:pos x="47" y="98"/>
                </a:cxn>
                <a:cxn ang="0">
                  <a:pos x="31" y="102"/>
                </a:cxn>
                <a:cxn ang="0">
                  <a:pos x="32" y="109"/>
                </a:cxn>
                <a:cxn ang="0">
                  <a:pos x="38" y="114"/>
                </a:cxn>
                <a:cxn ang="0">
                  <a:pos x="21" y="106"/>
                </a:cxn>
                <a:cxn ang="0">
                  <a:pos x="6" y="105"/>
                </a:cxn>
                <a:cxn ang="0">
                  <a:pos x="17" y="110"/>
                </a:cxn>
                <a:cxn ang="0">
                  <a:pos x="25" y="115"/>
                </a:cxn>
                <a:cxn ang="0">
                  <a:pos x="25" y="117"/>
                </a:cxn>
                <a:cxn ang="0">
                  <a:pos x="8" y="114"/>
                </a:cxn>
                <a:cxn ang="0">
                  <a:pos x="0" y="114"/>
                </a:cxn>
                <a:cxn ang="0">
                  <a:pos x="9" y="122"/>
                </a:cxn>
                <a:cxn ang="0">
                  <a:pos x="20" y="127"/>
                </a:cxn>
                <a:cxn ang="0">
                  <a:pos x="35" y="121"/>
                </a:cxn>
                <a:cxn ang="0">
                  <a:pos x="43" y="117"/>
                </a:cxn>
                <a:cxn ang="0">
                  <a:pos x="61" y="112"/>
                </a:cxn>
                <a:cxn ang="0">
                  <a:pos x="75" y="117"/>
                </a:cxn>
                <a:cxn ang="0">
                  <a:pos x="90" y="122"/>
                </a:cxn>
                <a:cxn ang="0">
                  <a:pos x="94" y="134"/>
                </a:cxn>
                <a:cxn ang="0">
                  <a:pos x="102" y="137"/>
                </a:cxn>
                <a:cxn ang="0">
                  <a:pos x="23" y="97"/>
                </a:cxn>
                <a:cxn ang="0">
                  <a:pos x="21" y="103"/>
                </a:cxn>
                <a:cxn ang="0">
                  <a:pos x="14" y="100"/>
                </a:cxn>
                <a:cxn ang="0">
                  <a:pos x="19" y="92"/>
                </a:cxn>
                <a:cxn ang="0">
                  <a:pos x="33" y="95"/>
                </a:cxn>
                <a:cxn ang="0">
                  <a:pos x="27" y="97"/>
                </a:cxn>
                <a:cxn ang="0">
                  <a:pos x="20" y="95"/>
                </a:cxn>
              </a:cxnLst>
              <a:rect l="0" t="0" r="r" b="b"/>
              <a:pathLst>
                <a:path w="163" h="137">
                  <a:moveTo>
                    <a:pt x="102" y="137"/>
                  </a:moveTo>
                  <a:lnTo>
                    <a:pt x="106" y="127"/>
                  </a:lnTo>
                  <a:lnTo>
                    <a:pt x="110" y="114"/>
                  </a:lnTo>
                  <a:lnTo>
                    <a:pt x="106" y="102"/>
                  </a:lnTo>
                  <a:lnTo>
                    <a:pt x="112" y="94"/>
                  </a:lnTo>
                  <a:lnTo>
                    <a:pt x="118" y="86"/>
                  </a:lnTo>
                  <a:lnTo>
                    <a:pt x="130" y="83"/>
                  </a:lnTo>
                  <a:lnTo>
                    <a:pt x="142" y="86"/>
                  </a:lnTo>
                  <a:lnTo>
                    <a:pt x="148" y="82"/>
                  </a:lnTo>
                  <a:lnTo>
                    <a:pt x="143" y="75"/>
                  </a:lnTo>
                  <a:lnTo>
                    <a:pt x="150" y="71"/>
                  </a:lnTo>
                  <a:lnTo>
                    <a:pt x="151" y="62"/>
                  </a:lnTo>
                  <a:lnTo>
                    <a:pt x="153" y="57"/>
                  </a:lnTo>
                  <a:lnTo>
                    <a:pt x="148" y="53"/>
                  </a:lnTo>
                  <a:lnTo>
                    <a:pt x="137" y="53"/>
                  </a:lnTo>
                  <a:lnTo>
                    <a:pt x="136" y="48"/>
                  </a:lnTo>
                  <a:lnTo>
                    <a:pt x="140" y="40"/>
                  </a:lnTo>
                  <a:lnTo>
                    <a:pt x="150" y="44"/>
                  </a:lnTo>
                  <a:lnTo>
                    <a:pt x="156" y="39"/>
                  </a:lnTo>
                  <a:lnTo>
                    <a:pt x="156" y="31"/>
                  </a:lnTo>
                  <a:lnTo>
                    <a:pt x="159" y="24"/>
                  </a:lnTo>
                  <a:lnTo>
                    <a:pt x="160" y="19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54" y="12"/>
                  </a:lnTo>
                  <a:lnTo>
                    <a:pt x="147" y="6"/>
                  </a:lnTo>
                  <a:lnTo>
                    <a:pt x="134" y="0"/>
                  </a:lnTo>
                  <a:lnTo>
                    <a:pt x="121" y="2"/>
                  </a:lnTo>
                  <a:lnTo>
                    <a:pt x="113" y="8"/>
                  </a:lnTo>
                  <a:lnTo>
                    <a:pt x="105" y="6"/>
                  </a:lnTo>
                  <a:lnTo>
                    <a:pt x="100" y="8"/>
                  </a:lnTo>
                  <a:lnTo>
                    <a:pt x="89" y="8"/>
                  </a:lnTo>
                  <a:lnTo>
                    <a:pt x="78" y="19"/>
                  </a:lnTo>
                  <a:lnTo>
                    <a:pt x="62" y="27"/>
                  </a:lnTo>
                  <a:lnTo>
                    <a:pt x="59" y="25"/>
                  </a:lnTo>
                  <a:lnTo>
                    <a:pt x="49" y="29"/>
                  </a:lnTo>
                  <a:lnTo>
                    <a:pt x="48" y="39"/>
                  </a:lnTo>
                  <a:lnTo>
                    <a:pt x="40" y="45"/>
                  </a:lnTo>
                  <a:lnTo>
                    <a:pt x="42" y="54"/>
                  </a:lnTo>
                  <a:lnTo>
                    <a:pt x="41" y="63"/>
                  </a:lnTo>
                  <a:lnTo>
                    <a:pt x="36" y="70"/>
                  </a:lnTo>
                  <a:lnTo>
                    <a:pt x="33" y="75"/>
                  </a:lnTo>
                  <a:lnTo>
                    <a:pt x="26" y="80"/>
                  </a:lnTo>
                  <a:lnTo>
                    <a:pt x="26" y="87"/>
                  </a:lnTo>
                  <a:lnTo>
                    <a:pt x="37" y="95"/>
                  </a:lnTo>
                  <a:lnTo>
                    <a:pt x="47" y="98"/>
                  </a:lnTo>
                  <a:lnTo>
                    <a:pt x="36" y="98"/>
                  </a:lnTo>
                  <a:lnTo>
                    <a:pt x="31" y="102"/>
                  </a:lnTo>
                  <a:lnTo>
                    <a:pt x="27" y="104"/>
                  </a:lnTo>
                  <a:lnTo>
                    <a:pt x="32" y="109"/>
                  </a:lnTo>
                  <a:lnTo>
                    <a:pt x="37" y="109"/>
                  </a:lnTo>
                  <a:lnTo>
                    <a:pt x="38" y="114"/>
                  </a:lnTo>
                  <a:lnTo>
                    <a:pt x="30" y="114"/>
                  </a:lnTo>
                  <a:lnTo>
                    <a:pt x="21" y="106"/>
                  </a:lnTo>
                  <a:lnTo>
                    <a:pt x="14" y="103"/>
                  </a:lnTo>
                  <a:lnTo>
                    <a:pt x="6" y="105"/>
                  </a:lnTo>
                  <a:lnTo>
                    <a:pt x="9" y="110"/>
                  </a:lnTo>
                  <a:lnTo>
                    <a:pt x="17" y="110"/>
                  </a:lnTo>
                  <a:lnTo>
                    <a:pt x="23" y="116"/>
                  </a:lnTo>
                  <a:lnTo>
                    <a:pt x="25" y="115"/>
                  </a:lnTo>
                  <a:lnTo>
                    <a:pt x="33" y="120"/>
                  </a:lnTo>
                  <a:lnTo>
                    <a:pt x="25" y="117"/>
                  </a:lnTo>
                  <a:lnTo>
                    <a:pt x="20" y="117"/>
                  </a:lnTo>
                  <a:lnTo>
                    <a:pt x="8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4" y="116"/>
                  </a:lnTo>
                  <a:lnTo>
                    <a:pt x="9" y="122"/>
                  </a:lnTo>
                  <a:lnTo>
                    <a:pt x="17" y="122"/>
                  </a:lnTo>
                  <a:lnTo>
                    <a:pt x="20" y="127"/>
                  </a:lnTo>
                  <a:lnTo>
                    <a:pt x="25" y="122"/>
                  </a:lnTo>
                  <a:lnTo>
                    <a:pt x="35" y="121"/>
                  </a:lnTo>
                  <a:lnTo>
                    <a:pt x="36" y="118"/>
                  </a:lnTo>
                  <a:lnTo>
                    <a:pt x="43" y="117"/>
                  </a:lnTo>
                  <a:lnTo>
                    <a:pt x="46" y="111"/>
                  </a:lnTo>
                  <a:lnTo>
                    <a:pt x="61" y="112"/>
                  </a:lnTo>
                  <a:lnTo>
                    <a:pt x="66" y="117"/>
                  </a:lnTo>
                  <a:lnTo>
                    <a:pt x="75" y="117"/>
                  </a:lnTo>
                  <a:lnTo>
                    <a:pt x="78" y="122"/>
                  </a:lnTo>
                  <a:lnTo>
                    <a:pt x="90" y="122"/>
                  </a:lnTo>
                  <a:lnTo>
                    <a:pt x="95" y="128"/>
                  </a:lnTo>
                  <a:lnTo>
                    <a:pt x="94" y="134"/>
                  </a:lnTo>
                  <a:lnTo>
                    <a:pt x="102" y="137"/>
                  </a:lnTo>
                  <a:lnTo>
                    <a:pt x="102" y="137"/>
                  </a:lnTo>
                  <a:close/>
                  <a:moveTo>
                    <a:pt x="14" y="100"/>
                  </a:moveTo>
                  <a:lnTo>
                    <a:pt x="23" y="97"/>
                  </a:lnTo>
                  <a:lnTo>
                    <a:pt x="26" y="102"/>
                  </a:lnTo>
                  <a:lnTo>
                    <a:pt x="21" y="103"/>
                  </a:lnTo>
                  <a:lnTo>
                    <a:pt x="20" y="100"/>
                  </a:lnTo>
                  <a:lnTo>
                    <a:pt x="14" y="100"/>
                  </a:lnTo>
                  <a:lnTo>
                    <a:pt x="14" y="100"/>
                  </a:lnTo>
                  <a:close/>
                  <a:moveTo>
                    <a:pt x="19" y="92"/>
                  </a:moveTo>
                  <a:lnTo>
                    <a:pt x="25" y="92"/>
                  </a:lnTo>
                  <a:lnTo>
                    <a:pt x="33" y="95"/>
                  </a:lnTo>
                  <a:lnTo>
                    <a:pt x="31" y="97"/>
                  </a:lnTo>
                  <a:lnTo>
                    <a:pt x="27" y="97"/>
                  </a:lnTo>
                  <a:lnTo>
                    <a:pt x="25" y="94"/>
                  </a:lnTo>
                  <a:lnTo>
                    <a:pt x="20" y="95"/>
                  </a:lnTo>
                  <a:lnTo>
                    <a:pt x="19" y="92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3" name="Freeform 37">
              <a:extLst>
                <a:ext uri="{FF2B5EF4-FFF2-40B4-BE49-F238E27FC236}">
                  <a16:creationId xmlns:a16="http://schemas.microsoft.com/office/drawing/2014/main" id="{48463CA4-36E3-F346-A9B7-2059B2448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75" y="2714625"/>
              <a:ext cx="204788" cy="160338"/>
            </a:xfrm>
            <a:custGeom>
              <a:avLst/>
              <a:gdLst/>
              <a:ahLst/>
              <a:cxnLst>
                <a:cxn ang="0">
                  <a:pos x="123" y="69"/>
                </a:cxn>
                <a:cxn ang="0">
                  <a:pos x="129" y="57"/>
                </a:cxn>
                <a:cxn ang="0">
                  <a:pos x="123" y="50"/>
                </a:cxn>
                <a:cxn ang="0">
                  <a:pos x="123" y="44"/>
                </a:cxn>
                <a:cxn ang="0">
                  <a:pos x="116" y="32"/>
                </a:cxn>
                <a:cxn ang="0">
                  <a:pos x="120" y="26"/>
                </a:cxn>
                <a:cxn ang="0">
                  <a:pos x="110" y="23"/>
                </a:cxn>
                <a:cxn ang="0">
                  <a:pos x="111" y="17"/>
                </a:cxn>
                <a:cxn ang="0">
                  <a:pos x="106" y="11"/>
                </a:cxn>
                <a:cxn ang="0">
                  <a:pos x="94" y="11"/>
                </a:cxn>
                <a:cxn ang="0">
                  <a:pos x="91" y="6"/>
                </a:cxn>
                <a:cxn ang="0">
                  <a:pos x="82" y="6"/>
                </a:cxn>
                <a:cxn ang="0">
                  <a:pos x="77" y="1"/>
                </a:cxn>
                <a:cxn ang="0">
                  <a:pos x="62" y="0"/>
                </a:cxn>
                <a:cxn ang="0">
                  <a:pos x="59" y="6"/>
                </a:cxn>
                <a:cxn ang="0">
                  <a:pos x="52" y="7"/>
                </a:cxn>
                <a:cxn ang="0">
                  <a:pos x="51" y="10"/>
                </a:cxn>
                <a:cxn ang="0">
                  <a:pos x="41" y="11"/>
                </a:cxn>
                <a:cxn ang="0">
                  <a:pos x="36" y="16"/>
                </a:cxn>
                <a:cxn ang="0">
                  <a:pos x="33" y="11"/>
                </a:cxn>
                <a:cxn ang="0">
                  <a:pos x="25" y="11"/>
                </a:cxn>
                <a:cxn ang="0">
                  <a:pos x="20" y="5"/>
                </a:cxn>
                <a:cxn ang="0">
                  <a:pos x="16" y="3"/>
                </a:cxn>
                <a:cxn ang="0">
                  <a:pos x="6" y="10"/>
                </a:cxn>
                <a:cxn ang="0">
                  <a:pos x="0" y="20"/>
                </a:cxn>
                <a:cxn ang="0">
                  <a:pos x="5" y="23"/>
                </a:cxn>
                <a:cxn ang="0">
                  <a:pos x="7" y="38"/>
                </a:cxn>
                <a:cxn ang="0">
                  <a:pos x="18" y="41"/>
                </a:cxn>
                <a:cxn ang="0">
                  <a:pos x="19" y="49"/>
                </a:cxn>
                <a:cxn ang="0">
                  <a:pos x="33" y="58"/>
                </a:cxn>
                <a:cxn ang="0">
                  <a:pos x="37" y="58"/>
                </a:cxn>
                <a:cxn ang="0">
                  <a:pos x="43" y="62"/>
                </a:cxn>
                <a:cxn ang="0">
                  <a:pos x="49" y="64"/>
                </a:cxn>
                <a:cxn ang="0">
                  <a:pos x="51" y="76"/>
                </a:cxn>
                <a:cxn ang="0">
                  <a:pos x="60" y="80"/>
                </a:cxn>
                <a:cxn ang="0">
                  <a:pos x="65" y="78"/>
                </a:cxn>
                <a:cxn ang="0">
                  <a:pos x="71" y="78"/>
                </a:cxn>
                <a:cxn ang="0">
                  <a:pos x="75" y="81"/>
                </a:cxn>
                <a:cxn ang="0">
                  <a:pos x="81" y="82"/>
                </a:cxn>
                <a:cxn ang="0">
                  <a:pos x="92" y="94"/>
                </a:cxn>
                <a:cxn ang="0">
                  <a:pos x="100" y="96"/>
                </a:cxn>
                <a:cxn ang="0">
                  <a:pos x="109" y="101"/>
                </a:cxn>
                <a:cxn ang="0">
                  <a:pos x="112" y="98"/>
                </a:cxn>
                <a:cxn ang="0">
                  <a:pos x="120" y="98"/>
                </a:cxn>
                <a:cxn ang="0">
                  <a:pos x="120" y="94"/>
                </a:cxn>
                <a:cxn ang="0">
                  <a:pos x="116" y="91"/>
                </a:cxn>
                <a:cxn ang="0">
                  <a:pos x="116" y="85"/>
                </a:cxn>
                <a:cxn ang="0">
                  <a:pos x="112" y="81"/>
                </a:cxn>
                <a:cxn ang="0">
                  <a:pos x="117" y="76"/>
                </a:cxn>
                <a:cxn ang="0">
                  <a:pos x="121" y="69"/>
                </a:cxn>
                <a:cxn ang="0">
                  <a:pos x="123" y="69"/>
                </a:cxn>
              </a:cxnLst>
              <a:rect l="0" t="0" r="r" b="b"/>
              <a:pathLst>
                <a:path w="129" h="101">
                  <a:moveTo>
                    <a:pt x="123" y="69"/>
                  </a:moveTo>
                  <a:lnTo>
                    <a:pt x="129" y="57"/>
                  </a:lnTo>
                  <a:lnTo>
                    <a:pt x="123" y="50"/>
                  </a:lnTo>
                  <a:lnTo>
                    <a:pt x="123" y="44"/>
                  </a:lnTo>
                  <a:lnTo>
                    <a:pt x="116" y="32"/>
                  </a:lnTo>
                  <a:lnTo>
                    <a:pt x="120" y="26"/>
                  </a:lnTo>
                  <a:lnTo>
                    <a:pt x="110" y="23"/>
                  </a:lnTo>
                  <a:lnTo>
                    <a:pt x="111" y="17"/>
                  </a:lnTo>
                  <a:lnTo>
                    <a:pt x="106" y="11"/>
                  </a:lnTo>
                  <a:lnTo>
                    <a:pt x="94" y="11"/>
                  </a:lnTo>
                  <a:lnTo>
                    <a:pt x="91" y="6"/>
                  </a:lnTo>
                  <a:lnTo>
                    <a:pt x="82" y="6"/>
                  </a:lnTo>
                  <a:lnTo>
                    <a:pt x="77" y="1"/>
                  </a:lnTo>
                  <a:lnTo>
                    <a:pt x="62" y="0"/>
                  </a:lnTo>
                  <a:lnTo>
                    <a:pt x="59" y="6"/>
                  </a:lnTo>
                  <a:lnTo>
                    <a:pt x="52" y="7"/>
                  </a:lnTo>
                  <a:lnTo>
                    <a:pt x="51" y="10"/>
                  </a:lnTo>
                  <a:lnTo>
                    <a:pt x="41" y="11"/>
                  </a:lnTo>
                  <a:lnTo>
                    <a:pt x="36" y="16"/>
                  </a:lnTo>
                  <a:lnTo>
                    <a:pt x="33" y="11"/>
                  </a:lnTo>
                  <a:lnTo>
                    <a:pt x="25" y="11"/>
                  </a:lnTo>
                  <a:lnTo>
                    <a:pt x="20" y="5"/>
                  </a:lnTo>
                  <a:lnTo>
                    <a:pt x="16" y="3"/>
                  </a:lnTo>
                  <a:lnTo>
                    <a:pt x="6" y="10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7" y="38"/>
                  </a:lnTo>
                  <a:lnTo>
                    <a:pt x="18" y="41"/>
                  </a:lnTo>
                  <a:lnTo>
                    <a:pt x="19" y="49"/>
                  </a:lnTo>
                  <a:lnTo>
                    <a:pt x="33" y="58"/>
                  </a:lnTo>
                  <a:lnTo>
                    <a:pt x="37" y="58"/>
                  </a:lnTo>
                  <a:lnTo>
                    <a:pt x="43" y="62"/>
                  </a:lnTo>
                  <a:lnTo>
                    <a:pt x="49" y="64"/>
                  </a:lnTo>
                  <a:lnTo>
                    <a:pt x="51" y="76"/>
                  </a:lnTo>
                  <a:lnTo>
                    <a:pt x="60" y="80"/>
                  </a:lnTo>
                  <a:lnTo>
                    <a:pt x="65" y="78"/>
                  </a:lnTo>
                  <a:lnTo>
                    <a:pt x="71" y="78"/>
                  </a:lnTo>
                  <a:lnTo>
                    <a:pt x="75" y="81"/>
                  </a:lnTo>
                  <a:lnTo>
                    <a:pt x="81" y="82"/>
                  </a:lnTo>
                  <a:lnTo>
                    <a:pt x="92" y="94"/>
                  </a:lnTo>
                  <a:lnTo>
                    <a:pt x="100" y="96"/>
                  </a:lnTo>
                  <a:lnTo>
                    <a:pt x="109" y="101"/>
                  </a:lnTo>
                  <a:lnTo>
                    <a:pt x="112" y="98"/>
                  </a:lnTo>
                  <a:lnTo>
                    <a:pt x="120" y="98"/>
                  </a:lnTo>
                  <a:lnTo>
                    <a:pt x="120" y="94"/>
                  </a:lnTo>
                  <a:lnTo>
                    <a:pt x="116" y="91"/>
                  </a:lnTo>
                  <a:lnTo>
                    <a:pt x="116" y="85"/>
                  </a:lnTo>
                  <a:lnTo>
                    <a:pt x="112" y="81"/>
                  </a:lnTo>
                  <a:lnTo>
                    <a:pt x="117" y="76"/>
                  </a:lnTo>
                  <a:lnTo>
                    <a:pt x="121" y="69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4" name="Freeform 38">
              <a:extLst>
                <a:ext uri="{FF2B5EF4-FFF2-40B4-BE49-F238E27FC236}">
                  <a16:creationId xmlns:a16="http://schemas.microsoft.com/office/drawing/2014/main" id="{AFCCD93F-5116-584C-8971-D39C71449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5" y="2824163"/>
              <a:ext cx="50800" cy="61913"/>
            </a:xfrm>
            <a:custGeom>
              <a:avLst/>
              <a:gdLst/>
              <a:ahLst/>
              <a:cxnLst>
                <a:cxn ang="0">
                  <a:pos x="8" y="29"/>
                </a:cxn>
                <a:cxn ang="0">
                  <a:pos x="8" y="25"/>
                </a:cxn>
                <a:cxn ang="0">
                  <a:pos x="4" y="22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5" y="7"/>
                </a:cxn>
                <a:cxn ang="0">
                  <a:pos x="9" y="0"/>
                </a:cxn>
                <a:cxn ang="0">
                  <a:pos x="15" y="0"/>
                </a:cxn>
                <a:cxn ang="0">
                  <a:pos x="26" y="12"/>
                </a:cxn>
                <a:cxn ang="0">
                  <a:pos x="27" y="21"/>
                </a:cxn>
                <a:cxn ang="0">
                  <a:pos x="32" y="24"/>
                </a:cxn>
                <a:cxn ang="0">
                  <a:pos x="32" y="38"/>
                </a:cxn>
                <a:cxn ang="0">
                  <a:pos x="25" y="39"/>
                </a:cxn>
                <a:cxn ang="0">
                  <a:pos x="14" y="38"/>
                </a:cxn>
                <a:cxn ang="0">
                  <a:pos x="8" y="29"/>
                </a:cxn>
                <a:cxn ang="0">
                  <a:pos x="8" y="29"/>
                </a:cxn>
              </a:cxnLst>
              <a:rect l="0" t="0" r="r" b="b"/>
              <a:pathLst>
                <a:path w="32" h="39">
                  <a:moveTo>
                    <a:pt x="8" y="29"/>
                  </a:moveTo>
                  <a:lnTo>
                    <a:pt x="8" y="25"/>
                  </a:lnTo>
                  <a:lnTo>
                    <a:pt x="4" y="22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5" y="7"/>
                  </a:lnTo>
                  <a:lnTo>
                    <a:pt x="9" y="0"/>
                  </a:lnTo>
                  <a:lnTo>
                    <a:pt x="15" y="0"/>
                  </a:lnTo>
                  <a:lnTo>
                    <a:pt x="26" y="12"/>
                  </a:lnTo>
                  <a:lnTo>
                    <a:pt x="27" y="21"/>
                  </a:lnTo>
                  <a:lnTo>
                    <a:pt x="32" y="24"/>
                  </a:lnTo>
                  <a:lnTo>
                    <a:pt x="32" y="38"/>
                  </a:lnTo>
                  <a:lnTo>
                    <a:pt x="25" y="39"/>
                  </a:lnTo>
                  <a:lnTo>
                    <a:pt x="14" y="38"/>
                  </a:lnTo>
                  <a:lnTo>
                    <a:pt x="8" y="29"/>
                  </a:lnTo>
                  <a:lnTo>
                    <a:pt x="8" y="29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5" name="Freeform 39">
              <a:extLst>
                <a:ext uri="{FF2B5EF4-FFF2-40B4-BE49-F238E27FC236}">
                  <a16:creationId xmlns:a16="http://schemas.microsoft.com/office/drawing/2014/main" id="{39977499-20C2-8543-BDA4-D4AE2E850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8875" y="2351088"/>
              <a:ext cx="295275" cy="350838"/>
            </a:xfrm>
            <a:custGeom>
              <a:avLst/>
              <a:gdLst/>
              <a:ahLst/>
              <a:cxnLst>
                <a:cxn ang="0">
                  <a:pos x="77" y="216"/>
                </a:cxn>
                <a:cxn ang="0">
                  <a:pos x="94" y="201"/>
                </a:cxn>
                <a:cxn ang="0">
                  <a:pos x="109" y="198"/>
                </a:cxn>
                <a:cxn ang="0">
                  <a:pos x="143" y="188"/>
                </a:cxn>
                <a:cxn ang="0">
                  <a:pos x="155" y="183"/>
                </a:cxn>
                <a:cxn ang="0">
                  <a:pos x="163" y="175"/>
                </a:cxn>
                <a:cxn ang="0">
                  <a:pos x="176" y="158"/>
                </a:cxn>
                <a:cxn ang="0">
                  <a:pos x="183" y="124"/>
                </a:cxn>
                <a:cxn ang="0">
                  <a:pos x="184" y="108"/>
                </a:cxn>
                <a:cxn ang="0">
                  <a:pos x="172" y="88"/>
                </a:cxn>
                <a:cxn ang="0">
                  <a:pos x="172" y="77"/>
                </a:cxn>
                <a:cxn ang="0">
                  <a:pos x="143" y="54"/>
                </a:cxn>
                <a:cxn ang="0">
                  <a:pos x="128" y="71"/>
                </a:cxn>
                <a:cxn ang="0">
                  <a:pos x="128" y="35"/>
                </a:cxn>
                <a:cxn ang="0">
                  <a:pos x="141" y="20"/>
                </a:cxn>
                <a:cxn ang="0">
                  <a:pos x="155" y="10"/>
                </a:cxn>
                <a:cxn ang="0">
                  <a:pos x="141" y="6"/>
                </a:cxn>
                <a:cxn ang="0">
                  <a:pos x="127" y="24"/>
                </a:cxn>
                <a:cxn ang="0">
                  <a:pos x="127" y="7"/>
                </a:cxn>
                <a:cxn ang="0">
                  <a:pos x="117" y="13"/>
                </a:cxn>
                <a:cxn ang="0">
                  <a:pos x="100" y="18"/>
                </a:cxn>
                <a:cxn ang="0">
                  <a:pos x="100" y="27"/>
                </a:cxn>
                <a:cxn ang="0">
                  <a:pos x="92" y="33"/>
                </a:cxn>
                <a:cxn ang="0">
                  <a:pos x="95" y="42"/>
                </a:cxn>
                <a:cxn ang="0">
                  <a:pos x="108" y="43"/>
                </a:cxn>
                <a:cxn ang="0">
                  <a:pos x="88" y="61"/>
                </a:cxn>
                <a:cxn ang="0">
                  <a:pos x="63" y="66"/>
                </a:cxn>
                <a:cxn ang="0">
                  <a:pos x="40" y="59"/>
                </a:cxn>
                <a:cxn ang="0">
                  <a:pos x="31" y="62"/>
                </a:cxn>
                <a:cxn ang="0">
                  <a:pos x="37" y="78"/>
                </a:cxn>
                <a:cxn ang="0">
                  <a:pos x="21" y="74"/>
                </a:cxn>
                <a:cxn ang="0">
                  <a:pos x="46" y="87"/>
                </a:cxn>
                <a:cxn ang="0">
                  <a:pos x="36" y="97"/>
                </a:cxn>
                <a:cxn ang="0">
                  <a:pos x="22" y="107"/>
                </a:cxn>
                <a:cxn ang="0">
                  <a:pos x="30" y="113"/>
                </a:cxn>
                <a:cxn ang="0">
                  <a:pos x="69" y="120"/>
                </a:cxn>
                <a:cxn ang="0">
                  <a:pos x="46" y="139"/>
                </a:cxn>
                <a:cxn ang="0">
                  <a:pos x="25" y="158"/>
                </a:cxn>
                <a:cxn ang="0">
                  <a:pos x="46" y="155"/>
                </a:cxn>
                <a:cxn ang="0">
                  <a:pos x="65" y="152"/>
                </a:cxn>
                <a:cxn ang="0">
                  <a:pos x="39" y="159"/>
                </a:cxn>
                <a:cxn ang="0">
                  <a:pos x="29" y="171"/>
                </a:cxn>
                <a:cxn ang="0">
                  <a:pos x="23" y="177"/>
                </a:cxn>
                <a:cxn ang="0">
                  <a:pos x="13" y="174"/>
                </a:cxn>
                <a:cxn ang="0">
                  <a:pos x="30" y="181"/>
                </a:cxn>
                <a:cxn ang="0">
                  <a:pos x="5" y="199"/>
                </a:cxn>
                <a:cxn ang="0">
                  <a:pos x="35" y="198"/>
                </a:cxn>
                <a:cxn ang="0">
                  <a:pos x="24" y="212"/>
                </a:cxn>
                <a:cxn ang="0">
                  <a:pos x="25" y="216"/>
                </a:cxn>
                <a:cxn ang="0">
                  <a:pos x="41" y="217"/>
                </a:cxn>
              </a:cxnLst>
              <a:rect l="0" t="0" r="r" b="b"/>
              <a:pathLst>
                <a:path w="186" h="221">
                  <a:moveTo>
                    <a:pt x="47" y="221"/>
                  </a:moveTo>
                  <a:lnTo>
                    <a:pt x="63" y="220"/>
                  </a:lnTo>
                  <a:lnTo>
                    <a:pt x="77" y="216"/>
                  </a:lnTo>
                  <a:lnTo>
                    <a:pt x="88" y="209"/>
                  </a:lnTo>
                  <a:lnTo>
                    <a:pt x="85" y="200"/>
                  </a:lnTo>
                  <a:lnTo>
                    <a:pt x="94" y="201"/>
                  </a:lnTo>
                  <a:lnTo>
                    <a:pt x="91" y="206"/>
                  </a:lnTo>
                  <a:lnTo>
                    <a:pt x="100" y="206"/>
                  </a:lnTo>
                  <a:lnTo>
                    <a:pt x="109" y="198"/>
                  </a:lnTo>
                  <a:lnTo>
                    <a:pt x="115" y="198"/>
                  </a:lnTo>
                  <a:lnTo>
                    <a:pt x="117" y="191"/>
                  </a:lnTo>
                  <a:lnTo>
                    <a:pt x="143" y="188"/>
                  </a:lnTo>
                  <a:lnTo>
                    <a:pt x="145" y="182"/>
                  </a:lnTo>
                  <a:lnTo>
                    <a:pt x="149" y="188"/>
                  </a:lnTo>
                  <a:lnTo>
                    <a:pt x="155" y="183"/>
                  </a:lnTo>
                  <a:lnTo>
                    <a:pt x="160" y="186"/>
                  </a:lnTo>
                  <a:lnTo>
                    <a:pt x="173" y="186"/>
                  </a:lnTo>
                  <a:lnTo>
                    <a:pt x="163" y="175"/>
                  </a:lnTo>
                  <a:lnTo>
                    <a:pt x="170" y="172"/>
                  </a:lnTo>
                  <a:lnTo>
                    <a:pt x="178" y="165"/>
                  </a:lnTo>
                  <a:lnTo>
                    <a:pt x="176" y="158"/>
                  </a:lnTo>
                  <a:lnTo>
                    <a:pt x="184" y="151"/>
                  </a:lnTo>
                  <a:lnTo>
                    <a:pt x="186" y="142"/>
                  </a:lnTo>
                  <a:lnTo>
                    <a:pt x="183" y="124"/>
                  </a:lnTo>
                  <a:lnTo>
                    <a:pt x="176" y="120"/>
                  </a:lnTo>
                  <a:lnTo>
                    <a:pt x="184" y="117"/>
                  </a:lnTo>
                  <a:lnTo>
                    <a:pt x="184" y="108"/>
                  </a:lnTo>
                  <a:lnTo>
                    <a:pt x="178" y="100"/>
                  </a:lnTo>
                  <a:lnTo>
                    <a:pt x="179" y="91"/>
                  </a:lnTo>
                  <a:lnTo>
                    <a:pt x="172" y="88"/>
                  </a:lnTo>
                  <a:lnTo>
                    <a:pt x="175" y="83"/>
                  </a:lnTo>
                  <a:lnTo>
                    <a:pt x="181" y="83"/>
                  </a:lnTo>
                  <a:lnTo>
                    <a:pt x="172" y="77"/>
                  </a:lnTo>
                  <a:lnTo>
                    <a:pt x="164" y="76"/>
                  </a:lnTo>
                  <a:lnTo>
                    <a:pt x="156" y="60"/>
                  </a:lnTo>
                  <a:lnTo>
                    <a:pt x="143" y="54"/>
                  </a:lnTo>
                  <a:lnTo>
                    <a:pt x="138" y="58"/>
                  </a:lnTo>
                  <a:lnTo>
                    <a:pt x="134" y="70"/>
                  </a:lnTo>
                  <a:lnTo>
                    <a:pt x="128" y="71"/>
                  </a:lnTo>
                  <a:lnTo>
                    <a:pt x="109" y="54"/>
                  </a:lnTo>
                  <a:lnTo>
                    <a:pt x="118" y="36"/>
                  </a:lnTo>
                  <a:lnTo>
                    <a:pt x="128" y="35"/>
                  </a:lnTo>
                  <a:lnTo>
                    <a:pt x="131" y="27"/>
                  </a:lnTo>
                  <a:lnTo>
                    <a:pt x="137" y="25"/>
                  </a:lnTo>
                  <a:lnTo>
                    <a:pt x="141" y="20"/>
                  </a:lnTo>
                  <a:lnTo>
                    <a:pt x="137" y="21"/>
                  </a:lnTo>
                  <a:lnTo>
                    <a:pt x="146" y="14"/>
                  </a:lnTo>
                  <a:lnTo>
                    <a:pt x="155" y="10"/>
                  </a:lnTo>
                  <a:lnTo>
                    <a:pt x="145" y="6"/>
                  </a:lnTo>
                  <a:lnTo>
                    <a:pt x="138" y="0"/>
                  </a:lnTo>
                  <a:lnTo>
                    <a:pt x="141" y="6"/>
                  </a:lnTo>
                  <a:lnTo>
                    <a:pt x="132" y="6"/>
                  </a:lnTo>
                  <a:lnTo>
                    <a:pt x="133" y="15"/>
                  </a:lnTo>
                  <a:lnTo>
                    <a:pt x="127" y="24"/>
                  </a:lnTo>
                  <a:lnTo>
                    <a:pt x="128" y="18"/>
                  </a:lnTo>
                  <a:lnTo>
                    <a:pt x="131" y="14"/>
                  </a:lnTo>
                  <a:lnTo>
                    <a:pt x="127" y="7"/>
                  </a:lnTo>
                  <a:lnTo>
                    <a:pt x="121" y="8"/>
                  </a:lnTo>
                  <a:lnTo>
                    <a:pt x="124" y="13"/>
                  </a:lnTo>
                  <a:lnTo>
                    <a:pt x="117" y="13"/>
                  </a:lnTo>
                  <a:lnTo>
                    <a:pt x="114" y="9"/>
                  </a:lnTo>
                  <a:lnTo>
                    <a:pt x="100" y="13"/>
                  </a:lnTo>
                  <a:lnTo>
                    <a:pt x="100" y="18"/>
                  </a:lnTo>
                  <a:lnTo>
                    <a:pt x="97" y="18"/>
                  </a:lnTo>
                  <a:lnTo>
                    <a:pt x="93" y="25"/>
                  </a:lnTo>
                  <a:lnTo>
                    <a:pt x="100" y="27"/>
                  </a:lnTo>
                  <a:lnTo>
                    <a:pt x="98" y="31"/>
                  </a:lnTo>
                  <a:lnTo>
                    <a:pt x="92" y="31"/>
                  </a:lnTo>
                  <a:lnTo>
                    <a:pt x="92" y="33"/>
                  </a:lnTo>
                  <a:lnTo>
                    <a:pt x="83" y="36"/>
                  </a:lnTo>
                  <a:lnTo>
                    <a:pt x="86" y="42"/>
                  </a:lnTo>
                  <a:lnTo>
                    <a:pt x="95" y="42"/>
                  </a:lnTo>
                  <a:lnTo>
                    <a:pt x="94" y="44"/>
                  </a:lnTo>
                  <a:lnTo>
                    <a:pt x="102" y="42"/>
                  </a:lnTo>
                  <a:lnTo>
                    <a:pt x="108" y="43"/>
                  </a:lnTo>
                  <a:lnTo>
                    <a:pt x="97" y="53"/>
                  </a:lnTo>
                  <a:lnTo>
                    <a:pt x="83" y="58"/>
                  </a:lnTo>
                  <a:lnTo>
                    <a:pt x="88" y="61"/>
                  </a:lnTo>
                  <a:lnTo>
                    <a:pt x="76" y="62"/>
                  </a:lnTo>
                  <a:lnTo>
                    <a:pt x="69" y="60"/>
                  </a:lnTo>
                  <a:lnTo>
                    <a:pt x="63" y="66"/>
                  </a:lnTo>
                  <a:lnTo>
                    <a:pt x="60" y="59"/>
                  </a:lnTo>
                  <a:lnTo>
                    <a:pt x="40" y="55"/>
                  </a:lnTo>
                  <a:lnTo>
                    <a:pt x="40" y="59"/>
                  </a:lnTo>
                  <a:lnTo>
                    <a:pt x="28" y="56"/>
                  </a:lnTo>
                  <a:lnTo>
                    <a:pt x="25" y="67"/>
                  </a:lnTo>
                  <a:lnTo>
                    <a:pt x="31" y="62"/>
                  </a:lnTo>
                  <a:lnTo>
                    <a:pt x="33" y="70"/>
                  </a:lnTo>
                  <a:lnTo>
                    <a:pt x="35" y="71"/>
                  </a:lnTo>
                  <a:lnTo>
                    <a:pt x="37" y="78"/>
                  </a:lnTo>
                  <a:lnTo>
                    <a:pt x="33" y="78"/>
                  </a:lnTo>
                  <a:lnTo>
                    <a:pt x="31" y="73"/>
                  </a:lnTo>
                  <a:lnTo>
                    <a:pt x="21" y="74"/>
                  </a:lnTo>
                  <a:lnTo>
                    <a:pt x="34" y="83"/>
                  </a:lnTo>
                  <a:lnTo>
                    <a:pt x="42" y="81"/>
                  </a:lnTo>
                  <a:lnTo>
                    <a:pt x="46" y="87"/>
                  </a:lnTo>
                  <a:lnTo>
                    <a:pt x="34" y="89"/>
                  </a:lnTo>
                  <a:lnTo>
                    <a:pt x="33" y="94"/>
                  </a:lnTo>
                  <a:lnTo>
                    <a:pt x="36" y="97"/>
                  </a:lnTo>
                  <a:lnTo>
                    <a:pt x="23" y="97"/>
                  </a:lnTo>
                  <a:lnTo>
                    <a:pt x="25" y="105"/>
                  </a:lnTo>
                  <a:lnTo>
                    <a:pt x="22" y="107"/>
                  </a:lnTo>
                  <a:lnTo>
                    <a:pt x="28" y="111"/>
                  </a:lnTo>
                  <a:lnTo>
                    <a:pt x="34" y="108"/>
                  </a:lnTo>
                  <a:lnTo>
                    <a:pt x="30" y="113"/>
                  </a:lnTo>
                  <a:lnTo>
                    <a:pt x="41" y="111"/>
                  </a:lnTo>
                  <a:lnTo>
                    <a:pt x="44" y="120"/>
                  </a:lnTo>
                  <a:lnTo>
                    <a:pt x="69" y="120"/>
                  </a:lnTo>
                  <a:lnTo>
                    <a:pt x="60" y="128"/>
                  </a:lnTo>
                  <a:lnTo>
                    <a:pt x="54" y="125"/>
                  </a:lnTo>
                  <a:lnTo>
                    <a:pt x="46" y="139"/>
                  </a:lnTo>
                  <a:lnTo>
                    <a:pt x="50" y="139"/>
                  </a:lnTo>
                  <a:lnTo>
                    <a:pt x="42" y="148"/>
                  </a:lnTo>
                  <a:lnTo>
                    <a:pt x="25" y="158"/>
                  </a:lnTo>
                  <a:lnTo>
                    <a:pt x="33" y="158"/>
                  </a:lnTo>
                  <a:lnTo>
                    <a:pt x="41" y="153"/>
                  </a:lnTo>
                  <a:lnTo>
                    <a:pt x="46" y="155"/>
                  </a:lnTo>
                  <a:lnTo>
                    <a:pt x="57" y="155"/>
                  </a:lnTo>
                  <a:lnTo>
                    <a:pt x="64" y="149"/>
                  </a:lnTo>
                  <a:lnTo>
                    <a:pt x="65" y="152"/>
                  </a:lnTo>
                  <a:lnTo>
                    <a:pt x="74" y="153"/>
                  </a:lnTo>
                  <a:lnTo>
                    <a:pt x="54" y="158"/>
                  </a:lnTo>
                  <a:lnTo>
                    <a:pt x="39" y="159"/>
                  </a:lnTo>
                  <a:lnTo>
                    <a:pt x="35" y="164"/>
                  </a:lnTo>
                  <a:lnTo>
                    <a:pt x="25" y="166"/>
                  </a:lnTo>
                  <a:lnTo>
                    <a:pt x="29" y="171"/>
                  </a:lnTo>
                  <a:lnTo>
                    <a:pt x="27" y="175"/>
                  </a:lnTo>
                  <a:lnTo>
                    <a:pt x="30" y="176"/>
                  </a:lnTo>
                  <a:lnTo>
                    <a:pt x="23" y="177"/>
                  </a:lnTo>
                  <a:lnTo>
                    <a:pt x="17" y="172"/>
                  </a:lnTo>
                  <a:lnTo>
                    <a:pt x="15" y="176"/>
                  </a:lnTo>
                  <a:lnTo>
                    <a:pt x="13" y="174"/>
                  </a:lnTo>
                  <a:lnTo>
                    <a:pt x="0" y="180"/>
                  </a:lnTo>
                  <a:lnTo>
                    <a:pt x="2" y="182"/>
                  </a:lnTo>
                  <a:lnTo>
                    <a:pt x="30" y="181"/>
                  </a:lnTo>
                  <a:lnTo>
                    <a:pt x="21" y="188"/>
                  </a:lnTo>
                  <a:lnTo>
                    <a:pt x="8" y="191"/>
                  </a:lnTo>
                  <a:lnTo>
                    <a:pt x="5" y="199"/>
                  </a:lnTo>
                  <a:lnTo>
                    <a:pt x="12" y="199"/>
                  </a:lnTo>
                  <a:lnTo>
                    <a:pt x="13" y="204"/>
                  </a:lnTo>
                  <a:lnTo>
                    <a:pt x="35" y="198"/>
                  </a:lnTo>
                  <a:lnTo>
                    <a:pt x="19" y="207"/>
                  </a:lnTo>
                  <a:lnTo>
                    <a:pt x="12" y="212"/>
                  </a:lnTo>
                  <a:lnTo>
                    <a:pt x="24" y="212"/>
                  </a:lnTo>
                  <a:lnTo>
                    <a:pt x="39" y="205"/>
                  </a:lnTo>
                  <a:lnTo>
                    <a:pt x="37" y="211"/>
                  </a:lnTo>
                  <a:lnTo>
                    <a:pt x="25" y="216"/>
                  </a:lnTo>
                  <a:lnTo>
                    <a:pt x="33" y="216"/>
                  </a:lnTo>
                  <a:lnTo>
                    <a:pt x="30" y="220"/>
                  </a:lnTo>
                  <a:lnTo>
                    <a:pt x="41" y="217"/>
                  </a:lnTo>
                  <a:lnTo>
                    <a:pt x="47" y="22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6" name="Freeform 40">
              <a:extLst>
                <a:ext uri="{FF2B5EF4-FFF2-40B4-BE49-F238E27FC236}">
                  <a16:creationId xmlns:a16="http://schemas.microsoft.com/office/drawing/2014/main" id="{66173A69-A499-AB49-8D53-AB385EFAB1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811338"/>
              <a:ext cx="628650" cy="1042988"/>
            </a:xfrm>
            <a:custGeom>
              <a:avLst/>
              <a:gdLst/>
              <a:ahLst/>
              <a:cxnLst>
                <a:cxn ang="0">
                  <a:pos x="19" y="375"/>
                </a:cxn>
                <a:cxn ang="0">
                  <a:pos x="93" y="379"/>
                </a:cxn>
                <a:cxn ang="0">
                  <a:pos x="84" y="413"/>
                </a:cxn>
                <a:cxn ang="0">
                  <a:pos x="283" y="10"/>
                </a:cxn>
                <a:cxn ang="0">
                  <a:pos x="263" y="28"/>
                </a:cxn>
                <a:cxn ang="0">
                  <a:pos x="285" y="613"/>
                </a:cxn>
                <a:cxn ang="0">
                  <a:pos x="115" y="313"/>
                </a:cxn>
                <a:cxn ang="0">
                  <a:pos x="46" y="282"/>
                </a:cxn>
                <a:cxn ang="0">
                  <a:pos x="67" y="245"/>
                </a:cxn>
                <a:cxn ang="0">
                  <a:pos x="177" y="126"/>
                </a:cxn>
                <a:cxn ang="0">
                  <a:pos x="177" y="126"/>
                </a:cxn>
                <a:cxn ang="0">
                  <a:pos x="49" y="175"/>
                </a:cxn>
                <a:cxn ang="0">
                  <a:pos x="46" y="188"/>
                </a:cxn>
                <a:cxn ang="0">
                  <a:pos x="35" y="216"/>
                </a:cxn>
                <a:cxn ang="0">
                  <a:pos x="38" y="223"/>
                </a:cxn>
                <a:cxn ang="0">
                  <a:pos x="34" y="225"/>
                </a:cxn>
                <a:cxn ang="0">
                  <a:pos x="64" y="223"/>
                </a:cxn>
                <a:cxn ang="0">
                  <a:pos x="87" y="233"/>
                </a:cxn>
                <a:cxn ang="0">
                  <a:pos x="92" y="277"/>
                </a:cxn>
                <a:cxn ang="0">
                  <a:pos x="94" y="298"/>
                </a:cxn>
                <a:cxn ang="0">
                  <a:pos x="70" y="330"/>
                </a:cxn>
                <a:cxn ang="0">
                  <a:pos x="150" y="464"/>
                </a:cxn>
                <a:cxn ang="0">
                  <a:pos x="134" y="419"/>
                </a:cxn>
                <a:cxn ang="0">
                  <a:pos x="139" y="638"/>
                </a:cxn>
                <a:cxn ang="0">
                  <a:pos x="181" y="625"/>
                </a:cxn>
                <a:cxn ang="0">
                  <a:pos x="260" y="610"/>
                </a:cxn>
                <a:cxn ang="0">
                  <a:pos x="337" y="607"/>
                </a:cxn>
                <a:cxn ang="0">
                  <a:pos x="387" y="574"/>
                </a:cxn>
                <a:cxn ang="0">
                  <a:pos x="345" y="566"/>
                </a:cxn>
                <a:cxn ang="0">
                  <a:pos x="377" y="540"/>
                </a:cxn>
                <a:cxn ang="0">
                  <a:pos x="391" y="489"/>
                </a:cxn>
                <a:cxn ang="0">
                  <a:pos x="320" y="448"/>
                </a:cxn>
                <a:cxn ang="0">
                  <a:pos x="315" y="441"/>
                </a:cxn>
                <a:cxn ang="0">
                  <a:pos x="284" y="389"/>
                </a:cxn>
                <a:cxn ang="0">
                  <a:pos x="215" y="307"/>
                </a:cxn>
                <a:cxn ang="0">
                  <a:pos x="193" y="296"/>
                </a:cxn>
                <a:cxn ang="0">
                  <a:pos x="211" y="269"/>
                </a:cxn>
                <a:cxn ang="0">
                  <a:pos x="226" y="209"/>
                </a:cxn>
                <a:cxn ang="0">
                  <a:pos x="152" y="219"/>
                </a:cxn>
                <a:cxn ang="0">
                  <a:pos x="190" y="164"/>
                </a:cxn>
                <a:cxn ang="0">
                  <a:pos x="140" y="163"/>
                </a:cxn>
                <a:cxn ang="0">
                  <a:pos x="109" y="176"/>
                </a:cxn>
                <a:cxn ang="0">
                  <a:pos x="98" y="204"/>
                </a:cxn>
                <a:cxn ang="0">
                  <a:pos x="103" y="226"/>
                </a:cxn>
                <a:cxn ang="0">
                  <a:pos x="95" y="242"/>
                </a:cxn>
                <a:cxn ang="0">
                  <a:pos x="77" y="266"/>
                </a:cxn>
                <a:cxn ang="0">
                  <a:pos x="109" y="269"/>
                </a:cxn>
                <a:cxn ang="0">
                  <a:pos x="93" y="338"/>
                </a:cxn>
                <a:cxn ang="0">
                  <a:pos x="109" y="304"/>
                </a:cxn>
                <a:cxn ang="0">
                  <a:pos x="128" y="309"/>
                </a:cxn>
                <a:cxn ang="0">
                  <a:pos x="121" y="375"/>
                </a:cxn>
                <a:cxn ang="0">
                  <a:pos x="197" y="366"/>
                </a:cxn>
                <a:cxn ang="0">
                  <a:pos x="199" y="441"/>
                </a:cxn>
                <a:cxn ang="0">
                  <a:pos x="193" y="466"/>
                </a:cxn>
                <a:cxn ang="0">
                  <a:pos x="155" y="486"/>
                </a:cxn>
                <a:cxn ang="0">
                  <a:pos x="116" y="539"/>
                </a:cxn>
                <a:cxn ang="0">
                  <a:pos x="146" y="557"/>
                </a:cxn>
                <a:cxn ang="0">
                  <a:pos x="204" y="567"/>
                </a:cxn>
                <a:cxn ang="0">
                  <a:pos x="151" y="587"/>
                </a:cxn>
                <a:cxn ang="0">
                  <a:pos x="99" y="644"/>
                </a:cxn>
              </a:cxnLst>
              <a:rect l="0" t="0" r="r" b="b"/>
              <a:pathLst>
                <a:path w="396" h="657">
                  <a:moveTo>
                    <a:pt x="72" y="423"/>
                  </a:moveTo>
                  <a:lnTo>
                    <a:pt x="63" y="417"/>
                  </a:lnTo>
                  <a:lnTo>
                    <a:pt x="55" y="416"/>
                  </a:lnTo>
                  <a:lnTo>
                    <a:pt x="47" y="400"/>
                  </a:lnTo>
                  <a:lnTo>
                    <a:pt x="34" y="394"/>
                  </a:lnTo>
                  <a:lnTo>
                    <a:pt x="29" y="398"/>
                  </a:lnTo>
                  <a:lnTo>
                    <a:pt x="25" y="410"/>
                  </a:lnTo>
                  <a:lnTo>
                    <a:pt x="19" y="411"/>
                  </a:lnTo>
                  <a:lnTo>
                    <a:pt x="0" y="394"/>
                  </a:lnTo>
                  <a:lnTo>
                    <a:pt x="9" y="376"/>
                  </a:lnTo>
                  <a:lnTo>
                    <a:pt x="19" y="375"/>
                  </a:lnTo>
                  <a:lnTo>
                    <a:pt x="22" y="367"/>
                  </a:lnTo>
                  <a:lnTo>
                    <a:pt x="28" y="365"/>
                  </a:lnTo>
                  <a:lnTo>
                    <a:pt x="32" y="360"/>
                  </a:lnTo>
                  <a:lnTo>
                    <a:pt x="41" y="359"/>
                  </a:lnTo>
                  <a:lnTo>
                    <a:pt x="43" y="355"/>
                  </a:lnTo>
                  <a:lnTo>
                    <a:pt x="49" y="355"/>
                  </a:lnTo>
                  <a:lnTo>
                    <a:pt x="58" y="350"/>
                  </a:lnTo>
                  <a:lnTo>
                    <a:pt x="71" y="352"/>
                  </a:lnTo>
                  <a:lnTo>
                    <a:pt x="78" y="355"/>
                  </a:lnTo>
                  <a:lnTo>
                    <a:pt x="80" y="362"/>
                  </a:lnTo>
                  <a:lnTo>
                    <a:pt x="93" y="379"/>
                  </a:lnTo>
                  <a:lnTo>
                    <a:pt x="86" y="384"/>
                  </a:lnTo>
                  <a:lnTo>
                    <a:pt x="98" y="384"/>
                  </a:lnTo>
                  <a:lnTo>
                    <a:pt x="101" y="402"/>
                  </a:lnTo>
                  <a:lnTo>
                    <a:pt x="95" y="389"/>
                  </a:lnTo>
                  <a:lnTo>
                    <a:pt x="90" y="389"/>
                  </a:lnTo>
                  <a:lnTo>
                    <a:pt x="93" y="394"/>
                  </a:lnTo>
                  <a:lnTo>
                    <a:pt x="90" y="400"/>
                  </a:lnTo>
                  <a:lnTo>
                    <a:pt x="98" y="401"/>
                  </a:lnTo>
                  <a:lnTo>
                    <a:pt x="96" y="408"/>
                  </a:lnTo>
                  <a:lnTo>
                    <a:pt x="86" y="407"/>
                  </a:lnTo>
                  <a:lnTo>
                    <a:pt x="84" y="413"/>
                  </a:lnTo>
                  <a:lnTo>
                    <a:pt x="77" y="418"/>
                  </a:lnTo>
                  <a:lnTo>
                    <a:pt x="74" y="417"/>
                  </a:lnTo>
                  <a:lnTo>
                    <a:pt x="74" y="423"/>
                  </a:lnTo>
                  <a:lnTo>
                    <a:pt x="72" y="423"/>
                  </a:lnTo>
                  <a:lnTo>
                    <a:pt x="72" y="423"/>
                  </a:lnTo>
                  <a:close/>
                  <a:moveTo>
                    <a:pt x="264" y="58"/>
                  </a:moveTo>
                  <a:lnTo>
                    <a:pt x="269" y="52"/>
                  </a:lnTo>
                  <a:lnTo>
                    <a:pt x="272" y="54"/>
                  </a:lnTo>
                  <a:lnTo>
                    <a:pt x="264" y="58"/>
                  </a:lnTo>
                  <a:lnTo>
                    <a:pt x="264" y="58"/>
                  </a:lnTo>
                  <a:close/>
                  <a:moveTo>
                    <a:pt x="283" y="10"/>
                  </a:moveTo>
                  <a:lnTo>
                    <a:pt x="279" y="5"/>
                  </a:lnTo>
                  <a:lnTo>
                    <a:pt x="285" y="0"/>
                  </a:lnTo>
                  <a:lnTo>
                    <a:pt x="283" y="10"/>
                  </a:lnTo>
                  <a:lnTo>
                    <a:pt x="283" y="10"/>
                  </a:lnTo>
                  <a:close/>
                  <a:moveTo>
                    <a:pt x="263" y="28"/>
                  </a:moveTo>
                  <a:lnTo>
                    <a:pt x="264" y="18"/>
                  </a:lnTo>
                  <a:lnTo>
                    <a:pt x="258" y="19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63" y="28"/>
                  </a:lnTo>
                  <a:lnTo>
                    <a:pt x="263" y="28"/>
                  </a:lnTo>
                  <a:close/>
                  <a:moveTo>
                    <a:pt x="358" y="569"/>
                  </a:moveTo>
                  <a:lnTo>
                    <a:pt x="364" y="572"/>
                  </a:lnTo>
                  <a:lnTo>
                    <a:pt x="368" y="570"/>
                  </a:lnTo>
                  <a:lnTo>
                    <a:pt x="365" y="567"/>
                  </a:lnTo>
                  <a:lnTo>
                    <a:pt x="361" y="567"/>
                  </a:lnTo>
                  <a:lnTo>
                    <a:pt x="358" y="569"/>
                  </a:lnTo>
                  <a:lnTo>
                    <a:pt x="358" y="569"/>
                  </a:lnTo>
                  <a:close/>
                  <a:moveTo>
                    <a:pt x="263" y="616"/>
                  </a:moveTo>
                  <a:lnTo>
                    <a:pt x="275" y="610"/>
                  </a:lnTo>
                  <a:lnTo>
                    <a:pt x="280" y="613"/>
                  </a:lnTo>
                  <a:lnTo>
                    <a:pt x="285" y="613"/>
                  </a:lnTo>
                  <a:lnTo>
                    <a:pt x="281" y="618"/>
                  </a:lnTo>
                  <a:lnTo>
                    <a:pt x="281" y="620"/>
                  </a:lnTo>
                  <a:lnTo>
                    <a:pt x="275" y="621"/>
                  </a:lnTo>
                  <a:lnTo>
                    <a:pt x="269" y="618"/>
                  </a:lnTo>
                  <a:lnTo>
                    <a:pt x="263" y="616"/>
                  </a:lnTo>
                  <a:lnTo>
                    <a:pt x="263" y="616"/>
                  </a:lnTo>
                  <a:close/>
                  <a:moveTo>
                    <a:pt x="115" y="313"/>
                  </a:moveTo>
                  <a:lnTo>
                    <a:pt x="115" y="319"/>
                  </a:lnTo>
                  <a:lnTo>
                    <a:pt x="119" y="323"/>
                  </a:lnTo>
                  <a:lnTo>
                    <a:pt x="118" y="317"/>
                  </a:lnTo>
                  <a:lnTo>
                    <a:pt x="115" y="313"/>
                  </a:lnTo>
                  <a:lnTo>
                    <a:pt x="115" y="313"/>
                  </a:lnTo>
                  <a:close/>
                  <a:moveTo>
                    <a:pt x="72" y="307"/>
                  </a:moveTo>
                  <a:lnTo>
                    <a:pt x="75" y="298"/>
                  </a:lnTo>
                  <a:lnTo>
                    <a:pt x="76" y="303"/>
                  </a:lnTo>
                  <a:lnTo>
                    <a:pt x="72" y="307"/>
                  </a:lnTo>
                  <a:lnTo>
                    <a:pt x="72" y="307"/>
                  </a:lnTo>
                  <a:close/>
                  <a:moveTo>
                    <a:pt x="46" y="282"/>
                  </a:moveTo>
                  <a:lnTo>
                    <a:pt x="47" y="275"/>
                  </a:lnTo>
                  <a:lnTo>
                    <a:pt x="54" y="275"/>
                  </a:lnTo>
                  <a:lnTo>
                    <a:pt x="46" y="282"/>
                  </a:lnTo>
                  <a:lnTo>
                    <a:pt x="46" y="282"/>
                  </a:lnTo>
                  <a:close/>
                  <a:moveTo>
                    <a:pt x="58" y="273"/>
                  </a:moveTo>
                  <a:lnTo>
                    <a:pt x="65" y="263"/>
                  </a:lnTo>
                  <a:lnTo>
                    <a:pt x="64" y="271"/>
                  </a:lnTo>
                  <a:lnTo>
                    <a:pt x="58" y="273"/>
                  </a:lnTo>
                  <a:lnTo>
                    <a:pt x="58" y="273"/>
                  </a:lnTo>
                  <a:close/>
                  <a:moveTo>
                    <a:pt x="76" y="256"/>
                  </a:moveTo>
                  <a:lnTo>
                    <a:pt x="81" y="252"/>
                  </a:lnTo>
                  <a:lnTo>
                    <a:pt x="76" y="252"/>
                  </a:lnTo>
                  <a:lnTo>
                    <a:pt x="76" y="256"/>
                  </a:lnTo>
                  <a:lnTo>
                    <a:pt x="76" y="256"/>
                  </a:lnTo>
                  <a:close/>
                  <a:moveTo>
                    <a:pt x="67" y="245"/>
                  </a:moveTo>
                  <a:lnTo>
                    <a:pt x="71" y="252"/>
                  </a:lnTo>
                  <a:lnTo>
                    <a:pt x="75" y="249"/>
                  </a:lnTo>
                  <a:lnTo>
                    <a:pt x="72" y="245"/>
                  </a:lnTo>
                  <a:lnTo>
                    <a:pt x="67" y="245"/>
                  </a:lnTo>
                  <a:lnTo>
                    <a:pt x="67" y="245"/>
                  </a:lnTo>
                  <a:close/>
                  <a:moveTo>
                    <a:pt x="187" y="122"/>
                  </a:moveTo>
                  <a:lnTo>
                    <a:pt x="191" y="126"/>
                  </a:lnTo>
                  <a:lnTo>
                    <a:pt x="191" y="122"/>
                  </a:lnTo>
                  <a:lnTo>
                    <a:pt x="187" y="122"/>
                  </a:lnTo>
                  <a:lnTo>
                    <a:pt x="187" y="122"/>
                  </a:lnTo>
                  <a:close/>
                  <a:moveTo>
                    <a:pt x="177" y="126"/>
                  </a:moveTo>
                  <a:lnTo>
                    <a:pt x="185" y="124"/>
                  </a:lnTo>
                  <a:lnTo>
                    <a:pt x="190" y="129"/>
                  </a:lnTo>
                  <a:lnTo>
                    <a:pt x="186" y="133"/>
                  </a:lnTo>
                  <a:lnTo>
                    <a:pt x="197" y="133"/>
                  </a:lnTo>
                  <a:lnTo>
                    <a:pt x="196" y="139"/>
                  </a:lnTo>
                  <a:lnTo>
                    <a:pt x="192" y="135"/>
                  </a:lnTo>
                  <a:lnTo>
                    <a:pt x="184" y="136"/>
                  </a:lnTo>
                  <a:lnTo>
                    <a:pt x="182" y="130"/>
                  </a:lnTo>
                  <a:lnTo>
                    <a:pt x="181" y="135"/>
                  </a:lnTo>
                  <a:lnTo>
                    <a:pt x="177" y="133"/>
                  </a:lnTo>
                  <a:lnTo>
                    <a:pt x="177" y="126"/>
                  </a:lnTo>
                  <a:lnTo>
                    <a:pt x="177" y="126"/>
                  </a:lnTo>
                  <a:close/>
                  <a:moveTo>
                    <a:pt x="176" y="139"/>
                  </a:moveTo>
                  <a:lnTo>
                    <a:pt x="182" y="146"/>
                  </a:lnTo>
                  <a:lnTo>
                    <a:pt x="184" y="142"/>
                  </a:lnTo>
                  <a:lnTo>
                    <a:pt x="181" y="138"/>
                  </a:lnTo>
                  <a:lnTo>
                    <a:pt x="176" y="139"/>
                  </a:lnTo>
                  <a:lnTo>
                    <a:pt x="176" y="139"/>
                  </a:lnTo>
                  <a:close/>
                  <a:moveTo>
                    <a:pt x="46" y="188"/>
                  </a:moveTo>
                  <a:lnTo>
                    <a:pt x="49" y="186"/>
                  </a:lnTo>
                  <a:lnTo>
                    <a:pt x="45" y="181"/>
                  </a:lnTo>
                  <a:lnTo>
                    <a:pt x="49" y="175"/>
                  </a:lnTo>
                  <a:lnTo>
                    <a:pt x="59" y="180"/>
                  </a:lnTo>
                  <a:lnTo>
                    <a:pt x="57" y="174"/>
                  </a:lnTo>
                  <a:lnTo>
                    <a:pt x="77" y="161"/>
                  </a:lnTo>
                  <a:lnTo>
                    <a:pt x="80" y="172"/>
                  </a:lnTo>
                  <a:lnTo>
                    <a:pt x="71" y="178"/>
                  </a:lnTo>
                  <a:lnTo>
                    <a:pt x="69" y="184"/>
                  </a:lnTo>
                  <a:lnTo>
                    <a:pt x="71" y="186"/>
                  </a:lnTo>
                  <a:lnTo>
                    <a:pt x="65" y="193"/>
                  </a:lnTo>
                  <a:lnTo>
                    <a:pt x="58" y="191"/>
                  </a:lnTo>
                  <a:lnTo>
                    <a:pt x="49" y="192"/>
                  </a:lnTo>
                  <a:lnTo>
                    <a:pt x="46" y="188"/>
                  </a:lnTo>
                  <a:lnTo>
                    <a:pt x="46" y="188"/>
                  </a:lnTo>
                  <a:close/>
                  <a:moveTo>
                    <a:pt x="46" y="201"/>
                  </a:moveTo>
                  <a:lnTo>
                    <a:pt x="51" y="205"/>
                  </a:lnTo>
                  <a:lnTo>
                    <a:pt x="61" y="197"/>
                  </a:lnTo>
                  <a:lnTo>
                    <a:pt x="54" y="194"/>
                  </a:lnTo>
                  <a:lnTo>
                    <a:pt x="51" y="196"/>
                  </a:lnTo>
                  <a:lnTo>
                    <a:pt x="48" y="199"/>
                  </a:lnTo>
                  <a:lnTo>
                    <a:pt x="46" y="201"/>
                  </a:lnTo>
                  <a:lnTo>
                    <a:pt x="46" y="201"/>
                  </a:lnTo>
                  <a:close/>
                  <a:moveTo>
                    <a:pt x="43" y="214"/>
                  </a:moveTo>
                  <a:lnTo>
                    <a:pt x="35" y="216"/>
                  </a:lnTo>
                  <a:lnTo>
                    <a:pt x="29" y="210"/>
                  </a:lnTo>
                  <a:lnTo>
                    <a:pt x="32" y="208"/>
                  </a:lnTo>
                  <a:lnTo>
                    <a:pt x="43" y="209"/>
                  </a:lnTo>
                  <a:lnTo>
                    <a:pt x="43" y="214"/>
                  </a:lnTo>
                  <a:lnTo>
                    <a:pt x="43" y="214"/>
                  </a:lnTo>
                  <a:close/>
                  <a:moveTo>
                    <a:pt x="38" y="223"/>
                  </a:moveTo>
                  <a:lnTo>
                    <a:pt x="32" y="221"/>
                  </a:lnTo>
                  <a:lnTo>
                    <a:pt x="32" y="219"/>
                  </a:lnTo>
                  <a:lnTo>
                    <a:pt x="41" y="217"/>
                  </a:lnTo>
                  <a:lnTo>
                    <a:pt x="38" y="223"/>
                  </a:lnTo>
                  <a:lnTo>
                    <a:pt x="38" y="223"/>
                  </a:lnTo>
                  <a:close/>
                  <a:moveTo>
                    <a:pt x="30" y="244"/>
                  </a:moveTo>
                  <a:lnTo>
                    <a:pt x="32" y="249"/>
                  </a:lnTo>
                  <a:lnTo>
                    <a:pt x="26" y="252"/>
                  </a:lnTo>
                  <a:lnTo>
                    <a:pt x="26" y="248"/>
                  </a:lnTo>
                  <a:lnTo>
                    <a:pt x="30" y="244"/>
                  </a:lnTo>
                  <a:lnTo>
                    <a:pt x="30" y="244"/>
                  </a:lnTo>
                  <a:close/>
                  <a:moveTo>
                    <a:pt x="38" y="240"/>
                  </a:moveTo>
                  <a:lnTo>
                    <a:pt x="36" y="234"/>
                  </a:lnTo>
                  <a:lnTo>
                    <a:pt x="38" y="230"/>
                  </a:lnTo>
                  <a:lnTo>
                    <a:pt x="37" y="225"/>
                  </a:lnTo>
                  <a:lnTo>
                    <a:pt x="34" y="225"/>
                  </a:lnTo>
                  <a:lnTo>
                    <a:pt x="34" y="230"/>
                  </a:lnTo>
                  <a:lnTo>
                    <a:pt x="31" y="234"/>
                  </a:lnTo>
                  <a:lnTo>
                    <a:pt x="32" y="239"/>
                  </a:lnTo>
                  <a:lnTo>
                    <a:pt x="38" y="240"/>
                  </a:lnTo>
                  <a:lnTo>
                    <a:pt x="38" y="240"/>
                  </a:lnTo>
                  <a:close/>
                  <a:moveTo>
                    <a:pt x="83" y="245"/>
                  </a:moveTo>
                  <a:lnTo>
                    <a:pt x="83" y="238"/>
                  </a:lnTo>
                  <a:lnTo>
                    <a:pt x="72" y="239"/>
                  </a:lnTo>
                  <a:lnTo>
                    <a:pt x="66" y="228"/>
                  </a:lnTo>
                  <a:lnTo>
                    <a:pt x="67" y="226"/>
                  </a:lnTo>
                  <a:lnTo>
                    <a:pt x="64" y="223"/>
                  </a:lnTo>
                  <a:lnTo>
                    <a:pt x="64" y="227"/>
                  </a:lnTo>
                  <a:lnTo>
                    <a:pt x="55" y="221"/>
                  </a:lnTo>
                  <a:lnTo>
                    <a:pt x="59" y="219"/>
                  </a:lnTo>
                  <a:lnTo>
                    <a:pt x="61" y="220"/>
                  </a:lnTo>
                  <a:lnTo>
                    <a:pt x="61" y="213"/>
                  </a:lnTo>
                  <a:lnTo>
                    <a:pt x="71" y="219"/>
                  </a:lnTo>
                  <a:lnTo>
                    <a:pt x="70" y="210"/>
                  </a:lnTo>
                  <a:lnTo>
                    <a:pt x="75" y="208"/>
                  </a:lnTo>
                  <a:lnTo>
                    <a:pt x="80" y="215"/>
                  </a:lnTo>
                  <a:lnTo>
                    <a:pt x="78" y="230"/>
                  </a:lnTo>
                  <a:lnTo>
                    <a:pt x="87" y="233"/>
                  </a:lnTo>
                  <a:lnTo>
                    <a:pt x="93" y="233"/>
                  </a:lnTo>
                  <a:lnTo>
                    <a:pt x="95" y="234"/>
                  </a:lnTo>
                  <a:lnTo>
                    <a:pt x="89" y="238"/>
                  </a:lnTo>
                  <a:lnTo>
                    <a:pt x="87" y="245"/>
                  </a:lnTo>
                  <a:lnTo>
                    <a:pt x="83" y="245"/>
                  </a:lnTo>
                  <a:lnTo>
                    <a:pt x="83" y="245"/>
                  </a:lnTo>
                  <a:close/>
                  <a:moveTo>
                    <a:pt x="69" y="290"/>
                  </a:moveTo>
                  <a:lnTo>
                    <a:pt x="86" y="286"/>
                  </a:lnTo>
                  <a:lnTo>
                    <a:pt x="87" y="289"/>
                  </a:lnTo>
                  <a:lnTo>
                    <a:pt x="94" y="284"/>
                  </a:lnTo>
                  <a:lnTo>
                    <a:pt x="92" y="277"/>
                  </a:lnTo>
                  <a:lnTo>
                    <a:pt x="86" y="277"/>
                  </a:lnTo>
                  <a:lnTo>
                    <a:pt x="78" y="269"/>
                  </a:lnTo>
                  <a:lnTo>
                    <a:pt x="70" y="274"/>
                  </a:lnTo>
                  <a:lnTo>
                    <a:pt x="82" y="279"/>
                  </a:lnTo>
                  <a:lnTo>
                    <a:pt x="75" y="283"/>
                  </a:lnTo>
                  <a:lnTo>
                    <a:pt x="77" y="285"/>
                  </a:lnTo>
                  <a:lnTo>
                    <a:pt x="69" y="290"/>
                  </a:lnTo>
                  <a:lnTo>
                    <a:pt x="69" y="290"/>
                  </a:lnTo>
                  <a:close/>
                  <a:moveTo>
                    <a:pt x="82" y="319"/>
                  </a:moveTo>
                  <a:lnTo>
                    <a:pt x="78" y="312"/>
                  </a:lnTo>
                  <a:lnTo>
                    <a:pt x="94" y="298"/>
                  </a:lnTo>
                  <a:lnTo>
                    <a:pt x="88" y="313"/>
                  </a:lnTo>
                  <a:lnTo>
                    <a:pt x="82" y="319"/>
                  </a:lnTo>
                  <a:lnTo>
                    <a:pt x="82" y="319"/>
                  </a:lnTo>
                  <a:close/>
                  <a:moveTo>
                    <a:pt x="70" y="330"/>
                  </a:moveTo>
                  <a:lnTo>
                    <a:pt x="80" y="324"/>
                  </a:lnTo>
                  <a:lnTo>
                    <a:pt x="76" y="311"/>
                  </a:lnTo>
                  <a:lnTo>
                    <a:pt x="63" y="315"/>
                  </a:lnTo>
                  <a:lnTo>
                    <a:pt x="63" y="326"/>
                  </a:lnTo>
                  <a:lnTo>
                    <a:pt x="71" y="321"/>
                  </a:lnTo>
                  <a:lnTo>
                    <a:pt x="70" y="330"/>
                  </a:lnTo>
                  <a:lnTo>
                    <a:pt x="70" y="330"/>
                  </a:lnTo>
                  <a:close/>
                  <a:moveTo>
                    <a:pt x="104" y="327"/>
                  </a:moveTo>
                  <a:lnTo>
                    <a:pt x="106" y="340"/>
                  </a:lnTo>
                  <a:lnTo>
                    <a:pt x="115" y="343"/>
                  </a:lnTo>
                  <a:lnTo>
                    <a:pt x="117" y="335"/>
                  </a:lnTo>
                  <a:lnTo>
                    <a:pt x="111" y="324"/>
                  </a:lnTo>
                  <a:lnTo>
                    <a:pt x="104" y="327"/>
                  </a:lnTo>
                  <a:lnTo>
                    <a:pt x="104" y="327"/>
                  </a:lnTo>
                  <a:close/>
                  <a:moveTo>
                    <a:pt x="134" y="465"/>
                  </a:moveTo>
                  <a:lnTo>
                    <a:pt x="147" y="470"/>
                  </a:lnTo>
                  <a:lnTo>
                    <a:pt x="158" y="463"/>
                  </a:lnTo>
                  <a:lnTo>
                    <a:pt x="150" y="464"/>
                  </a:lnTo>
                  <a:lnTo>
                    <a:pt x="146" y="457"/>
                  </a:lnTo>
                  <a:lnTo>
                    <a:pt x="136" y="458"/>
                  </a:lnTo>
                  <a:lnTo>
                    <a:pt x="136" y="458"/>
                  </a:lnTo>
                  <a:lnTo>
                    <a:pt x="134" y="465"/>
                  </a:lnTo>
                  <a:lnTo>
                    <a:pt x="134" y="465"/>
                  </a:lnTo>
                  <a:close/>
                  <a:moveTo>
                    <a:pt x="125" y="421"/>
                  </a:moveTo>
                  <a:lnTo>
                    <a:pt x="129" y="410"/>
                  </a:lnTo>
                  <a:lnTo>
                    <a:pt x="145" y="399"/>
                  </a:lnTo>
                  <a:lnTo>
                    <a:pt x="142" y="405"/>
                  </a:lnTo>
                  <a:lnTo>
                    <a:pt x="145" y="410"/>
                  </a:lnTo>
                  <a:lnTo>
                    <a:pt x="134" y="419"/>
                  </a:lnTo>
                  <a:lnTo>
                    <a:pt x="125" y="421"/>
                  </a:lnTo>
                  <a:lnTo>
                    <a:pt x="125" y="421"/>
                  </a:lnTo>
                  <a:close/>
                  <a:moveTo>
                    <a:pt x="109" y="657"/>
                  </a:moveTo>
                  <a:lnTo>
                    <a:pt x="113" y="653"/>
                  </a:lnTo>
                  <a:lnTo>
                    <a:pt x="111" y="650"/>
                  </a:lnTo>
                  <a:lnTo>
                    <a:pt x="116" y="644"/>
                  </a:lnTo>
                  <a:lnTo>
                    <a:pt x="118" y="647"/>
                  </a:lnTo>
                  <a:lnTo>
                    <a:pt x="123" y="642"/>
                  </a:lnTo>
                  <a:lnTo>
                    <a:pt x="127" y="642"/>
                  </a:lnTo>
                  <a:lnTo>
                    <a:pt x="130" y="636"/>
                  </a:lnTo>
                  <a:lnTo>
                    <a:pt x="139" y="638"/>
                  </a:lnTo>
                  <a:lnTo>
                    <a:pt x="145" y="636"/>
                  </a:lnTo>
                  <a:lnTo>
                    <a:pt x="151" y="636"/>
                  </a:lnTo>
                  <a:lnTo>
                    <a:pt x="155" y="634"/>
                  </a:lnTo>
                  <a:lnTo>
                    <a:pt x="158" y="638"/>
                  </a:lnTo>
                  <a:lnTo>
                    <a:pt x="163" y="638"/>
                  </a:lnTo>
                  <a:lnTo>
                    <a:pt x="169" y="643"/>
                  </a:lnTo>
                  <a:lnTo>
                    <a:pt x="176" y="643"/>
                  </a:lnTo>
                  <a:lnTo>
                    <a:pt x="175" y="638"/>
                  </a:lnTo>
                  <a:lnTo>
                    <a:pt x="181" y="636"/>
                  </a:lnTo>
                  <a:lnTo>
                    <a:pt x="182" y="632"/>
                  </a:lnTo>
                  <a:lnTo>
                    <a:pt x="181" y="625"/>
                  </a:lnTo>
                  <a:lnTo>
                    <a:pt x="186" y="620"/>
                  </a:lnTo>
                  <a:lnTo>
                    <a:pt x="190" y="620"/>
                  </a:lnTo>
                  <a:lnTo>
                    <a:pt x="192" y="618"/>
                  </a:lnTo>
                  <a:lnTo>
                    <a:pt x="208" y="614"/>
                  </a:lnTo>
                  <a:lnTo>
                    <a:pt x="216" y="614"/>
                  </a:lnTo>
                  <a:lnTo>
                    <a:pt x="226" y="620"/>
                  </a:lnTo>
                  <a:lnTo>
                    <a:pt x="229" y="619"/>
                  </a:lnTo>
                  <a:lnTo>
                    <a:pt x="240" y="620"/>
                  </a:lnTo>
                  <a:lnTo>
                    <a:pt x="246" y="621"/>
                  </a:lnTo>
                  <a:lnTo>
                    <a:pt x="249" y="615"/>
                  </a:lnTo>
                  <a:lnTo>
                    <a:pt x="260" y="610"/>
                  </a:lnTo>
                  <a:lnTo>
                    <a:pt x="266" y="613"/>
                  </a:lnTo>
                  <a:lnTo>
                    <a:pt x="275" y="607"/>
                  </a:lnTo>
                  <a:lnTo>
                    <a:pt x="283" y="608"/>
                  </a:lnTo>
                  <a:lnTo>
                    <a:pt x="286" y="608"/>
                  </a:lnTo>
                  <a:lnTo>
                    <a:pt x="290" y="604"/>
                  </a:lnTo>
                  <a:lnTo>
                    <a:pt x="292" y="608"/>
                  </a:lnTo>
                  <a:lnTo>
                    <a:pt x="297" y="610"/>
                  </a:lnTo>
                  <a:lnTo>
                    <a:pt x="304" y="607"/>
                  </a:lnTo>
                  <a:lnTo>
                    <a:pt x="319" y="607"/>
                  </a:lnTo>
                  <a:lnTo>
                    <a:pt x="329" y="604"/>
                  </a:lnTo>
                  <a:lnTo>
                    <a:pt x="337" y="607"/>
                  </a:lnTo>
                  <a:lnTo>
                    <a:pt x="342" y="608"/>
                  </a:lnTo>
                  <a:lnTo>
                    <a:pt x="349" y="603"/>
                  </a:lnTo>
                  <a:lnTo>
                    <a:pt x="356" y="602"/>
                  </a:lnTo>
                  <a:lnTo>
                    <a:pt x="362" y="596"/>
                  </a:lnTo>
                  <a:lnTo>
                    <a:pt x="367" y="596"/>
                  </a:lnTo>
                  <a:lnTo>
                    <a:pt x="372" y="597"/>
                  </a:lnTo>
                  <a:lnTo>
                    <a:pt x="371" y="592"/>
                  </a:lnTo>
                  <a:lnTo>
                    <a:pt x="382" y="585"/>
                  </a:lnTo>
                  <a:lnTo>
                    <a:pt x="388" y="584"/>
                  </a:lnTo>
                  <a:lnTo>
                    <a:pt x="389" y="578"/>
                  </a:lnTo>
                  <a:lnTo>
                    <a:pt x="387" y="574"/>
                  </a:lnTo>
                  <a:lnTo>
                    <a:pt x="389" y="569"/>
                  </a:lnTo>
                  <a:lnTo>
                    <a:pt x="377" y="569"/>
                  </a:lnTo>
                  <a:lnTo>
                    <a:pt x="368" y="572"/>
                  </a:lnTo>
                  <a:lnTo>
                    <a:pt x="364" y="573"/>
                  </a:lnTo>
                  <a:lnTo>
                    <a:pt x="355" y="570"/>
                  </a:lnTo>
                  <a:lnTo>
                    <a:pt x="353" y="569"/>
                  </a:lnTo>
                  <a:lnTo>
                    <a:pt x="355" y="567"/>
                  </a:lnTo>
                  <a:lnTo>
                    <a:pt x="358" y="567"/>
                  </a:lnTo>
                  <a:lnTo>
                    <a:pt x="359" y="566"/>
                  </a:lnTo>
                  <a:lnTo>
                    <a:pt x="352" y="564"/>
                  </a:lnTo>
                  <a:lnTo>
                    <a:pt x="345" y="566"/>
                  </a:lnTo>
                  <a:lnTo>
                    <a:pt x="354" y="561"/>
                  </a:lnTo>
                  <a:lnTo>
                    <a:pt x="360" y="561"/>
                  </a:lnTo>
                  <a:lnTo>
                    <a:pt x="367" y="558"/>
                  </a:lnTo>
                  <a:lnTo>
                    <a:pt x="365" y="552"/>
                  </a:lnTo>
                  <a:lnTo>
                    <a:pt x="358" y="552"/>
                  </a:lnTo>
                  <a:lnTo>
                    <a:pt x="362" y="549"/>
                  </a:lnTo>
                  <a:lnTo>
                    <a:pt x="367" y="545"/>
                  </a:lnTo>
                  <a:lnTo>
                    <a:pt x="371" y="549"/>
                  </a:lnTo>
                  <a:lnTo>
                    <a:pt x="377" y="544"/>
                  </a:lnTo>
                  <a:lnTo>
                    <a:pt x="381" y="540"/>
                  </a:lnTo>
                  <a:lnTo>
                    <a:pt x="377" y="540"/>
                  </a:lnTo>
                  <a:lnTo>
                    <a:pt x="379" y="537"/>
                  </a:lnTo>
                  <a:lnTo>
                    <a:pt x="371" y="537"/>
                  </a:lnTo>
                  <a:lnTo>
                    <a:pt x="374" y="532"/>
                  </a:lnTo>
                  <a:lnTo>
                    <a:pt x="379" y="533"/>
                  </a:lnTo>
                  <a:lnTo>
                    <a:pt x="381" y="535"/>
                  </a:lnTo>
                  <a:lnTo>
                    <a:pt x="385" y="529"/>
                  </a:lnTo>
                  <a:lnTo>
                    <a:pt x="391" y="527"/>
                  </a:lnTo>
                  <a:lnTo>
                    <a:pt x="391" y="516"/>
                  </a:lnTo>
                  <a:lnTo>
                    <a:pt x="396" y="504"/>
                  </a:lnTo>
                  <a:lnTo>
                    <a:pt x="393" y="500"/>
                  </a:lnTo>
                  <a:lnTo>
                    <a:pt x="391" y="489"/>
                  </a:lnTo>
                  <a:lnTo>
                    <a:pt x="376" y="479"/>
                  </a:lnTo>
                  <a:lnTo>
                    <a:pt x="354" y="477"/>
                  </a:lnTo>
                  <a:lnTo>
                    <a:pt x="341" y="479"/>
                  </a:lnTo>
                  <a:lnTo>
                    <a:pt x="339" y="487"/>
                  </a:lnTo>
                  <a:lnTo>
                    <a:pt x="337" y="492"/>
                  </a:lnTo>
                  <a:lnTo>
                    <a:pt x="330" y="486"/>
                  </a:lnTo>
                  <a:lnTo>
                    <a:pt x="321" y="483"/>
                  </a:lnTo>
                  <a:lnTo>
                    <a:pt x="335" y="471"/>
                  </a:lnTo>
                  <a:lnTo>
                    <a:pt x="335" y="464"/>
                  </a:lnTo>
                  <a:lnTo>
                    <a:pt x="324" y="448"/>
                  </a:lnTo>
                  <a:lnTo>
                    <a:pt x="320" y="448"/>
                  </a:lnTo>
                  <a:lnTo>
                    <a:pt x="310" y="443"/>
                  </a:lnTo>
                  <a:lnTo>
                    <a:pt x="307" y="437"/>
                  </a:lnTo>
                  <a:lnTo>
                    <a:pt x="302" y="439"/>
                  </a:lnTo>
                  <a:lnTo>
                    <a:pt x="298" y="439"/>
                  </a:lnTo>
                  <a:lnTo>
                    <a:pt x="294" y="437"/>
                  </a:lnTo>
                  <a:lnTo>
                    <a:pt x="290" y="437"/>
                  </a:lnTo>
                  <a:lnTo>
                    <a:pt x="296" y="436"/>
                  </a:lnTo>
                  <a:lnTo>
                    <a:pt x="300" y="437"/>
                  </a:lnTo>
                  <a:lnTo>
                    <a:pt x="307" y="436"/>
                  </a:lnTo>
                  <a:lnTo>
                    <a:pt x="312" y="437"/>
                  </a:lnTo>
                  <a:lnTo>
                    <a:pt x="315" y="441"/>
                  </a:lnTo>
                  <a:lnTo>
                    <a:pt x="319" y="440"/>
                  </a:lnTo>
                  <a:lnTo>
                    <a:pt x="324" y="441"/>
                  </a:lnTo>
                  <a:lnTo>
                    <a:pt x="312" y="427"/>
                  </a:lnTo>
                  <a:lnTo>
                    <a:pt x="306" y="421"/>
                  </a:lnTo>
                  <a:lnTo>
                    <a:pt x="309" y="414"/>
                  </a:lnTo>
                  <a:lnTo>
                    <a:pt x="313" y="414"/>
                  </a:lnTo>
                  <a:lnTo>
                    <a:pt x="307" y="411"/>
                  </a:lnTo>
                  <a:lnTo>
                    <a:pt x="304" y="407"/>
                  </a:lnTo>
                  <a:lnTo>
                    <a:pt x="302" y="406"/>
                  </a:lnTo>
                  <a:lnTo>
                    <a:pt x="295" y="394"/>
                  </a:lnTo>
                  <a:lnTo>
                    <a:pt x="284" y="389"/>
                  </a:lnTo>
                  <a:lnTo>
                    <a:pt x="268" y="387"/>
                  </a:lnTo>
                  <a:lnTo>
                    <a:pt x="267" y="381"/>
                  </a:lnTo>
                  <a:lnTo>
                    <a:pt x="264" y="379"/>
                  </a:lnTo>
                  <a:lnTo>
                    <a:pt x="260" y="364"/>
                  </a:lnTo>
                  <a:lnTo>
                    <a:pt x="254" y="355"/>
                  </a:lnTo>
                  <a:lnTo>
                    <a:pt x="250" y="336"/>
                  </a:lnTo>
                  <a:lnTo>
                    <a:pt x="245" y="330"/>
                  </a:lnTo>
                  <a:lnTo>
                    <a:pt x="242" y="330"/>
                  </a:lnTo>
                  <a:lnTo>
                    <a:pt x="228" y="313"/>
                  </a:lnTo>
                  <a:lnTo>
                    <a:pt x="220" y="312"/>
                  </a:lnTo>
                  <a:lnTo>
                    <a:pt x="215" y="307"/>
                  </a:lnTo>
                  <a:lnTo>
                    <a:pt x="205" y="303"/>
                  </a:lnTo>
                  <a:lnTo>
                    <a:pt x="200" y="307"/>
                  </a:lnTo>
                  <a:lnTo>
                    <a:pt x="193" y="311"/>
                  </a:lnTo>
                  <a:lnTo>
                    <a:pt x="182" y="308"/>
                  </a:lnTo>
                  <a:lnTo>
                    <a:pt x="177" y="308"/>
                  </a:lnTo>
                  <a:lnTo>
                    <a:pt x="169" y="306"/>
                  </a:lnTo>
                  <a:lnTo>
                    <a:pt x="167" y="302"/>
                  </a:lnTo>
                  <a:lnTo>
                    <a:pt x="171" y="304"/>
                  </a:lnTo>
                  <a:lnTo>
                    <a:pt x="181" y="304"/>
                  </a:lnTo>
                  <a:lnTo>
                    <a:pt x="191" y="302"/>
                  </a:lnTo>
                  <a:lnTo>
                    <a:pt x="193" y="296"/>
                  </a:lnTo>
                  <a:lnTo>
                    <a:pt x="202" y="296"/>
                  </a:lnTo>
                  <a:lnTo>
                    <a:pt x="210" y="291"/>
                  </a:lnTo>
                  <a:lnTo>
                    <a:pt x="202" y="288"/>
                  </a:lnTo>
                  <a:lnTo>
                    <a:pt x="202" y="283"/>
                  </a:lnTo>
                  <a:lnTo>
                    <a:pt x="198" y="280"/>
                  </a:lnTo>
                  <a:lnTo>
                    <a:pt x="186" y="286"/>
                  </a:lnTo>
                  <a:lnTo>
                    <a:pt x="185" y="284"/>
                  </a:lnTo>
                  <a:lnTo>
                    <a:pt x="193" y="278"/>
                  </a:lnTo>
                  <a:lnTo>
                    <a:pt x="204" y="279"/>
                  </a:lnTo>
                  <a:lnTo>
                    <a:pt x="210" y="274"/>
                  </a:lnTo>
                  <a:lnTo>
                    <a:pt x="211" y="269"/>
                  </a:lnTo>
                  <a:lnTo>
                    <a:pt x="215" y="267"/>
                  </a:lnTo>
                  <a:lnTo>
                    <a:pt x="221" y="256"/>
                  </a:lnTo>
                  <a:lnTo>
                    <a:pt x="225" y="251"/>
                  </a:lnTo>
                  <a:lnTo>
                    <a:pt x="225" y="248"/>
                  </a:lnTo>
                  <a:lnTo>
                    <a:pt x="228" y="240"/>
                  </a:lnTo>
                  <a:lnTo>
                    <a:pt x="227" y="238"/>
                  </a:lnTo>
                  <a:lnTo>
                    <a:pt x="231" y="228"/>
                  </a:lnTo>
                  <a:lnTo>
                    <a:pt x="238" y="222"/>
                  </a:lnTo>
                  <a:lnTo>
                    <a:pt x="238" y="216"/>
                  </a:lnTo>
                  <a:lnTo>
                    <a:pt x="227" y="208"/>
                  </a:lnTo>
                  <a:lnTo>
                    <a:pt x="226" y="209"/>
                  </a:lnTo>
                  <a:lnTo>
                    <a:pt x="206" y="210"/>
                  </a:lnTo>
                  <a:lnTo>
                    <a:pt x="196" y="208"/>
                  </a:lnTo>
                  <a:lnTo>
                    <a:pt x="192" y="210"/>
                  </a:lnTo>
                  <a:lnTo>
                    <a:pt x="187" y="210"/>
                  </a:lnTo>
                  <a:lnTo>
                    <a:pt x="180" y="208"/>
                  </a:lnTo>
                  <a:lnTo>
                    <a:pt x="175" y="208"/>
                  </a:lnTo>
                  <a:lnTo>
                    <a:pt x="174" y="210"/>
                  </a:lnTo>
                  <a:lnTo>
                    <a:pt x="167" y="213"/>
                  </a:lnTo>
                  <a:lnTo>
                    <a:pt x="159" y="216"/>
                  </a:lnTo>
                  <a:lnTo>
                    <a:pt x="157" y="215"/>
                  </a:lnTo>
                  <a:lnTo>
                    <a:pt x="152" y="219"/>
                  </a:lnTo>
                  <a:lnTo>
                    <a:pt x="150" y="217"/>
                  </a:lnTo>
                  <a:lnTo>
                    <a:pt x="157" y="210"/>
                  </a:lnTo>
                  <a:lnTo>
                    <a:pt x="164" y="201"/>
                  </a:lnTo>
                  <a:lnTo>
                    <a:pt x="159" y="203"/>
                  </a:lnTo>
                  <a:lnTo>
                    <a:pt x="152" y="201"/>
                  </a:lnTo>
                  <a:lnTo>
                    <a:pt x="156" y="198"/>
                  </a:lnTo>
                  <a:lnTo>
                    <a:pt x="157" y="193"/>
                  </a:lnTo>
                  <a:lnTo>
                    <a:pt x="175" y="181"/>
                  </a:lnTo>
                  <a:lnTo>
                    <a:pt x="181" y="174"/>
                  </a:lnTo>
                  <a:lnTo>
                    <a:pt x="187" y="172"/>
                  </a:lnTo>
                  <a:lnTo>
                    <a:pt x="190" y="164"/>
                  </a:lnTo>
                  <a:lnTo>
                    <a:pt x="187" y="161"/>
                  </a:lnTo>
                  <a:lnTo>
                    <a:pt x="190" y="156"/>
                  </a:lnTo>
                  <a:lnTo>
                    <a:pt x="190" y="153"/>
                  </a:lnTo>
                  <a:lnTo>
                    <a:pt x="181" y="153"/>
                  </a:lnTo>
                  <a:lnTo>
                    <a:pt x="177" y="156"/>
                  </a:lnTo>
                  <a:lnTo>
                    <a:pt x="171" y="155"/>
                  </a:lnTo>
                  <a:lnTo>
                    <a:pt x="163" y="158"/>
                  </a:lnTo>
                  <a:lnTo>
                    <a:pt x="155" y="157"/>
                  </a:lnTo>
                  <a:lnTo>
                    <a:pt x="148" y="161"/>
                  </a:lnTo>
                  <a:lnTo>
                    <a:pt x="144" y="161"/>
                  </a:lnTo>
                  <a:lnTo>
                    <a:pt x="140" y="163"/>
                  </a:lnTo>
                  <a:lnTo>
                    <a:pt x="141" y="159"/>
                  </a:lnTo>
                  <a:lnTo>
                    <a:pt x="138" y="158"/>
                  </a:lnTo>
                  <a:lnTo>
                    <a:pt x="130" y="164"/>
                  </a:lnTo>
                  <a:lnTo>
                    <a:pt x="132" y="159"/>
                  </a:lnTo>
                  <a:lnTo>
                    <a:pt x="122" y="155"/>
                  </a:lnTo>
                  <a:lnTo>
                    <a:pt x="119" y="161"/>
                  </a:lnTo>
                  <a:lnTo>
                    <a:pt x="117" y="163"/>
                  </a:lnTo>
                  <a:lnTo>
                    <a:pt x="117" y="168"/>
                  </a:lnTo>
                  <a:lnTo>
                    <a:pt x="116" y="168"/>
                  </a:lnTo>
                  <a:lnTo>
                    <a:pt x="116" y="175"/>
                  </a:lnTo>
                  <a:lnTo>
                    <a:pt x="109" y="176"/>
                  </a:lnTo>
                  <a:lnTo>
                    <a:pt x="112" y="182"/>
                  </a:lnTo>
                  <a:lnTo>
                    <a:pt x="109" y="187"/>
                  </a:lnTo>
                  <a:lnTo>
                    <a:pt x="105" y="187"/>
                  </a:lnTo>
                  <a:lnTo>
                    <a:pt x="115" y="194"/>
                  </a:lnTo>
                  <a:lnTo>
                    <a:pt x="117" y="201"/>
                  </a:lnTo>
                  <a:lnTo>
                    <a:pt x="109" y="196"/>
                  </a:lnTo>
                  <a:lnTo>
                    <a:pt x="105" y="198"/>
                  </a:lnTo>
                  <a:lnTo>
                    <a:pt x="99" y="194"/>
                  </a:lnTo>
                  <a:lnTo>
                    <a:pt x="98" y="197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4" y="198"/>
                  </a:lnTo>
                  <a:lnTo>
                    <a:pt x="90" y="204"/>
                  </a:lnTo>
                  <a:lnTo>
                    <a:pt x="94" y="208"/>
                  </a:lnTo>
                  <a:lnTo>
                    <a:pt x="92" y="211"/>
                  </a:lnTo>
                  <a:lnTo>
                    <a:pt x="98" y="217"/>
                  </a:lnTo>
                  <a:lnTo>
                    <a:pt x="103" y="217"/>
                  </a:lnTo>
                  <a:lnTo>
                    <a:pt x="96" y="219"/>
                  </a:lnTo>
                  <a:lnTo>
                    <a:pt x="90" y="216"/>
                  </a:lnTo>
                  <a:lnTo>
                    <a:pt x="92" y="225"/>
                  </a:lnTo>
                  <a:lnTo>
                    <a:pt x="92" y="228"/>
                  </a:lnTo>
                  <a:lnTo>
                    <a:pt x="103" y="226"/>
                  </a:lnTo>
                  <a:lnTo>
                    <a:pt x="95" y="230"/>
                  </a:lnTo>
                  <a:lnTo>
                    <a:pt x="94" y="232"/>
                  </a:lnTo>
                  <a:lnTo>
                    <a:pt x="96" y="233"/>
                  </a:lnTo>
                  <a:lnTo>
                    <a:pt x="104" y="231"/>
                  </a:lnTo>
                  <a:lnTo>
                    <a:pt x="103" y="232"/>
                  </a:lnTo>
                  <a:lnTo>
                    <a:pt x="105" y="236"/>
                  </a:lnTo>
                  <a:lnTo>
                    <a:pt x="100" y="233"/>
                  </a:lnTo>
                  <a:lnTo>
                    <a:pt x="98" y="236"/>
                  </a:lnTo>
                  <a:lnTo>
                    <a:pt x="96" y="239"/>
                  </a:lnTo>
                  <a:lnTo>
                    <a:pt x="99" y="242"/>
                  </a:lnTo>
                  <a:lnTo>
                    <a:pt x="95" y="242"/>
                  </a:lnTo>
                  <a:lnTo>
                    <a:pt x="92" y="245"/>
                  </a:lnTo>
                  <a:lnTo>
                    <a:pt x="96" y="248"/>
                  </a:lnTo>
                  <a:lnTo>
                    <a:pt x="98" y="251"/>
                  </a:lnTo>
                  <a:lnTo>
                    <a:pt x="90" y="248"/>
                  </a:lnTo>
                  <a:lnTo>
                    <a:pt x="88" y="252"/>
                  </a:lnTo>
                  <a:lnTo>
                    <a:pt x="92" y="255"/>
                  </a:lnTo>
                  <a:lnTo>
                    <a:pt x="89" y="259"/>
                  </a:lnTo>
                  <a:lnTo>
                    <a:pt x="86" y="261"/>
                  </a:lnTo>
                  <a:lnTo>
                    <a:pt x="78" y="261"/>
                  </a:lnTo>
                  <a:lnTo>
                    <a:pt x="75" y="265"/>
                  </a:lnTo>
                  <a:lnTo>
                    <a:pt x="77" y="266"/>
                  </a:lnTo>
                  <a:lnTo>
                    <a:pt x="84" y="266"/>
                  </a:lnTo>
                  <a:lnTo>
                    <a:pt x="89" y="267"/>
                  </a:lnTo>
                  <a:lnTo>
                    <a:pt x="88" y="268"/>
                  </a:lnTo>
                  <a:lnTo>
                    <a:pt x="82" y="268"/>
                  </a:lnTo>
                  <a:lnTo>
                    <a:pt x="89" y="274"/>
                  </a:lnTo>
                  <a:lnTo>
                    <a:pt x="92" y="274"/>
                  </a:lnTo>
                  <a:lnTo>
                    <a:pt x="95" y="278"/>
                  </a:lnTo>
                  <a:lnTo>
                    <a:pt x="115" y="261"/>
                  </a:lnTo>
                  <a:lnTo>
                    <a:pt x="111" y="266"/>
                  </a:lnTo>
                  <a:lnTo>
                    <a:pt x="113" y="267"/>
                  </a:lnTo>
                  <a:lnTo>
                    <a:pt x="109" y="269"/>
                  </a:lnTo>
                  <a:lnTo>
                    <a:pt x="104" y="279"/>
                  </a:lnTo>
                  <a:lnTo>
                    <a:pt x="104" y="282"/>
                  </a:lnTo>
                  <a:lnTo>
                    <a:pt x="99" y="291"/>
                  </a:lnTo>
                  <a:lnTo>
                    <a:pt x="101" y="292"/>
                  </a:lnTo>
                  <a:lnTo>
                    <a:pt x="96" y="304"/>
                  </a:lnTo>
                  <a:lnTo>
                    <a:pt x="98" y="312"/>
                  </a:lnTo>
                  <a:lnTo>
                    <a:pt x="94" y="317"/>
                  </a:lnTo>
                  <a:lnTo>
                    <a:pt x="96" y="320"/>
                  </a:lnTo>
                  <a:lnTo>
                    <a:pt x="100" y="319"/>
                  </a:lnTo>
                  <a:lnTo>
                    <a:pt x="94" y="327"/>
                  </a:lnTo>
                  <a:lnTo>
                    <a:pt x="93" y="338"/>
                  </a:lnTo>
                  <a:lnTo>
                    <a:pt x="88" y="343"/>
                  </a:lnTo>
                  <a:lnTo>
                    <a:pt x="89" y="346"/>
                  </a:lnTo>
                  <a:lnTo>
                    <a:pt x="99" y="346"/>
                  </a:lnTo>
                  <a:lnTo>
                    <a:pt x="98" y="340"/>
                  </a:lnTo>
                  <a:lnTo>
                    <a:pt x="101" y="331"/>
                  </a:lnTo>
                  <a:lnTo>
                    <a:pt x="101" y="325"/>
                  </a:lnTo>
                  <a:lnTo>
                    <a:pt x="106" y="320"/>
                  </a:lnTo>
                  <a:lnTo>
                    <a:pt x="103" y="304"/>
                  </a:lnTo>
                  <a:lnTo>
                    <a:pt x="106" y="304"/>
                  </a:lnTo>
                  <a:lnTo>
                    <a:pt x="117" y="292"/>
                  </a:lnTo>
                  <a:lnTo>
                    <a:pt x="109" y="304"/>
                  </a:lnTo>
                  <a:lnTo>
                    <a:pt x="107" y="313"/>
                  </a:lnTo>
                  <a:lnTo>
                    <a:pt x="111" y="315"/>
                  </a:lnTo>
                  <a:lnTo>
                    <a:pt x="112" y="311"/>
                  </a:lnTo>
                  <a:lnTo>
                    <a:pt x="117" y="306"/>
                  </a:lnTo>
                  <a:lnTo>
                    <a:pt x="119" y="314"/>
                  </a:lnTo>
                  <a:lnTo>
                    <a:pt x="124" y="304"/>
                  </a:lnTo>
                  <a:lnTo>
                    <a:pt x="124" y="297"/>
                  </a:lnTo>
                  <a:lnTo>
                    <a:pt x="128" y="296"/>
                  </a:lnTo>
                  <a:lnTo>
                    <a:pt x="125" y="304"/>
                  </a:lnTo>
                  <a:lnTo>
                    <a:pt x="135" y="311"/>
                  </a:lnTo>
                  <a:lnTo>
                    <a:pt x="128" y="309"/>
                  </a:lnTo>
                  <a:lnTo>
                    <a:pt x="124" y="320"/>
                  </a:lnTo>
                  <a:lnTo>
                    <a:pt x="127" y="327"/>
                  </a:lnTo>
                  <a:lnTo>
                    <a:pt x="132" y="329"/>
                  </a:lnTo>
                  <a:lnTo>
                    <a:pt x="134" y="336"/>
                  </a:lnTo>
                  <a:lnTo>
                    <a:pt x="127" y="343"/>
                  </a:lnTo>
                  <a:lnTo>
                    <a:pt x="119" y="361"/>
                  </a:lnTo>
                  <a:lnTo>
                    <a:pt x="121" y="370"/>
                  </a:lnTo>
                  <a:lnTo>
                    <a:pt x="115" y="365"/>
                  </a:lnTo>
                  <a:lnTo>
                    <a:pt x="115" y="373"/>
                  </a:lnTo>
                  <a:lnTo>
                    <a:pt x="124" y="385"/>
                  </a:lnTo>
                  <a:lnTo>
                    <a:pt x="121" y="375"/>
                  </a:lnTo>
                  <a:lnTo>
                    <a:pt x="127" y="373"/>
                  </a:lnTo>
                  <a:lnTo>
                    <a:pt x="144" y="384"/>
                  </a:lnTo>
                  <a:lnTo>
                    <a:pt x="144" y="376"/>
                  </a:lnTo>
                  <a:lnTo>
                    <a:pt x="138" y="371"/>
                  </a:lnTo>
                  <a:lnTo>
                    <a:pt x="141" y="370"/>
                  </a:lnTo>
                  <a:lnTo>
                    <a:pt x="155" y="377"/>
                  </a:lnTo>
                  <a:lnTo>
                    <a:pt x="163" y="376"/>
                  </a:lnTo>
                  <a:lnTo>
                    <a:pt x="163" y="372"/>
                  </a:lnTo>
                  <a:lnTo>
                    <a:pt x="171" y="372"/>
                  </a:lnTo>
                  <a:lnTo>
                    <a:pt x="174" y="365"/>
                  </a:lnTo>
                  <a:lnTo>
                    <a:pt x="197" y="366"/>
                  </a:lnTo>
                  <a:lnTo>
                    <a:pt x="182" y="370"/>
                  </a:lnTo>
                  <a:lnTo>
                    <a:pt x="173" y="393"/>
                  </a:lnTo>
                  <a:lnTo>
                    <a:pt x="184" y="412"/>
                  </a:lnTo>
                  <a:lnTo>
                    <a:pt x="190" y="408"/>
                  </a:lnTo>
                  <a:lnTo>
                    <a:pt x="190" y="418"/>
                  </a:lnTo>
                  <a:lnTo>
                    <a:pt x="197" y="410"/>
                  </a:lnTo>
                  <a:lnTo>
                    <a:pt x="205" y="411"/>
                  </a:lnTo>
                  <a:lnTo>
                    <a:pt x="203" y="422"/>
                  </a:lnTo>
                  <a:lnTo>
                    <a:pt x="205" y="423"/>
                  </a:lnTo>
                  <a:lnTo>
                    <a:pt x="197" y="429"/>
                  </a:lnTo>
                  <a:lnTo>
                    <a:pt x="199" y="441"/>
                  </a:lnTo>
                  <a:lnTo>
                    <a:pt x="194" y="450"/>
                  </a:lnTo>
                  <a:lnTo>
                    <a:pt x="200" y="456"/>
                  </a:lnTo>
                  <a:lnTo>
                    <a:pt x="206" y="460"/>
                  </a:lnTo>
                  <a:lnTo>
                    <a:pt x="211" y="462"/>
                  </a:lnTo>
                  <a:lnTo>
                    <a:pt x="208" y="464"/>
                  </a:lnTo>
                  <a:lnTo>
                    <a:pt x="202" y="464"/>
                  </a:lnTo>
                  <a:lnTo>
                    <a:pt x="197" y="457"/>
                  </a:lnTo>
                  <a:lnTo>
                    <a:pt x="192" y="459"/>
                  </a:lnTo>
                  <a:lnTo>
                    <a:pt x="196" y="465"/>
                  </a:lnTo>
                  <a:lnTo>
                    <a:pt x="200" y="468"/>
                  </a:lnTo>
                  <a:lnTo>
                    <a:pt x="193" y="466"/>
                  </a:lnTo>
                  <a:lnTo>
                    <a:pt x="187" y="462"/>
                  </a:lnTo>
                  <a:lnTo>
                    <a:pt x="173" y="465"/>
                  </a:lnTo>
                  <a:lnTo>
                    <a:pt x="167" y="465"/>
                  </a:lnTo>
                  <a:lnTo>
                    <a:pt x="151" y="471"/>
                  </a:lnTo>
                  <a:lnTo>
                    <a:pt x="144" y="481"/>
                  </a:lnTo>
                  <a:lnTo>
                    <a:pt x="133" y="488"/>
                  </a:lnTo>
                  <a:lnTo>
                    <a:pt x="128" y="494"/>
                  </a:lnTo>
                  <a:lnTo>
                    <a:pt x="135" y="493"/>
                  </a:lnTo>
                  <a:lnTo>
                    <a:pt x="139" y="494"/>
                  </a:lnTo>
                  <a:lnTo>
                    <a:pt x="139" y="491"/>
                  </a:lnTo>
                  <a:lnTo>
                    <a:pt x="155" y="486"/>
                  </a:lnTo>
                  <a:lnTo>
                    <a:pt x="153" y="494"/>
                  </a:lnTo>
                  <a:lnTo>
                    <a:pt x="159" y="499"/>
                  </a:lnTo>
                  <a:lnTo>
                    <a:pt x="153" y="503"/>
                  </a:lnTo>
                  <a:lnTo>
                    <a:pt x="157" y="509"/>
                  </a:lnTo>
                  <a:lnTo>
                    <a:pt x="161" y="509"/>
                  </a:lnTo>
                  <a:lnTo>
                    <a:pt x="150" y="527"/>
                  </a:lnTo>
                  <a:lnTo>
                    <a:pt x="142" y="528"/>
                  </a:lnTo>
                  <a:lnTo>
                    <a:pt x="135" y="534"/>
                  </a:lnTo>
                  <a:lnTo>
                    <a:pt x="132" y="534"/>
                  </a:lnTo>
                  <a:lnTo>
                    <a:pt x="122" y="539"/>
                  </a:lnTo>
                  <a:lnTo>
                    <a:pt x="116" y="539"/>
                  </a:lnTo>
                  <a:lnTo>
                    <a:pt x="105" y="545"/>
                  </a:lnTo>
                  <a:lnTo>
                    <a:pt x="113" y="546"/>
                  </a:lnTo>
                  <a:lnTo>
                    <a:pt x="113" y="552"/>
                  </a:lnTo>
                  <a:lnTo>
                    <a:pt x="107" y="555"/>
                  </a:lnTo>
                  <a:lnTo>
                    <a:pt x="118" y="557"/>
                  </a:lnTo>
                  <a:lnTo>
                    <a:pt x="116" y="560"/>
                  </a:lnTo>
                  <a:lnTo>
                    <a:pt x="121" y="562"/>
                  </a:lnTo>
                  <a:lnTo>
                    <a:pt x="127" y="560"/>
                  </a:lnTo>
                  <a:lnTo>
                    <a:pt x="134" y="556"/>
                  </a:lnTo>
                  <a:lnTo>
                    <a:pt x="146" y="552"/>
                  </a:lnTo>
                  <a:lnTo>
                    <a:pt x="146" y="557"/>
                  </a:lnTo>
                  <a:lnTo>
                    <a:pt x="156" y="560"/>
                  </a:lnTo>
                  <a:lnTo>
                    <a:pt x="148" y="561"/>
                  </a:lnTo>
                  <a:lnTo>
                    <a:pt x="147" y="566"/>
                  </a:lnTo>
                  <a:lnTo>
                    <a:pt x="161" y="566"/>
                  </a:lnTo>
                  <a:lnTo>
                    <a:pt x="161" y="563"/>
                  </a:lnTo>
                  <a:lnTo>
                    <a:pt x="167" y="562"/>
                  </a:lnTo>
                  <a:lnTo>
                    <a:pt x="174" y="568"/>
                  </a:lnTo>
                  <a:lnTo>
                    <a:pt x="180" y="575"/>
                  </a:lnTo>
                  <a:lnTo>
                    <a:pt x="194" y="575"/>
                  </a:lnTo>
                  <a:lnTo>
                    <a:pt x="198" y="569"/>
                  </a:lnTo>
                  <a:lnTo>
                    <a:pt x="204" y="567"/>
                  </a:lnTo>
                  <a:lnTo>
                    <a:pt x="214" y="563"/>
                  </a:lnTo>
                  <a:lnTo>
                    <a:pt x="217" y="558"/>
                  </a:lnTo>
                  <a:lnTo>
                    <a:pt x="226" y="555"/>
                  </a:lnTo>
                  <a:lnTo>
                    <a:pt x="215" y="567"/>
                  </a:lnTo>
                  <a:lnTo>
                    <a:pt x="204" y="576"/>
                  </a:lnTo>
                  <a:lnTo>
                    <a:pt x="203" y="587"/>
                  </a:lnTo>
                  <a:lnTo>
                    <a:pt x="196" y="587"/>
                  </a:lnTo>
                  <a:lnTo>
                    <a:pt x="190" y="589"/>
                  </a:lnTo>
                  <a:lnTo>
                    <a:pt x="184" y="586"/>
                  </a:lnTo>
                  <a:lnTo>
                    <a:pt x="164" y="584"/>
                  </a:lnTo>
                  <a:lnTo>
                    <a:pt x="151" y="587"/>
                  </a:lnTo>
                  <a:lnTo>
                    <a:pt x="151" y="593"/>
                  </a:lnTo>
                  <a:lnTo>
                    <a:pt x="145" y="598"/>
                  </a:lnTo>
                  <a:lnTo>
                    <a:pt x="138" y="598"/>
                  </a:lnTo>
                  <a:lnTo>
                    <a:pt x="136" y="613"/>
                  </a:lnTo>
                  <a:lnTo>
                    <a:pt x="128" y="619"/>
                  </a:lnTo>
                  <a:lnTo>
                    <a:pt x="125" y="622"/>
                  </a:lnTo>
                  <a:lnTo>
                    <a:pt x="117" y="625"/>
                  </a:lnTo>
                  <a:lnTo>
                    <a:pt x="115" y="632"/>
                  </a:lnTo>
                  <a:lnTo>
                    <a:pt x="111" y="632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93" y="642"/>
                  </a:lnTo>
                  <a:lnTo>
                    <a:pt x="86" y="647"/>
                  </a:lnTo>
                  <a:lnTo>
                    <a:pt x="86" y="654"/>
                  </a:lnTo>
                  <a:lnTo>
                    <a:pt x="94" y="654"/>
                  </a:lnTo>
                  <a:lnTo>
                    <a:pt x="94" y="648"/>
                  </a:lnTo>
                  <a:lnTo>
                    <a:pt x="104" y="650"/>
                  </a:lnTo>
                  <a:lnTo>
                    <a:pt x="109" y="657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7" name="Freeform 41">
              <a:extLst>
                <a:ext uri="{FF2B5EF4-FFF2-40B4-BE49-F238E27FC236}">
                  <a16:creationId xmlns:a16="http://schemas.microsoft.com/office/drawing/2014/main" id="{4F31C9A7-8823-7242-85BF-92EE1744A0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6700" y="2746375"/>
              <a:ext cx="949325" cy="800100"/>
            </a:xfrm>
            <a:custGeom>
              <a:avLst/>
              <a:gdLst/>
              <a:ahLst/>
              <a:cxnLst>
                <a:cxn ang="0">
                  <a:pos x="469" y="246"/>
                </a:cxn>
                <a:cxn ang="0">
                  <a:pos x="433" y="264"/>
                </a:cxn>
                <a:cxn ang="0">
                  <a:pos x="444" y="234"/>
                </a:cxn>
                <a:cxn ang="0">
                  <a:pos x="479" y="193"/>
                </a:cxn>
                <a:cxn ang="0">
                  <a:pos x="496" y="188"/>
                </a:cxn>
                <a:cxn ang="0">
                  <a:pos x="503" y="145"/>
                </a:cxn>
                <a:cxn ang="0">
                  <a:pos x="515" y="106"/>
                </a:cxn>
                <a:cxn ang="0">
                  <a:pos x="474" y="101"/>
                </a:cxn>
                <a:cxn ang="0">
                  <a:pos x="443" y="88"/>
                </a:cxn>
                <a:cxn ang="0">
                  <a:pos x="406" y="76"/>
                </a:cxn>
                <a:cxn ang="0">
                  <a:pos x="371" y="58"/>
                </a:cxn>
                <a:cxn ang="0">
                  <a:pos x="343" y="38"/>
                </a:cxn>
                <a:cxn ang="0">
                  <a:pos x="311" y="3"/>
                </a:cxn>
                <a:cxn ang="0">
                  <a:pos x="271" y="12"/>
                </a:cxn>
                <a:cxn ang="0">
                  <a:pos x="254" y="61"/>
                </a:cxn>
                <a:cxn ang="0">
                  <a:pos x="202" y="79"/>
                </a:cxn>
                <a:cxn ang="0">
                  <a:pos x="171" y="94"/>
                </a:cxn>
                <a:cxn ang="0">
                  <a:pos x="150" y="77"/>
                </a:cxn>
                <a:cxn ang="0">
                  <a:pos x="123" y="83"/>
                </a:cxn>
                <a:cxn ang="0">
                  <a:pos x="134" y="117"/>
                </a:cxn>
                <a:cxn ang="0">
                  <a:pos x="110" y="129"/>
                </a:cxn>
                <a:cxn ang="0">
                  <a:pos x="69" y="118"/>
                </a:cxn>
                <a:cxn ang="0">
                  <a:pos x="35" y="126"/>
                </a:cxn>
                <a:cxn ang="0">
                  <a:pos x="4" y="146"/>
                </a:cxn>
                <a:cxn ang="0">
                  <a:pos x="7" y="147"/>
                </a:cxn>
                <a:cxn ang="0">
                  <a:pos x="16" y="158"/>
                </a:cxn>
                <a:cxn ang="0">
                  <a:pos x="18" y="177"/>
                </a:cxn>
                <a:cxn ang="0">
                  <a:pos x="57" y="182"/>
                </a:cxn>
                <a:cxn ang="0">
                  <a:pos x="84" y="188"/>
                </a:cxn>
                <a:cxn ang="0">
                  <a:pos x="98" y="205"/>
                </a:cxn>
                <a:cxn ang="0">
                  <a:pos x="121" y="205"/>
                </a:cxn>
                <a:cxn ang="0">
                  <a:pos x="109" y="228"/>
                </a:cxn>
                <a:cxn ang="0">
                  <a:pos x="152" y="255"/>
                </a:cxn>
                <a:cxn ang="0">
                  <a:pos x="149" y="285"/>
                </a:cxn>
                <a:cxn ang="0">
                  <a:pos x="166" y="299"/>
                </a:cxn>
                <a:cxn ang="0">
                  <a:pos x="155" y="337"/>
                </a:cxn>
                <a:cxn ang="0">
                  <a:pos x="135" y="404"/>
                </a:cxn>
                <a:cxn ang="0">
                  <a:pos x="156" y="420"/>
                </a:cxn>
                <a:cxn ang="0">
                  <a:pos x="215" y="441"/>
                </a:cxn>
                <a:cxn ang="0">
                  <a:pos x="271" y="438"/>
                </a:cxn>
                <a:cxn ang="0">
                  <a:pos x="326" y="449"/>
                </a:cxn>
                <a:cxn ang="0">
                  <a:pos x="353" y="392"/>
                </a:cxn>
                <a:cxn ang="0">
                  <a:pos x="393" y="403"/>
                </a:cxn>
                <a:cxn ang="0">
                  <a:pos x="463" y="420"/>
                </a:cxn>
                <a:cxn ang="0">
                  <a:pos x="508" y="380"/>
                </a:cxn>
                <a:cxn ang="0">
                  <a:pos x="480" y="328"/>
                </a:cxn>
                <a:cxn ang="0">
                  <a:pos x="480" y="288"/>
                </a:cxn>
                <a:cxn ang="0">
                  <a:pos x="580" y="504"/>
                </a:cxn>
                <a:cxn ang="0">
                  <a:pos x="567" y="487"/>
                </a:cxn>
                <a:cxn ang="0">
                  <a:pos x="560" y="472"/>
                </a:cxn>
                <a:cxn ang="0">
                  <a:pos x="557" y="455"/>
                </a:cxn>
                <a:cxn ang="0">
                  <a:pos x="584" y="437"/>
                </a:cxn>
                <a:cxn ang="0">
                  <a:pos x="592" y="417"/>
                </a:cxn>
                <a:cxn ang="0">
                  <a:pos x="594" y="485"/>
                </a:cxn>
              </a:cxnLst>
              <a:rect l="0" t="0" r="r" b="b"/>
              <a:pathLst>
                <a:path w="598" h="504">
                  <a:moveTo>
                    <a:pt x="484" y="275"/>
                  </a:moveTo>
                  <a:lnTo>
                    <a:pt x="482" y="268"/>
                  </a:lnTo>
                  <a:lnTo>
                    <a:pt x="478" y="264"/>
                  </a:lnTo>
                  <a:lnTo>
                    <a:pt x="474" y="253"/>
                  </a:lnTo>
                  <a:lnTo>
                    <a:pt x="469" y="246"/>
                  </a:lnTo>
                  <a:lnTo>
                    <a:pt x="456" y="245"/>
                  </a:lnTo>
                  <a:lnTo>
                    <a:pt x="450" y="250"/>
                  </a:lnTo>
                  <a:lnTo>
                    <a:pt x="453" y="261"/>
                  </a:lnTo>
                  <a:lnTo>
                    <a:pt x="443" y="264"/>
                  </a:lnTo>
                  <a:lnTo>
                    <a:pt x="433" y="264"/>
                  </a:lnTo>
                  <a:lnTo>
                    <a:pt x="432" y="257"/>
                  </a:lnTo>
                  <a:lnTo>
                    <a:pt x="436" y="255"/>
                  </a:lnTo>
                  <a:lnTo>
                    <a:pt x="443" y="255"/>
                  </a:lnTo>
                  <a:lnTo>
                    <a:pt x="443" y="247"/>
                  </a:lnTo>
                  <a:lnTo>
                    <a:pt x="444" y="234"/>
                  </a:lnTo>
                  <a:lnTo>
                    <a:pt x="456" y="217"/>
                  </a:lnTo>
                  <a:lnTo>
                    <a:pt x="463" y="215"/>
                  </a:lnTo>
                  <a:lnTo>
                    <a:pt x="472" y="205"/>
                  </a:lnTo>
                  <a:lnTo>
                    <a:pt x="480" y="201"/>
                  </a:lnTo>
                  <a:lnTo>
                    <a:pt x="479" y="193"/>
                  </a:lnTo>
                  <a:lnTo>
                    <a:pt x="469" y="189"/>
                  </a:lnTo>
                  <a:lnTo>
                    <a:pt x="475" y="182"/>
                  </a:lnTo>
                  <a:lnTo>
                    <a:pt x="485" y="182"/>
                  </a:lnTo>
                  <a:lnTo>
                    <a:pt x="488" y="187"/>
                  </a:lnTo>
                  <a:lnTo>
                    <a:pt x="496" y="188"/>
                  </a:lnTo>
                  <a:lnTo>
                    <a:pt x="511" y="184"/>
                  </a:lnTo>
                  <a:lnTo>
                    <a:pt x="507" y="176"/>
                  </a:lnTo>
                  <a:lnTo>
                    <a:pt x="499" y="171"/>
                  </a:lnTo>
                  <a:lnTo>
                    <a:pt x="498" y="159"/>
                  </a:lnTo>
                  <a:lnTo>
                    <a:pt x="503" y="145"/>
                  </a:lnTo>
                  <a:lnTo>
                    <a:pt x="509" y="140"/>
                  </a:lnTo>
                  <a:lnTo>
                    <a:pt x="509" y="134"/>
                  </a:lnTo>
                  <a:lnTo>
                    <a:pt x="514" y="120"/>
                  </a:lnTo>
                  <a:lnTo>
                    <a:pt x="525" y="111"/>
                  </a:lnTo>
                  <a:lnTo>
                    <a:pt x="515" y="106"/>
                  </a:lnTo>
                  <a:lnTo>
                    <a:pt x="507" y="106"/>
                  </a:lnTo>
                  <a:lnTo>
                    <a:pt x="496" y="101"/>
                  </a:lnTo>
                  <a:lnTo>
                    <a:pt x="487" y="103"/>
                  </a:lnTo>
                  <a:lnTo>
                    <a:pt x="481" y="101"/>
                  </a:lnTo>
                  <a:lnTo>
                    <a:pt x="474" y="101"/>
                  </a:lnTo>
                  <a:lnTo>
                    <a:pt x="467" y="103"/>
                  </a:lnTo>
                  <a:lnTo>
                    <a:pt x="458" y="97"/>
                  </a:lnTo>
                  <a:lnTo>
                    <a:pt x="458" y="93"/>
                  </a:lnTo>
                  <a:lnTo>
                    <a:pt x="450" y="87"/>
                  </a:lnTo>
                  <a:lnTo>
                    <a:pt x="443" y="88"/>
                  </a:lnTo>
                  <a:lnTo>
                    <a:pt x="432" y="87"/>
                  </a:lnTo>
                  <a:lnTo>
                    <a:pt x="426" y="78"/>
                  </a:lnTo>
                  <a:lnTo>
                    <a:pt x="418" y="78"/>
                  </a:lnTo>
                  <a:lnTo>
                    <a:pt x="415" y="81"/>
                  </a:lnTo>
                  <a:lnTo>
                    <a:pt x="406" y="76"/>
                  </a:lnTo>
                  <a:lnTo>
                    <a:pt x="398" y="74"/>
                  </a:lnTo>
                  <a:lnTo>
                    <a:pt x="387" y="62"/>
                  </a:lnTo>
                  <a:lnTo>
                    <a:pt x="381" y="61"/>
                  </a:lnTo>
                  <a:lnTo>
                    <a:pt x="377" y="58"/>
                  </a:lnTo>
                  <a:lnTo>
                    <a:pt x="371" y="58"/>
                  </a:lnTo>
                  <a:lnTo>
                    <a:pt x="366" y="60"/>
                  </a:lnTo>
                  <a:lnTo>
                    <a:pt x="357" y="56"/>
                  </a:lnTo>
                  <a:lnTo>
                    <a:pt x="355" y="44"/>
                  </a:lnTo>
                  <a:lnTo>
                    <a:pt x="349" y="42"/>
                  </a:lnTo>
                  <a:lnTo>
                    <a:pt x="343" y="38"/>
                  </a:lnTo>
                  <a:lnTo>
                    <a:pt x="339" y="38"/>
                  </a:lnTo>
                  <a:lnTo>
                    <a:pt x="325" y="29"/>
                  </a:lnTo>
                  <a:lnTo>
                    <a:pt x="324" y="21"/>
                  </a:lnTo>
                  <a:lnTo>
                    <a:pt x="313" y="18"/>
                  </a:lnTo>
                  <a:lnTo>
                    <a:pt x="311" y="3"/>
                  </a:lnTo>
                  <a:lnTo>
                    <a:pt x="306" y="0"/>
                  </a:lnTo>
                  <a:lnTo>
                    <a:pt x="305" y="2"/>
                  </a:lnTo>
                  <a:lnTo>
                    <a:pt x="288" y="8"/>
                  </a:lnTo>
                  <a:lnTo>
                    <a:pt x="284" y="4"/>
                  </a:lnTo>
                  <a:lnTo>
                    <a:pt x="271" y="12"/>
                  </a:lnTo>
                  <a:lnTo>
                    <a:pt x="268" y="20"/>
                  </a:lnTo>
                  <a:lnTo>
                    <a:pt x="270" y="30"/>
                  </a:lnTo>
                  <a:lnTo>
                    <a:pt x="267" y="44"/>
                  </a:lnTo>
                  <a:lnTo>
                    <a:pt x="254" y="56"/>
                  </a:lnTo>
                  <a:lnTo>
                    <a:pt x="254" y="61"/>
                  </a:lnTo>
                  <a:lnTo>
                    <a:pt x="239" y="65"/>
                  </a:lnTo>
                  <a:lnTo>
                    <a:pt x="232" y="66"/>
                  </a:lnTo>
                  <a:lnTo>
                    <a:pt x="224" y="64"/>
                  </a:lnTo>
                  <a:lnTo>
                    <a:pt x="206" y="72"/>
                  </a:lnTo>
                  <a:lnTo>
                    <a:pt x="202" y="79"/>
                  </a:lnTo>
                  <a:lnTo>
                    <a:pt x="206" y="84"/>
                  </a:lnTo>
                  <a:lnTo>
                    <a:pt x="213" y="87"/>
                  </a:lnTo>
                  <a:lnTo>
                    <a:pt x="202" y="93"/>
                  </a:lnTo>
                  <a:lnTo>
                    <a:pt x="189" y="96"/>
                  </a:lnTo>
                  <a:lnTo>
                    <a:pt x="171" y="94"/>
                  </a:lnTo>
                  <a:lnTo>
                    <a:pt x="163" y="90"/>
                  </a:lnTo>
                  <a:lnTo>
                    <a:pt x="156" y="93"/>
                  </a:lnTo>
                  <a:lnTo>
                    <a:pt x="154" y="88"/>
                  </a:lnTo>
                  <a:lnTo>
                    <a:pt x="148" y="83"/>
                  </a:lnTo>
                  <a:lnTo>
                    <a:pt x="150" y="77"/>
                  </a:lnTo>
                  <a:lnTo>
                    <a:pt x="143" y="73"/>
                  </a:lnTo>
                  <a:lnTo>
                    <a:pt x="135" y="76"/>
                  </a:lnTo>
                  <a:lnTo>
                    <a:pt x="125" y="76"/>
                  </a:lnTo>
                  <a:lnTo>
                    <a:pt x="120" y="74"/>
                  </a:lnTo>
                  <a:lnTo>
                    <a:pt x="123" y="83"/>
                  </a:lnTo>
                  <a:lnTo>
                    <a:pt x="121" y="88"/>
                  </a:lnTo>
                  <a:lnTo>
                    <a:pt x="137" y="101"/>
                  </a:lnTo>
                  <a:lnTo>
                    <a:pt x="134" y="105"/>
                  </a:lnTo>
                  <a:lnTo>
                    <a:pt x="135" y="111"/>
                  </a:lnTo>
                  <a:lnTo>
                    <a:pt x="134" y="117"/>
                  </a:lnTo>
                  <a:lnTo>
                    <a:pt x="139" y="123"/>
                  </a:lnTo>
                  <a:lnTo>
                    <a:pt x="140" y="130"/>
                  </a:lnTo>
                  <a:lnTo>
                    <a:pt x="125" y="128"/>
                  </a:lnTo>
                  <a:lnTo>
                    <a:pt x="117" y="130"/>
                  </a:lnTo>
                  <a:lnTo>
                    <a:pt x="110" y="129"/>
                  </a:lnTo>
                  <a:lnTo>
                    <a:pt x="103" y="130"/>
                  </a:lnTo>
                  <a:lnTo>
                    <a:pt x="99" y="128"/>
                  </a:lnTo>
                  <a:lnTo>
                    <a:pt x="90" y="135"/>
                  </a:lnTo>
                  <a:lnTo>
                    <a:pt x="76" y="120"/>
                  </a:lnTo>
                  <a:lnTo>
                    <a:pt x="69" y="118"/>
                  </a:lnTo>
                  <a:lnTo>
                    <a:pt x="58" y="120"/>
                  </a:lnTo>
                  <a:lnTo>
                    <a:pt x="50" y="128"/>
                  </a:lnTo>
                  <a:lnTo>
                    <a:pt x="45" y="125"/>
                  </a:lnTo>
                  <a:lnTo>
                    <a:pt x="40" y="129"/>
                  </a:lnTo>
                  <a:lnTo>
                    <a:pt x="35" y="126"/>
                  </a:lnTo>
                  <a:lnTo>
                    <a:pt x="26" y="128"/>
                  </a:lnTo>
                  <a:lnTo>
                    <a:pt x="21" y="132"/>
                  </a:lnTo>
                  <a:lnTo>
                    <a:pt x="6" y="134"/>
                  </a:lnTo>
                  <a:lnTo>
                    <a:pt x="0" y="140"/>
                  </a:lnTo>
                  <a:lnTo>
                    <a:pt x="4" y="146"/>
                  </a:lnTo>
                  <a:lnTo>
                    <a:pt x="11" y="143"/>
                  </a:lnTo>
                  <a:lnTo>
                    <a:pt x="19" y="146"/>
                  </a:lnTo>
                  <a:lnTo>
                    <a:pt x="22" y="148"/>
                  </a:lnTo>
                  <a:lnTo>
                    <a:pt x="13" y="147"/>
                  </a:lnTo>
                  <a:lnTo>
                    <a:pt x="7" y="147"/>
                  </a:lnTo>
                  <a:lnTo>
                    <a:pt x="11" y="155"/>
                  </a:lnTo>
                  <a:lnTo>
                    <a:pt x="13" y="149"/>
                  </a:lnTo>
                  <a:lnTo>
                    <a:pt x="19" y="151"/>
                  </a:lnTo>
                  <a:lnTo>
                    <a:pt x="21" y="157"/>
                  </a:lnTo>
                  <a:lnTo>
                    <a:pt x="16" y="158"/>
                  </a:lnTo>
                  <a:lnTo>
                    <a:pt x="7" y="162"/>
                  </a:lnTo>
                  <a:lnTo>
                    <a:pt x="7" y="163"/>
                  </a:lnTo>
                  <a:lnTo>
                    <a:pt x="16" y="163"/>
                  </a:lnTo>
                  <a:lnTo>
                    <a:pt x="18" y="172"/>
                  </a:lnTo>
                  <a:lnTo>
                    <a:pt x="18" y="177"/>
                  </a:lnTo>
                  <a:lnTo>
                    <a:pt x="27" y="171"/>
                  </a:lnTo>
                  <a:lnTo>
                    <a:pt x="34" y="174"/>
                  </a:lnTo>
                  <a:lnTo>
                    <a:pt x="39" y="172"/>
                  </a:lnTo>
                  <a:lnTo>
                    <a:pt x="53" y="177"/>
                  </a:lnTo>
                  <a:lnTo>
                    <a:pt x="57" y="182"/>
                  </a:lnTo>
                  <a:lnTo>
                    <a:pt x="63" y="182"/>
                  </a:lnTo>
                  <a:lnTo>
                    <a:pt x="73" y="188"/>
                  </a:lnTo>
                  <a:lnTo>
                    <a:pt x="80" y="182"/>
                  </a:lnTo>
                  <a:lnTo>
                    <a:pt x="85" y="183"/>
                  </a:lnTo>
                  <a:lnTo>
                    <a:pt x="84" y="188"/>
                  </a:lnTo>
                  <a:lnTo>
                    <a:pt x="86" y="191"/>
                  </a:lnTo>
                  <a:lnTo>
                    <a:pt x="93" y="187"/>
                  </a:lnTo>
                  <a:lnTo>
                    <a:pt x="98" y="191"/>
                  </a:lnTo>
                  <a:lnTo>
                    <a:pt x="94" y="199"/>
                  </a:lnTo>
                  <a:lnTo>
                    <a:pt x="98" y="205"/>
                  </a:lnTo>
                  <a:lnTo>
                    <a:pt x="104" y="205"/>
                  </a:lnTo>
                  <a:lnTo>
                    <a:pt x="113" y="200"/>
                  </a:lnTo>
                  <a:lnTo>
                    <a:pt x="122" y="201"/>
                  </a:lnTo>
                  <a:lnTo>
                    <a:pt x="128" y="209"/>
                  </a:lnTo>
                  <a:lnTo>
                    <a:pt x="121" y="205"/>
                  </a:lnTo>
                  <a:lnTo>
                    <a:pt x="113" y="205"/>
                  </a:lnTo>
                  <a:lnTo>
                    <a:pt x="106" y="211"/>
                  </a:lnTo>
                  <a:lnTo>
                    <a:pt x="111" y="213"/>
                  </a:lnTo>
                  <a:lnTo>
                    <a:pt x="114" y="222"/>
                  </a:lnTo>
                  <a:lnTo>
                    <a:pt x="109" y="228"/>
                  </a:lnTo>
                  <a:lnTo>
                    <a:pt x="111" y="234"/>
                  </a:lnTo>
                  <a:lnTo>
                    <a:pt x="119" y="235"/>
                  </a:lnTo>
                  <a:lnTo>
                    <a:pt x="131" y="247"/>
                  </a:lnTo>
                  <a:lnTo>
                    <a:pt x="142" y="249"/>
                  </a:lnTo>
                  <a:lnTo>
                    <a:pt x="152" y="255"/>
                  </a:lnTo>
                  <a:lnTo>
                    <a:pt x="152" y="262"/>
                  </a:lnTo>
                  <a:lnTo>
                    <a:pt x="156" y="268"/>
                  </a:lnTo>
                  <a:lnTo>
                    <a:pt x="152" y="276"/>
                  </a:lnTo>
                  <a:lnTo>
                    <a:pt x="150" y="278"/>
                  </a:lnTo>
                  <a:lnTo>
                    <a:pt x="149" y="285"/>
                  </a:lnTo>
                  <a:lnTo>
                    <a:pt x="156" y="286"/>
                  </a:lnTo>
                  <a:lnTo>
                    <a:pt x="169" y="296"/>
                  </a:lnTo>
                  <a:lnTo>
                    <a:pt x="180" y="319"/>
                  </a:lnTo>
                  <a:lnTo>
                    <a:pt x="169" y="309"/>
                  </a:lnTo>
                  <a:lnTo>
                    <a:pt x="166" y="299"/>
                  </a:lnTo>
                  <a:lnTo>
                    <a:pt x="156" y="294"/>
                  </a:lnTo>
                  <a:lnTo>
                    <a:pt x="152" y="297"/>
                  </a:lnTo>
                  <a:lnTo>
                    <a:pt x="148" y="317"/>
                  </a:lnTo>
                  <a:lnTo>
                    <a:pt x="148" y="333"/>
                  </a:lnTo>
                  <a:lnTo>
                    <a:pt x="155" y="337"/>
                  </a:lnTo>
                  <a:lnTo>
                    <a:pt x="149" y="342"/>
                  </a:lnTo>
                  <a:lnTo>
                    <a:pt x="146" y="369"/>
                  </a:lnTo>
                  <a:lnTo>
                    <a:pt x="138" y="395"/>
                  </a:lnTo>
                  <a:lnTo>
                    <a:pt x="128" y="400"/>
                  </a:lnTo>
                  <a:lnTo>
                    <a:pt x="135" y="404"/>
                  </a:lnTo>
                  <a:lnTo>
                    <a:pt x="137" y="406"/>
                  </a:lnTo>
                  <a:lnTo>
                    <a:pt x="143" y="407"/>
                  </a:lnTo>
                  <a:lnTo>
                    <a:pt x="144" y="415"/>
                  </a:lnTo>
                  <a:lnTo>
                    <a:pt x="143" y="423"/>
                  </a:lnTo>
                  <a:lnTo>
                    <a:pt x="156" y="420"/>
                  </a:lnTo>
                  <a:lnTo>
                    <a:pt x="174" y="427"/>
                  </a:lnTo>
                  <a:lnTo>
                    <a:pt x="183" y="436"/>
                  </a:lnTo>
                  <a:lnTo>
                    <a:pt x="192" y="432"/>
                  </a:lnTo>
                  <a:lnTo>
                    <a:pt x="202" y="442"/>
                  </a:lnTo>
                  <a:lnTo>
                    <a:pt x="215" y="441"/>
                  </a:lnTo>
                  <a:lnTo>
                    <a:pt x="221" y="444"/>
                  </a:lnTo>
                  <a:lnTo>
                    <a:pt x="230" y="437"/>
                  </a:lnTo>
                  <a:lnTo>
                    <a:pt x="250" y="436"/>
                  </a:lnTo>
                  <a:lnTo>
                    <a:pt x="259" y="440"/>
                  </a:lnTo>
                  <a:lnTo>
                    <a:pt x="271" y="438"/>
                  </a:lnTo>
                  <a:lnTo>
                    <a:pt x="284" y="446"/>
                  </a:lnTo>
                  <a:lnTo>
                    <a:pt x="306" y="443"/>
                  </a:lnTo>
                  <a:lnTo>
                    <a:pt x="320" y="452"/>
                  </a:lnTo>
                  <a:lnTo>
                    <a:pt x="326" y="454"/>
                  </a:lnTo>
                  <a:lnTo>
                    <a:pt x="326" y="449"/>
                  </a:lnTo>
                  <a:lnTo>
                    <a:pt x="323" y="437"/>
                  </a:lnTo>
                  <a:lnTo>
                    <a:pt x="326" y="424"/>
                  </a:lnTo>
                  <a:lnTo>
                    <a:pt x="328" y="417"/>
                  </a:lnTo>
                  <a:lnTo>
                    <a:pt x="337" y="408"/>
                  </a:lnTo>
                  <a:lnTo>
                    <a:pt x="353" y="392"/>
                  </a:lnTo>
                  <a:lnTo>
                    <a:pt x="359" y="392"/>
                  </a:lnTo>
                  <a:lnTo>
                    <a:pt x="364" y="396"/>
                  </a:lnTo>
                  <a:lnTo>
                    <a:pt x="375" y="397"/>
                  </a:lnTo>
                  <a:lnTo>
                    <a:pt x="386" y="403"/>
                  </a:lnTo>
                  <a:lnTo>
                    <a:pt x="393" y="403"/>
                  </a:lnTo>
                  <a:lnTo>
                    <a:pt x="400" y="398"/>
                  </a:lnTo>
                  <a:lnTo>
                    <a:pt x="406" y="397"/>
                  </a:lnTo>
                  <a:lnTo>
                    <a:pt x="434" y="413"/>
                  </a:lnTo>
                  <a:lnTo>
                    <a:pt x="443" y="419"/>
                  </a:lnTo>
                  <a:lnTo>
                    <a:pt x="463" y="420"/>
                  </a:lnTo>
                  <a:lnTo>
                    <a:pt x="472" y="413"/>
                  </a:lnTo>
                  <a:lnTo>
                    <a:pt x="469" y="409"/>
                  </a:lnTo>
                  <a:lnTo>
                    <a:pt x="478" y="401"/>
                  </a:lnTo>
                  <a:lnTo>
                    <a:pt x="507" y="380"/>
                  </a:lnTo>
                  <a:lnTo>
                    <a:pt x="508" y="380"/>
                  </a:lnTo>
                  <a:lnTo>
                    <a:pt x="505" y="372"/>
                  </a:lnTo>
                  <a:lnTo>
                    <a:pt x="511" y="359"/>
                  </a:lnTo>
                  <a:lnTo>
                    <a:pt x="497" y="359"/>
                  </a:lnTo>
                  <a:lnTo>
                    <a:pt x="482" y="350"/>
                  </a:lnTo>
                  <a:lnTo>
                    <a:pt x="480" y="328"/>
                  </a:lnTo>
                  <a:lnTo>
                    <a:pt x="469" y="317"/>
                  </a:lnTo>
                  <a:lnTo>
                    <a:pt x="476" y="311"/>
                  </a:lnTo>
                  <a:lnTo>
                    <a:pt x="486" y="310"/>
                  </a:lnTo>
                  <a:lnTo>
                    <a:pt x="488" y="296"/>
                  </a:lnTo>
                  <a:lnTo>
                    <a:pt x="480" y="288"/>
                  </a:lnTo>
                  <a:lnTo>
                    <a:pt x="479" y="279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4" y="275"/>
                  </a:lnTo>
                  <a:close/>
                  <a:moveTo>
                    <a:pt x="580" y="504"/>
                  </a:moveTo>
                  <a:lnTo>
                    <a:pt x="566" y="498"/>
                  </a:lnTo>
                  <a:lnTo>
                    <a:pt x="563" y="494"/>
                  </a:lnTo>
                  <a:lnTo>
                    <a:pt x="567" y="489"/>
                  </a:lnTo>
                  <a:lnTo>
                    <a:pt x="571" y="490"/>
                  </a:lnTo>
                  <a:lnTo>
                    <a:pt x="567" y="487"/>
                  </a:lnTo>
                  <a:lnTo>
                    <a:pt x="565" y="487"/>
                  </a:lnTo>
                  <a:lnTo>
                    <a:pt x="565" y="481"/>
                  </a:lnTo>
                  <a:lnTo>
                    <a:pt x="559" y="477"/>
                  </a:lnTo>
                  <a:lnTo>
                    <a:pt x="556" y="473"/>
                  </a:lnTo>
                  <a:lnTo>
                    <a:pt x="560" y="472"/>
                  </a:lnTo>
                  <a:lnTo>
                    <a:pt x="560" y="469"/>
                  </a:lnTo>
                  <a:lnTo>
                    <a:pt x="553" y="465"/>
                  </a:lnTo>
                  <a:lnTo>
                    <a:pt x="551" y="459"/>
                  </a:lnTo>
                  <a:lnTo>
                    <a:pt x="556" y="459"/>
                  </a:lnTo>
                  <a:lnTo>
                    <a:pt x="557" y="455"/>
                  </a:lnTo>
                  <a:lnTo>
                    <a:pt x="553" y="452"/>
                  </a:lnTo>
                  <a:lnTo>
                    <a:pt x="559" y="441"/>
                  </a:lnTo>
                  <a:lnTo>
                    <a:pt x="573" y="437"/>
                  </a:lnTo>
                  <a:lnTo>
                    <a:pt x="578" y="432"/>
                  </a:lnTo>
                  <a:lnTo>
                    <a:pt x="584" y="437"/>
                  </a:lnTo>
                  <a:lnTo>
                    <a:pt x="588" y="437"/>
                  </a:lnTo>
                  <a:lnTo>
                    <a:pt x="589" y="430"/>
                  </a:lnTo>
                  <a:lnTo>
                    <a:pt x="586" y="424"/>
                  </a:lnTo>
                  <a:lnTo>
                    <a:pt x="588" y="417"/>
                  </a:lnTo>
                  <a:lnTo>
                    <a:pt x="592" y="417"/>
                  </a:lnTo>
                  <a:lnTo>
                    <a:pt x="595" y="429"/>
                  </a:lnTo>
                  <a:lnTo>
                    <a:pt x="594" y="440"/>
                  </a:lnTo>
                  <a:lnTo>
                    <a:pt x="598" y="456"/>
                  </a:lnTo>
                  <a:lnTo>
                    <a:pt x="592" y="476"/>
                  </a:lnTo>
                  <a:lnTo>
                    <a:pt x="594" y="485"/>
                  </a:lnTo>
                  <a:lnTo>
                    <a:pt x="589" y="499"/>
                  </a:lnTo>
                  <a:lnTo>
                    <a:pt x="580" y="504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8" name="Freeform 42">
              <a:extLst>
                <a:ext uri="{FF2B5EF4-FFF2-40B4-BE49-F238E27FC236}">
                  <a16:creationId xmlns:a16="http://schemas.microsoft.com/office/drawing/2014/main" id="{9DF31A1E-4FA4-4448-9B00-FED182E09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238" y="3079750"/>
              <a:ext cx="830263" cy="846138"/>
            </a:xfrm>
            <a:custGeom>
              <a:avLst/>
              <a:gdLst/>
              <a:ahLst/>
              <a:cxnLst>
                <a:cxn ang="0">
                  <a:pos x="13" y="140"/>
                </a:cxn>
                <a:cxn ang="0">
                  <a:pos x="19" y="86"/>
                </a:cxn>
                <a:cxn ang="0">
                  <a:pos x="42" y="55"/>
                </a:cxn>
                <a:cxn ang="0">
                  <a:pos x="94" y="57"/>
                </a:cxn>
                <a:cxn ang="0">
                  <a:pos x="137" y="43"/>
                </a:cxn>
                <a:cxn ang="0">
                  <a:pos x="169" y="7"/>
                </a:cxn>
                <a:cxn ang="0">
                  <a:pos x="233" y="10"/>
                </a:cxn>
                <a:cxn ang="0">
                  <a:pos x="295" y="45"/>
                </a:cxn>
                <a:cxn ang="0">
                  <a:pos x="278" y="75"/>
                </a:cxn>
                <a:cxn ang="0">
                  <a:pos x="238" y="95"/>
                </a:cxn>
                <a:cxn ang="0">
                  <a:pos x="243" y="134"/>
                </a:cxn>
                <a:cxn ang="0">
                  <a:pos x="287" y="175"/>
                </a:cxn>
                <a:cxn ang="0">
                  <a:pos x="328" y="227"/>
                </a:cxn>
                <a:cxn ang="0">
                  <a:pos x="371" y="262"/>
                </a:cxn>
                <a:cxn ang="0">
                  <a:pos x="421" y="269"/>
                </a:cxn>
                <a:cxn ang="0">
                  <a:pos x="421" y="292"/>
                </a:cxn>
                <a:cxn ang="0">
                  <a:pos x="513" y="335"/>
                </a:cxn>
                <a:cxn ang="0">
                  <a:pos x="520" y="369"/>
                </a:cxn>
                <a:cxn ang="0">
                  <a:pos x="498" y="354"/>
                </a:cxn>
                <a:cxn ang="0">
                  <a:pos x="468" y="337"/>
                </a:cxn>
                <a:cxn ang="0">
                  <a:pos x="450" y="361"/>
                </a:cxn>
                <a:cxn ang="0">
                  <a:pos x="452" y="383"/>
                </a:cxn>
                <a:cxn ang="0">
                  <a:pos x="465" y="419"/>
                </a:cxn>
                <a:cxn ang="0">
                  <a:pos x="434" y="465"/>
                </a:cxn>
                <a:cxn ang="0">
                  <a:pos x="406" y="456"/>
                </a:cxn>
                <a:cxn ang="0">
                  <a:pos x="420" y="430"/>
                </a:cxn>
                <a:cxn ang="0">
                  <a:pos x="420" y="395"/>
                </a:cxn>
                <a:cxn ang="0">
                  <a:pos x="397" y="362"/>
                </a:cxn>
                <a:cxn ang="0">
                  <a:pos x="370" y="344"/>
                </a:cxn>
                <a:cxn ang="0">
                  <a:pos x="349" y="324"/>
                </a:cxn>
                <a:cxn ang="0">
                  <a:pos x="312" y="303"/>
                </a:cxn>
                <a:cxn ang="0">
                  <a:pos x="278" y="292"/>
                </a:cxn>
                <a:cxn ang="0">
                  <a:pos x="225" y="249"/>
                </a:cxn>
                <a:cxn ang="0">
                  <a:pos x="183" y="213"/>
                </a:cxn>
                <a:cxn ang="0">
                  <a:pos x="156" y="173"/>
                </a:cxn>
                <a:cxn ang="0">
                  <a:pos x="123" y="146"/>
                </a:cxn>
                <a:cxn ang="0">
                  <a:pos x="39" y="170"/>
                </a:cxn>
                <a:cxn ang="0">
                  <a:pos x="80" y="302"/>
                </a:cxn>
                <a:cxn ang="0">
                  <a:pos x="73" y="311"/>
                </a:cxn>
                <a:cxn ang="0">
                  <a:pos x="190" y="243"/>
                </a:cxn>
                <a:cxn ang="0">
                  <a:pos x="171" y="222"/>
                </a:cxn>
                <a:cxn ang="0">
                  <a:pos x="154" y="220"/>
                </a:cxn>
                <a:cxn ang="0">
                  <a:pos x="111" y="411"/>
                </a:cxn>
                <a:cxn ang="0">
                  <a:pos x="138" y="405"/>
                </a:cxn>
                <a:cxn ang="0">
                  <a:pos x="129" y="343"/>
                </a:cxn>
                <a:cxn ang="0">
                  <a:pos x="126" y="304"/>
                </a:cxn>
                <a:cxn ang="0">
                  <a:pos x="84" y="321"/>
                </a:cxn>
                <a:cxn ang="0">
                  <a:pos x="80" y="343"/>
                </a:cxn>
                <a:cxn ang="0">
                  <a:pos x="91" y="370"/>
                </a:cxn>
                <a:cxn ang="0">
                  <a:pos x="90" y="416"/>
                </a:cxn>
                <a:cxn ang="0">
                  <a:pos x="392" y="516"/>
                </a:cxn>
                <a:cxn ang="0">
                  <a:pos x="400" y="459"/>
                </a:cxn>
                <a:cxn ang="0">
                  <a:pos x="357" y="465"/>
                </a:cxn>
                <a:cxn ang="0">
                  <a:pos x="289" y="462"/>
                </a:cxn>
                <a:cxn ang="0">
                  <a:pos x="277" y="489"/>
                </a:cxn>
                <a:cxn ang="0">
                  <a:pos x="342" y="516"/>
                </a:cxn>
                <a:cxn ang="0">
                  <a:pos x="387" y="532"/>
                </a:cxn>
              </a:cxnLst>
              <a:rect l="0" t="0" r="r" b="b"/>
              <a:pathLst>
                <a:path w="523" h="533">
                  <a:moveTo>
                    <a:pt x="39" y="170"/>
                  </a:moveTo>
                  <a:lnTo>
                    <a:pt x="36" y="162"/>
                  </a:lnTo>
                  <a:lnTo>
                    <a:pt x="42" y="149"/>
                  </a:lnTo>
                  <a:lnTo>
                    <a:pt x="28" y="149"/>
                  </a:lnTo>
                  <a:lnTo>
                    <a:pt x="13" y="140"/>
                  </a:lnTo>
                  <a:lnTo>
                    <a:pt x="11" y="118"/>
                  </a:lnTo>
                  <a:lnTo>
                    <a:pt x="0" y="107"/>
                  </a:lnTo>
                  <a:lnTo>
                    <a:pt x="7" y="101"/>
                  </a:lnTo>
                  <a:lnTo>
                    <a:pt x="17" y="100"/>
                  </a:lnTo>
                  <a:lnTo>
                    <a:pt x="19" y="86"/>
                  </a:lnTo>
                  <a:lnTo>
                    <a:pt x="11" y="78"/>
                  </a:lnTo>
                  <a:lnTo>
                    <a:pt x="10" y="69"/>
                  </a:lnTo>
                  <a:lnTo>
                    <a:pt x="15" y="64"/>
                  </a:lnTo>
                  <a:lnTo>
                    <a:pt x="24" y="68"/>
                  </a:lnTo>
                  <a:lnTo>
                    <a:pt x="42" y="55"/>
                  </a:lnTo>
                  <a:lnTo>
                    <a:pt x="54" y="60"/>
                  </a:lnTo>
                  <a:lnTo>
                    <a:pt x="71" y="35"/>
                  </a:lnTo>
                  <a:lnTo>
                    <a:pt x="82" y="41"/>
                  </a:lnTo>
                  <a:lnTo>
                    <a:pt x="80" y="51"/>
                  </a:lnTo>
                  <a:lnTo>
                    <a:pt x="94" y="57"/>
                  </a:lnTo>
                  <a:lnTo>
                    <a:pt x="99" y="65"/>
                  </a:lnTo>
                  <a:lnTo>
                    <a:pt x="109" y="51"/>
                  </a:lnTo>
                  <a:lnTo>
                    <a:pt x="109" y="40"/>
                  </a:lnTo>
                  <a:lnTo>
                    <a:pt x="129" y="45"/>
                  </a:lnTo>
                  <a:lnTo>
                    <a:pt x="137" y="43"/>
                  </a:lnTo>
                  <a:lnTo>
                    <a:pt x="145" y="49"/>
                  </a:lnTo>
                  <a:lnTo>
                    <a:pt x="146" y="34"/>
                  </a:lnTo>
                  <a:lnTo>
                    <a:pt x="164" y="30"/>
                  </a:lnTo>
                  <a:lnTo>
                    <a:pt x="160" y="17"/>
                  </a:lnTo>
                  <a:lnTo>
                    <a:pt x="169" y="7"/>
                  </a:lnTo>
                  <a:lnTo>
                    <a:pt x="185" y="13"/>
                  </a:lnTo>
                  <a:lnTo>
                    <a:pt x="208" y="0"/>
                  </a:lnTo>
                  <a:lnTo>
                    <a:pt x="219" y="2"/>
                  </a:lnTo>
                  <a:lnTo>
                    <a:pt x="235" y="1"/>
                  </a:lnTo>
                  <a:lnTo>
                    <a:pt x="233" y="10"/>
                  </a:lnTo>
                  <a:lnTo>
                    <a:pt x="255" y="22"/>
                  </a:lnTo>
                  <a:lnTo>
                    <a:pt x="283" y="26"/>
                  </a:lnTo>
                  <a:lnTo>
                    <a:pt x="299" y="25"/>
                  </a:lnTo>
                  <a:lnTo>
                    <a:pt x="305" y="31"/>
                  </a:lnTo>
                  <a:lnTo>
                    <a:pt x="295" y="45"/>
                  </a:lnTo>
                  <a:lnTo>
                    <a:pt x="297" y="52"/>
                  </a:lnTo>
                  <a:lnTo>
                    <a:pt x="291" y="59"/>
                  </a:lnTo>
                  <a:lnTo>
                    <a:pt x="294" y="74"/>
                  </a:lnTo>
                  <a:lnTo>
                    <a:pt x="284" y="71"/>
                  </a:lnTo>
                  <a:lnTo>
                    <a:pt x="278" y="75"/>
                  </a:lnTo>
                  <a:lnTo>
                    <a:pt x="271" y="80"/>
                  </a:lnTo>
                  <a:lnTo>
                    <a:pt x="261" y="80"/>
                  </a:lnTo>
                  <a:lnTo>
                    <a:pt x="252" y="88"/>
                  </a:lnTo>
                  <a:lnTo>
                    <a:pt x="242" y="89"/>
                  </a:lnTo>
                  <a:lnTo>
                    <a:pt x="238" y="95"/>
                  </a:lnTo>
                  <a:lnTo>
                    <a:pt x="243" y="104"/>
                  </a:lnTo>
                  <a:lnTo>
                    <a:pt x="249" y="111"/>
                  </a:lnTo>
                  <a:lnTo>
                    <a:pt x="242" y="121"/>
                  </a:lnTo>
                  <a:lnTo>
                    <a:pt x="238" y="124"/>
                  </a:lnTo>
                  <a:lnTo>
                    <a:pt x="243" y="134"/>
                  </a:lnTo>
                  <a:lnTo>
                    <a:pt x="244" y="146"/>
                  </a:lnTo>
                  <a:lnTo>
                    <a:pt x="249" y="152"/>
                  </a:lnTo>
                  <a:lnTo>
                    <a:pt x="270" y="162"/>
                  </a:lnTo>
                  <a:lnTo>
                    <a:pt x="281" y="168"/>
                  </a:lnTo>
                  <a:lnTo>
                    <a:pt x="287" y="175"/>
                  </a:lnTo>
                  <a:lnTo>
                    <a:pt x="317" y="202"/>
                  </a:lnTo>
                  <a:lnTo>
                    <a:pt x="317" y="209"/>
                  </a:lnTo>
                  <a:lnTo>
                    <a:pt x="320" y="211"/>
                  </a:lnTo>
                  <a:lnTo>
                    <a:pt x="322" y="220"/>
                  </a:lnTo>
                  <a:lnTo>
                    <a:pt x="328" y="227"/>
                  </a:lnTo>
                  <a:lnTo>
                    <a:pt x="336" y="236"/>
                  </a:lnTo>
                  <a:lnTo>
                    <a:pt x="342" y="245"/>
                  </a:lnTo>
                  <a:lnTo>
                    <a:pt x="355" y="254"/>
                  </a:lnTo>
                  <a:lnTo>
                    <a:pt x="363" y="260"/>
                  </a:lnTo>
                  <a:lnTo>
                    <a:pt x="371" y="262"/>
                  </a:lnTo>
                  <a:lnTo>
                    <a:pt x="377" y="265"/>
                  </a:lnTo>
                  <a:lnTo>
                    <a:pt x="394" y="265"/>
                  </a:lnTo>
                  <a:lnTo>
                    <a:pt x="401" y="267"/>
                  </a:lnTo>
                  <a:lnTo>
                    <a:pt x="412" y="265"/>
                  </a:lnTo>
                  <a:lnTo>
                    <a:pt x="421" y="269"/>
                  </a:lnTo>
                  <a:lnTo>
                    <a:pt x="418" y="274"/>
                  </a:lnTo>
                  <a:lnTo>
                    <a:pt x="407" y="282"/>
                  </a:lnTo>
                  <a:lnTo>
                    <a:pt x="407" y="285"/>
                  </a:lnTo>
                  <a:lnTo>
                    <a:pt x="411" y="292"/>
                  </a:lnTo>
                  <a:lnTo>
                    <a:pt x="421" y="292"/>
                  </a:lnTo>
                  <a:lnTo>
                    <a:pt x="439" y="296"/>
                  </a:lnTo>
                  <a:lnTo>
                    <a:pt x="474" y="313"/>
                  </a:lnTo>
                  <a:lnTo>
                    <a:pt x="488" y="323"/>
                  </a:lnTo>
                  <a:lnTo>
                    <a:pt x="498" y="332"/>
                  </a:lnTo>
                  <a:lnTo>
                    <a:pt x="513" y="335"/>
                  </a:lnTo>
                  <a:lnTo>
                    <a:pt x="520" y="340"/>
                  </a:lnTo>
                  <a:lnTo>
                    <a:pt x="523" y="346"/>
                  </a:lnTo>
                  <a:lnTo>
                    <a:pt x="522" y="356"/>
                  </a:lnTo>
                  <a:lnTo>
                    <a:pt x="519" y="361"/>
                  </a:lnTo>
                  <a:lnTo>
                    <a:pt x="520" y="369"/>
                  </a:lnTo>
                  <a:lnTo>
                    <a:pt x="517" y="370"/>
                  </a:lnTo>
                  <a:lnTo>
                    <a:pt x="516" y="372"/>
                  </a:lnTo>
                  <a:lnTo>
                    <a:pt x="509" y="370"/>
                  </a:lnTo>
                  <a:lnTo>
                    <a:pt x="502" y="362"/>
                  </a:lnTo>
                  <a:lnTo>
                    <a:pt x="498" y="354"/>
                  </a:lnTo>
                  <a:lnTo>
                    <a:pt x="499" y="348"/>
                  </a:lnTo>
                  <a:lnTo>
                    <a:pt x="494" y="346"/>
                  </a:lnTo>
                  <a:lnTo>
                    <a:pt x="480" y="346"/>
                  </a:lnTo>
                  <a:lnTo>
                    <a:pt x="478" y="342"/>
                  </a:lnTo>
                  <a:lnTo>
                    <a:pt x="468" y="337"/>
                  </a:lnTo>
                  <a:lnTo>
                    <a:pt x="462" y="338"/>
                  </a:lnTo>
                  <a:lnTo>
                    <a:pt x="458" y="341"/>
                  </a:lnTo>
                  <a:lnTo>
                    <a:pt x="455" y="350"/>
                  </a:lnTo>
                  <a:lnTo>
                    <a:pt x="450" y="355"/>
                  </a:lnTo>
                  <a:lnTo>
                    <a:pt x="450" y="361"/>
                  </a:lnTo>
                  <a:lnTo>
                    <a:pt x="449" y="367"/>
                  </a:lnTo>
                  <a:lnTo>
                    <a:pt x="441" y="371"/>
                  </a:lnTo>
                  <a:lnTo>
                    <a:pt x="441" y="377"/>
                  </a:lnTo>
                  <a:lnTo>
                    <a:pt x="445" y="382"/>
                  </a:lnTo>
                  <a:lnTo>
                    <a:pt x="452" y="383"/>
                  </a:lnTo>
                  <a:lnTo>
                    <a:pt x="465" y="394"/>
                  </a:lnTo>
                  <a:lnTo>
                    <a:pt x="468" y="399"/>
                  </a:lnTo>
                  <a:lnTo>
                    <a:pt x="465" y="408"/>
                  </a:lnTo>
                  <a:lnTo>
                    <a:pt x="469" y="413"/>
                  </a:lnTo>
                  <a:lnTo>
                    <a:pt x="465" y="419"/>
                  </a:lnTo>
                  <a:lnTo>
                    <a:pt x="457" y="421"/>
                  </a:lnTo>
                  <a:lnTo>
                    <a:pt x="450" y="428"/>
                  </a:lnTo>
                  <a:lnTo>
                    <a:pt x="449" y="447"/>
                  </a:lnTo>
                  <a:lnTo>
                    <a:pt x="436" y="456"/>
                  </a:lnTo>
                  <a:lnTo>
                    <a:pt x="434" y="465"/>
                  </a:lnTo>
                  <a:lnTo>
                    <a:pt x="428" y="474"/>
                  </a:lnTo>
                  <a:lnTo>
                    <a:pt x="415" y="474"/>
                  </a:lnTo>
                  <a:lnTo>
                    <a:pt x="405" y="465"/>
                  </a:lnTo>
                  <a:lnTo>
                    <a:pt x="404" y="459"/>
                  </a:lnTo>
                  <a:lnTo>
                    <a:pt x="406" y="456"/>
                  </a:lnTo>
                  <a:lnTo>
                    <a:pt x="412" y="453"/>
                  </a:lnTo>
                  <a:lnTo>
                    <a:pt x="417" y="447"/>
                  </a:lnTo>
                  <a:lnTo>
                    <a:pt x="418" y="439"/>
                  </a:lnTo>
                  <a:lnTo>
                    <a:pt x="417" y="431"/>
                  </a:lnTo>
                  <a:lnTo>
                    <a:pt x="420" y="430"/>
                  </a:lnTo>
                  <a:lnTo>
                    <a:pt x="423" y="429"/>
                  </a:lnTo>
                  <a:lnTo>
                    <a:pt x="428" y="424"/>
                  </a:lnTo>
                  <a:lnTo>
                    <a:pt x="429" y="417"/>
                  </a:lnTo>
                  <a:lnTo>
                    <a:pt x="423" y="410"/>
                  </a:lnTo>
                  <a:lnTo>
                    <a:pt x="420" y="395"/>
                  </a:lnTo>
                  <a:lnTo>
                    <a:pt x="415" y="389"/>
                  </a:lnTo>
                  <a:lnTo>
                    <a:pt x="413" y="377"/>
                  </a:lnTo>
                  <a:lnTo>
                    <a:pt x="409" y="364"/>
                  </a:lnTo>
                  <a:lnTo>
                    <a:pt x="403" y="360"/>
                  </a:lnTo>
                  <a:lnTo>
                    <a:pt x="397" y="362"/>
                  </a:lnTo>
                  <a:lnTo>
                    <a:pt x="386" y="360"/>
                  </a:lnTo>
                  <a:lnTo>
                    <a:pt x="381" y="353"/>
                  </a:lnTo>
                  <a:lnTo>
                    <a:pt x="372" y="353"/>
                  </a:lnTo>
                  <a:lnTo>
                    <a:pt x="368" y="348"/>
                  </a:lnTo>
                  <a:lnTo>
                    <a:pt x="370" y="344"/>
                  </a:lnTo>
                  <a:lnTo>
                    <a:pt x="370" y="337"/>
                  </a:lnTo>
                  <a:lnTo>
                    <a:pt x="365" y="330"/>
                  </a:lnTo>
                  <a:lnTo>
                    <a:pt x="357" y="329"/>
                  </a:lnTo>
                  <a:lnTo>
                    <a:pt x="348" y="330"/>
                  </a:lnTo>
                  <a:lnTo>
                    <a:pt x="349" y="324"/>
                  </a:lnTo>
                  <a:lnTo>
                    <a:pt x="341" y="321"/>
                  </a:lnTo>
                  <a:lnTo>
                    <a:pt x="336" y="323"/>
                  </a:lnTo>
                  <a:lnTo>
                    <a:pt x="330" y="320"/>
                  </a:lnTo>
                  <a:lnTo>
                    <a:pt x="320" y="303"/>
                  </a:lnTo>
                  <a:lnTo>
                    <a:pt x="312" y="303"/>
                  </a:lnTo>
                  <a:lnTo>
                    <a:pt x="302" y="300"/>
                  </a:lnTo>
                  <a:lnTo>
                    <a:pt x="296" y="304"/>
                  </a:lnTo>
                  <a:lnTo>
                    <a:pt x="288" y="304"/>
                  </a:lnTo>
                  <a:lnTo>
                    <a:pt x="287" y="297"/>
                  </a:lnTo>
                  <a:lnTo>
                    <a:pt x="278" y="292"/>
                  </a:lnTo>
                  <a:lnTo>
                    <a:pt x="270" y="291"/>
                  </a:lnTo>
                  <a:lnTo>
                    <a:pt x="252" y="279"/>
                  </a:lnTo>
                  <a:lnTo>
                    <a:pt x="232" y="257"/>
                  </a:lnTo>
                  <a:lnTo>
                    <a:pt x="227" y="256"/>
                  </a:lnTo>
                  <a:lnTo>
                    <a:pt x="225" y="249"/>
                  </a:lnTo>
                  <a:lnTo>
                    <a:pt x="216" y="239"/>
                  </a:lnTo>
                  <a:lnTo>
                    <a:pt x="203" y="239"/>
                  </a:lnTo>
                  <a:lnTo>
                    <a:pt x="202" y="231"/>
                  </a:lnTo>
                  <a:lnTo>
                    <a:pt x="190" y="220"/>
                  </a:lnTo>
                  <a:lnTo>
                    <a:pt x="183" y="213"/>
                  </a:lnTo>
                  <a:lnTo>
                    <a:pt x="172" y="208"/>
                  </a:lnTo>
                  <a:lnTo>
                    <a:pt x="172" y="196"/>
                  </a:lnTo>
                  <a:lnTo>
                    <a:pt x="164" y="192"/>
                  </a:lnTo>
                  <a:lnTo>
                    <a:pt x="164" y="185"/>
                  </a:lnTo>
                  <a:lnTo>
                    <a:pt x="156" y="173"/>
                  </a:lnTo>
                  <a:lnTo>
                    <a:pt x="152" y="167"/>
                  </a:lnTo>
                  <a:lnTo>
                    <a:pt x="150" y="162"/>
                  </a:lnTo>
                  <a:lnTo>
                    <a:pt x="146" y="156"/>
                  </a:lnTo>
                  <a:lnTo>
                    <a:pt x="133" y="151"/>
                  </a:lnTo>
                  <a:lnTo>
                    <a:pt x="123" y="146"/>
                  </a:lnTo>
                  <a:lnTo>
                    <a:pt x="93" y="139"/>
                  </a:lnTo>
                  <a:lnTo>
                    <a:pt x="69" y="151"/>
                  </a:lnTo>
                  <a:lnTo>
                    <a:pt x="69" y="158"/>
                  </a:lnTo>
                  <a:lnTo>
                    <a:pt x="61" y="167"/>
                  </a:lnTo>
                  <a:lnTo>
                    <a:pt x="39" y="170"/>
                  </a:lnTo>
                  <a:lnTo>
                    <a:pt x="39" y="170"/>
                  </a:lnTo>
                  <a:close/>
                  <a:moveTo>
                    <a:pt x="73" y="311"/>
                  </a:moveTo>
                  <a:lnTo>
                    <a:pt x="76" y="311"/>
                  </a:lnTo>
                  <a:lnTo>
                    <a:pt x="76" y="307"/>
                  </a:lnTo>
                  <a:lnTo>
                    <a:pt x="80" y="302"/>
                  </a:lnTo>
                  <a:lnTo>
                    <a:pt x="76" y="300"/>
                  </a:lnTo>
                  <a:lnTo>
                    <a:pt x="75" y="303"/>
                  </a:lnTo>
                  <a:lnTo>
                    <a:pt x="73" y="306"/>
                  </a:lnTo>
                  <a:lnTo>
                    <a:pt x="73" y="311"/>
                  </a:lnTo>
                  <a:lnTo>
                    <a:pt x="73" y="311"/>
                  </a:lnTo>
                  <a:close/>
                  <a:moveTo>
                    <a:pt x="190" y="243"/>
                  </a:moveTo>
                  <a:lnTo>
                    <a:pt x="195" y="245"/>
                  </a:lnTo>
                  <a:lnTo>
                    <a:pt x="193" y="242"/>
                  </a:lnTo>
                  <a:lnTo>
                    <a:pt x="190" y="243"/>
                  </a:lnTo>
                  <a:lnTo>
                    <a:pt x="190" y="243"/>
                  </a:lnTo>
                  <a:close/>
                  <a:moveTo>
                    <a:pt x="154" y="220"/>
                  </a:moveTo>
                  <a:lnTo>
                    <a:pt x="149" y="223"/>
                  </a:lnTo>
                  <a:lnTo>
                    <a:pt x="155" y="225"/>
                  </a:lnTo>
                  <a:lnTo>
                    <a:pt x="163" y="222"/>
                  </a:lnTo>
                  <a:lnTo>
                    <a:pt x="171" y="222"/>
                  </a:lnTo>
                  <a:lnTo>
                    <a:pt x="169" y="217"/>
                  </a:lnTo>
                  <a:lnTo>
                    <a:pt x="166" y="213"/>
                  </a:lnTo>
                  <a:lnTo>
                    <a:pt x="163" y="216"/>
                  </a:lnTo>
                  <a:lnTo>
                    <a:pt x="154" y="220"/>
                  </a:lnTo>
                  <a:lnTo>
                    <a:pt x="154" y="220"/>
                  </a:lnTo>
                  <a:close/>
                  <a:moveTo>
                    <a:pt x="97" y="423"/>
                  </a:moveTo>
                  <a:lnTo>
                    <a:pt x="100" y="421"/>
                  </a:lnTo>
                  <a:lnTo>
                    <a:pt x="104" y="423"/>
                  </a:lnTo>
                  <a:lnTo>
                    <a:pt x="111" y="421"/>
                  </a:lnTo>
                  <a:lnTo>
                    <a:pt x="111" y="411"/>
                  </a:lnTo>
                  <a:lnTo>
                    <a:pt x="115" y="405"/>
                  </a:lnTo>
                  <a:lnTo>
                    <a:pt x="123" y="406"/>
                  </a:lnTo>
                  <a:lnTo>
                    <a:pt x="129" y="411"/>
                  </a:lnTo>
                  <a:lnTo>
                    <a:pt x="134" y="411"/>
                  </a:lnTo>
                  <a:lnTo>
                    <a:pt x="138" y="405"/>
                  </a:lnTo>
                  <a:lnTo>
                    <a:pt x="138" y="389"/>
                  </a:lnTo>
                  <a:lnTo>
                    <a:pt x="139" y="384"/>
                  </a:lnTo>
                  <a:lnTo>
                    <a:pt x="137" y="369"/>
                  </a:lnTo>
                  <a:lnTo>
                    <a:pt x="140" y="353"/>
                  </a:lnTo>
                  <a:lnTo>
                    <a:pt x="129" y="343"/>
                  </a:lnTo>
                  <a:lnTo>
                    <a:pt x="139" y="337"/>
                  </a:lnTo>
                  <a:lnTo>
                    <a:pt x="140" y="331"/>
                  </a:lnTo>
                  <a:lnTo>
                    <a:pt x="138" y="321"/>
                  </a:lnTo>
                  <a:lnTo>
                    <a:pt x="132" y="315"/>
                  </a:lnTo>
                  <a:lnTo>
                    <a:pt x="126" y="304"/>
                  </a:lnTo>
                  <a:lnTo>
                    <a:pt x="122" y="308"/>
                  </a:lnTo>
                  <a:lnTo>
                    <a:pt x="114" y="302"/>
                  </a:lnTo>
                  <a:lnTo>
                    <a:pt x="106" y="303"/>
                  </a:lnTo>
                  <a:lnTo>
                    <a:pt x="91" y="320"/>
                  </a:lnTo>
                  <a:lnTo>
                    <a:pt x="84" y="321"/>
                  </a:lnTo>
                  <a:lnTo>
                    <a:pt x="73" y="315"/>
                  </a:lnTo>
                  <a:lnTo>
                    <a:pt x="73" y="325"/>
                  </a:lnTo>
                  <a:lnTo>
                    <a:pt x="70" y="330"/>
                  </a:lnTo>
                  <a:lnTo>
                    <a:pt x="79" y="337"/>
                  </a:lnTo>
                  <a:lnTo>
                    <a:pt x="80" y="343"/>
                  </a:lnTo>
                  <a:lnTo>
                    <a:pt x="86" y="348"/>
                  </a:lnTo>
                  <a:lnTo>
                    <a:pt x="86" y="358"/>
                  </a:lnTo>
                  <a:lnTo>
                    <a:pt x="79" y="364"/>
                  </a:lnTo>
                  <a:lnTo>
                    <a:pt x="82" y="369"/>
                  </a:lnTo>
                  <a:lnTo>
                    <a:pt x="91" y="370"/>
                  </a:lnTo>
                  <a:lnTo>
                    <a:pt x="91" y="373"/>
                  </a:lnTo>
                  <a:lnTo>
                    <a:pt x="86" y="379"/>
                  </a:lnTo>
                  <a:lnTo>
                    <a:pt x="81" y="394"/>
                  </a:lnTo>
                  <a:lnTo>
                    <a:pt x="85" y="399"/>
                  </a:lnTo>
                  <a:lnTo>
                    <a:pt x="90" y="416"/>
                  </a:lnTo>
                  <a:lnTo>
                    <a:pt x="97" y="423"/>
                  </a:lnTo>
                  <a:lnTo>
                    <a:pt x="97" y="423"/>
                  </a:lnTo>
                  <a:close/>
                  <a:moveTo>
                    <a:pt x="387" y="532"/>
                  </a:moveTo>
                  <a:lnTo>
                    <a:pt x="387" y="522"/>
                  </a:lnTo>
                  <a:lnTo>
                    <a:pt x="392" y="516"/>
                  </a:lnTo>
                  <a:lnTo>
                    <a:pt x="391" y="508"/>
                  </a:lnTo>
                  <a:lnTo>
                    <a:pt x="382" y="497"/>
                  </a:lnTo>
                  <a:lnTo>
                    <a:pt x="391" y="477"/>
                  </a:lnTo>
                  <a:lnTo>
                    <a:pt x="399" y="470"/>
                  </a:lnTo>
                  <a:lnTo>
                    <a:pt x="400" y="459"/>
                  </a:lnTo>
                  <a:lnTo>
                    <a:pt x="393" y="452"/>
                  </a:lnTo>
                  <a:lnTo>
                    <a:pt x="382" y="462"/>
                  </a:lnTo>
                  <a:lnTo>
                    <a:pt x="377" y="460"/>
                  </a:lnTo>
                  <a:lnTo>
                    <a:pt x="368" y="456"/>
                  </a:lnTo>
                  <a:lnTo>
                    <a:pt x="357" y="465"/>
                  </a:lnTo>
                  <a:lnTo>
                    <a:pt x="336" y="464"/>
                  </a:lnTo>
                  <a:lnTo>
                    <a:pt x="319" y="469"/>
                  </a:lnTo>
                  <a:lnTo>
                    <a:pt x="307" y="466"/>
                  </a:lnTo>
                  <a:lnTo>
                    <a:pt x="299" y="462"/>
                  </a:lnTo>
                  <a:lnTo>
                    <a:pt x="289" y="462"/>
                  </a:lnTo>
                  <a:lnTo>
                    <a:pt x="283" y="466"/>
                  </a:lnTo>
                  <a:lnTo>
                    <a:pt x="279" y="463"/>
                  </a:lnTo>
                  <a:lnTo>
                    <a:pt x="268" y="468"/>
                  </a:lnTo>
                  <a:lnTo>
                    <a:pt x="267" y="481"/>
                  </a:lnTo>
                  <a:lnTo>
                    <a:pt x="277" y="489"/>
                  </a:lnTo>
                  <a:lnTo>
                    <a:pt x="287" y="487"/>
                  </a:lnTo>
                  <a:lnTo>
                    <a:pt x="303" y="498"/>
                  </a:lnTo>
                  <a:lnTo>
                    <a:pt x="313" y="500"/>
                  </a:lnTo>
                  <a:lnTo>
                    <a:pt x="322" y="509"/>
                  </a:lnTo>
                  <a:lnTo>
                    <a:pt x="342" y="516"/>
                  </a:lnTo>
                  <a:lnTo>
                    <a:pt x="347" y="514"/>
                  </a:lnTo>
                  <a:lnTo>
                    <a:pt x="355" y="518"/>
                  </a:lnTo>
                  <a:lnTo>
                    <a:pt x="358" y="526"/>
                  </a:lnTo>
                  <a:lnTo>
                    <a:pt x="378" y="533"/>
                  </a:lnTo>
                  <a:lnTo>
                    <a:pt x="387" y="532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89" name="Freeform 43">
              <a:extLst>
                <a:ext uri="{FF2B5EF4-FFF2-40B4-BE49-F238E27FC236}">
                  <a16:creationId xmlns:a16="http://schemas.microsoft.com/office/drawing/2014/main" id="{22AAB68C-F8A5-FD45-8EE8-D5A139577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725" y="3349625"/>
              <a:ext cx="828675" cy="615950"/>
            </a:xfrm>
            <a:custGeom>
              <a:avLst/>
              <a:gdLst/>
              <a:ahLst/>
              <a:cxnLst>
                <a:cxn ang="0">
                  <a:pos x="331" y="26"/>
                </a:cxn>
                <a:cxn ang="0">
                  <a:pos x="337" y="43"/>
                </a:cxn>
                <a:cxn ang="0">
                  <a:pos x="377" y="56"/>
                </a:cxn>
                <a:cxn ang="0">
                  <a:pos x="409" y="61"/>
                </a:cxn>
                <a:cxn ang="0">
                  <a:pos x="444" y="56"/>
                </a:cxn>
                <a:cxn ang="0">
                  <a:pos x="478" y="66"/>
                </a:cxn>
                <a:cxn ang="0">
                  <a:pos x="520" y="74"/>
                </a:cxn>
                <a:cxn ang="0">
                  <a:pos x="517" y="96"/>
                </a:cxn>
                <a:cxn ang="0">
                  <a:pos x="493" y="124"/>
                </a:cxn>
                <a:cxn ang="0">
                  <a:pos x="485" y="132"/>
                </a:cxn>
                <a:cxn ang="0">
                  <a:pos x="442" y="144"/>
                </a:cxn>
                <a:cxn ang="0">
                  <a:pos x="433" y="162"/>
                </a:cxn>
                <a:cxn ang="0">
                  <a:pos x="427" y="163"/>
                </a:cxn>
                <a:cxn ang="0">
                  <a:pos x="401" y="186"/>
                </a:cxn>
                <a:cxn ang="0">
                  <a:pos x="385" y="231"/>
                </a:cxn>
                <a:cxn ang="0">
                  <a:pos x="406" y="258"/>
                </a:cxn>
                <a:cxn ang="0">
                  <a:pos x="380" y="280"/>
                </a:cxn>
                <a:cxn ang="0">
                  <a:pos x="368" y="313"/>
                </a:cxn>
                <a:cxn ang="0">
                  <a:pos x="321" y="331"/>
                </a:cxn>
                <a:cxn ang="0">
                  <a:pos x="300" y="352"/>
                </a:cxn>
                <a:cxn ang="0">
                  <a:pos x="280" y="358"/>
                </a:cxn>
                <a:cxn ang="0">
                  <a:pos x="261" y="356"/>
                </a:cxn>
                <a:cxn ang="0">
                  <a:pos x="222" y="353"/>
                </a:cxn>
                <a:cxn ang="0">
                  <a:pos x="175" y="370"/>
                </a:cxn>
                <a:cxn ang="0">
                  <a:pos x="154" y="388"/>
                </a:cxn>
                <a:cxn ang="0">
                  <a:pos x="116" y="353"/>
                </a:cxn>
                <a:cxn ang="0">
                  <a:pos x="84" y="333"/>
                </a:cxn>
                <a:cxn ang="0">
                  <a:pos x="70" y="312"/>
                </a:cxn>
                <a:cxn ang="0">
                  <a:pos x="94" y="277"/>
                </a:cxn>
                <a:cxn ang="0">
                  <a:pos x="91" y="252"/>
                </a:cxn>
                <a:cxn ang="0">
                  <a:pos x="68" y="208"/>
                </a:cxn>
                <a:cxn ang="0">
                  <a:pos x="100" y="192"/>
                </a:cxn>
                <a:cxn ang="0">
                  <a:pos x="102" y="150"/>
                </a:cxn>
                <a:cxn ang="0">
                  <a:pos x="124" y="124"/>
                </a:cxn>
                <a:cxn ang="0">
                  <a:pos x="117" y="93"/>
                </a:cxn>
                <a:cxn ang="0">
                  <a:pos x="61" y="95"/>
                </a:cxn>
                <a:cxn ang="0">
                  <a:pos x="43" y="86"/>
                </a:cxn>
                <a:cxn ang="0">
                  <a:pos x="14" y="85"/>
                </a:cxn>
                <a:cxn ang="0">
                  <a:pos x="22" y="70"/>
                </a:cxn>
                <a:cxn ang="0">
                  <a:pos x="14" y="64"/>
                </a:cxn>
                <a:cxn ang="0">
                  <a:pos x="9" y="50"/>
                </a:cxn>
                <a:cxn ang="0">
                  <a:pos x="0" y="39"/>
                </a:cxn>
                <a:cxn ang="0">
                  <a:pos x="27" y="26"/>
                </a:cxn>
                <a:cxn ang="0">
                  <a:pos x="44" y="16"/>
                </a:cxn>
                <a:cxn ang="0">
                  <a:pos x="62" y="5"/>
                </a:cxn>
                <a:cxn ang="0">
                  <a:pos x="90" y="14"/>
                </a:cxn>
                <a:cxn ang="0">
                  <a:pos x="118" y="11"/>
                </a:cxn>
                <a:cxn ang="0">
                  <a:pos x="148" y="8"/>
                </a:cxn>
                <a:cxn ang="0">
                  <a:pos x="207" y="21"/>
                </a:cxn>
                <a:cxn ang="0">
                  <a:pos x="250" y="21"/>
                </a:cxn>
                <a:cxn ang="0">
                  <a:pos x="282" y="16"/>
                </a:cxn>
                <a:cxn ang="0">
                  <a:pos x="317" y="22"/>
                </a:cxn>
              </a:cxnLst>
              <a:rect l="0" t="0" r="r" b="b"/>
              <a:pathLst>
                <a:path w="522" h="388">
                  <a:moveTo>
                    <a:pt x="322" y="20"/>
                  </a:moveTo>
                  <a:lnTo>
                    <a:pt x="329" y="24"/>
                  </a:lnTo>
                  <a:lnTo>
                    <a:pt x="331" y="26"/>
                  </a:lnTo>
                  <a:lnTo>
                    <a:pt x="337" y="27"/>
                  </a:lnTo>
                  <a:lnTo>
                    <a:pt x="338" y="35"/>
                  </a:lnTo>
                  <a:lnTo>
                    <a:pt x="337" y="43"/>
                  </a:lnTo>
                  <a:lnTo>
                    <a:pt x="350" y="40"/>
                  </a:lnTo>
                  <a:lnTo>
                    <a:pt x="368" y="47"/>
                  </a:lnTo>
                  <a:lnTo>
                    <a:pt x="377" y="56"/>
                  </a:lnTo>
                  <a:lnTo>
                    <a:pt x="386" y="52"/>
                  </a:lnTo>
                  <a:lnTo>
                    <a:pt x="396" y="62"/>
                  </a:lnTo>
                  <a:lnTo>
                    <a:pt x="409" y="61"/>
                  </a:lnTo>
                  <a:lnTo>
                    <a:pt x="415" y="64"/>
                  </a:lnTo>
                  <a:lnTo>
                    <a:pt x="424" y="57"/>
                  </a:lnTo>
                  <a:lnTo>
                    <a:pt x="444" y="56"/>
                  </a:lnTo>
                  <a:lnTo>
                    <a:pt x="453" y="60"/>
                  </a:lnTo>
                  <a:lnTo>
                    <a:pt x="465" y="58"/>
                  </a:lnTo>
                  <a:lnTo>
                    <a:pt x="478" y="66"/>
                  </a:lnTo>
                  <a:lnTo>
                    <a:pt x="500" y="63"/>
                  </a:lnTo>
                  <a:lnTo>
                    <a:pt x="514" y="72"/>
                  </a:lnTo>
                  <a:lnTo>
                    <a:pt x="520" y="74"/>
                  </a:lnTo>
                  <a:lnTo>
                    <a:pt x="522" y="78"/>
                  </a:lnTo>
                  <a:lnTo>
                    <a:pt x="514" y="82"/>
                  </a:lnTo>
                  <a:lnTo>
                    <a:pt x="517" y="96"/>
                  </a:lnTo>
                  <a:lnTo>
                    <a:pt x="516" y="105"/>
                  </a:lnTo>
                  <a:lnTo>
                    <a:pt x="511" y="114"/>
                  </a:lnTo>
                  <a:lnTo>
                    <a:pt x="493" y="124"/>
                  </a:lnTo>
                  <a:lnTo>
                    <a:pt x="493" y="124"/>
                  </a:lnTo>
                  <a:lnTo>
                    <a:pt x="485" y="132"/>
                  </a:lnTo>
                  <a:lnTo>
                    <a:pt x="485" y="132"/>
                  </a:lnTo>
                  <a:lnTo>
                    <a:pt x="471" y="137"/>
                  </a:lnTo>
                  <a:lnTo>
                    <a:pt x="453" y="137"/>
                  </a:lnTo>
                  <a:lnTo>
                    <a:pt x="442" y="144"/>
                  </a:lnTo>
                  <a:lnTo>
                    <a:pt x="431" y="149"/>
                  </a:lnTo>
                  <a:lnTo>
                    <a:pt x="436" y="153"/>
                  </a:lnTo>
                  <a:lnTo>
                    <a:pt x="433" y="162"/>
                  </a:lnTo>
                  <a:lnTo>
                    <a:pt x="427" y="166"/>
                  </a:lnTo>
                  <a:lnTo>
                    <a:pt x="426" y="165"/>
                  </a:lnTo>
                  <a:lnTo>
                    <a:pt x="427" y="163"/>
                  </a:lnTo>
                  <a:lnTo>
                    <a:pt x="423" y="162"/>
                  </a:lnTo>
                  <a:lnTo>
                    <a:pt x="409" y="183"/>
                  </a:lnTo>
                  <a:lnTo>
                    <a:pt x="401" y="186"/>
                  </a:lnTo>
                  <a:lnTo>
                    <a:pt x="383" y="213"/>
                  </a:lnTo>
                  <a:lnTo>
                    <a:pt x="378" y="219"/>
                  </a:lnTo>
                  <a:lnTo>
                    <a:pt x="385" y="231"/>
                  </a:lnTo>
                  <a:lnTo>
                    <a:pt x="388" y="240"/>
                  </a:lnTo>
                  <a:lnTo>
                    <a:pt x="395" y="243"/>
                  </a:lnTo>
                  <a:lnTo>
                    <a:pt x="406" y="258"/>
                  </a:lnTo>
                  <a:lnTo>
                    <a:pt x="396" y="266"/>
                  </a:lnTo>
                  <a:lnTo>
                    <a:pt x="380" y="270"/>
                  </a:lnTo>
                  <a:lnTo>
                    <a:pt x="380" y="280"/>
                  </a:lnTo>
                  <a:lnTo>
                    <a:pt x="366" y="298"/>
                  </a:lnTo>
                  <a:lnTo>
                    <a:pt x="365" y="310"/>
                  </a:lnTo>
                  <a:lnTo>
                    <a:pt x="368" y="313"/>
                  </a:lnTo>
                  <a:lnTo>
                    <a:pt x="365" y="319"/>
                  </a:lnTo>
                  <a:lnTo>
                    <a:pt x="349" y="319"/>
                  </a:lnTo>
                  <a:lnTo>
                    <a:pt x="321" y="331"/>
                  </a:lnTo>
                  <a:lnTo>
                    <a:pt x="321" y="340"/>
                  </a:lnTo>
                  <a:lnTo>
                    <a:pt x="310" y="356"/>
                  </a:lnTo>
                  <a:lnTo>
                    <a:pt x="300" y="352"/>
                  </a:lnTo>
                  <a:lnTo>
                    <a:pt x="292" y="345"/>
                  </a:lnTo>
                  <a:lnTo>
                    <a:pt x="287" y="352"/>
                  </a:lnTo>
                  <a:lnTo>
                    <a:pt x="280" y="358"/>
                  </a:lnTo>
                  <a:lnTo>
                    <a:pt x="273" y="352"/>
                  </a:lnTo>
                  <a:lnTo>
                    <a:pt x="264" y="352"/>
                  </a:lnTo>
                  <a:lnTo>
                    <a:pt x="261" y="356"/>
                  </a:lnTo>
                  <a:lnTo>
                    <a:pt x="249" y="354"/>
                  </a:lnTo>
                  <a:lnTo>
                    <a:pt x="229" y="350"/>
                  </a:lnTo>
                  <a:lnTo>
                    <a:pt x="222" y="353"/>
                  </a:lnTo>
                  <a:lnTo>
                    <a:pt x="206" y="354"/>
                  </a:lnTo>
                  <a:lnTo>
                    <a:pt x="192" y="368"/>
                  </a:lnTo>
                  <a:lnTo>
                    <a:pt x="175" y="370"/>
                  </a:lnTo>
                  <a:lnTo>
                    <a:pt x="168" y="375"/>
                  </a:lnTo>
                  <a:lnTo>
                    <a:pt x="168" y="382"/>
                  </a:lnTo>
                  <a:lnTo>
                    <a:pt x="154" y="388"/>
                  </a:lnTo>
                  <a:lnTo>
                    <a:pt x="140" y="386"/>
                  </a:lnTo>
                  <a:lnTo>
                    <a:pt x="124" y="373"/>
                  </a:lnTo>
                  <a:lnTo>
                    <a:pt x="116" y="353"/>
                  </a:lnTo>
                  <a:lnTo>
                    <a:pt x="117" y="351"/>
                  </a:lnTo>
                  <a:lnTo>
                    <a:pt x="99" y="334"/>
                  </a:lnTo>
                  <a:lnTo>
                    <a:pt x="84" y="333"/>
                  </a:lnTo>
                  <a:lnTo>
                    <a:pt x="77" y="331"/>
                  </a:lnTo>
                  <a:lnTo>
                    <a:pt x="77" y="322"/>
                  </a:lnTo>
                  <a:lnTo>
                    <a:pt x="70" y="312"/>
                  </a:lnTo>
                  <a:lnTo>
                    <a:pt x="80" y="294"/>
                  </a:lnTo>
                  <a:lnTo>
                    <a:pt x="93" y="286"/>
                  </a:lnTo>
                  <a:lnTo>
                    <a:pt x="94" y="277"/>
                  </a:lnTo>
                  <a:lnTo>
                    <a:pt x="83" y="277"/>
                  </a:lnTo>
                  <a:lnTo>
                    <a:pt x="77" y="265"/>
                  </a:lnTo>
                  <a:lnTo>
                    <a:pt x="91" y="252"/>
                  </a:lnTo>
                  <a:lnTo>
                    <a:pt x="90" y="235"/>
                  </a:lnTo>
                  <a:lnTo>
                    <a:pt x="80" y="229"/>
                  </a:lnTo>
                  <a:lnTo>
                    <a:pt x="68" y="208"/>
                  </a:lnTo>
                  <a:lnTo>
                    <a:pt x="79" y="206"/>
                  </a:lnTo>
                  <a:lnTo>
                    <a:pt x="88" y="207"/>
                  </a:lnTo>
                  <a:lnTo>
                    <a:pt x="100" y="192"/>
                  </a:lnTo>
                  <a:lnTo>
                    <a:pt x="91" y="185"/>
                  </a:lnTo>
                  <a:lnTo>
                    <a:pt x="101" y="177"/>
                  </a:lnTo>
                  <a:lnTo>
                    <a:pt x="102" y="150"/>
                  </a:lnTo>
                  <a:lnTo>
                    <a:pt x="101" y="139"/>
                  </a:lnTo>
                  <a:lnTo>
                    <a:pt x="118" y="124"/>
                  </a:lnTo>
                  <a:lnTo>
                    <a:pt x="124" y="124"/>
                  </a:lnTo>
                  <a:lnTo>
                    <a:pt x="128" y="115"/>
                  </a:lnTo>
                  <a:lnTo>
                    <a:pt x="118" y="104"/>
                  </a:lnTo>
                  <a:lnTo>
                    <a:pt x="117" y="93"/>
                  </a:lnTo>
                  <a:lnTo>
                    <a:pt x="95" y="91"/>
                  </a:lnTo>
                  <a:lnTo>
                    <a:pt x="87" y="99"/>
                  </a:lnTo>
                  <a:lnTo>
                    <a:pt x="61" y="95"/>
                  </a:lnTo>
                  <a:lnTo>
                    <a:pt x="45" y="102"/>
                  </a:lnTo>
                  <a:lnTo>
                    <a:pt x="42" y="96"/>
                  </a:lnTo>
                  <a:lnTo>
                    <a:pt x="43" y="86"/>
                  </a:lnTo>
                  <a:lnTo>
                    <a:pt x="36" y="85"/>
                  </a:lnTo>
                  <a:lnTo>
                    <a:pt x="15" y="87"/>
                  </a:lnTo>
                  <a:lnTo>
                    <a:pt x="14" y="85"/>
                  </a:lnTo>
                  <a:lnTo>
                    <a:pt x="25" y="76"/>
                  </a:lnTo>
                  <a:lnTo>
                    <a:pt x="18" y="75"/>
                  </a:lnTo>
                  <a:lnTo>
                    <a:pt x="22" y="70"/>
                  </a:lnTo>
                  <a:lnTo>
                    <a:pt x="19" y="67"/>
                  </a:lnTo>
                  <a:lnTo>
                    <a:pt x="21" y="58"/>
                  </a:lnTo>
                  <a:lnTo>
                    <a:pt x="14" y="64"/>
                  </a:lnTo>
                  <a:lnTo>
                    <a:pt x="10" y="63"/>
                  </a:lnTo>
                  <a:lnTo>
                    <a:pt x="13" y="52"/>
                  </a:lnTo>
                  <a:lnTo>
                    <a:pt x="9" y="50"/>
                  </a:lnTo>
                  <a:lnTo>
                    <a:pt x="9" y="45"/>
                  </a:lnTo>
                  <a:lnTo>
                    <a:pt x="4" y="47"/>
                  </a:lnTo>
                  <a:lnTo>
                    <a:pt x="0" y="39"/>
                  </a:lnTo>
                  <a:lnTo>
                    <a:pt x="4" y="29"/>
                  </a:lnTo>
                  <a:lnTo>
                    <a:pt x="22" y="23"/>
                  </a:lnTo>
                  <a:lnTo>
                    <a:pt x="27" y="26"/>
                  </a:lnTo>
                  <a:lnTo>
                    <a:pt x="42" y="24"/>
                  </a:lnTo>
                  <a:lnTo>
                    <a:pt x="49" y="20"/>
                  </a:lnTo>
                  <a:lnTo>
                    <a:pt x="44" y="16"/>
                  </a:lnTo>
                  <a:lnTo>
                    <a:pt x="43" y="11"/>
                  </a:lnTo>
                  <a:lnTo>
                    <a:pt x="60" y="3"/>
                  </a:lnTo>
                  <a:lnTo>
                    <a:pt x="62" y="5"/>
                  </a:lnTo>
                  <a:lnTo>
                    <a:pt x="68" y="0"/>
                  </a:lnTo>
                  <a:lnTo>
                    <a:pt x="80" y="3"/>
                  </a:lnTo>
                  <a:lnTo>
                    <a:pt x="90" y="14"/>
                  </a:lnTo>
                  <a:lnTo>
                    <a:pt x="99" y="8"/>
                  </a:lnTo>
                  <a:lnTo>
                    <a:pt x="108" y="8"/>
                  </a:lnTo>
                  <a:lnTo>
                    <a:pt x="118" y="11"/>
                  </a:lnTo>
                  <a:lnTo>
                    <a:pt x="130" y="8"/>
                  </a:lnTo>
                  <a:lnTo>
                    <a:pt x="145" y="4"/>
                  </a:lnTo>
                  <a:lnTo>
                    <a:pt x="148" y="8"/>
                  </a:lnTo>
                  <a:lnTo>
                    <a:pt x="160" y="14"/>
                  </a:lnTo>
                  <a:lnTo>
                    <a:pt x="193" y="18"/>
                  </a:lnTo>
                  <a:lnTo>
                    <a:pt x="207" y="21"/>
                  </a:lnTo>
                  <a:lnTo>
                    <a:pt x="230" y="12"/>
                  </a:lnTo>
                  <a:lnTo>
                    <a:pt x="246" y="14"/>
                  </a:lnTo>
                  <a:lnTo>
                    <a:pt x="250" y="21"/>
                  </a:lnTo>
                  <a:lnTo>
                    <a:pt x="265" y="23"/>
                  </a:lnTo>
                  <a:lnTo>
                    <a:pt x="274" y="16"/>
                  </a:lnTo>
                  <a:lnTo>
                    <a:pt x="282" y="16"/>
                  </a:lnTo>
                  <a:lnTo>
                    <a:pt x="307" y="29"/>
                  </a:lnTo>
                  <a:lnTo>
                    <a:pt x="311" y="23"/>
                  </a:lnTo>
                  <a:lnTo>
                    <a:pt x="317" y="22"/>
                  </a:lnTo>
                  <a:lnTo>
                    <a:pt x="322" y="20"/>
                  </a:lnTo>
                  <a:lnTo>
                    <a:pt x="322" y="20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90" name="Freeform 44">
              <a:extLst>
                <a:ext uri="{FF2B5EF4-FFF2-40B4-BE49-F238E27FC236}">
                  <a16:creationId xmlns:a16="http://schemas.microsoft.com/office/drawing/2014/main" id="{2D2C76F1-2CFA-9A46-8C13-AB4EA5F60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3325" y="3484563"/>
              <a:ext cx="228600" cy="407988"/>
            </a:xfrm>
            <a:custGeom>
              <a:avLst/>
              <a:gdLst/>
              <a:ahLst/>
              <a:cxnLst>
                <a:cxn ang="0">
                  <a:pos x="93" y="237"/>
                </a:cxn>
                <a:cxn ang="0">
                  <a:pos x="96" y="209"/>
                </a:cxn>
                <a:cxn ang="0">
                  <a:pos x="110" y="192"/>
                </a:cxn>
                <a:cxn ang="0">
                  <a:pos x="93" y="180"/>
                </a:cxn>
                <a:cxn ang="0">
                  <a:pos x="106" y="150"/>
                </a:cxn>
                <a:cxn ang="0">
                  <a:pos x="84" y="123"/>
                </a:cxn>
                <a:cxn ang="0">
                  <a:pos x="104" y="122"/>
                </a:cxn>
                <a:cxn ang="0">
                  <a:pos x="107" y="100"/>
                </a:cxn>
                <a:cxn ang="0">
                  <a:pos x="118" y="65"/>
                </a:cxn>
                <a:cxn ang="0">
                  <a:pos x="134" y="39"/>
                </a:cxn>
                <a:cxn ang="0">
                  <a:pos x="144" y="30"/>
                </a:cxn>
                <a:cxn ang="0">
                  <a:pos x="133" y="8"/>
                </a:cxn>
                <a:cxn ang="0">
                  <a:pos x="103" y="14"/>
                </a:cxn>
                <a:cxn ang="0">
                  <a:pos x="61" y="17"/>
                </a:cxn>
                <a:cxn ang="0">
                  <a:pos x="59" y="1"/>
                </a:cxn>
                <a:cxn ang="0">
                  <a:pos x="31" y="2"/>
                </a:cxn>
                <a:cxn ang="0">
                  <a:pos x="38" y="25"/>
                </a:cxn>
                <a:cxn ang="0">
                  <a:pos x="37" y="56"/>
                </a:cxn>
                <a:cxn ang="0">
                  <a:pos x="41" y="74"/>
                </a:cxn>
                <a:cxn ang="0">
                  <a:pos x="30" y="91"/>
                </a:cxn>
                <a:cxn ang="0">
                  <a:pos x="19" y="117"/>
                </a:cxn>
                <a:cxn ang="0">
                  <a:pos x="7" y="141"/>
                </a:cxn>
                <a:cxn ang="0">
                  <a:pos x="1" y="172"/>
                </a:cxn>
                <a:cxn ang="0">
                  <a:pos x="14" y="166"/>
                </a:cxn>
                <a:cxn ang="0">
                  <a:pos x="23" y="166"/>
                </a:cxn>
                <a:cxn ang="0">
                  <a:pos x="12" y="175"/>
                </a:cxn>
                <a:cxn ang="0">
                  <a:pos x="16" y="188"/>
                </a:cxn>
                <a:cxn ang="0">
                  <a:pos x="34" y="182"/>
                </a:cxn>
                <a:cxn ang="0">
                  <a:pos x="32" y="199"/>
                </a:cxn>
                <a:cxn ang="0">
                  <a:pos x="28" y="231"/>
                </a:cxn>
                <a:cxn ang="0">
                  <a:pos x="20" y="251"/>
                </a:cxn>
                <a:cxn ang="0">
                  <a:pos x="37" y="245"/>
                </a:cxn>
                <a:cxn ang="0">
                  <a:pos x="65" y="257"/>
                </a:cxn>
                <a:cxn ang="0">
                  <a:pos x="90" y="250"/>
                </a:cxn>
                <a:cxn ang="0">
                  <a:pos x="93" y="246"/>
                </a:cxn>
              </a:cxnLst>
              <a:rect l="0" t="0" r="r" b="b"/>
              <a:pathLst>
                <a:path w="144" h="257">
                  <a:moveTo>
                    <a:pt x="93" y="246"/>
                  </a:moveTo>
                  <a:lnTo>
                    <a:pt x="93" y="237"/>
                  </a:lnTo>
                  <a:lnTo>
                    <a:pt x="86" y="227"/>
                  </a:lnTo>
                  <a:lnTo>
                    <a:pt x="96" y="209"/>
                  </a:lnTo>
                  <a:lnTo>
                    <a:pt x="109" y="201"/>
                  </a:lnTo>
                  <a:lnTo>
                    <a:pt x="110" y="192"/>
                  </a:lnTo>
                  <a:lnTo>
                    <a:pt x="99" y="192"/>
                  </a:lnTo>
                  <a:lnTo>
                    <a:pt x="93" y="180"/>
                  </a:lnTo>
                  <a:lnTo>
                    <a:pt x="107" y="167"/>
                  </a:lnTo>
                  <a:lnTo>
                    <a:pt x="106" y="150"/>
                  </a:lnTo>
                  <a:lnTo>
                    <a:pt x="96" y="144"/>
                  </a:lnTo>
                  <a:lnTo>
                    <a:pt x="84" y="123"/>
                  </a:lnTo>
                  <a:lnTo>
                    <a:pt x="95" y="121"/>
                  </a:lnTo>
                  <a:lnTo>
                    <a:pt x="104" y="122"/>
                  </a:lnTo>
                  <a:lnTo>
                    <a:pt x="116" y="107"/>
                  </a:lnTo>
                  <a:lnTo>
                    <a:pt x="107" y="100"/>
                  </a:lnTo>
                  <a:lnTo>
                    <a:pt x="117" y="92"/>
                  </a:lnTo>
                  <a:lnTo>
                    <a:pt x="118" y="65"/>
                  </a:lnTo>
                  <a:lnTo>
                    <a:pt x="117" y="54"/>
                  </a:lnTo>
                  <a:lnTo>
                    <a:pt x="134" y="39"/>
                  </a:lnTo>
                  <a:lnTo>
                    <a:pt x="140" y="39"/>
                  </a:lnTo>
                  <a:lnTo>
                    <a:pt x="144" y="30"/>
                  </a:lnTo>
                  <a:lnTo>
                    <a:pt x="134" y="19"/>
                  </a:lnTo>
                  <a:lnTo>
                    <a:pt x="133" y="8"/>
                  </a:lnTo>
                  <a:lnTo>
                    <a:pt x="111" y="6"/>
                  </a:lnTo>
                  <a:lnTo>
                    <a:pt x="103" y="14"/>
                  </a:lnTo>
                  <a:lnTo>
                    <a:pt x="77" y="1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9" y="1"/>
                  </a:lnTo>
                  <a:lnTo>
                    <a:pt x="52" y="0"/>
                  </a:lnTo>
                  <a:lnTo>
                    <a:pt x="31" y="2"/>
                  </a:lnTo>
                  <a:lnTo>
                    <a:pt x="31" y="11"/>
                  </a:lnTo>
                  <a:lnTo>
                    <a:pt x="38" y="25"/>
                  </a:lnTo>
                  <a:lnTo>
                    <a:pt x="35" y="51"/>
                  </a:lnTo>
                  <a:lnTo>
                    <a:pt x="37" y="56"/>
                  </a:lnTo>
                  <a:lnTo>
                    <a:pt x="34" y="66"/>
                  </a:lnTo>
                  <a:lnTo>
                    <a:pt x="41" y="74"/>
                  </a:lnTo>
                  <a:lnTo>
                    <a:pt x="35" y="80"/>
                  </a:lnTo>
                  <a:lnTo>
                    <a:pt x="30" y="91"/>
                  </a:lnTo>
                  <a:lnTo>
                    <a:pt x="29" y="104"/>
                  </a:lnTo>
                  <a:lnTo>
                    <a:pt x="19" y="117"/>
                  </a:lnTo>
                  <a:lnTo>
                    <a:pt x="19" y="126"/>
                  </a:lnTo>
                  <a:lnTo>
                    <a:pt x="7" y="141"/>
                  </a:lnTo>
                  <a:lnTo>
                    <a:pt x="0" y="166"/>
                  </a:lnTo>
                  <a:lnTo>
                    <a:pt x="1" y="172"/>
                  </a:lnTo>
                  <a:lnTo>
                    <a:pt x="11" y="172"/>
                  </a:lnTo>
                  <a:lnTo>
                    <a:pt x="14" y="166"/>
                  </a:lnTo>
                  <a:lnTo>
                    <a:pt x="24" y="159"/>
                  </a:lnTo>
                  <a:lnTo>
                    <a:pt x="23" y="166"/>
                  </a:lnTo>
                  <a:lnTo>
                    <a:pt x="25" y="169"/>
                  </a:lnTo>
                  <a:lnTo>
                    <a:pt x="12" y="175"/>
                  </a:lnTo>
                  <a:lnTo>
                    <a:pt x="11" y="185"/>
                  </a:lnTo>
                  <a:lnTo>
                    <a:pt x="16" y="188"/>
                  </a:lnTo>
                  <a:lnTo>
                    <a:pt x="22" y="182"/>
                  </a:lnTo>
                  <a:lnTo>
                    <a:pt x="34" y="182"/>
                  </a:lnTo>
                  <a:lnTo>
                    <a:pt x="29" y="188"/>
                  </a:lnTo>
                  <a:lnTo>
                    <a:pt x="32" y="199"/>
                  </a:lnTo>
                  <a:lnTo>
                    <a:pt x="28" y="209"/>
                  </a:lnTo>
                  <a:lnTo>
                    <a:pt x="28" y="231"/>
                  </a:lnTo>
                  <a:lnTo>
                    <a:pt x="24" y="246"/>
                  </a:lnTo>
                  <a:lnTo>
                    <a:pt x="20" y="251"/>
                  </a:lnTo>
                  <a:lnTo>
                    <a:pt x="24" y="254"/>
                  </a:lnTo>
                  <a:lnTo>
                    <a:pt x="37" y="245"/>
                  </a:lnTo>
                  <a:lnTo>
                    <a:pt x="57" y="253"/>
                  </a:lnTo>
                  <a:lnTo>
                    <a:pt x="65" y="257"/>
                  </a:lnTo>
                  <a:lnTo>
                    <a:pt x="78" y="250"/>
                  </a:lnTo>
                  <a:lnTo>
                    <a:pt x="90" y="250"/>
                  </a:lnTo>
                  <a:lnTo>
                    <a:pt x="93" y="246"/>
                  </a:lnTo>
                  <a:lnTo>
                    <a:pt x="93" y="246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91" name="Freeform 45">
              <a:extLst>
                <a:ext uri="{FF2B5EF4-FFF2-40B4-BE49-F238E27FC236}">
                  <a16:creationId xmlns:a16="http://schemas.microsoft.com/office/drawing/2014/main" id="{91B30247-CC7F-EF48-A69B-CFEC037253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463" y="3500438"/>
              <a:ext cx="631825" cy="517525"/>
            </a:xfrm>
            <a:custGeom>
              <a:avLst/>
              <a:gdLst/>
              <a:ahLst/>
              <a:cxnLst>
                <a:cxn ang="0">
                  <a:pos x="250" y="31"/>
                </a:cxn>
                <a:cxn ang="0">
                  <a:pos x="186" y="29"/>
                </a:cxn>
                <a:cxn ang="0">
                  <a:pos x="97" y="44"/>
                </a:cxn>
                <a:cxn ang="0">
                  <a:pos x="32" y="113"/>
                </a:cxn>
                <a:cxn ang="0">
                  <a:pos x="69" y="172"/>
                </a:cxn>
                <a:cxn ang="0">
                  <a:pos x="128" y="188"/>
                </a:cxn>
                <a:cxn ang="0">
                  <a:pos x="138" y="200"/>
                </a:cxn>
                <a:cxn ang="0">
                  <a:pos x="73" y="206"/>
                </a:cxn>
                <a:cxn ang="0">
                  <a:pos x="115" y="263"/>
                </a:cxn>
                <a:cxn ang="0">
                  <a:pos x="140" y="278"/>
                </a:cxn>
                <a:cxn ang="0">
                  <a:pos x="160" y="251"/>
                </a:cxn>
                <a:cxn ang="0">
                  <a:pos x="169" y="232"/>
                </a:cxn>
                <a:cxn ang="0">
                  <a:pos x="155" y="210"/>
                </a:cxn>
                <a:cxn ang="0">
                  <a:pos x="195" y="200"/>
                </a:cxn>
                <a:cxn ang="0">
                  <a:pos x="144" y="163"/>
                </a:cxn>
                <a:cxn ang="0">
                  <a:pos x="153" y="134"/>
                </a:cxn>
                <a:cxn ang="0">
                  <a:pos x="138" y="110"/>
                </a:cxn>
                <a:cxn ang="0">
                  <a:pos x="142" y="72"/>
                </a:cxn>
                <a:cxn ang="0">
                  <a:pos x="168" y="83"/>
                </a:cxn>
                <a:cxn ang="0">
                  <a:pos x="198" y="81"/>
                </a:cxn>
                <a:cxn ang="0">
                  <a:pos x="201" y="59"/>
                </a:cxn>
                <a:cxn ang="0">
                  <a:pos x="247" y="48"/>
                </a:cxn>
                <a:cxn ang="0">
                  <a:pos x="296" y="10"/>
                </a:cxn>
                <a:cxn ang="0">
                  <a:pos x="21" y="131"/>
                </a:cxn>
                <a:cxn ang="0">
                  <a:pos x="12" y="112"/>
                </a:cxn>
                <a:cxn ang="0">
                  <a:pos x="47" y="171"/>
                </a:cxn>
                <a:cxn ang="0">
                  <a:pos x="61" y="195"/>
                </a:cxn>
                <a:cxn ang="0">
                  <a:pos x="43" y="198"/>
                </a:cxn>
                <a:cxn ang="0">
                  <a:pos x="63" y="217"/>
                </a:cxn>
                <a:cxn ang="0">
                  <a:pos x="66" y="214"/>
                </a:cxn>
                <a:cxn ang="0">
                  <a:pos x="347" y="317"/>
                </a:cxn>
                <a:cxn ang="0">
                  <a:pos x="373" y="302"/>
                </a:cxn>
                <a:cxn ang="0">
                  <a:pos x="397" y="279"/>
                </a:cxn>
                <a:cxn ang="0">
                  <a:pos x="373" y="302"/>
                </a:cxn>
                <a:cxn ang="0">
                  <a:pos x="317" y="272"/>
                </a:cxn>
                <a:cxn ang="0">
                  <a:pos x="333" y="212"/>
                </a:cxn>
                <a:cxn ang="0">
                  <a:pos x="310" y="215"/>
                </a:cxn>
                <a:cxn ang="0">
                  <a:pos x="288" y="182"/>
                </a:cxn>
                <a:cxn ang="0">
                  <a:pos x="282" y="147"/>
                </a:cxn>
                <a:cxn ang="0">
                  <a:pos x="306" y="135"/>
                </a:cxn>
                <a:cxn ang="0">
                  <a:pos x="293" y="136"/>
                </a:cxn>
                <a:cxn ang="0">
                  <a:pos x="267" y="67"/>
                </a:cxn>
                <a:cxn ang="0">
                  <a:pos x="250" y="95"/>
                </a:cxn>
                <a:cxn ang="0">
                  <a:pos x="237" y="96"/>
                </a:cxn>
                <a:cxn ang="0">
                  <a:pos x="220" y="65"/>
                </a:cxn>
                <a:cxn ang="0">
                  <a:pos x="183" y="149"/>
                </a:cxn>
                <a:cxn ang="0">
                  <a:pos x="167" y="141"/>
                </a:cxn>
                <a:cxn ang="0">
                  <a:pos x="224" y="158"/>
                </a:cxn>
                <a:cxn ang="0">
                  <a:pos x="294" y="229"/>
                </a:cxn>
                <a:cxn ang="0">
                  <a:pos x="219" y="272"/>
                </a:cxn>
                <a:cxn ang="0">
                  <a:pos x="225" y="232"/>
                </a:cxn>
                <a:cxn ang="0">
                  <a:pos x="220" y="227"/>
                </a:cxn>
                <a:cxn ang="0">
                  <a:pos x="258" y="253"/>
                </a:cxn>
                <a:cxn ang="0">
                  <a:pos x="269" y="251"/>
                </a:cxn>
                <a:cxn ang="0">
                  <a:pos x="258" y="221"/>
                </a:cxn>
                <a:cxn ang="0">
                  <a:pos x="241" y="211"/>
                </a:cxn>
                <a:cxn ang="0">
                  <a:pos x="146" y="156"/>
                </a:cxn>
                <a:cxn ang="0">
                  <a:pos x="196" y="163"/>
                </a:cxn>
                <a:cxn ang="0">
                  <a:pos x="227" y="198"/>
                </a:cxn>
                <a:cxn ang="0">
                  <a:pos x="198" y="182"/>
                </a:cxn>
                <a:cxn ang="0">
                  <a:pos x="163" y="159"/>
                </a:cxn>
                <a:cxn ang="0">
                  <a:pos x="167" y="288"/>
                </a:cxn>
                <a:cxn ang="0">
                  <a:pos x="162" y="275"/>
                </a:cxn>
              </a:cxnLst>
              <a:rect l="0" t="0" r="r" b="b"/>
              <a:pathLst>
                <a:path w="398" h="326">
                  <a:moveTo>
                    <a:pt x="299" y="0"/>
                  </a:moveTo>
                  <a:lnTo>
                    <a:pt x="293" y="0"/>
                  </a:lnTo>
                  <a:lnTo>
                    <a:pt x="282" y="7"/>
                  </a:lnTo>
                  <a:lnTo>
                    <a:pt x="281" y="17"/>
                  </a:lnTo>
                  <a:lnTo>
                    <a:pt x="284" y="24"/>
                  </a:lnTo>
                  <a:lnTo>
                    <a:pt x="278" y="27"/>
                  </a:lnTo>
                  <a:lnTo>
                    <a:pt x="259" y="26"/>
                  </a:lnTo>
                  <a:lnTo>
                    <a:pt x="250" y="31"/>
                  </a:lnTo>
                  <a:lnTo>
                    <a:pt x="242" y="26"/>
                  </a:lnTo>
                  <a:lnTo>
                    <a:pt x="234" y="26"/>
                  </a:lnTo>
                  <a:lnTo>
                    <a:pt x="227" y="31"/>
                  </a:lnTo>
                  <a:lnTo>
                    <a:pt x="219" y="30"/>
                  </a:lnTo>
                  <a:lnTo>
                    <a:pt x="218" y="24"/>
                  </a:lnTo>
                  <a:lnTo>
                    <a:pt x="206" y="24"/>
                  </a:lnTo>
                  <a:lnTo>
                    <a:pt x="194" y="21"/>
                  </a:lnTo>
                  <a:lnTo>
                    <a:pt x="186" y="29"/>
                  </a:lnTo>
                  <a:lnTo>
                    <a:pt x="174" y="31"/>
                  </a:lnTo>
                  <a:lnTo>
                    <a:pt x="160" y="31"/>
                  </a:lnTo>
                  <a:lnTo>
                    <a:pt x="155" y="29"/>
                  </a:lnTo>
                  <a:lnTo>
                    <a:pt x="149" y="33"/>
                  </a:lnTo>
                  <a:lnTo>
                    <a:pt x="140" y="33"/>
                  </a:lnTo>
                  <a:lnTo>
                    <a:pt x="130" y="39"/>
                  </a:lnTo>
                  <a:lnTo>
                    <a:pt x="107" y="39"/>
                  </a:lnTo>
                  <a:lnTo>
                    <a:pt x="97" y="44"/>
                  </a:lnTo>
                  <a:lnTo>
                    <a:pt x="97" y="48"/>
                  </a:lnTo>
                  <a:lnTo>
                    <a:pt x="84" y="52"/>
                  </a:lnTo>
                  <a:lnTo>
                    <a:pt x="66" y="62"/>
                  </a:lnTo>
                  <a:lnTo>
                    <a:pt x="63" y="73"/>
                  </a:lnTo>
                  <a:lnTo>
                    <a:pt x="56" y="85"/>
                  </a:lnTo>
                  <a:lnTo>
                    <a:pt x="38" y="91"/>
                  </a:lnTo>
                  <a:lnTo>
                    <a:pt x="38" y="101"/>
                  </a:lnTo>
                  <a:lnTo>
                    <a:pt x="32" y="113"/>
                  </a:lnTo>
                  <a:lnTo>
                    <a:pt x="26" y="116"/>
                  </a:lnTo>
                  <a:lnTo>
                    <a:pt x="26" y="117"/>
                  </a:lnTo>
                  <a:lnTo>
                    <a:pt x="27" y="128"/>
                  </a:lnTo>
                  <a:lnTo>
                    <a:pt x="44" y="140"/>
                  </a:lnTo>
                  <a:lnTo>
                    <a:pt x="53" y="152"/>
                  </a:lnTo>
                  <a:lnTo>
                    <a:pt x="57" y="153"/>
                  </a:lnTo>
                  <a:lnTo>
                    <a:pt x="57" y="157"/>
                  </a:lnTo>
                  <a:lnTo>
                    <a:pt x="69" y="172"/>
                  </a:lnTo>
                  <a:lnTo>
                    <a:pt x="73" y="185"/>
                  </a:lnTo>
                  <a:lnTo>
                    <a:pt x="79" y="187"/>
                  </a:lnTo>
                  <a:lnTo>
                    <a:pt x="86" y="178"/>
                  </a:lnTo>
                  <a:lnTo>
                    <a:pt x="93" y="186"/>
                  </a:lnTo>
                  <a:lnTo>
                    <a:pt x="104" y="187"/>
                  </a:lnTo>
                  <a:lnTo>
                    <a:pt x="108" y="181"/>
                  </a:lnTo>
                  <a:lnTo>
                    <a:pt x="116" y="181"/>
                  </a:lnTo>
                  <a:lnTo>
                    <a:pt x="128" y="188"/>
                  </a:lnTo>
                  <a:lnTo>
                    <a:pt x="136" y="185"/>
                  </a:lnTo>
                  <a:lnTo>
                    <a:pt x="137" y="191"/>
                  </a:lnTo>
                  <a:lnTo>
                    <a:pt x="143" y="191"/>
                  </a:lnTo>
                  <a:lnTo>
                    <a:pt x="148" y="194"/>
                  </a:lnTo>
                  <a:lnTo>
                    <a:pt x="157" y="195"/>
                  </a:lnTo>
                  <a:lnTo>
                    <a:pt x="150" y="199"/>
                  </a:lnTo>
                  <a:lnTo>
                    <a:pt x="144" y="205"/>
                  </a:lnTo>
                  <a:lnTo>
                    <a:pt x="138" y="200"/>
                  </a:lnTo>
                  <a:lnTo>
                    <a:pt x="130" y="198"/>
                  </a:lnTo>
                  <a:lnTo>
                    <a:pt x="111" y="187"/>
                  </a:lnTo>
                  <a:lnTo>
                    <a:pt x="103" y="189"/>
                  </a:lnTo>
                  <a:lnTo>
                    <a:pt x="96" y="194"/>
                  </a:lnTo>
                  <a:lnTo>
                    <a:pt x="87" y="191"/>
                  </a:lnTo>
                  <a:lnTo>
                    <a:pt x="81" y="198"/>
                  </a:lnTo>
                  <a:lnTo>
                    <a:pt x="76" y="199"/>
                  </a:lnTo>
                  <a:lnTo>
                    <a:pt x="73" y="206"/>
                  </a:lnTo>
                  <a:lnTo>
                    <a:pt x="82" y="217"/>
                  </a:lnTo>
                  <a:lnTo>
                    <a:pt x="93" y="221"/>
                  </a:lnTo>
                  <a:lnTo>
                    <a:pt x="103" y="229"/>
                  </a:lnTo>
                  <a:lnTo>
                    <a:pt x="104" y="235"/>
                  </a:lnTo>
                  <a:lnTo>
                    <a:pt x="99" y="239"/>
                  </a:lnTo>
                  <a:lnTo>
                    <a:pt x="101" y="247"/>
                  </a:lnTo>
                  <a:lnTo>
                    <a:pt x="109" y="257"/>
                  </a:lnTo>
                  <a:lnTo>
                    <a:pt x="115" y="263"/>
                  </a:lnTo>
                  <a:lnTo>
                    <a:pt x="117" y="257"/>
                  </a:lnTo>
                  <a:lnTo>
                    <a:pt x="115" y="253"/>
                  </a:lnTo>
                  <a:lnTo>
                    <a:pt x="119" y="246"/>
                  </a:lnTo>
                  <a:lnTo>
                    <a:pt x="121" y="255"/>
                  </a:lnTo>
                  <a:lnTo>
                    <a:pt x="133" y="259"/>
                  </a:lnTo>
                  <a:lnTo>
                    <a:pt x="137" y="266"/>
                  </a:lnTo>
                  <a:lnTo>
                    <a:pt x="134" y="273"/>
                  </a:lnTo>
                  <a:lnTo>
                    <a:pt x="140" y="278"/>
                  </a:lnTo>
                  <a:lnTo>
                    <a:pt x="140" y="267"/>
                  </a:lnTo>
                  <a:lnTo>
                    <a:pt x="144" y="257"/>
                  </a:lnTo>
                  <a:lnTo>
                    <a:pt x="153" y="257"/>
                  </a:lnTo>
                  <a:lnTo>
                    <a:pt x="155" y="264"/>
                  </a:lnTo>
                  <a:lnTo>
                    <a:pt x="169" y="273"/>
                  </a:lnTo>
                  <a:lnTo>
                    <a:pt x="163" y="264"/>
                  </a:lnTo>
                  <a:lnTo>
                    <a:pt x="165" y="258"/>
                  </a:lnTo>
                  <a:lnTo>
                    <a:pt x="160" y="251"/>
                  </a:lnTo>
                  <a:lnTo>
                    <a:pt x="154" y="236"/>
                  </a:lnTo>
                  <a:lnTo>
                    <a:pt x="148" y="229"/>
                  </a:lnTo>
                  <a:lnTo>
                    <a:pt x="149" y="226"/>
                  </a:lnTo>
                  <a:lnTo>
                    <a:pt x="154" y="226"/>
                  </a:lnTo>
                  <a:lnTo>
                    <a:pt x="165" y="230"/>
                  </a:lnTo>
                  <a:lnTo>
                    <a:pt x="161" y="234"/>
                  </a:lnTo>
                  <a:lnTo>
                    <a:pt x="165" y="236"/>
                  </a:lnTo>
                  <a:lnTo>
                    <a:pt x="169" y="232"/>
                  </a:lnTo>
                  <a:lnTo>
                    <a:pt x="180" y="235"/>
                  </a:lnTo>
                  <a:lnTo>
                    <a:pt x="180" y="232"/>
                  </a:lnTo>
                  <a:lnTo>
                    <a:pt x="176" y="229"/>
                  </a:lnTo>
                  <a:lnTo>
                    <a:pt x="176" y="226"/>
                  </a:lnTo>
                  <a:lnTo>
                    <a:pt x="172" y="224"/>
                  </a:lnTo>
                  <a:lnTo>
                    <a:pt x="163" y="220"/>
                  </a:lnTo>
                  <a:lnTo>
                    <a:pt x="165" y="216"/>
                  </a:lnTo>
                  <a:lnTo>
                    <a:pt x="155" y="210"/>
                  </a:lnTo>
                  <a:lnTo>
                    <a:pt x="165" y="206"/>
                  </a:lnTo>
                  <a:lnTo>
                    <a:pt x="172" y="206"/>
                  </a:lnTo>
                  <a:lnTo>
                    <a:pt x="177" y="203"/>
                  </a:lnTo>
                  <a:lnTo>
                    <a:pt x="190" y="211"/>
                  </a:lnTo>
                  <a:lnTo>
                    <a:pt x="191" y="214"/>
                  </a:lnTo>
                  <a:lnTo>
                    <a:pt x="200" y="215"/>
                  </a:lnTo>
                  <a:lnTo>
                    <a:pt x="202" y="210"/>
                  </a:lnTo>
                  <a:lnTo>
                    <a:pt x="195" y="200"/>
                  </a:lnTo>
                  <a:lnTo>
                    <a:pt x="196" y="191"/>
                  </a:lnTo>
                  <a:lnTo>
                    <a:pt x="194" y="186"/>
                  </a:lnTo>
                  <a:lnTo>
                    <a:pt x="172" y="174"/>
                  </a:lnTo>
                  <a:lnTo>
                    <a:pt x="166" y="172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3" y="163"/>
                  </a:lnTo>
                  <a:lnTo>
                    <a:pt x="144" y="163"/>
                  </a:lnTo>
                  <a:lnTo>
                    <a:pt x="134" y="156"/>
                  </a:lnTo>
                  <a:lnTo>
                    <a:pt x="144" y="154"/>
                  </a:lnTo>
                  <a:lnTo>
                    <a:pt x="150" y="148"/>
                  </a:lnTo>
                  <a:lnTo>
                    <a:pt x="150" y="143"/>
                  </a:lnTo>
                  <a:lnTo>
                    <a:pt x="140" y="141"/>
                  </a:lnTo>
                  <a:lnTo>
                    <a:pt x="145" y="135"/>
                  </a:lnTo>
                  <a:lnTo>
                    <a:pt x="145" y="131"/>
                  </a:lnTo>
                  <a:lnTo>
                    <a:pt x="153" y="134"/>
                  </a:lnTo>
                  <a:lnTo>
                    <a:pt x="157" y="137"/>
                  </a:lnTo>
                  <a:lnTo>
                    <a:pt x="156" y="142"/>
                  </a:lnTo>
                  <a:lnTo>
                    <a:pt x="156" y="146"/>
                  </a:lnTo>
                  <a:lnTo>
                    <a:pt x="161" y="146"/>
                  </a:lnTo>
                  <a:lnTo>
                    <a:pt x="165" y="135"/>
                  </a:lnTo>
                  <a:lnTo>
                    <a:pt x="159" y="129"/>
                  </a:lnTo>
                  <a:lnTo>
                    <a:pt x="144" y="113"/>
                  </a:lnTo>
                  <a:lnTo>
                    <a:pt x="138" y="110"/>
                  </a:lnTo>
                  <a:lnTo>
                    <a:pt x="137" y="104"/>
                  </a:lnTo>
                  <a:lnTo>
                    <a:pt x="126" y="95"/>
                  </a:lnTo>
                  <a:lnTo>
                    <a:pt x="131" y="91"/>
                  </a:lnTo>
                  <a:lnTo>
                    <a:pt x="128" y="75"/>
                  </a:lnTo>
                  <a:lnTo>
                    <a:pt x="134" y="66"/>
                  </a:lnTo>
                  <a:lnTo>
                    <a:pt x="145" y="64"/>
                  </a:lnTo>
                  <a:lnTo>
                    <a:pt x="146" y="72"/>
                  </a:lnTo>
                  <a:lnTo>
                    <a:pt x="142" y="72"/>
                  </a:lnTo>
                  <a:lnTo>
                    <a:pt x="143" y="77"/>
                  </a:lnTo>
                  <a:lnTo>
                    <a:pt x="157" y="83"/>
                  </a:lnTo>
                  <a:lnTo>
                    <a:pt x="159" y="93"/>
                  </a:lnTo>
                  <a:lnTo>
                    <a:pt x="167" y="100"/>
                  </a:lnTo>
                  <a:lnTo>
                    <a:pt x="178" y="99"/>
                  </a:lnTo>
                  <a:lnTo>
                    <a:pt x="171" y="95"/>
                  </a:lnTo>
                  <a:lnTo>
                    <a:pt x="166" y="88"/>
                  </a:lnTo>
                  <a:lnTo>
                    <a:pt x="168" y="83"/>
                  </a:lnTo>
                  <a:lnTo>
                    <a:pt x="177" y="85"/>
                  </a:lnTo>
                  <a:lnTo>
                    <a:pt x="184" y="95"/>
                  </a:lnTo>
                  <a:lnTo>
                    <a:pt x="191" y="96"/>
                  </a:lnTo>
                  <a:lnTo>
                    <a:pt x="194" y="91"/>
                  </a:lnTo>
                  <a:lnTo>
                    <a:pt x="188" y="87"/>
                  </a:lnTo>
                  <a:lnTo>
                    <a:pt x="180" y="84"/>
                  </a:lnTo>
                  <a:lnTo>
                    <a:pt x="182" y="79"/>
                  </a:lnTo>
                  <a:lnTo>
                    <a:pt x="198" y="81"/>
                  </a:lnTo>
                  <a:lnTo>
                    <a:pt x="205" y="87"/>
                  </a:lnTo>
                  <a:lnTo>
                    <a:pt x="207" y="83"/>
                  </a:lnTo>
                  <a:lnTo>
                    <a:pt x="197" y="76"/>
                  </a:lnTo>
                  <a:lnTo>
                    <a:pt x="188" y="73"/>
                  </a:lnTo>
                  <a:lnTo>
                    <a:pt x="179" y="65"/>
                  </a:lnTo>
                  <a:lnTo>
                    <a:pt x="184" y="60"/>
                  </a:lnTo>
                  <a:lnTo>
                    <a:pt x="194" y="62"/>
                  </a:lnTo>
                  <a:lnTo>
                    <a:pt x="201" y="59"/>
                  </a:lnTo>
                  <a:lnTo>
                    <a:pt x="203" y="48"/>
                  </a:lnTo>
                  <a:lnTo>
                    <a:pt x="211" y="46"/>
                  </a:lnTo>
                  <a:lnTo>
                    <a:pt x="220" y="53"/>
                  </a:lnTo>
                  <a:lnTo>
                    <a:pt x="229" y="53"/>
                  </a:lnTo>
                  <a:lnTo>
                    <a:pt x="237" y="46"/>
                  </a:lnTo>
                  <a:lnTo>
                    <a:pt x="237" y="41"/>
                  </a:lnTo>
                  <a:lnTo>
                    <a:pt x="241" y="41"/>
                  </a:lnTo>
                  <a:lnTo>
                    <a:pt x="247" y="48"/>
                  </a:lnTo>
                  <a:lnTo>
                    <a:pt x="266" y="48"/>
                  </a:lnTo>
                  <a:lnTo>
                    <a:pt x="279" y="52"/>
                  </a:lnTo>
                  <a:lnTo>
                    <a:pt x="290" y="49"/>
                  </a:lnTo>
                  <a:lnTo>
                    <a:pt x="295" y="39"/>
                  </a:lnTo>
                  <a:lnTo>
                    <a:pt x="293" y="30"/>
                  </a:lnTo>
                  <a:lnTo>
                    <a:pt x="305" y="24"/>
                  </a:lnTo>
                  <a:lnTo>
                    <a:pt x="306" y="14"/>
                  </a:lnTo>
                  <a:lnTo>
                    <a:pt x="296" y="10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2" y="112"/>
                  </a:moveTo>
                  <a:lnTo>
                    <a:pt x="11" y="119"/>
                  </a:lnTo>
                  <a:lnTo>
                    <a:pt x="17" y="125"/>
                  </a:lnTo>
                  <a:lnTo>
                    <a:pt x="22" y="126"/>
                  </a:lnTo>
                  <a:lnTo>
                    <a:pt x="23" y="130"/>
                  </a:lnTo>
                  <a:lnTo>
                    <a:pt x="21" y="131"/>
                  </a:lnTo>
                  <a:lnTo>
                    <a:pt x="14" y="128"/>
                  </a:lnTo>
                  <a:lnTo>
                    <a:pt x="6" y="120"/>
                  </a:lnTo>
                  <a:lnTo>
                    <a:pt x="5" y="118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7" y="110"/>
                  </a:lnTo>
                  <a:lnTo>
                    <a:pt x="12" y="112"/>
                  </a:lnTo>
                  <a:lnTo>
                    <a:pt x="12" y="112"/>
                  </a:lnTo>
                  <a:close/>
                  <a:moveTo>
                    <a:pt x="47" y="171"/>
                  </a:moveTo>
                  <a:lnTo>
                    <a:pt x="47" y="168"/>
                  </a:lnTo>
                  <a:lnTo>
                    <a:pt x="51" y="162"/>
                  </a:lnTo>
                  <a:lnTo>
                    <a:pt x="55" y="160"/>
                  </a:lnTo>
                  <a:lnTo>
                    <a:pt x="56" y="168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47" y="171"/>
                  </a:lnTo>
                  <a:lnTo>
                    <a:pt x="47" y="171"/>
                  </a:lnTo>
                  <a:close/>
                  <a:moveTo>
                    <a:pt x="49" y="185"/>
                  </a:moveTo>
                  <a:lnTo>
                    <a:pt x="49" y="174"/>
                  </a:lnTo>
                  <a:lnTo>
                    <a:pt x="53" y="178"/>
                  </a:lnTo>
                  <a:lnTo>
                    <a:pt x="56" y="185"/>
                  </a:lnTo>
                  <a:lnTo>
                    <a:pt x="55" y="187"/>
                  </a:lnTo>
                  <a:lnTo>
                    <a:pt x="59" y="192"/>
                  </a:lnTo>
                  <a:lnTo>
                    <a:pt x="61" y="195"/>
                  </a:lnTo>
                  <a:lnTo>
                    <a:pt x="62" y="198"/>
                  </a:lnTo>
                  <a:lnTo>
                    <a:pt x="59" y="201"/>
                  </a:lnTo>
                  <a:lnTo>
                    <a:pt x="53" y="199"/>
                  </a:lnTo>
                  <a:lnTo>
                    <a:pt x="47" y="198"/>
                  </a:lnTo>
                  <a:lnTo>
                    <a:pt x="47" y="193"/>
                  </a:lnTo>
                  <a:lnTo>
                    <a:pt x="45" y="192"/>
                  </a:lnTo>
                  <a:lnTo>
                    <a:pt x="45" y="195"/>
                  </a:lnTo>
                  <a:lnTo>
                    <a:pt x="43" y="198"/>
                  </a:lnTo>
                  <a:lnTo>
                    <a:pt x="39" y="194"/>
                  </a:lnTo>
                  <a:lnTo>
                    <a:pt x="39" y="185"/>
                  </a:lnTo>
                  <a:lnTo>
                    <a:pt x="44" y="183"/>
                  </a:lnTo>
                  <a:lnTo>
                    <a:pt x="49" y="185"/>
                  </a:lnTo>
                  <a:lnTo>
                    <a:pt x="49" y="185"/>
                  </a:lnTo>
                  <a:close/>
                  <a:moveTo>
                    <a:pt x="66" y="214"/>
                  </a:moveTo>
                  <a:lnTo>
                    <a:pt x="68" y="217"/>
                  </a:lnTo>
                  <a:lnTo>
                    <a:pt x="63" y="217"/>
                  </a:lnTo>
                  <a:lnTo>
                    <a:pt x="62" y="220"/>
                  </a:lnTo>
                  <a:lnTo>
                    <a:pt x="57" y="218"/>
                  </a:lnTo>
                  <a:lnTo>
                    <a:pt x="50" y="212"/>
                  </a:lnTo>
                  <a:lnTo>
                    <a:pt x="52" y="207"/>
                  </a:lnTo>
                  <a:lnTo>
                    <a:pt x="56" y="206"/>
                  </a:lnTo>
                  <a:lnTo>
                    <a:pt x="61" y="209"/>
                  </a:lnTo>
                  <a:lnTo>
                    <a:pt x="66" y="214"/>
                  </a:lnTo>
                  <a:lnTo>
                    <a:pt x="66" y="214"/>
                  </a:lnTo>
                  <a:close/>
                  <a:moveTo>
                    <a:pt x="351" y="305"/>
                  </a:moveTo>
                  <a:lnTo>
                    <a:pt x="350" y="303"/>
                  </a:lnTo>
                  <a:lnTo>
                    <a:pt x="352" y="299"/>
                  </a:lnTo>
                  <a:lnTo>
                    <a:pt x="352" y="303"/>
                  </a:lnTo>
                  <a:lnTo>
                    <a:pt x="351" y="305"/>
                  </a:lnTo>
                  <a:lnTo>
                    <a:pt x="351" y="305"/>
                  </a:lnTo>
                  <a:close/>
                  <a:moveTo>
                    <a:pt x="348" y="326"/>
                  </a:moveTo>
                  <a:lnTo>
                    <a:pt x="347" y="317"/>
                  </a:lnTo>
                  <a:lnTo>
                    <a:pt x="345" y="313"/>
                  </a:lnTo>
                  <a:lnTo>
                    <a:pt x="350" y="307"/>
                  </a:lnTo>
                  <a:lnTo>
                    <a:pt x="351" y="311"/>
                  </a:lnTo>
                  <a:lnTo>
                    <a:pt x="354" y="317"/>
                  </a:lnTo>
                  <a:lnTo>
                    <a:pt x="352" y="325"/>
                  </a:lnTo>
                  <a:lnTo>
                    <a:pt x="348" y="326"/>
                  </a:lnTo>
                  <a:lnTo>
                    <a:pt x="348" y="326"/>
                  </a:lnTo>
                  <a:close/>
                  <a:moveTo>
                    <a:pt x="373" y="302"/>
                  </a:moveTo>
                  <a:lnTo>
                    <a:pt x="370" y="298"/>
                  </a:lnTo>
                  <a:lnTo>
                    <a:pt x="373" y="295"/>
                  </a:lnTo>
                  <a:lnTo>
                    <a:pt x="371" y="292"/>
                  </a:lnTo>
                  <a:lnTo>
                    <a:pt x="371" y="288"/>
                  </a:lnTo>
                  <a:lnTo>
                    <a:pt x="381" y="280"/>
                  </a:lnTo>
                  <a:lnTo>
                    <a:pt x="392" y="276"/>
                  </a:lnTo>
                  <a:lnTo>
                    <a:pt x="398" y="274"/>
                  </a:lnTo>
                  <a:lnTo>
                    <a:pt x="397" y="279"/>
                  </a:lnTo>
                  <a:lnTo>
                    <a:pt x="394" y="281"/>
                  </a:lnTo>
                  <a:lnTo>
                    <a:pt x="392" y="285"/>
                  </a:lnTo>
                  <a:lnTo>
                    <a:pt x="389" y="288"/>
                  </a:lnTo>
                  <a:lnTo>
                    <a:pt x="389" y="292"/>
                  </a:lnTo>
                  <a:lnTo>
                    <a:pt x="386" y="292"/>
                  </a:lnTo>
                  <a:lnTo>
                    <a:pt x="381" y="296"/>
                  </a:lnTo>
                  <a:lnTo>
                    <a:pt x="376" y="301"/>
                  </a:lnTo>
                  <a:lnTo>
                    <a:pt x="373" y="302"/>
                  </a:lnTo>
                  <a:lnTo>
                    <a:pt x="373" y="302"/>
                  </a:lnTo>
                  <a:close/>
                  <a:moveTo>
                    <a:pt x="311" y="274"/>
                  </a:moveTo>
                  <a:lnTo>
                    <a:pt x="307" y="272"/>
                  </a:lnTo>
                  <a:lnTo>
                    <a:pt x="310" y="268"/>
                  </a:lnTo>
                  <a:lnTo>
                    <a:pt x="316" y="266"/>
                  </a:lnTo>
                  <a:lnTo>
                    <a:pt x="319" y="268"/>
                  </a:lnTo>
                  <a:lnTo>
                    <a:pt x="317" y="272"/>
                  </a:lnTo>
                  <a:lnTo>
                    <a:pt x="317" y="272"/>
                  </a:lnTo>
                  <a:lnTo>
                    <a:pt x="311" y="274"/>
                  </a:lnTo>
                  <a:lnTo>
                    <a:pt x="311" y="274"/>
                  </a:lnTo>
                  <a:close/>
                  <a:moveTo>
                    <a:pt x="310" y="215"/>
                  </a:moveTo>
                  <a:lnTo>
                    <a:pt x="318" y="210"/>
                  </a:lnTo>
                  <a:lnTo>
                    <a:pt x="323" y="210"/>
                  </a:lnTo>
                  <a:lnTo>
                    <a:pt x="329" y="214"/>
                  </a:lnTo>
                  <a:lnTo>
                    <a:pt x="330" y="212"/>
                  </a:lnTo>
                  <a:lnTo>
                    <a:pt x="333" y="212"/>
                  </a:lnTo>
                  <a:lnTo>
                    <a:pt x="334" y="216"/>
                  </a:lnTo>
                  <a:lnTo>
                    <a:pt x="329" y="218"/>
                  </a:lnTo>
                  <a:lnTo>
                    <a:pt x="327" y="221"/>
                  </a:lnTo>
                  <a:lnTo>
                    <a:pt x="322" y="221"/>
                  </a:lnTo>
                  <a:lnTo>
                    <a:pt x="318" y="217"/>
                  </a:lnTo>
                  <a:lnTo>
                    <a:pt x="313" y="217"/>
                  </a:lnTo>
                  <a:lnTo>
                    <a:pt x="308" y="218"/>
                  </a:lnTo>
                  <a:lnTo>
                    <a:pt x="310" y="215"/>
                  </a:lnTo>
                  <a:lnTo>
                    <a:pt x="310" y="215"/>
                  </a:lnTo>
                  <a:close/>
                  <a:moveTo>
                    <a:pt x="295" y="171"/>
                  </a:moveTo>
                  <a:lnTo>
                    <a:pt x="296" y="181"/>
                  </a:lnTo>
                  <a:lnTo>
                    <a:pt x="295" y="188"/>
                  </a:lnTo>
                  <a:lnTo>
                    <a:pt x="289" y="191"/>
                  </a:lnTo>
                  <a:lnTo>
                    <a:pt x="284" y="187"/>
                  </a:lnTo>
                  <a:lnTo>
                    <a:pt x="283" y="185"/>
                  </a:lnTo>
                  <a:lnTo>
                    <a:pt x="288" y="182"/>
                  </a:lnTo>
                  <a:lnTo>
                    <a:pt x="288" y="176"/>
                  </a:lnTo>
                  <a:lnTo>
                    <a:pt x="282" y="172"/>
                  </a:lnTo>
                  <a:lnTo>
                    <a:pt x="282" y="170"/>
                  </a:lnTo>
                  <a:lnTo>
                    <a:pt x="287" y="168"/>
                  </a:lnTo>
                  <a:lnTo>
                    <a:pt x="293" y="169"/>
                  </a:lnTo>
                  <a:lnTo>
                    <a:pt x="295" y="171"/>
                  </a:lnTo>
                  <a:lnTo>
                    <a:pt x="295" y="171"/>
                  </a:lnTo>
                  <a:close/>
                  <a:moveTo>
                    <a:pt x="282" y="147"/>
                  </a:moveTo>
                  <a:lnTo>
                    <a:pt x="276" y="142"/>
                  </a:lnTo>
                  <a:lnTo>
                    <a:pt x="279" y="136"/>
                  </a:lnTo>
                  <a:lnTo>
                    <a:pt x="290" y="133"/>
                  </a:lnTo>
                  <a:lnTo>
                    <a:pt x="295" y="130"/>
                  </a:lnTo>
                  <a:lnTo>
                    <a:pt x="305" y="128"/>
                  </a:lnTo>
                  <a:lnTo>
                    <a:pt x="306" y="130"/>
                  </a:lnTo>
                  <a:lnTo>
                    <a:pt x="305" y="135"/>
                  </a:lnTo>
                  <a:lnTo>
                    <a:pt x="306" y="135"/>
                  </a:lnTo>
                  <a:lnTo>
                    <a:pt x="307" y="141"/>
                  </a:lnTo>
                  <a:lnTo>
                    <a:pt x="307" y="149"/>
                  </a:lnTo>
                  <a:lnTo>
                    <a:pt x="299" y="151"/>
                  </a:lnTo>
                  <a:lnTo>
                    <a:pt x="293" y="148"/>
                  </a:lnTo>
                  <a:lnTo>
                    <a:pt x="295" y="145"/>
                  </a:lnTo>
                  <a:lnTo>
                    <a:pt x="299" y="142"/>
                  </a:lnTo>
                  <a:lnTo>
                    <a:pt x="299" y="136"/>
                  </a:lnTo>
                  <a:lnTo>
                    <a:pt x="293" y="136"/>
                  </a:lnTo>
                  <a:lnTo>
                    <a:pt x="290" y="141"/>
                  </a:lnTo>
                  <a:lnTo>
                    <a:pt x="289" y="147"/>
                  </a:lnTo>
                  <a:lnTo>
                    <a:pt x="285" y="147"/>
                  </a:lnTo>
                  <a:lnTo>
                    <a:pt x="282" y="147"/>
                  </a:lnTo>
                  <a:lnTo>
                    <a:pt x="282" y="147"/>
                  </a:lnTo>
                  <a:close/>
                  <a:moveTo>
                    <a:pt x="259" y="71"/>
                  </a:moveTo>
                  <a:lnTo>
                    <a:pt x="261" y="68"/>
                  </a:lnTo>
                  <a:lnTo>
                    <a:pt x="267" y="67"/>
                  </a:lnTo>
                  <a:lnTo>
                    <a:pt x="272" y="68"/>
                  </a:lnTo>
                  <a:lnTo>
                    <a:pt x="273" y="73"/>
                  </a:lnTo>
                  <a:lnTo>
                    <a:pt x="267" y="75"/>
                  </a:lnTo>
                  <a:lnTo>
                    <a:pt x="259" y="71"/>
                  </a:lnTo>
                  <a:lnTo>
                    <a:pt x="259" y="71"/>
                  </a:lnTo>
                  <a:close/>
                  <a:moveTo>
                    <a:pt x="240" y="93"/>
                  </a:moveTo>
                  <a:lnTo>
                    <a:pt x="247" y="93"/>
                  </a:lnTo>
                  <a:lnTo>
                    <a:pt x="250" y="95"/>
                  </a:lnTo>
                  <a:lnTo>
                    <a:pt x="254" y="91"/>
                  </a:lnTo>
                  <a:lnTo>
                    <a:pt x="259" y="94"/>
                  </a:lnTo>
                  <a:lnTo>
                    <a:pt x="254" y="99"/>
                  </a:lnTo>
                  <a:lnTo>
                    <a:pt x="253" y="107"/>
                  </a:lnTo>
                  <a:lnTo>
                    <a:pt x="247" y="105"/>
                  </a:lnTo>
                  <a:lnTo>
                    <a:pt x="243" y="106"/>
                  </a:lnTo>
                  <a:lnTo>
                    <a:pt x="240" y="102"/>
                  </a:lnTo>
                  <a:lnTo>
                    <a:pt x="237" y="96"/>
                  </a:lnTo>
                  <a:lnTo>
                    <a:pt x="240" y="93"/>
                  </a:lnTo>
                  <a:lnTo>
                    <a:pt x="240" y="93"/>
                  </a:lnTo>
                  <a:close/>
                  <a:moveTo>
                    <a:pt x="217" y="58"/>
                  </a:moveTo>
                  <a:lnTo>
                    <a:pt x="221" y="56"/>
                  </a:lnTo>
                  <a:lnTo>
                    <a:pt x="227" y="59"/>
                  </a:lnTo>
                  <a:lnTo>
                    <a:pt x="227" y="64"/>
                  </a:lnTo>
                  <a:lnTo>
                    <a:pt x="223" y="66"/>
                  </a:lnTo>
                  <a:lnTo>
                    <a:pt x="220" y="65"/>
                  </a:lnTo>
                  <a:lnTo>
                    <a:pt x="214" y="65"/>
                  </a:lnTo>
                  <a:lnTo>
                    <a:pt x="217" y="58"/>
                  </a:lnTo>
                  <a:lnTo>
                    <a:pt x="217" y="58"/>
                  </a:lnTo>
                  <a:close/>
                  <a:moveTo>
                    <a:pt x="176" y="141"/>
                  </a:moveTo>
                  <a:lnTo>
                    <a:pt x="178" y="140"/>
                  </a:lnTo>
                  <a:lnTo>
                    <a:pt x="183" y="142"/>
                  </a:lnTo>
                  <a:lnTo>
                    <a:pt x="185" y="147"/>
                  </a:lnTo>
                  <a:lnTo>
                    <a:pt x="183" y="149"/>
                  </a:lnTo>
                  <a:lnTo>
                    <a:pt x="176" y="141"/>
                  </a:lnTo>
                  <a:lnTo>
                    <a:pt x="176" y="141"/>
                  </a:lnTo>
                  <a:close/>
                  <a:moveTo>
                    <a:pt x="167" y="141"/>
                  </a:moveTo>
                  <a:lnTo>
                    <a:pt x="171" y="139"/>
                  </a:lnTo>
                  <a:lnTo>
                    <a:pt x="173" y="141"/>
                  </a:lnTo>
                  <a:lnTo>
                    <a:pt x="171" y="145"/>
                  </a:lnTo>
                  <a:lnTo>
                    <a:pt x="167" y="141"/>
                  </a:lnTo>
                  <a:lnTo>
                    <a:pt x="167" y="141"/>
                  </a:lnTo>
                  <a:close/>
                  <a:moveTo>
                    <a:pt x="219" y="151"/>
                  </a:moveTo>
                  <a:lnTo>
                    <a:pt x="223" y="149"/>
                  </a:lnTo>
                  <a:lnTo>
                    <a:pt x="226" y="153"/>
                  </a:lnTo>
                  <a:lnTo>
                    <a:pt x="231" y="154"/>
                  </a:lnTo>
                  <a:lnTo>
                    <a:pt x="232" y="162"/>
                  </a:lnTo>
                  <a:lnTo>
                    <a:pt x="229" y="163"/>
                  </a:lnTo>
                  <a:lnTo>
                    <a:pt x="226" y="158"/>
                  </a:lnTo>
                  <a:lnTo>
                    <a:pt x="224" y="158"/>
                  </a:lnTo>
                  <a:lnTo>
                    <a:pt x="219" y="151"/>
                  </a:lnTo>
                  <a:lnTo>
                    <a:pt x="219" y="151"/>
                  </a:lnTo>
                  <a:close/>
                  <a:moveTo>
                    <a:pt x="294" y="229"/>
                  </a:moveTo>
                  <a:lnTo>
                    <a:pt x="292" y="226"/>
                  </a:lnTo>
                  <a:lnTo>
                    <a:pt x="293" y="222"/>
                  </a:lnTo>
                  <a:lnTo>
                    <a:pt x="302" y="220"/>
                  </a:lnTo>
                  <a:lnTo>
                    <a:pt x="301" y="224"/>
                  </a:lnTo>
                  <a:lnTo>
                    <a:pt x="294" y="229"/>
                  </a:lnTo>
                  <a:lnTo>
                    <a:pt x="294" y="229"/>
                  </a:lnTo>
                  <a:close/>
                  <a:moveTo>
                    <a:pt x="219" y="272"/>
                  </a:moveTo>
                  <a:lnTo>
                    <a:pt x="223" y="266"/>
                  </a:lnTo>
                  <a:lnTo>
                    <a:pt x="229" y="266"/>
                  </a:lnTo>
                  <a:lnTo>
                    <a:pt x="227" y="270"/>
                  </a:lnTo>
                  <a:lnTo>
                    <a:pt x="223" y="272"/>
                  </a:lnTo>
                  <a:lnTo>
                    <a:pt x="219" y="272"/>
                  </a:lnTo>
                  <a:lnTo>
                    <a:pt x="219" y="272"/>
                  </a:lnTo>
                  <a:close/>
                  <a:moveTo>
                    <a:pt x="223" y="246"/>
                  </a:moveTo>
                  <a:lnTo>
                    <a:pt x="226" y="243"/>
                  </a:lnTo>
                  <a:lnTo>
                    <a:pt x="226" y="249"/>
                  </a:lnTo>
                  <a:lnTo>
                    <a:pt x="223" y="246"/>
                  </a:lnTo>
                  <a:lnTo>
                    <a:pt x="223" y="246"/>
                  </a:lnTo>
                  <a:close/>
                  <a:moveTo>
                    <a:pt x="220" y="238"/>
                  </a:moveTo>
                  <a:lnTo>
                    <a:pt x="220" y="232"/>
                  </a:lnTo>
                  <a:lnTo>
                    <a:pt x="225" y="232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0" y="238"/>
                  </a:lnTo>
                  <a:lnTo>
                    <a:pt x="220" y="238"/>
                  </a:lnTo>
                  <a:close/>
                  <a:moveTo>
                    <a:pt x="217" y="228"/>
                  </a:moveTo>
                  <a:lnTo>
                    <a:pt x="214" y="226"/>
                  </a:lnTo>
                  <a:lnTo>
                    <a:pt x="218" y="222"/>
                  </a:lnTo>
                  <a:lnTo>
                    <a:pt x="220" y="227"/>
                  </a:lnTo>
                  <a:lnTo>
                    <a:pt x="217" y="228"/>
                  </a:lnTo>
                  <a:lnTo>
                    <a:pt x="217" y="228"/>
                  </a:lnTo>
                  <a:close/>
                  <a:moveTo>
                    <a:pt x="258" y="253"/>
                  </a:moveTo>
                  <a:lnTo>
                    <a:pt x="254" y="250"/>
                  </a:lnTo>
                  <a:lnTo>
                    <a:pt x="255" y="244"/>
                  </a:lnTo>
                  <a:lnTo>
                    <a:pt x="260" y="244"/>
                  </a:lnTo>
                  <a:lnTo>
                    <a:pt x="261" y="247"/>
                  </a:lnTo>
                  <a:lnTo>
                    <a:pt x="258" y="253"/>
                  </a:lnTo>
                  <a:lnTo>
                    <a:pt x="258" y="253"/>
                  </a:lnTo>
                  <a:close/>
                  <a:moveTo>
                    <a:pt x="269" y="251"/>
                  </a:moveTo>
                  <a:lnTo>
                    <a:pt x="265" y="246"/>
                  </a:lnTo>
                  <a:lnTo>
                    <a:pt x="272" y="241"/>
                  </a:lnTo>
                  <a:lnTo>
                    <a:pt x="276" y="243"/>
                  </a:lnTo>
                  <a:lnTo>
                    <a:pt x="277" y="246"/>
                  </a:lnTo>
                  <a:lnTo>
                    <a:pt x="273" y="251"/>
                  </a:lnTo>
                  <a:lnTo>
                    <a:pt x="269" y="251"/>
                  </a:lnTo>
                  <a:lnTo>
                    <a:pt x="269" y="251"/>
                  </a:lnTo>
                  <a:close/>
                  <a:moveTo>
                    <a:pt x="266" y="233"/>
                  </a:moveTo>
                  <a:lnTo>
                    <a:pt x="266" y="229"/>
                  </a:lnTo>
                  <a:lnTo>
                    <a:pt x="270" y="230"/>
                  </a:lnTo>
                  <a:lnTo>
                    <a:pt x="266" y="233"/>
                  </a:lnTo>
                  <a:lnTo>
                    <a:pt x="266" y="233"/>
                  </a:lnTo>
                  <a:close/>
                  <a:moveTo>
                    <a:pt x="253" y="223"/>
                  </a:moveTo>
                  <a:lnTo>
                    <a:pt x="258" y="221"/>
                  </a:lnTo>
                  <a:lnTo>
                    <a:pt x="261" y="224"/>
                  </a:lnTo>
                  <a:lnTo>
                    <a:pt x="261" y="229"/>
                  </a:lnTo>
                  <a:lnTo>
                    <a:pt x="256" y="227"/>
                  </a:lnTo>
                  <a:lnTo>
                    <a:pt x="253" y="223"/>
                  </a:lnTo>
                  <a:lnTo>
                    <a:pt x="253" y="223"/>
                  </a:lnTo>
                  <a:close/>
                  <a:moveTo>
                    <a:pt x="232" y="206"/>
                  </a:moveTo>
                  <a:lnTo>
                    <a:pt x="237" y="206"/>
                  </a:lnTo>
                  <a:lnTo>
                    <a:pt x="241" y="211"/>
                  </a:lnTo>
                  <a:lnTo>
                    <a:pt x="248" y="217"/>
                  </a:lnTo>
                  <a:lnTo>
                    <a:pt x="248" y="222"/>
                  </a:lnTo>
                  <a:lnTo>
                    <a:pt x="244" y="222"/>
                  </a:lnTo>
                  <a:lnTo>
                    <a:pt x="235" y="214"/>
                  </a:lnTo>
                  <a:lnTo>
                    <a:pt x="230" y="210"/>
                  </a:lnTo>
                  <a:lnTo>
                    <a:pt x="232" y="206"/>
                  </a:lnTo>
                  <a:lnTo>
                    <a:pt x="232" y="206"/>
                  </a:lnTo>
                  <a:close/>
                  <a:moveTo>
                    <a:pt x="146" y="156"/>
                  </a:moveTo>
                  <a:lnTo>
                    <a:pt x="154" y="151"/>
                  </a:lnTo>
                  <a:lnTo>
                    <a:pt x="165" y="149"/>
                  </a:lnTo>
                  <a:lnTo>
                    <a:pt x="172" y="156"/>
                  </a:lnTo>
                  <a:lnTo>
                    <a:pt x="180" y="159"/>
                  </a:lnTo>
                  <a:lnTo>
                    <a:pt x="188" y="163"/>
                  </a:lnTo>
                  <a:lnTo>
                    <a:pt x="189" y="164"/>
                  </a:lnTo>
                  <a:lnTo>
                    <a:pt x="195" y="164"/>
                  </a:lnTo>
                  <a:lnTo>
                    <a:pt x="196" y="163"/>
                  </a:lnTo>
                  <a:lnTo>
                    <a:pt x="207" y="172"/>
                  </a:lnTo>
                  <a:lnTo>
                    <a:pt x="211" y="180"/>
                  </a:lnTo>
                  <a:lnTo>
                    <a:pt x="211" y="183"/>
                  </a:lnTo>
                  <a:lnTo>
                    <a:pt x="212" y="187"/>
                  </a:lnTo>
                  <a:lnTo>
                    <a:pt x="211" y="193"/>
                  </a:lnTo>
                  <a:lnTo>
                    <a:pt x="217" y="199"/>
                  </a:lnTo>
                  <a:lnTo>
                    <a:pt x="220" y="197"/>
                  </a:lnTo>
                  <a:lnTo>
                    <a:pt x="227" y="198"/>
                  </a:lnTo>
                  <a:lnTo>
                    <a:pt x="225" y="206"/>
                  </a:lnTo>
                  <a:lnTo>
                    <a:pt x="220" y="204"/>
                  </a:lnTo>
                  <a:lnTo>
                    <a:pt x="217" y="206"/>
                  </a:lnTo>
                  <a:lnTo>
                    <a:pt x="209" y="201"/>
                  </a:lnTo>
                  <a:lnTo>
                    <a:pt x="207" y="198"/>
                  </a:lnTo>
                  <a:lnTo>
                    <a:pt x="208" y="193"/>
                  </a:lnTo>
                  <a:lnTo>
                    <a:pt x="205" y="189"/>
                  </a:lnTo>
                  <a:lnTo>
                    <a:pt x="198" y="182"/>
                  </a:lnTo>
                  <a:lnTo>
                    <a:pt x="196" y="178"/>
                  </a:lnTo>
                  <a:lnTo>
                    <a:pt x="190" y="178"/>
                  </a:lnTo>
                  <a:lnTo>
                    <a:pt x="182" y="175"/>
                  </a:lnTo>
                  <a:lnTo>
                    <a:pt x="178" y="170"/>
                  </a:lnTo>
                  <a:lnTo>
                    <a:pt x="173" y="169"/>
                  </a:lnTo>
                  <a:lnTo>
                    <a:pt x="169" y="164"/>
                  </a:lnTo>
                  <a:lnTo>
                    <a:pt x="165" y="163"/>
                  </a:lnTo>
                  <a:lnTo>
                    <a:pt x="163" y="159"/>
                  </a:lnTo>
                  <a:lnTo>
                    <a:pt x="159" y="157"/>
                  </a:lnTo>
                  <a:lnTo>
                    <a:pt x="151" y="157"/>
                  </a:lnTo>
                  <a:lnTo>
                    <a:pt x="146" y="156"/>
                  </a:lnTo>
                  <a:lnTo>
                    <a:pt x="146" y="156"/>
                  </a:lnTo>
                  <a:close/>
                  <a:moveTo>
                    <a:pt x="160" y="279"/>
                  </a:moveTo>
                  <a:lnTo>
                    <a:pt x="161" y="278"/>
                  </a:lnTo>
                  <a:lnTo>
                    <a:pt x="163" y="282"/>
                  </a:lnTo>
                  <a:lnTo>
                    <a:pt x="167" y="288"/>
                  </a:lnTo>
                  <a:lnTo>
                    <a:pt x="165" y="295"/>
                  </a:lnTo>
                  <a:lnTo>
                    <a:pt x="160" y="292"/>
                  </a:lnTo>
                  <a:lnTo>
                    <a:pt x="160" y="287"/>
                  </a:lnTo>
                  <a:lnTo>
                    <a:pt x="157" y="284"/>
                  </a:lnTo>
                  <a:lnTo>
                    <a:pt x="160" y="279"/>
                  </a:lnTo>
                  <a:lnTo>
                    <a:pt x="160" y="279"/>
                  </a:lnTo>
                  <a:close/>
                  <a:moveTo>
                    <a:pt x="160" y="272"/>
                  </a:moveTo>
                  <a:lnTo>
                    <a:pt x="162" y="275"/>
                  </a:lnTo>
                  <a:lnTo>
                    <a:pt x="159" y="275"/>
                  </a:lnTo>
                  <a:lnTo>
                    <a:pt x="160" y="272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92" name="Freeform 46">
              <a:extLst>
                <a:ext uri="{FF2B5EF4-FFF2-40B4-BE49-F238E27FC236}">
                  <a16:creationId xmlns:a16="http://schemas.microsoft.com/office/drawing/2014/main" id="{4F4AC534-9D71-FE4E-9BC5-3EA67A7412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4738" y="3473450"/>
              <a:ext cx="1355725" cy="492125"/>
            </a:xfrm>
            <a:custGeom>
              <a:avLst/>
              <a:gdLst/>
              <a:ahLst/>
              <a:cxnLst>
                <a:cxn ang="0">
                  <a:pos x="40" y="31"/>
                </a:cxn>
                <a:cxn ang="0">
                  <a:pos x="65" y="2"/>
                </a:cxn>
                <a:cxn ang="0">
                  <a:pos x="120" y="36"/>
                </a:cxn>
                <a:cxn ang="0">
                  <a:pos x="115" y="59"/>
                </a:cxn>
                <a:cxn ang="0">
                  <a:pos x="46" y="88"/>
                </a:cxn>
                <a:cxn ang="0">
                  <a:pos x="36" y="79"/>
                </a:cxn>
                <a:cxn ang="0">
                  <a:pos x="13" y="69"/>
                </a:cxn>
                <a:cxn ang="0">
                  <a:pos x="650" y="50"/>
                </a:cxn>
                <a:cxn ang="0">
                  <a:pos x="597" y="47"/>
                </a:cxn>
                <a:cxn ang="0">
                  <a:pos x="520" y="52"/>
                </a:cxn>
                <a:cxn ang="0">
                  <a:pos x="461" y="37"/>
                </a:cxn>
                <a:cxn ang="0">
                  <a:pos x="423" y="20"/>
                </a:cxn>
                <a:cxn ang="0">
                  <a:pos x="372" y="6"/>
                </a:cxn>
                <a:cxn ang="0">
                  <a:pos x="291" y="15"/>
                </a:cxn>
                <a:cxn ang="0">
                  <a:pos x="246" y="46"/>
                </a:cxn>
                <a:cxn ang="0">
                  <a:pos x="189" y="49"/>
                </a:cxn>
                <a:cxn ang="0">
                  <a:pos x="152" y="70"/>
                </a:cxn>
                <a:cxn ang="0">
                  <a:pos x="133" y="88"/>
                </a:cxn>
                <a:cxn ang="0">
                  <a:pos x="111" y="92"/>
                </a:cxn>
                <a:cxn ang="0">
                  <a:pos x="62" y="89"/>
                </a:cxn>
                <a:cxn ang="0">
                  <a:pos x="27" y="133"/>
                </a:cxn>
                <a:cxn ang="0">
                  <a:pos x="63" y="137"/>
                </a:cxn>
                <a:cxn ang="0">
                  <a:pos x="59" y="170"/>
                </a:cxn>
                <a:cxn ang="0">
                  <a:pos x="63" y="183"/>
                </a:cxn>
                <a:cxn ang="0">
                  <a:pos x="38" y="189"/>
                </a:cxn>
                <a:cxn ang="0">
                  <a:pos x="56" y="215"/>
                </a:cxn>
                <a:cxn ang="0">
                  <a:pos x="75" y="245"/>
                </a:cxn>
                <a:cxn ang="0">
                  <a:pos x="85" y="268"/>
                </a:cxn>
                <a:cxn ang="0">
                  <a:pos x="88" y="275"/>
                </a:cxn>
                <a:cxn ang="0">
                  <a:pos x="113" y="283"/>
                </a:cxn>
                <a:cxn ang="0">
                  <a:pos x="144" y="276"/>
                </a:cxn>
                <a:cxn ang="0">
                  <a:pos x="163" y="289"/>
                </a:cxn>
                <a:cxn ang="0">
                  <a:pos x="204" y="298"/>
                </a:cxn>
                <a:cxn ang="0">
                  <a:pos x="233" y="281"/>
                </a:cxn>
                <a:cxn ang="0">
                  <a:pos x="312" y="299"/>
                </a:cxn>
                <a:cxn ang="0">
                  <a:pos x="391" y="295"/>
                </a:cxn>
                <a:cxn ang="0">
                  <a:pos x="462" y="275"/>
                </a:cxn>
                <a:cxn ang="0">
                  <a:pos x="467" y="290"/>
                </a:cxn>
                <a:cxn ang="0">
                  <a:pos x="501" y="305"/>
                </a:cxn>
                <a:cxn ang="0">
                  <a:pos x="530" y="275"/>
                </a:cxn>
                <a:cxn ang="0">
                  <a:pos x="601" y="267"/>
                </a:cxn>
                <a:cxn ang="0">
                  <a:pos x="673" y="252"/>
                </a:cxn>
                <a:cxn ang="0">
                  <a:pos x="752" y="249"/>
                </a:cxn>
                <a:cxn ang="0">
                  <a:pos x="827" y="237"/>
                </a:cxn>
                <a:cxn ang="0">
                  <a:pos x="849" y="232"/>
                </a:cxn>
                <a:cxn ang="0">
                  <a:pos x="831" y="177"/>
                </a:cxn>
                <a:cxn ang="0">
                  <a:pos x="811" y="129"/>
                </a:cxn>
                <a:cxn ang="0">
                  <a:pos x="811" y="99"/>
                </a:cxn>
                <a:cxn ang="0">
                  <a:pos x="773" y="52"/>
                </a:cxn>
                <a:cxn ang="0">
                  <a:pos x="723" y="25"/>
                </a:cxn>
                <a:cxn ang="0">
                  <a:pos x="688" y="18"/>
                </a:cxn>
                <a:cxn ang="0">
                  <a:pos x="105" y="287"/>
                </a:cxn>
                <a:cxn ang="0">
                  <a:pos x="18" y="96"/>
                </a:cxn>
              </a:cxnLst>
              <a:rect l="0" t="0" r="r" b="b"/>
              <a:pathLst>
                <a:path w="854" h="310">
                  <a:moveTo>
                    <a:pt x="13" y="69"/>
                  </a:moveTo>
                  <a:lnTo>
                    <a:pt x="24" y="66"/>
                  </a:lnTo>
                  <a:lnTo>
                    <a:pt x="29" y="56"/>
                  </a:lnTo>
                  <a:lnTo>
                    <a:pt x="27" y="47"/>
                  </a:lnTo>
                  <a:lnTo>
                    <a:pt x="39" y="41"/>
                  </a:lnTo>
                  <a:lnTo>
                    <a:pt x="40" y="31"/>
                  </a:lnTo>
                  <a:lnTo>
                    <a:pt x="30" y="27"/>
                  </a:lnTo>
                  <a:lnTo>
                    <a:pt x="33" y="15"/>
                  </a:lnTo>
                  <a:lnTo>
                    <a:pt x="40" y="8"/>
                  </a:lnTo>
                  <a:lnTo>
                    <a:pt x="47" y="8"/>
                  </a:lnTo>
                  <a:lnTo>
                    <a:pt x="52" y="2"/>
                  </a:lnTo>
                  <a:lnTo>
                    <a:pt x="65" y="2"/>
                  </a:lnTo>
                  <a:lnTo>
                    <a:pt x="79" y="12"/>
                  </a:lnTo>
                  <a:lnTo>
                    <a:pt x="85" y="7"/>
                  </a:lnTo>
                  <a:lnTo>
                    <a:pt x="96" y="9"/>
                  </a:lnTo>
                  <a:lnTo>
                    <a:pt x="97" y="24"/>
                  </a:lnTo>
                  <a:lnTo>
                    <a:pt x="110" y="35"/>
                  </a:lnTo>
                  <a:lnTo>
                    <a:pt x="120" y="36"/>
                  </a:lnTo>
                  <a:lnTo>
                    <a:pt x="131" y="46"/>
                  </a:lnTo>
                  <a:lnTo>
                    <a:pt x="140" y="50"/>
                  </a:lnTo>
                  <a:lnTo>
                    <a:pt x="140" y="55"/>
                  </a:lnTo>
                  <a:lnTo>
                    <a:pt x="132" y="63"/>
                  </a:lnTo>
                  <a:lnTo>
                    <a:pt x="121" y="63"/>
                  </a:lnTo>
                  <a:lnTo>
                    <a:pt x="115" y="59"/>
                  </a:lnTo>
                  <a:lnTo>
                    <a:pt x="104" y="59"/>
                  </a:lnTo>
                  <a:lnTo>
                    <a:pt x="99" y="63"/>
                  </a:lnTo>
                  <a:lnTo>
                    <a:pt x="85" y="63"/>
                  </a:lnTo>
                  <a:lnTo>
                    <a:pt x="75" y="65"/>
                  </a:lnTo>
                  <a:lnTo>
                    <a:pt x="70" y="77"/>
                  </a:lnTo>
                  <a:lnTo>
                    <a:pt x="46" y="88"/>
                  </a:lnTo>
                  <a:lnTo>
                    <a:pt x="27" y="102"/>
                  </a:lnTo>
                  <a:lnTo>
                    <a:pt x="27" y="96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5" y="79"/>
                  </a:lnTo>
                  <a:lnTo>
                    <a:pt x="36" y="79"/>
                  </a:lnTo>
                  <a:lnTo>
                    <a:pt x="30" y="78"/>
                  </a:lnTo>
                  <a:lnTo>
                    <a:pt x="26" y="79"/>
                  </a:lnTo>
                  <a:lnTo>
                    <a:pt x="18" y="76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9"/>
                  </a:lnTo>
                  <a:close/>
                  <a:moveTo>
                    <a:pt x="688" y="18"/>
                  </a:moveTo>
                  <a:lnTo>
                    <a:pt x="686" y="20"/>
                  </a:lnTo>
                  <a:lnTo>
                    <a:pt x="679" y="31"/>
                  </a:lnTo>
                  <a:lnTo>
                    <a:pt x="669" y="37"/>
                  </a:lnTo>
                  <a:lnTo>
                    <a:pt x="653" y="44"/>
                  </a:lnTo>
                  <a:lnTo>
                    <a:pt x="650" y="50"/>
                  </a:lnTo>
                  <a:lnTo>
                    <a:pt x="636" y="52"/>
                  </a:lnTo>
                  <a:lnTo>
                    <a:pt x="631" y="55"/>
                  </a:lnTo>
                  <a:lnTo>
                    <a:pt x="612" y="52"/>
                  </a:lnTo>
                  <a:lnTo>
                    <a:pt x="607" y="48"/>
                  </a:lnTo>
                  <a:lnTo>
                    <a:pt x="600" y="48"/>
                  </a:lnTo>
                  <a:lnTo>
                    <a:pt x="597" y="47"/>
                  </a:lnTo>
                  <a:lnTo>
                    <a:pt x="588" y="49"/>
                  </a:lnTo>
                  <a:lnTo>
                    <a:pt x="571" y="50"/>
                  </a:lnTo>
                  <a:lnTo>
                    <a:pt x="551" y="58"/>
                  </a:lnTo>
                  <a:lnTo>
                    <a:pt x="536" y="55"/>
                  </a:lnTo>
                  <a:lnTo>
                    <a:pt x="526" y="48"/>
                  </a:lnTo>
                  <a:lnTo>
                    <a:pt x="520" y="52"/>
                  </a:lnTo>
                  <a:lnTo>
                    <a:pt x="502" y="44"/>
                  </a:lnTo>
                  <a:lnTo>
                    <a:pt x="493" y="42"/>
                  </a:lnTo>
                  <a:lnTo>
                    <a:pt x="478" y="32"/>
                  </a:lnTo>
                  <a:lnTo>
                    <a:pt x="473" y="32"/>
                  </a:lnTo>
                  <a:lnTo>
                    <a:pt x="468" y="38"/>
                  </a:lnTo>
                  <a:lnTo>
                    <a:pt x="461" y="37"/>
                  </a:lnTo>
                  <a:lnTo>
                    <a:pt x="452" y="26"/>
                  </a:lnTo>
                  <a:lnTo>
                    <a:pt x="451" y="17"/>
                  </a:lnTo>
                  <a:lnTo>
                    <a:pt x="444" y="11"/>
                  </a:lnTo>
                  <a:lnTo>
                    <a:pt x="438" y="12"/>
                  </a:lnTo>
                  <a:lnTo>
                    <a:pt x="427" y="23"/>
                  </a:lnTo>
                  <a:lnTo>
                    <a:pt x="423" y="20"/>
                  </a:lnTo>
                  <a:lnTo>
                    <a:pt x="420" y="23"/>
                  </a:lnTo>
                  <a:lnTo>
                    <a:pt x="403" y="9"/>
                  </a:lnTo>
                  <a:lnTo>
                    <a:pt x="401" y="1"/>
                  </a:lnTo>
                  <a:lnTo>
                    <a:pt x="398" y="0"/>
                  </a:lnTo>
                  <a:lnTo>
                    <a:pt x="387" y="6"/>
                  </a:lnTo>
                  <a:lnTo>
                    <a:pt x="372" y="6"/>
                  </a:lnTo>
                  <a:lnTo>
                    <a:pt x="365" y="3"/>
                  </a:lnTo>
                  <a:lnTo>
                    <a:pt x="357" y="6"/>
                  </a:lnTo>
                  <a:lnTo>
                    <a:pt x="334" y="4"/>
                  </a:lnTo>
                  <a:lnTo>
                    <a:pt x="323" y="7"/>
                  </a:lnTo>
                  <a:lnTo>
                    <a:pt x="301" y="15"/>
                  </a:lnTo>
                  <a:lnTo>
                    <a:pt x="291" y="15"/>
                  </a:lnTo>
                  <a:lnTo>
                    <a:pt x="275" y="19"/>
                  </a:lnTo>
                  <a:lnTo>
                    <a:pt x="270" y="25"/>
                  </a:lnTo>
                  <a:lnTo>
                    <a:pt x="262" y="26"/>
                  </a:lnTo>
                  <a:lnTo>
                    <a:pt x="254" y="34"/>
                  </a:lnTo>
                  <a:lnTo>
                    <a:pt x="250" y="36"/>
                  </a:lnTo>
                  <a:lnTo>
                    <a:pt x="246" y="46"/>
                  </a:lnTo>
                  <a:lnTo>
                    <a:pt x="242" y="48"/>
                  </a:lnTo>
                  <a:lnTo>
                    <a:pt x="242" y="53"/>
                  </a:lnTo>
                  <a:lnTo>
                    <a:pt x="226" y="54"/>
                  </a:lnTo>
                  <a:lnTo>
                    <a:pt x="201" y="46"/>
                  </a:lnTo>
                  <a:lnTo>
                    <a:pt x="194" y="46"/>
                  </a:lnTo>
                  <a:lnTo>
                    <a:pt x="189" y="49"/>
                  </a:lnTo>
                  <a:lnTo>
                    <a:pt x="178" y="48"/>
                  </a:lnTo>
                  <a:lnTo>
                    <a:pt x="165" y="50"/>
                  </a:lnTo>
                  <a:lnTo>
                    <a:pt x="157" y="48"/>
                  </a:lnTo>
                  <a:lnTo>
                    <a:pt x="145" y="52"/>
                  </a:lnTo>
                  <a:lnTo>
                    <a:pt x="144" y="56"/>
                  </a:lnTo>
                  <a:lnTo>
                    <a:pt x="152" y="70"/>
                  </a:lnTo>
                  <a:lnTo>
                    <a:pt x="165" y="70"/>
                  </a:lnTo>
                  <a:lnTo>
                    <a:pt x="175" y="71"/>
                  </a:lnTo>
                  <a:lnTo>
                    <a:pt x="174" y="76"/>
                  </a:lnTo>
                  <a:lnTo>
                    <a:pt x="155" y="76"/>
                  </a:lnTo>
                  <a:lnTo>
                    <a:pt x="139" y="81"/>
                  </a:lnTo>
                  <a:lnTo>
                    <a:pt x="133" y="88"/>
                  </a:lnTo>
                  <a:lnTo>
                    <a:pt x="136" y="92"/>
                  </a:lnTo>
                  <a:lnTo>
                    <a:pt x="145" y="89"/>
                  </a:lnTo>
                  <a:lnTo>
                    <a:pt x="148" y="94"/>
                  </a:lnTo>
                  <a:lnTo>
                    <a:pt x="142" y="96"/>
                  </a:lnTo>
                  <a:lnTo>
                    <a:pt x="120" y="96"/>
                  </a:lnTo>
                  <a:lnTo>
                    <a:pt x="111" y="92"/>
                  </a:lnTo>
                  <a:lnTo>
                    <a:pt x="100" y="96"/>
                  </a:lnTo>
                  <a:lnTo>
                    <a:pt x="96" y="89"/>
                  </a:lnTo>
                  <a:lnTo>
                    <a:pt x="90" y="89"/>
                  </a:lnTo>
                  <a:lnTo>
                    <a:pt x="81" y="98"/>
                  </a:lnTo>
                  <a:lnTo>
                    <a:pt x="74" y="98"/>
                  </a:lnTo>
                  <a:lnTo>
                    <a:pt x="62" y="89"/>
                  </a:lnTo>
                  <a:lnTo>
                    <a:pt x="51" y="89"/>
                  </a:lnTo>
                  <a:lnTo>
                    <a:pt x="30" y="104"/>
                  </a:lnTo>
                  <a:lnTo>
                    <a:pt x="28" y="112"/>
                  </a:lnTo>
                  <a:lnTo>
                    <a:pt x="24" y="119"/>
                  </a:lnTo>
                  <a:lnTo>
                    <a:pt x="28" y="124"/>
                  </a:lnTo>
                  <a:lnTo>
                    <a:pt x="27" y="133"/>
                  </a:lnTo>
                  <a:lnTo>
                    <a:pt x="24" y="136"/>
                  </a:lnTo>
                  <a:lnTo>
                    <a:pt x="27" y="141"/>
                  </a:lnTo>
                  <a:lnTo>
                    <a:pt x="39" y="137"/>
                  </a:lnTo>
                  <a:lnTo>
                    <a:pt x="42" y="139"/>
                  </a:lnTo>
                  <a:lnTo>
                    <a:pt x="52" y="136"/>
                  </a:lnTo>
                  <a:lnTo>
                    <a:pt x="63" y="137"/>
                  </a:lnTo>
                  <a:lnTo>
                    <a:pt x="52" y="146"/>
                  </a:lnTo>
                  <a:lnTo>
                    <a:pt x="53" y="152"/>
                  </a:lnTo>
                  <a:lnTo>
                    <a:pt x="58" y="159"/>
                  </a:lnTo>
                  <a:lnTo>
                    <a:pt x="58" y="164"/>
                  </a:lnTo>
                  <a:lnTo>
                    <a:pt x="57" y="168"/>
                  </a:lnTo>
                  <a:lnTo>
                    <a:pt x="59" y="170"/>
                  </a:lnTo>
                  <a:lnTo>
                    <a:pt x="68" y="165"/>
                  </a:lnTo>
                  <a:lnTo>
                    <a:pt x="69" y="169"/>
                  </a:lnTo>
                  <a:lnTo>
                    <a:pt x="63" y="174"/>
                  </a:lnTo>
                  <a:lnTo>
                    <a:pt x="52" y="181"/>
                  </a:lnTo>
                  <a:lnTo>
                    <a:pt x="56" y="183"/>
                  </a:lnTo>
                  <a:lnTo>
                    <a:pt x="63" y="183"/>
                  </a:lnTo>
                  <a:lnTo>
                    <a:pt x="56" y="187"/>
                  </a:lnTo>
                  <a:lnTo>
                    <a:pt x="52" y="194"/>
                  </a:lnTo>
                  <a:lnTo>
                    <a:pt x="47" y="194"/>
                  </a:lnTo>
                  <a:lnTo>
                    <a:pt x="42" y="183"/>
                  </a:lnTo>
                  <a:lnTo>
                    <a:pt x="39" y="182"/>
                  </a:lnTo>
                  <a:lnTo>
                    <a:pt x="38" y="189"/>
                  </a:lnTo>
                  <a:lnTo>
                    <a:pt x="40" y="197"/>
                  </a:lnTo>
                  <a:lnTo>
                    <a:pt x="36" y="202"/>
                  </a:lnTo>
                  <a:lnTo>
                    <a:pt x="38" y="206"/>
                  </a:lnTo>
                  <a:lnTo>
                    <a:pt x="45" y="211"/>
                  </a:lnTo>
                  <a:lnTo>
                    <a:pt x="47" y="208"/>
                  </a:lnTo>
                  <a:lnTo>
                    <a:pt x="56" y="215"/>
                  </a:lnTo>
                  <a:lnTo>
                    <a:pt x="63" y="214"/>
                  </a:lnTo>
                  <a:lnTo>
                    <a:pt x="74" y="220"/>
                  </a:lnTo>
                  <a:lnTo>
                    <a:pt x="76" y="229"/>
                  </a:lnTo>
                  <a:lnTo>
                    <a:pt x="69" y="235"/>
                  </a:lnTo>
                  <a:lnTo>
                    <a:pt x="75" y="240"/>
                  </a:lnTo>
                  <a:lnTo>
                    <a:pt x="75" y="245"/>
                  </a:lnTo>
                  <a:lnTo>
                    <a:pt x="81" y="246"/>
                  </a:lnTo>
                  <a:lnTo>
                    <a:pt x="92" y="256"/>
                  </a:lnTo>
                  <a:lnTo>
                    <a:pt x="88" y="262"/>
                  </a:lnTo>
                  <a:lnTo>
                    <a:pt x="81" y="261"/>
                  </a:lnTo>
                  <a:lnTo>
                    <a:pt x="80" y="266"/>
                  </a:lnTo>
                  <a:lnTo>
                    <a:pt x="85" y="268"/>
                  </a:lnTo>
                  <a:lnTo>
                    <a:pt x="99" y="264"/>
                  </a:lnTo>
                  <a:lnTo>
                    <a:pt x="119" y="264"/>
                  </a:lnTo>
                  <a:lnTo>
                    <a:pt x="117" y="268"/>
                  </a:lnTo>
                  <a:lnTo>
                    <a:pt x="113" y="272"/>
                  </a:lnTo>
                  <a:lnTo>
                    <a:pt x="103" y="276"/>
                  </a:lnTo>
                  <a:lnTo>
                    <a:pt x="88" y="275"/>
                  </a:lnTo>
                  <a:lnTo>
                    <a:pt x="85" y="280"/>
                  </a:lnTo>
                  <a:lnTo>
                    <a:pt x="90" y="281"/>
                  </a:lnTo>
                  <a:lnTo>
                    <a:pt x="98" y="279"/>
                  </a:lnTo>
                  <a:lnTo>
                    <a:pt x="108" y="279"/>
                  </a:lnTo>
                  <a:lnTo>
                    <a:pt x="113" y="276"/>
                  </a:lnTo>
                  <a:lnTo>
                    <a:pt x="113" y="283"/>
                  </a:lnTo>
                  <a:lnTo>
                    <a:pt x="115" y="285"/>
                  </a:lnTo>
                  <a:lnTo>
                    <a:pt x="121" y="279"/>
                  </a:lnTo>
                  <a:lnTo>
                    <a:pt x="127" y="273"/>
                  </a:lnTo>
                  <a:lnTo>
                    <a:pt x="133" y="272"/>
                  </a:lnTo>
                  <a:lnTo>
                    <a:pt x="138" y="276"/>
                  </a:lnTo>
                  <a:lnTo>
                    <a:pt x="144" y="276"/>
                  </a:lnTo>
                  <a:lnTo>
                    <a:pt x="152" y="281"/>
                  </a:lnTo>
                  <a:lnTo>
                    <a:pt x="157" y="276"/>
                  </a:lnTo>
                  <a:lnTo>
                    <a:pt x="163" y="278"/>
                  </a:lnTo>
                  <a:lnTo>
                    <a:pt x="163" y="281"/>
                  </a:lnTo>
                  <a:lnTo>
                    <a:pt x="160" y="284"/>
                  </a:lnTo>
                  <a:lnTo>
                    <a:pt x="163" y="289"/>
                  </a:lnTo>
                  <a:lnTo>
                    <a:pt x="165" y="295"/>
                  </a:lnTo>
                  <a:lnTo>
                    <a:pt x="174" y="302"/>
                  </a:lnTo>
                  <a:lnTo>
                    <a:pt x="178" y="301"/>
                  </a:lnTo>
                  <a:lnTo>
                    <a:pt x="189" y="304"/>
                  </a:lnTo>
                  <a:lnTo>
                    <a:pt x="200" y="302"/>
                  </a:lnTo>
                  <a:lnTo>
                    <a:pt x="204" y="298"/>
                  </a:lnTo>
                  <a:lnTo>
                    <a:pt x="213" y="298"/>
                  </a:lnTo>
                  <a:lnTo>
                    <a:pt x="219" y="295"/>
                  </a:lnTo>
                  <a:lnTo>
                    <a:pt x="226" y="298"/>
                  </a:lnTo>
                  <a:lnTo>
                    <a:pt x="232" y="296"/>
                  </a:lnTo>
                  <a:lnTo>
                    <a:pt x="231" y="286"/>
                  </a:lnTo>
                  <a:lnTo>
                    <a:pt x="233" y="281"/>
                  </a:lnTo>
                  <a:lnTo>
                    <a:pt x="231" y="272"/>
                  </a:lnTo>
                  <a:lnTo>
                    <a:pt x="250" y="270"/>
                  </a:lnTo>
                  <a:lnTo>
                    <a:pt x="267" y="272"/>
                  </a:lnTo>
                  <a:lnTo>
                    <a:pt x="290" y="281"/>
                  </a:lnTo>
                  <a:lnTo>
                    <a:pt x="298" y="281"/>
                  </a:lnTo>
                  <a:lnTo>
                    <a:pt x="312" y="299"/>
                  </a:lnTo>
                  <a:lnTo>
                    <a:pt x="325" y="307"/>
                  </a:lnTo>
                  <a:lnTo>
                    <a:pt x="366" y="302"/>
                  </a:lnTo>
                  <a:lnTo>
                    <a:pt x="378" y="297"/>
                  </a:lnTo>
                  <a:lnTo>
                    <a:pt x="383" y="297"/>
                  </a:lnTo>
                  <a:lnTo>
                    <a:pt x="386" y="299"/>
                  </a:lnTo>
                  <a:lnTo>
                    <a:pt x="391" y="295"/>
                  </a:lnTo>
                  <a:lnTo>
                    <a:pt x="393" y="289"/>
                  </a:lnTo>
                  <a:lnTo>
                    <a:pt x="414" y="268"/>
                  </a:lnTo>
                  <a:lnTo>
                    <a:pt x="418" y="267"/>
                  </a:lnTo>
                  <a:lnTo>
                    <a:pt x="437" y="273"/>
                  </a:lnTo>
                  <a:lnTo>
                    <a:pt x="449" y="278"/>
                  </a:lnTo>
                  <a:lnTo>
                    <a:pt x="462" y="275"/>
                  </a:lnTo>
                  <a:lnTo>
                    <a:pt x="463" y="272"/>
                  </a:lnTo>
                  <a:lnTo>
                    <a:pt x="474" y="264"/>
                  </a:lnTo>
                  <a:lnTo>
                    <a:pt x="481" y="267"/>
                  </a:lnTo>
                  <a:lnTo>
                    <a:pt x="482" y="273"/>
                  </a:lnTo>
                  <a:lnTo>
                    <a:pt x="475" y="283"/>
                  </a:lnTo>
                  <a:lnTo>
                    <a:pt x="467" y="290"/>
                  </a:lnTo>
                  <a:lnTo>
                    <a:pt x="467" y="293"/>
                  </a:lnTo>
                  <a:lnTo>
                    <a:pt x="475" y="302"/>
                  </a:lnTo>
                  <a:lnTo>
                    <a:pt x="473" y="308"/>
                  </a:lnTo>
                  <a:lnTo>
                    <a:pt x="482" y="310"/>
                  </a:lnTo>
                  <a:lnTo>
                    <a:pt x="492" y="308"/>
                  </a:lnTo>
                  <a:lnTo>
                    <a:pt x="501" y="305"/>
                  </a:lnTo>
                  <a:lnTo>
                    <a:pt x="499" y="296"/>
                  </a:lnTo>
                  <a:lnTo>
                    <a:pt x="505" y="292"/>
                  </a:lnTo>
                  <a:lnTo>
                    <a:pt x="507" y="278"/>
                  </a:lnTo>
                  <a:lnTo>
                    <a:pt x="509" y="270"/>
                  </a:lnTo>
                  <a:lnTo>
                    <a:pt x="522" y="274"/>
                  </a:lnTo>
                  <a:lnTo>
                    <a:pt x="530" y="275"/>
                  </a:lnTo>
                  <a:lnTo>
                    <a:pt x="553" y="268"/>
                  </a:lnTo>
                  <a:lnTo>
                    <a:pt x="557" y="267"/>
                  </a:lnTo>
                  <a:lnTo>
                    <a:pt x="563" y="263"/>
                  </a:lnTo>
                  <a:lnTo>
                    <a:pt x="588" y="261"/>
                  </a:lnTo>
                  <a:lnTo>
                    <a:pt x="596" y="263"/>
                  </a:lnTo>
                  <a:lnTo>
                    <a:pt x="601" y="267"/>
                  </a:lnTo>
                  <a:lnTo>
                    <a:pt x="615" y="270"/>
                  </a:lnTo>
                  <a:lnTo>
                    <a:pt x="637" y="270"/>
                  </a:lnTo>
                  <a:lnTo>
                    <a:pt x="638" y="267"/>
                  </a:lnTo>
                  <a:lnTo>
                    <a:pt x="650" y="263"/>
                  </a:lnTo>
                  <a:lnTo>
                    <a:pt x="658" y="257"/>
                  </a:lnTo>
                  <a:lnTo>
                    <a:pt x="673" y="252"/>
                  </a:lnTo>
                  <a:lnTo>
                    <a:pt x="686" y="252"/>
                  </a:lnTo>
                  <a:lnTo>
                    <a:pt x="694" y="251"/>
                  </a:lnTo>
                  <a:lnTo>
                    <a:pt x="718" y="252"/>
                  </a:lnTo>
                  <a:lnTo>
                    <a:pt x="736" y="246"/>
                  </a:lnTo>
                  <a:lnTo>
                    <a:pt x="748" y="246"/>
                  </a:lnTo>
                  <a:lnTo>
                    <a:pt x="752" y="249"/>
                  </a:lnTo>
                  <a:lnTo>
                    <a:pt x="765" y="239"/>
                  </a:lnTo>
                  <a:lnTo>
                    <a:pt x="776" y="239"/>
                  </a:lnTo>
                  <a:lnTo>
                    <a:pt x="781" y="237"/>
                  </a:lnTo>
                  <a:lnTo>
                    <a:pt x="799" y="237"/>
                  </a:lnTo>
                  <a:lnTo>
                    <a:pt x="815" y="240"/>
                  </a:lnTo>
                  <a:lnTo>
                    <a:pt x="827" y="237"/>
                  </a:lnTo>
                  <a:lnTo>
                    <a:pt x="833" y="240"/>
                  </a:lnTo>
                  <a:lnTo>
                    <a:pt x="833" y="249"/>
                  </a:lnTo>
                  <a:lnTo>
                    <a:pt x="841" y="252"/>
                  </a:lnTo>
                  <a:lnTo>
                    <a:pt x="851" y="249"/>
                  </a:lnTo>
                  <a:lnTo>
                    <a:pt x="854" y="241"/>
                  </a:lnTo>
                  <a:lnTo>
                    <a:pt x="849" y="232"/>
                  </a:lnTo>
                  <a:lnTo>
                    <a:pt x="839" y="216"/>
                  </a:lnTo>
                  <a:lnTo>
                    <a:pt x="827" y="212"/>
                  </a:lnTo>
                  <a:lnTo>
                    <a:pt x="828" y="208"/>
                  </a:lnTo>
                  <a:lnTo>
                    <a:pt x="827" y="195"/>
                  </a:lnTo>
                  <a:lnTo>
                    <a:pt x="833" y="182"/>
                  </a:lnTo>
                  <a:lnTo>
                    <a:pt x="831" y="177"/>
                  </a:lnTo>
                  <a:lnTo>
                    <a:pt x="820" y="176"/>
                  </a:lnTo>
                  <a:lnTo>
                    <a:pt x="820" y="165"/>
                  </a:lnTo>
                  <a:lnTo>
                    <a:pt x="821" y="157"/>
                  </a:lnTo>
                  <a:lnTo>
                    <a:pt x="816" y="141"/>
                  </a:lnTo>
                  <a:lnTo>
                    <a:pt x="811" y="134"/>
                  </a:lnTo>
                  <a:lnTo>
                    <a:pt x="811" y="129"/>
                  </a:lnTo>
                  <a:lnTo>
                    <a:pt x="825" y="128"/>
                  </a:lnTo>
                  <a:lnTo>
                    <a:pt x="828" y="117"/>
                  </a:lnTo>
                  <a:lnTo>
                    <a:pt x="833" y="113"/>
                  </a:lnTo>
                  <a:lnTo>
                    <a:pt x="828" y="106"/>
                  </a:lnTo>
                  <a:lnTo>
                    <a:pt x="821" y="99"/>
                  </a:lnTo>
                  <a:lnTo>
                    <a:pt x="811" y="99"/>
                  </a:lnTo>
                  <a:lnTo>
                    <a:pt x="797" y="99"/>
                  </a:lnTo>
                  <a:lnTo>
                    <a:pt x="783" y="92"/>
                  </a:lnTo>
                  <a:lnTo>
                    <a:pt x="783" y="75"/>
                  </a:lnTo>
                  <a:lnTo>
                    <a:pt x="786" y="61"/>
                  </a:lnTo>
                  <a:lnTo>
                    <a:pt x="781" y="53"/>
                  </a:lnTo>
                  <a:lnTo>
                    <a:pt x="773" y="52"/>
                  </a:lnTo>
                  <a:lnTo>
                    <a:pt x="773" y="47"/>
                  </a:lnTo>
                  <a:lnTo>
                    <a:pt x="764" y="38"/>
                  </a:lnTo>
                  <a:lnTo>
                    <a:pt x="756" y="37"/>
                  </a:lnTo>
                  <a:lnTo>
                    <a:pt x="736" y="21"/>
                  </a:lnTo>
                  <a:lnTo>
                    <a:pt x="729" y="20"/>
                  </a:lnTo>
                  <a:lnTo>
                    <a:pt x="723" y="25"/>
                  </a:lnTo>
                  <a:lnTo>
                    <a:pt x="717" y="26"/>
                  </a:lnTo>
                  <a:lnTo>
                    <a:pt x="705" y="21"/>
                  </a:lnTo>
                  <a:lnTo>
                    <a:pt x="701" y="27"/>
                  </a:lnTo>
                  <a:lnTo>
                    <a:pt x="695" y="25"/>
                  </a:lnTo>
                  <a:lnTo>
                    <a:pt x="694" y="18"/>
                  </a:lnTo>
                  <a:lnTo>
                    <a:pt x="688" y="18"/>
                  </a:lnTo>
                  <a:lnTo>
                    <a:pt x="688" y="18"/>
                  </a:lnTo>
                  <a:close/>
                  <a:moveTo>
                    <a:pt x="102" y="286"/>
                  </a:moveTo>
                  <a:lnTo>
                    <a:pt x="105" y="284"/>
                  </a:lnTo>
                  <a:lnTo>
                    <a:pt x="109" y="284"/>
                  </a:lnTo>
                  <a:lnTo>
                    <a:pt x="110" y="286"/>
                  </a:lnTo>
                  <a:lnTo>
                    <a:pt x="105" y="287"/>
                  </a:lnTo>
                  <a:lnTo>
                    <a:pt x="102" y="286"/>
                  </a:lnTo>
                  <a:lnTo>
                    <a:pt x="102" y="286"/>
                  </a:lnTo>
                  <a:close/>
                  <a:moveTo>
                    <a:pt x="0" y="101"/>
                  </a:moveTo>
                  <a:lnTo>
                    <a:pt x="7" y="104"/>
                  </a:lnTo>
                  <a:lnTo>
                    <a:pt x="17" y="101"/>
                  </a:lnTo>
                  <a:lnTo>
                    <a:pt x="18" y="96"/>
                  </a:lnTo>
                  <a:lnTo>
                    <a:pt x="13" y="94"/>
                  </a:lnTo>
                  <a:lnTo>
                    <a:pt x="9" y="98"/>
                  </a:lnTo>
                  <a:lnTo>
                    <a:pt x="3" y="98"/>
                  </a:lnTo>
                  <a:lnTo>
                    <a:pt x="0" y="10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  <p:sp>
          <p:nvSpPr>
            <p:cNvPr id="93" name="Freeform 47">
              <a:extLst>
                <a:ext uri="{FF2B5EF4-FFF2-40B4-BE49-F238E27FC236}">
                  <a16:creationId xmlns:a16="http://schemas.microsoft.com/office/drawing/2014/main" id="{D241B944-6786-7440-B7ED-0CAA81E2F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6388" y="3989388"/>
              <a:ext cx="160338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6" y="45"/>
                </a:cxn>
                <a:cxn ang="0">
                  <a:pos x="0" y="37"/>
                </a:cxn>
                <a:cxn ang="0">
                  <a:pos x="0" y="28"/>
                </a:cxn>
                <a:cxn ang="0">
                  <a:pos x="4" y="26"/>
                </a:cxn>
                <a:cxn ang="0">
                  <a:pos x="11" y="20"/>
                </a:cxn>
                <a:cxn ang="0">
                  <a:pos x="19" y="24"/>
                </a:cxn>
                <a:cxn ang="0">
                  <a:pos x="26" y="23"/>
                </a:cxn>
                <a:cxn ang="0">
                  <a:pos x="29" y="17"/>
                </a:cxn>
                <a:cxn ang="0">
                  <a:pos x="29" y="12"/>
                </a:cxn>
                <a:cxn ang="0">
                  <a:pos x="37" y="12"/>
                </a:cxn>
                <a:cxn ang="0">
                  <a:pos x="47" y="16"/>
                </a:cxn>
                <a:cxn ang="0">
                  <a:pos x="59" y="16"/>
                </a:cxn>
                <a:cxn ang="0">
                  <a:pos x="79" y="8"/>
                </a:cxn>
                <a:cxn ang="0">
                  <a:pos x="94" y="0"/>
                </a:cxn>
                <a:cxn ang="0">
                  <a:pos x="99" y="0"/>
                </a:cxn>
                <a:cxn ang="0">
                  <a:pos x="101" y="2"/>
                </a:cxn>
                <a:cxn ang="0">
                  <a:pos x="96" y="6"/>
                </a:cxn>
                <a:cxn ang="0">
                  <a:pos x="85" y="12"/>
                </a:cxn>
                <a:cxn ang="0">
                  <a:pos x="76" y="22"/>
                </a:cxn>
                <a:cxn ang="0">
                  <a:pos x="79" y="30"/>
                </a:cxn>
                <a:cxn ang="0">
                  <a:pos x="78" y="37"/>
                </a:cxn>
                <a:cxn ang="0">
                  <a:pos x="66" y="36"/>
                </a:cxn>
                <a:cxn ang="0">
                  <a:pos x="59" y="40"/>
                </a:cxn>
                <a:cxn ang="0">
                  <a:pos x="50" y="47"/>
                </a:cxn>
                <a:cxn ang="0">
                  <a:pos x="40" y="49"/>
                </a:cxn>
                <a:cxn ang="0">
                  <a:pos x="33" y="53"/>
                </a:cxn>
                <a:cxn ang="0">
                  <a:pos x="29" y="51"/>
                </a:cxn>
                <a:cxn ang="0">
                  <a:pos x="17" y="51"/>
                </a:cxn>
              </a:cxnLst>
              <a:rect l="0" t="0" r="r" b="b"/>
              <a:pathLst>
                <a:path w="101" h="53">
                  <a:moveTo>
                    <a:pt x="17" y="51"/>
                  </a:moveTo>
                  <a:lnTo>
                    <a:pt x="6" y="45"/>
                  </a:lnTo>
                  <a:lnTo>
                    <a:pt x="0" y="37"/>
                  </a:lnTo>
                  <a:lnTo>
                    <a:pt x="0" y="28"/>
                  </a:lnTo>
                  <a:lnTo>
                    <a:pt x="4" y="26"/>
                  </a:lnTo>
                  <a:lnTo>
                    <a:pt x="11" y="20"/>
                  </a:lnTo>
                  <a:lnTo>
                    <a:pt x="19" y="24"/>
                  </a:lnTo>
                  <a:lnTo>
                    <a:pt x="26" y="23"/>
                  </a:lnTo>
                  <a:lnTo>
                    <a:pt x="29" y="17"/>
                  </a:lnTo>
                  <a:lnTo>
                    <a:pt x="29" y="12"/>
                  </a:lnTo>
                  <a:lnTo>
                    <a:pt x="37" y="12"/>
                  </a:lnTo>
                  <a:lnTo>
                    <a:pt x="47" y="16"/>
                  </a:lnTo>
                  <a:lnTo>
                    <a:pt x="59" y="16"/>
                  </a:lnTo>
                  <a:lnTo>
                    <a:pt x="79" y="8"/>
                  </a:lnTo>
                  <a:lnTo>
                    <a:pt x="94" y="0"/>
                  </a:lnTo>
                  <a:lnTo>
                    <a:pt x="99" y="0"/>
                  </a:lnTo>
                  <a:lnTo>
                    <a:pt x="101" y="2"/>
                  </a:lnTo>
                  <a:lnTo>
                    <a:pt x="96" y="6"/>
                  </a:lnTo>
                  <a:lnTo>
                    <a:pt x="85" y="12"/>
                  </a:lnTo>
                  <a:lnTo>
                    <a:pt x="76" y="22"/>
                  </a:lnTo>
                  <a:lnTo>
                    <a:pt x="79" y="30"/>
                  </a:lnTo>
                  <a:lnTo>
                    <a:pt x="78" y="37"/>
                  </a:lnTo>
                  <a:lnTo>
                    <a:pt x="66" y="36"/>
                  </a:lnTo>
                  <a:lnTo>
                    <a:pt x="59" y="40"/>
                  </a:lnTo>
                  <a:lnTo>
                    <a:pt x="50" y="47"/>
                  </a:lnTo>
                  <a:lnTo>
                    <a:pt x="40" y="49"/>
                  </a:lnTo>
                  <a:lnTo>
                    <a:pt x="33" y="53"/>
                  </a:lnTo>
                  <a:lnTo>
                    <a:pt x="29" y="51"/>
                  </a:lnTo>
                  <a:lnTo>
                    <a:pt x="17" y="51"/>
                  </a:lnTo>
                  <a:close/>
                </a:path>
              </a:pathLst>
            </a:custGeom>
            <a:grpFill/>
            <a:ln w="9525">
              <a:solidFill>
                <a:srgbClr val="373A3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ar-SA"/>
            </a:p>
          </p:txBody>
        </p:sp>
      </p:grpSp>
      <p:cxnSp>
        <p:nvCxnSpPr>
          <p:cNvPr id="94" name="Straight Connector 250">
            <a:extLst>
              <a:ext uri="{FF2B5EF4-FFF2-40B4-BE49-F238E27FC236}">
                <a16:creationId xmlns:a16="http://schemas.microsoft.com/office/drawing/2014/main" id="{D68FE405-8F6B-9944-9DF2-CC051FC23371}"/>
              </a:ext>
            </a:extLst>
          </p:cNvPr>
          <p:cNvCxnSpPr>
            <a:cxnSpLocks/>
          </p:cNvCxnSpPr>
          <p:nvPr userDrawn="1"/>
        </p:nvCxnSpPr>
        <p:spPr>
          <a:xfrm>
            <a:off x="7195975" y="1650910"/>
            <a:ext cx="2710743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254">
            <a:extLst>
              <a:ext uri="{FF2B5EF4-FFF2-40B4-BE49-F238E27FC236}">
                <a16:creationId xmlns:a16="http://schemas.microsoft.com/office/drawing/2014/main" id="{9B581161-2C70-E648-AF93-5C71971174C6}"/>
              </a:ext>
            </a:extLst>
          </p:cNvPr>
          <p:cNvCxnSpPr>
            <a:cxnSpLocks/>
          </p:cNvCxnSpPr>
          <p:nvPr userDrawn="1"/>
        </p:nvCxnSpPr>
        <p:spPr>
          <a:xfrm>
            <a:off x="7195975" y="2027451"/>
            <a:ext cx="2125975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258">
            <a:extLst>
              <a:ext uri="{FF2B5EF4-FFF2-40B4-BE49-F238E27FC236}">
                <a16:creationId xmlns:a16="http://schemas.microsoft.com/office/drawing/2014/main" id="{52A83395-F946-C344-B9E6-16FFB682801C}"/>
              </a:ext>
            </a:extLst>
          </p:cNvPr>
          <p:cNvCxnSpPr>
            <a:cxnSpLocks/>
          </p:cNvCxnSpPr>
          <p:nvPr userDrawn="1"/>
        </p:nvCxnSpPr>
        <p:spPr>
          <a:xfrm>
            <a:off x="7195975" y="3223236"/>
            <a:ext cx="397040" cy="1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262">
            <a:extLst>
              <a:ext uri="{FF2B5EF4-FFF2-40B4-BE49-F238E27FC236}">
                <a16:creationId xmlns:a16="http://schemas.microsoft.com/office/drawing/2014/main" id="{747F2F5A-E607-BD4E-9D3F-D2BE758E6621}"/>
              </a:ext>
            </a:extLst>
          </p:cNvPr>
          <p:cNvCxnSpPr>
            <a:cxnSpLocks/>
          </p:cNvCxnSpPr>
          <p:nvPr userDrawn="1"/>
        </p:nvCxnSpPr>
        <p:spPr>
          <a:xfrm>
            <a:off x="7195975" y="4291813"/>
            <a:ext cx="1872313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266">
            <a:extLst>
              <a:ext uri="{FF2B5EF4-FFF2-40B4-BE49-F238E27FC236}">
                <a16:creationId xmlns:a16="http://schemas.microsoft.com/office/drawing/2014/main" id="{5DC93EB4-1A96-8442-B4B5-679CA54DA56E}"/>
              </a:ext>
            </a:extLst>
          </p:cNvPr>
          <p:cNvCxnSpPr>
            <a:cxnSpLocks/>
          </p:cNvCxnSpPr>
          <p:nvPr userDrawn="1"/>
        </p:nvCxnSpPr>
        <p:spPr>
          <a:xfrm>
            <a:off x="7195975" y="4900366"/>
            <a:ext cx="1958312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platzhalter 3">
            <a:extLst>
              <a:ext uri="{FF2B5EF4-FFF2-40B4-BE49-F238E27FC236}">
                <a16:creationId xmlns:a16="http://schemas.microsoft.com/office/drawing/2014/main" id="{0024B536-83B1-8E4B-942E-991036E6923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075465" y="1650910"/>
            <a:ext cx="924817" cy="21472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SWEDEN</a:t>
            </a:r>
          </a:p>
        </p:txBody>
      </p:sp>
      <p:sp>
        <p:nvSpPr>
          <p:cNvPr id="142" name="Textplatzhalter 3">
            <a:extLst>
              <a:ext uri="{FF2B5EF4-FFF2-40B4-BE49-F238E27FC236}">
                <a16:creationId xmlns:a16="http://schemas.microsoft.com/office/drawing/2014/main" id="{83B4F7D8-F1F7-7542-97CE-F89D1A0AFF2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66366" y="2027450"/>
            <a:ext cx="933916" cy="28637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NOEWAY</a:t>
            </a:r>
          </a:p>
        </p:txBody>
      </p:sp>
      <p:sp>
        <p:nvSpPr>
          <p:cNvPr id="143" name="Textplatzhalter 3">
            <a:extLst>
              <a:ext uri="{FF2B5EF4-FFF2-40B4-BE49-F238E27FC236}">
                <a16:creationId xmlns:a16="http://schemas.microsoft.com/office/drawing/2014/main" id="{046F4102-EDC6-A64E-8776-42FA6C774C8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078906" y="3222160"/>
            <a:ext cx="921376" cy="28637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UNITED KINGDOM</a:t>
            </a:r>
          </a:p>
        </p:txBody>
      </p:sp>
      <p:sp>
        <p:nvSpPr>
          <p:cNvPr id="144" name="Textplatzhalter 3">
            <a:extLst>
              <a:ext uri="{FF2B5EF4-FFF2-40B4-BE49-F238E27FC236}">
                <a16:creationId xmlns:a16="http://schemas.microsoft.com/office/drawing/2014/main" id="{FC3542EB-3E07-FB43-810F-3C3BFF2283D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078906" y="4287476"/>
            <a:ext cx="921376" cy="28637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GERMANY</a:t>
            </a:r>
          </a:p>
        </p:txBody>
      </p:sp>
      <p:sp>
        <p:nvSpPr>
          <p:cNvPr id="145" name="Textplatzhalter 3">
            <a:extLst>
              <a:ext uri="{FF2B5EF4-FFF2-40B4-BE49-F238E27FC236}">
                <a16:creationId xmlns:a16="http://schemas.microsoft.com/office/drawing/2014/main" id="{69F81953-428E-7849-BF57-D240D9D6EAF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078906" y="4900366"/>
            <a:ext cx="921376" cy="28637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ITALY</a:t>
            </a:r>
          </a:p>
        </p:txBody>
      </p:sp>
      <p:sp>
        <p:nvSpPr>
          <p:cNvPr id="147" name="Träne 146">
            <a:extLst>
              <a:ext uri="{FF2B5EF4-FFF2-40B4-BE49-F238E27FC236}">
                <a16:creationId xmlns:a16="http://schemas.microsoft.com/office/drawing/2014/main" id="{43C801C5-474C-484D-9F79-9CC5F438EC45}"/>
              </a:ext>
            </a:extLst>
          </p:cNvPr>
          <p:cNvSpPr/>
          <p:nvPr userDrawn="1"/>
        </p:nvSpPr>
        <p:spPr>
          <a:xfrm rot="8100000">
            <a:off x="2231015" y="1821036"/>
            <a:ext cx="1661268" cy="1661268"/>
          </a:xfrm>
          <a:prstGeom prst="teardrop">
            <a:avLst>
              <a:gd name="adj" fmla="val 108426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9" name="Grafik 148">
            <a:extLst>
              <a:ext uri="{FF2B5EF4-FFF2-40B4-BE49-F238E27FC236}">
                <a16:creationId xmlns:a16="http://schemas.microsoft.com/office/drawing/2014/main" id="{B97E9D08-F9C8-7C41-8B0C-18B0E44B87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3134" y="4044814"/>
            <a:ext cx="1058627" cy="1058627"/>
          </a:xfrm>
          <a:prstGeom prst="rect">
            <a:avLst/>
          </a:prstGeom>
        </p:spPr>
      </p:pic>
      <p:pic>
        <p:nvPicPr>
          <p:cNvPr id="151" name="Grafik 150">
            <a:extLst>
              <a:ext uri="{FF2B5EF4-FFF2-40B4-BE49-F238E27FC236}">
                <a16:creationId xmlns:a16="http://schemas.microsoft.com/office/drawing/2014/main" id="{E67A4F9E-8A6F-E84B-8220-D27FC5E301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1653" y="4044814"/>
            <a:ext cx="1058627" cy="1058627"/>
          </a:xfrm>
          <a:prstGeom prst="rect">
            <a:avLst/>
          </a:prstGeom>
        </p:spPr>
      </p:pic>
      <p:pic>
        <p:nvPicPr>
          <p:cNvPr id="152" name="Grafik 151">
            <a:extLst>
              <a:ext uri="{FF2B5EF4-FFF2-40B4-BE49-F238E27FC236}">
                <a16:creationId xmlns:a16="http://schemas.microsoft.com/office/drawing/2014/main" id="{CDEE5FD5-5BAD-8340-965A-3E11D1597F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43663" y="4044535"/>
            <a:ext cx="1058627" cy="1058627"/>
          </a:xfrm>
          <a:prstGeom prst="rect">
            <a:avLst/>
          </a:prstGeom>
        </p:spPr>
      </p:pic>
      <p:pic>
        <p:nvPicPr>
          <p:cNvPr id="153" name="Grafik 152">
            <a:extLst>
              <a:ext uri="{FF2B5EF4-FFF2-40B4-BE49-F238E27FC236}">
                <a16:creationId xmlns:a16="http://schemas.microsoft.com/office/drawing/2014/main" id="{665A66BE-325E-DF43-B327-19AF373624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28574" y="4856526"/>
            <a:ext cx="1058627" cy="1058627"/>
          </a:xfrm>
          <a:prstGeom prst="rect">
            <a:avLst/>
          </a:prstGeom>
        </p:spPr>
      </p:pic>
      <p:pic>
        <p:nvPicPr>
          <p:cNvPr id="154" name="Grafik 153">
            <a:extLst>
              <a:ext uri="{FF2B5EF4-FFF2-40B4-BE49-F238E27FC236}">
                <a16:creationId xmlns:a16="http://schemas.microsoft.com/office/drawing/2014/main" id="{197E87D6-1F10-AB49-A92A-DDECAF35AD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7093" y="4856526"/>
            <a:ext cx="1058627" cy="1058627"/>
          </a:xfrm>
          <a:prstGeom prst="rect">
            <a:avLst/>
          </a:prstGeom>
        </p:spPr>
      </p:pic>
      <p:pic>
        <p:nvPicPr>
          <p:cNvPr id="155" name="Grafik 154">
            <a:extLst>
              <a:ext uri="{FF2B5EF4-FFF2-40B4-BE49-F238E27FC236}">
                <a16:creationId xmlns:a16="http://schemas.microsoft.com/office/drawing/2014/main" id="{03DE829B-0600-F94C-AE24-A2F856D578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49103" y="4856247"/>
            <a:ext cx="1058627" cy="1058627"/>
          </a:xfrm>
          <a:prstGeom prst="rect">
            <a:avLst/>
          </a:prstGeom>
        </p:spPr>
      </p:pic>
      <p:sp>
        <p:nvSpPr>
          <p:cNvPr id="156" name="Textplatzhalter 3">
            <a:extLst>
              <a:ext uri="{FF2B5EF4-FFF2-40B4-BE49-F238E27FC236}">
                <a16:creationId xmlns:a16="http://schemas.microsoft.com/office/drawing/2014/main" id="{6A96915A-8F2E-6F49-86A6-182A3EF957C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585534" y="2230274"/>
            <a:ext cx="924817" cy="21472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7" name="Textplatzhalter 3">
            <a:extLst>
              <a:ext uri="{FF2B5EF4-FFF2-40B4-BE49-F238E27FC236}">
                <a16:creationId xmlns:a16="http://schemas.microsoft.com/office/drawing/2014/main" id="{5D025443-64AC-7F4E-A79A-B7C2634C6E3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390585" y="2575446"/>
            <a:ext cx="133460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2DAD721E-0863-DD4C-BC66-FA0680C2D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F74B38E2-3C83-3C4A-BFD6-E6BE9E5FC1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2851874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4FC856A-11F4-0F4E-A1C7-423610B4C83B}"/>
              </a:ext>
            </a:extLst>
          </p:cNvPr>
          <p:cNvSpPr/>
          <p:nvPr userDrawn="1"/>
        </p:nvSpPr>
        <p:spPr>
          <a:xfrm>
            <a:off x="6668983" y="1813972"/>
            <a:ext cx="3883232" cy="3883232"/>
          </a:xfrm>
          <a:prstGeom prst="ellipse">
            <a:avLst/>
          </a:prstGeom>
          <a:noFill/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latin typeface="+mj-lt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CCFCAA2-D782-A24A-83BF-DDFA447D6EF5}"/>
              </a:ext>
            </a:extLst>
          </p:cNvPr>
          <p:cNvGrpSpPr/>
          <p:nvPr userDrawn="1"/>
        </p:nvGrpSpPr>
        <p:grpSpPr>
          <a:xfrm>
            <a:off x="7409407" y="2581741"/>
            <a:ext cx="2351108" cy="2351109"/>
            <a:chOff x="5979680" y="1914809"/>
            <a:chExt cx="2741349" cy="2741349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147D3C0-78E5-9441-A2D1-9F6ED16B2387}"/>
                </a:ext>
              </a:extLst>
            </p:cNvPr>
            <p:cNvSpPr/>
            <p:nvPr/>
          </p:nvSpPr>
          <p:spPr>
            <a:xfrm>
              <a:off x="5979680" y="1914809"/>
              <a:ext cx="2741349" cy="2741349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b="1">
                <a:latin typeface="+mj-lt"/>
              </a:endParaRPr>
            </a:p>
          </p:txBody>
        </p:sp>
        <p:grpSp>
          <p:nvGrpSpPr>
            <p:cNvPr id="9" name="Group 589">
              <a:extLst>
                <a:ext uri="{FF2B5EF4-FFF2-40B4-BE49-F238E27FC236}">
                  <a16:creationId xmlns:a16="http://schemas.microsoft.com/office/drawing/2014/main" id="{0ED46756-DB76-D243-9831-24F5922E576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217542" y="2247578"/>
              <a:ext cx="2237556" cy="2075809"/>
              <a:chOff x="1498601" y="3500438"/>
              <a:chExt cx="527050" cy="488951"/>
            </a:xfrm>
            <a:solidFill>
              <a:schemeClr val="tx1"/>
            </a:solidFill>
          </p:grpSpPr>
          <p:sp>
            <p:nvSpPr>
              <p:cNvPr id="10" name="Freeform 201">
                <a:extLst>
                  <a:ext uri="{FF2B5EF4-FFF2-40B4-BE49-F238E27FC236}">
                    <a16:creationId xmlns:a16="http://schemas.microsoft.com/office/drawing/2014/main" id="{2C32763D-C11E-A642-A34E-1704F9D33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988" y="3870326"/>
                <a:ext cx="76200" cy="76200"/>
              </a:xfrm>
              <a:custGeom>
                <a:avLst/>
                <a:gdLst>
                  <a:gd name="T0" fmla="*/ 11 w 48"/>
                  <a:gd name="T1" fmla="*/ 48 h 48"/>
                  <a:gd name="T2" fmla="*/ 0 w 48"/>
                  <a:gd name="T3" fmla="*/ 48 h 48"/>
                  <a:gd name="T4" fmla="*/ 0 w 48"/>
                  <a:gd name="T5" fmla="*/ 0 h 48"/>
                  <a:gd name="T6" fmla="*/ 48 w 48"/>
                  <a:gd name="T7" fmla="*/ 0 h 48"/>
                  <a:gd name="T8" fmla="*/ 48 w 48"/>
                  <a:gd name="T9" fmla="*/ 11 h 48"/>
                  <a:gd name="T10" fmla="*/ 11 w 48"/>
                  <a:gd name="T11" fmla="*/ 11 h 48"/>
                  <a:gd name="T12" fmla="*/ 11 w 48"/>
                  <a:gd name="T13" fmla="*/ 48 h 48"/>
                  <a:gd name="T14" fmla="*/ 11 w 48"/>
                  <a:gd name="T1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8">
                    <a:moveTo>
                      <a:pt x="11" y="48"/>
                    </a:moveTo>
                    <a:lnTo>
                      <a:pt x="0" y="48"/>
                    </a:lnTo>
                    <a:lnTo>
                      <a:pt x="0" y="0"/>
                    </a:lnTo>
                    <a:lnTo>
                      <a:pt x="48" y="0"/>
                    </a:lnTo>
                    <a:lnTo>
                      <a:pt x="48" y="11"/>
                    </a:lnTo>
                    <a:lnTo>
                      <a:pt x="11" y="11"/>
                    </a:lnTo>
                    <a:lnTo>
                      <a:pt x="11" y="48"/>
                    </a:lnTo>
                    <a:lnTo>
                      <a:pt x="11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1" name="Freeform 202">
                <a:extLst>
                  <a:ext uri="{FF2B5EF4-FFF2-40B4-BE49-F238E27FC236}">
                    <a16:creationId xmlns:a16="http://schemas.microsoft.com/office/drawing/2014/main" id="{5000D50E-7037-184E-BE61-B691BA510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1" y="3500438"/>
                <a:ext cx="466725" cy="342900"/>
              </a:xfrm>
              <a:custGeom>
                <a:avLst/>
                <a:gdLst>
                  <a:gd name="T0" fmla="*/ 72 w 817"/>
                  <a:gd name="T1" fmla="*/ 600 h 600"/>
                  <a:gd name="T2" fmla="*/ 160 w 817"/>
                  <a:gd name="T3" fmla="*/ 124 h 600"/>
                  <a:gd name="T4" fmla="*/ 461 w 817"/>
                  <a:gd name="T5" fmla="*/ 0 h 600"/>
                  <a:gd name="T6" fmla="*/ 462 w 817"/>
                  <a:gd name="T7" fmla="*/ 0 h 600"/>
                  <a:gd name="T8" fmla="*/ 764 w 817"/>
                  <a:gd name="T9" fmla="*/ 125 h 600"/>
                  <a:gd name="T10" fmla="*/ 817 w 817"/>
                  <a:gd name="T11" fmla="*/ 178 h 600"/>
                  <a:gd name="T12" fmla="*/ 796 w 817"/>
                  <a:gd name="T13" fmla="*/ 198 h 600"/>
                  <a:gd name="T14" fmla="*/ 743 w 817"/>
                  <a:gd name="T15" fmla="*/ 145 h 600"/>
                  <a:gd name="T16" fmla="*/ 462 w 817"/>
                  <a:gd name="T17" fmla="*/ 29 h 600"/>
                  <a:gd name="T18" fmla="*/ 461 w 817"/>
                  <a:gd name="T19" fmla="*/ 29 h 600"/>
                  <a:gd name="T20" fmla="*/ 181 w 817"/>
                  <a:gd name="T21" fmla="*/ 144 h 600"/>
                  <a:gd name="T22" fmla="*/ 99 w 817"/>
                  <a:gd name="T23" fmla="*/ 588 h 600"/>
                  <a:gd name="T24" fmla="*/ 72 w 817"/>
                  <a:gd name="T25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17" h="600">
                    <a:moveTo>
                      <a:pt x="72" y="600"/>
                    </a:moveTo>
                    <a:cubicBezTo>
                      <a:pt x="0" y="441"/>
                      <a:pt x="35" y="249"/>
                      <a:pt x="160" y="124"/>
                    </a:cubicBezTo>
                    <a:cubicBezTo>
                      <a:pt x="241" y="44"/>
                      <a:pt x="347" y="0"/>
                      <a:pt x="461" y="0"/>
                    </a:cubicBezTo>
                    <a:cubicBezTo>
                      <a:pt x="461" y="0"/>
                      <a:pt x="462" y="0"/>
                      <a:pt x="462" y="0"/>
                    </a:cubicBezTo>
                    <a:cubicBezTo>
                      <a:pt x="576" y="0"/>
                      <a:pt x="683" y="44"/>
                      <a:pt x="764" y="125"/>
                    </a:cubicBezTo>
                    <a:cubicBezTo>
                      <a:pt x="817" y="178"/>
                      <a:pt x="817" y="178"/>
                      <a:pt x="817" y="178"/>
                    </a:cubicBezTo>
                    <a:cubicBezTo>
                      <a:pt x="796" y="198"/>
                      <a:pt x="796" y="198"/>
                      <a:pt x="796" y="198"/>
                    </a:cubicBezTo>
                    <a:cubicBezTo>
                      <a:pt x="743" y="145"/>
                      <a:pt x="743" y="145"/>
                      <a:pt x="743" y="145"/>
                    </a:cubicBezTo>
                    <a:cubicBezTo>
                      <a:pt x="668" y="70"/>
                      <a:pt x="568" y="29"/>
                      <a:pt x="462" y="29"/>
                    </a:cubicBezTo>
                    <a:cubicBezTo>
                      <a:pt x="462" y="29"/>
                      <a:pt x="461" y="29"/>
                      <a:pt x="461" y="29"/>
                    </a:cubicBezTo>
                    <a:cubicBezTo>
                      <a:pt x="355" y="29"/>
                      <a:pt x="256" y="70"/>
                      <a:pt x="181" y="144"/>
                    </a:cubicBezTo>
                    <a:cubicBezTo>
                      <a:pt x="64" y="261"/>
                      <a:pt x="31" y="439"/>
                      <a:pt x="99" y="588"/>
                    </a:cubicBezTo>
                    <a:cubicBezTo>
                      <a:pt x="72" y="600"/>
                      <a:pt x="72" y="600"/>
                      <a:pt x="72" y="6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2" name="Freeform 203">
                <a:extLst>
                  <a:ext uri="{FF2B5EF4-FFF2-40B4-BE49-F238E27FC236}">
                    <a16:creationId xmlns:a16="http://schemas.microsoft.com/office/drawing/2014/main" id="{5BF65D48-3348-374B-844A-36D74FEE9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8926" y="3644901"/>
                <a:ext cx="466725" cy="344488"/>
              </a:xfrm>
              <a:custGeom>
                <a:avLst/>
                <a:gdLst>
                  <a:gd name="T0" fmla="*/ 356 w 817"/>
                  <a:gd name="T1" fmla="*/ 600 h 600"/>
                  <a:gd name="T2" fmla="*/ 355 w 817"/>
                  <a:gd name="T3" fmla="*/ 600 h 600"/>
                  <a:gd name="T4" fmla="*/ 53 w 817"/>
                  <a:gd name="T5" fmla="*/ 475 h 600"/>
                  <a:gd name="T6" fmla="*/ 0 w 817"/>
                  <a:gd name="T7" fmla="*/ 422 h 600"/>
                  <a:gd name="T8" fmla="*/ 21 w 817"/>
                  <a:gd name="T9" fmla="*/ 401 h 600"/>
                  <a:gd name="T10" fmla="*/ 74 w 817"/>
                  <a:gd name="T11" fmla="*/ 454 h 600"/>
                  <a:gd name="T12" fmla="*/ 355 w 817"/>
                  <a:gd name="T13" fmla="*/ 571 h 600"/>
                  <a:gd name="T14" fmla="*/ 356 w 817"/>
                  <a:gd name="T15" fmla="*/ 571 h 600"/>
                  <a:gd name="T16" fmla="*/ 636 w 817"/>
                  <a:gd name="T17" fmla="*/ 455 h 600"/>
                  <a:gd name="T18" fmla="*/ 718 w 817"/>
                  <a:gd name="T19" fmla="*/ 12 h 600"/>
                  <a:gd name="T20" fmla="*/ 744 w 817"/>
                  <a:gd name="T21" fmla="*/ 0 h 600"/>
                  <a:gd name="T22" fmla="*/ 656 w 817"/>
                  <a:gd name="T23" fmla="*/ 476 h 600"/>
                  <a:gd name="T24" fmla="*/ 356 w 817"/>
                  <a:gd name="T25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17" h="600">
                    <a:moveTo>
                      <a:pt x="356" y="600"/>
                    </a:moveTo>
                    <a:cubicBezTo>
                      <a:pt x="355" y="600"/>
                      <a:pt x="355" y="600"/>
                      <a:pt x="355" y="600"/>
                    </a:cubicBezTo>
                    <a:cubicBezTo>
                      <a:pt x="241" y="600"/>
                      <a:pt x="134" y="555"/>
                      <a:pt x="53" y="475"/>
                    </a:cubicBezTo>
                    <a:cubicBezTo>
                      <a:pt x="0" y="422"/>
                      <a:pt x="0" y="422"/>
                      <a:pt x="0" y="422"/>
                    </a:cubicBezTo>
                    <a:cubicBezTo>
                      <a:pt x="21" y="401"/>
                      <a:pt x="21" y="401"/>
                      <a:pt x="21" y="401"/>
                    </a:cubicBezTo>
                    <a:cubicBezTo>
                      <a:pt x="74" y="454"/>
                      <a:pt x="74" y="454"/>
                      <a:pt x="74" y="454"/>
                    </a:cubicBezTo>
                    <a:cubicBezTo>
                      <a:pt x="149" y="529"/>
                      <a:pt x="249" y="571"/>
                      <a:pt x="355" y="571"/>
                    </a:cubicBezTo>
                    <a:cubicBezTo>
                      <a:pt x="355" y="571"/>
                      <a:pt x="355" y="571"/>
                      <a:pt x="356" y="571"/>
                    </a:cubicBezTo>
                    <a:cubicBezTo>
                      <a:pt x="462" y="571"/>
                      <a:pt x="561" y="530"/>
                      <a:pt x="636" y="455"/>
                    </a:cubicBezTo>
                    <a:cubicBezTo>
                      <a:pt x="752" y="338"/>
                      <a:pt x="785" y="160"/>
                      <a:pt x="718" y="12"/>
                    </a:cubicBezTo>
                    <a:cubicBezTo>
                      <a:pt x="744" y="0"/>
                      <a:pt x="744" y="0"/>
                      <a:pt x="744" y="0"/>
                    </a:cubicBezTo>
                    <a:cubicBezTo>
                      <a:pt x="817" y="159"/>
                      <a:pt x="782" y="351"/>
                      <a:pt x="656" y="476"/>
                    </a:cubicBezTo>
                    <a:cubicBezTo>
                      <a:pt x="576" y="556"/>
                      <a:pt x="470" y="600"/>
                      <a:pt x="356" y="6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3" name="Freeform 204">
                <a:extLst>
                  <a:ext uri="{FF2B5EF4-FFF2-40B4-BE49-F238E27FC236}">
                    <a16:creationId xmlns:a16="http://schemas.microsoft.com/office/drawing/2014/main" id="{35DE6A69-8C8C-3D42-A755-DEC9A0282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7063" y="3541713"/>
                <a:ext cx="76200" cy="76200"/>
              </a:xfrm>
              <a:custGeom>
                <a:avLst/>
                <a:gdLst>
                  <a:gd name="T0" fmla="*/ 48 w 48"/>
                  <a:gd name="T1" fmla="*/ 48 h 48"/>
                  <a:gd name="T2" fmla="*/ 0 w 48"/>
                  <a:gd name="T3" fmla="*/ 48 h 48"/>
                  <a:gd name="T4" fmla="*/ 0 w 48"/>
                  <a:gd name="T5" fmla="*/ 38 h 48"/>
                  <a:gd name="T6" fmla="*/ 37 w 48"/>
                  <a:gd name="T7" fmla="*/ 38 h 48"/>
                  <a:gd name="T8" fmla="*/ 37 w 48"/>
                  <a:gd name="T9" fmla="*/ 0 h 48"/>
                  <a:gd name="T10" fmla="*/ 48 w 48"/>
                  <a:gd name="T11" fmla="*/ 0 h 48"/>
                  <a:gd name="T12" fmla="*/ 48 w 48"/>
                  <a:gd name="T13" fmla="*/ 48 h 48"/>
                  <a:gd name="T14" fmla="*/ 48 w 48"/>
                  <a:gd name="T1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48">
                    <a:moveTo>
                      <a:pt x="48" y="48"/>
                    </a:moveTo>
                    <a:lnTo>
                      <a:pt x="0" y="48"/>
                    </a:lnTo>
                    <a:lnTo>
                      <a:pt x="0" y="38"/>
                    </a:lnTo>
                    <a:lnTo>
                      <a:pt x="37" y="38"/>
                    </a:lnTo>
                    <a:lnTo>
                      <a:pt x="37" y="0"/>
                    </a:lnTo>
                    <a:lnTo>
                      <a:pt x="48" y="0"/>
                    </a:lnTo>
                    <a:lnTo>
                      <a:pt x="48" y="48"/>
                    </a:lnTo>
                    <a:lnTo>
                      <a:pt x="48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22BFDF76-8BDA-B643-9E71-0747518F2427}"/>
              </a:ext>
            </a:extLst>
          </p:cNvPr>
          <p:cNvSpPr/>
          <p:nvPr userDrawn="1"/>
        </p:nvSpPr>
        <p:spPr>
          <a:xfrm>
            <a:off x="6809167" y="1867438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latin typeface="+mj-lt"/>
            </a:endParaRPr>
          </a:p>
        </p:txBody>
      </p:sp>
      <p:sp>
        <p:nvSpPr>
          <p:cNvPr id="17" name="Freeform 332">
            <a:extLst>
              <a:ext uri="{FF2B5EF4-FFF2-40B4-BE49-F238E27FC236}">
                <a16:creationId xmlns:a16="http://schemas.microsoft.com/office/drawing/2014/main" id="{03D98875-C855-3F45-9A60-A0628848932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093363" y="1966872"/>
            <a:ext cx="422275" cy="476250"/>
          </a:xfrm>
          <a:custGeom>
            <a:avLst/>
            <a:gdLst>
              <a:gd name="T0" fmla="*/ 297 w 738"/>
              <a:gd name="T1" fmla="*/ 798 h 832"/>
              <a:gd name="T2" fmla="*/ 277 w 738"/>
              <a:gd name="T3" fmla="*/ 793 h 832"/>
              <a:gd name="T4" fmla="*/ 474 w 738"/>
              <a:gd name="T5" fmla="*/ 712 h 832"/>
              <a:gd name="T6" fmla="*/ 321 w 738"/>
              <a:gd name="T7" fmla="*/ 782 h 832"/>
              <a:gd name="T8" fmla="*/ 427 w 738"/>
              <a:gd name="T9" fmla="*/ 754 h 832"/>
              <a:gd name="T10" fmla="*/ 369 w 738"/>
              <a:gd name="T11" fmla="*/ 832 h 832"/>
              <a:gd name="T12" fmla="*/ 269 w 738"/>
              <a:gd name="T13" fmla="*/ 688 h 832"/>
              <a:gd name="T14" fmla="*/ 481 w 738"/>
              <a:gd name="T15" fmla="*/ 663 h 832"/>
              <a:gd name="T16" fmla="*/ 277 w 738"/>
              <a:gd name="T17" fmla="*/ 639 h 832"/>
              <a:gd name="T18" fmla="*/ 255 w 738"/>
              <a:gd name="T19" fmla="*/ 617 h 832"/>
              <a:gd name="T20" fmla="*/ 128 w 738"/>
              <a:gd name="T21" fmla="*/ 363 h 832"/>
              <a:gd name="T22" fmla="*/ 369 w 738"/>
              <a:gd name="T23" fmla="*/ 135 h 832"/>
              <a:gd name="T24" fmla="*/ 610 w 738"/>
              <a:gd name="T25" fmla="*/ 363 h 832"/>
              <a:gd name="T26" fmla="*/ 491 w 738"/>
              <a:gd name="T27" fmla="*/ 577 h 832"/>
              <a:gd name="T28" fmla="*/ 481 w 738"/>
              <a:gd name="T29" fmla="*/ 586 h 832"/>
              <a:gd name="T30" fmla="*/ 369 w 738"/>
              <a:gd name="T31" fmla="*/ 164 h 832"/>
              <a:gd name="T32" fmla="*/ 157 w 738"/>
              <a:gd name="T33" fmla="*/ 361 h 832"/>
              <a:gd name="T34" fmla="*/ 284 w 738"/>
              <a:gd name="T35" fmla="*/ 607 h 832"/>
              <a:gd name="T36" fmla="*/ 517 w 738"/>
              <a:gd name="T37" fmla="*/ 498 h 832"/>
              <a:gd name="T38" fmla="*/ 534 w 738"/>
              <a:gd name="T39" fmla="*/ 234 h 832"/>
              <a:gd name="T40" fmla="*/ 605 w 738"/>
              <a:gd name="T41" fmla="*/ 629 h 832"/>
              <a:gd name="T42" fmla="*/ 577 w 738"/>
              <a:gd name="T43" fmla="*/ 560 h 832"/>
              <a:gd name="T44" fmla="*/ 605 w 738"/>
              <a:gd name="T45" fmla="*/ 629 h 832"/>
              <a:gd name="T46" fmla="*/ 103 w 738"/>
              <a:gd name="T47" fmla="*/ 608 h 832"/>
              <a:gd name="T48" fmla="*/ 172 w 738"/>
              <a:gd name="T49" fmla="*/ 581 h 832"/>
              <a:gd name="T50" fmla="*/ 363 w 738"/>
              <a:gd name="T51" fmla="*/ 528 h 832"/>
              <a:gd name="T52" fmla="*/ 299 w 738"/>
              <a:gd name="T53" fmla="*/ 390 h 832"/>
              <a:gd name="T54" fmla="*/ 461 w 738"/>
              <a:gd name="T55" fmla="*/ 296 h 832"/>
              <a:gd name="T56" fmla="*/ 363 w 738"/>
              <a:gd name="T57" fmla="*/ 528 h 832"/>
              <a:gd name="T58" fmla="*/ 670 w 738"/>
              <a:gd name="T59" fmla="*/ 377 h 832"/>
              <a:gd name="T60" fmla="*/ 738 w 738"/>
              <a:gd name="T61" fmla="*/ 348 h 832"/>
              <a:gd name="T62" fmla="*/ 68 w 738"/>
              <a:gd name="T63" fmla="*/ 363 h 832"/>
              <a:gd name="T64" fmla="*/ 0 w 738"/>
              <a:gd name="T65" fmla="*/ 334 h 832"/>
              <a:gd name="T66" fmla="*/ 68 w 738"/>
              <a:gd name="T67" fmla="*/ 363 h 832"/>
              <a:gd name="T68" fmla="*/ 112 w 738"/>
              <a:gd name="T69" fmla="*/ 106 h 832"/>
              <a:gd name="T70" fmla="*/ 182 w 738"/>
              <a:gd name="T71" fmla="*/ 133 h 832"/>
              <a:gd name="T72" fmla="*/ 587 w 738"/>
              <a:gd name="T73" fmla="*/ 154 h 832"/>
              <a:gd name="T74" fmla="*/ 615 w 738"/>
              <a:gd name="T75" fmla="*/ 85 h 832"/>
              <a:gd name="T76" fmla="*/ 587 w 738"/>
              <a:gd name="T77" fmla="*/ 154 h 832"/>
              <a:gd name="T78" fmla="*/ 361 w 738"/>
              <a:gd name="T79" fmla="*/ 69 h 832"/>
              <a:gd name="T80" fmla="*/ 391 w 738"/>
              <a:gd name="T81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38" h="832">
                <a:moveTo>
                  <a:pt x="369" y="832"/>
                </a:moveTo>
                <a:cubicBezTo>
                  <a:pt x="340" y="832"/>
                  <a:pt x="313" y="820"/>
                  <a:pt x="297" y="798"/>
                </a:cubicBezTo>
                <a:cubicBezTo>
                  <a:pt x="317" y="783"/>
                  <a:pt x="317" y="783"/>
                  <a:pt x="317" y="783"/>
                </a:cubicBezTo>
                <a:cubicBezTo>
                  <a:pt x="277" y="793"/>
                  <a:pt x="277" y="793"/>
                  <a:pt x="277" y="793"/>
                </a:cubicBezTo>
                <a:cubicBezTo>
                  <a:pt x="269" y="765"/>
                  <a:pt x="269" y="765"/>
                  <a:pt x="269" y="765"/>
                </a:cubicBezTo>
                <a:cubicBezTo>
                  <a:pt x="474" y="712"/>
                  <a:pt x="474" y="712"/>
                  <a:pt x="474" y="712"/>
                </a:cubicBezTo>
                <a:cubicBezTo>
                  <a:pt x="481" y="740"/>
                  <a:pt x="481" y="740"/>
                  <a:pt x="481" y="740"/>
                </a:cubicBezTo>
                <a:cubicBezTo>
                  <a:pt x="321" y="782"/>
                  <a:pt x="321" y="782"/>
                  <a:pt x="321" y="782"/>
                </a:cubicBezTo>
                <a:cubicBezTo>
                  <a:pt x="332" y="795"/>
                  <a:pt x="350" y="803"/>
                  <a:pt x="369" y="803"/>
                </a:cubicBezTo>
                <a:cubicBezTo>
                  <a:pt x="401" y="803"/>
                  <a:pt x="427" y="781"/>
                  <a:pt x="427" y="754"/>
                </a:cubicBezTo>
                <a:cubicBezTo>
                  <a:pt x="457" y="754"/>
                  <a:pt x="457" y="754"/>
                  <a:pt x="457" y="754"/>
                </a:cubicBezTo>
                <a:cubicBezTo>
                  <a:pt x="457" y="797"/>
                  <a:pt x="417" y="832"/>
                  <a:pt x="369" y="832"/>
                </a:cubicBezTo>
                <a:close/>
                <a:moveTo>
                  <a:pt x="277" y="716"/>
                </a:moveTo>
                <a:cubicBezTo>
                  <a:pt x="269" y="688"/>
                  <a:pt x="269" y="688"/>
                  <a:pt x="269" y="688"/>
                </a:cubicBezTo>
                <a:cubicBezTo>
                  <a:pt x="474" y="635"/>
                  <a:pt x="474" y="635"/>
                  <a:pt x="474" y="635"/>
                </a:cubicBezTo>
                <a:cubicBezTo>
                  <a:pt x="481" y="663"/>
                  <a:pt x="481" y="663"/>
                  <a:pt x="481" y="663"/>
                </a:cubicBezTo>
                <a:cubicBezTo>
                  <a:pt x="277" y="716"/>
                  <a:pt x="277" y="716"/>
                  <a:pt x="277" y="716"/>
                </a:cubicBezTo>
                <a:close/>
                <a:moveTo>
                  <a:pt x="277" y="639"/>
                </a:moveTo>
                <a:cubicBezTo>
                  <a:pt x="271" y="616"/>
                  <a:pt x="271" y="616"/>
                  <a:pt x="271" y="616"/>
                </a:cubicBezTo>
                <a:cubicBezTo>
                  <a:pt x="255" y="617"/>
                  <a:pt x="255" y="617"/>
                  <a:pt x="255" y="617"/>
                </a:cubicBezTo>
                <a:cubicBezTo>
                  <a:pt x="251" y="560"/>
                  <a:pt x="231" y="544"/>
                  <a:pt x="205" y="524"/>
                </a:cubicBezTo>
                <a:cubicBezTo>
                  <a:pt x="172" y="499"/>
                  <a:pt x="135" y="470"/>
                  <a:pt x="128" y="363"/>
                </a:cubicBezTo>
                <a:cubicBezTo>
                  <a:pt x="124" y="309"/>
                  <a:pt x="144" y="255"/>
                  <a:pt x="184" y="213"/>
                </a:cubicBezTo>
                <a:cubicBezTo>
                  <a:pt x="230" y="163"/>
                  <a:pt x="298" y="135"/>
                  <a:pt x="369" y="135"/>
                </a:cubicBezTo>
                <a:cubicBezTo>
                  <a:pt x="440" y="135"/>
                  <a:pt x="508" y="163"/>
                  <a:pt x="555" y="214"/>
                </a:cubicBezTo>
                <a:cubicBezTo>
                  <a:pt x="595" y="256"/>
                  <a:pt x="614" y="309"/>
                  <a:pt x="610" y="363"/>
                </a:cubicBezTo>
                <a:cubicBezTo>
                  <a:pt x="603" y="467"/>
                  <a:pt x="567" y="496"/>
                  <a:pt x="535" y="521"/>
                </a:cubicBezTo>
                <a:cubicBezTo>
                  <a:pt x="516" y="536"/>
                  <a:pt x="500" y="549"/>
                  <a:pt x="491" y="577"/>
                </a:cubicBezTo>
                <a:cubicBezTo>
                  <a:pt x="477" y="572"/>
                  <a:pt x="477" y="572"/>
                  <a:pt x="477" y="572"/>
                </a:cubicBezTo>
                <a:cubicBezTo>
                  <a:pt x="481" y="586"/>
                  <a:pt x="481" y="586"/>
                  <a:pt x="481" y="586"/>
                </a:cubicBezTo>
                <a:cubicBezTo>
                  <a:pt x="277" y="639"/>
                  <a:pt x="277" y="639"/>
                  <a:pt x="277" y="639"/>
                </a:cubicBezTo>
                <a:close/>
                <a:moveTo>
                  <a:pt x="369" y="164"/>
                </a:moveTo>
                <a:cubicBezTo>
                  <a:pt x="307" y="164"/>
                  <a:pt x="246" y="190"/>
                  <a:pt x="205" y="233"/>
                </a:cubicBezTo>
                <a:cubicBezTo>
                  <a:pt x="171" y="269"/>
                  <a:pt x="154" y="315"/>
                  <a:pt x="157" y="361"/>
                </a:cubicBezTo>
                <a:cubicBezTo>
                  <a:pt x="163" y="455"/>
                  <a:pt x="193" y="478"/>
                  <a:pt x="223" y="501"/>
                </a:cubicBezTo>
                <a:cubicBezTo>
                  <a:pt x="250" y="522"/>
                  <a:pt x="277" y="544"/>
                  <a:pt x="284" y="607"/>
                </a:cubicBezTo>
                <a:cubicBezTo>
                  <a:pt x="466" y="560"/>
                  <a:pt x="466" y="560"/>
                  <a:pt x="466" y="560"/>
                </a:cubicBezTo>
                <a:cubicBezTo>
                  <a:pt x="479" y="529"/>
                  <a:pt x="498" y="513"/>
                  <a:pt x="517" y="498"/>
                </a:cubicBezTo>
                <a:cubicBezTo>
                  <a:pt x="547" y="474"/>
                  <a:pt x="575" y="452"/>
                  <a:pt x="581" y="361"/>
                </a:cubicBezTo>
                <a:cubicBezTo>
                  <a:pt x="584" y="315"/>
                  <a:pt x="568" y="270"/>
                  <a:pt x="534" y="234"/>
                </a:cubicBezTo>
                <a:cubicBezTo>
                  <a:pt x="493" y="190"/>
                  <a:pt x="431" y="164"/>
                  <a:pt x="369" y="164"/>
                </a:cubicBezTo>
                <a:close/>
                <a:moveTo>
                  <a:pt x="605" y="629"/>
                </a:moveTo>
                <a:cubicBezTo>
                  <a:pt x="556" y="581"/>
                  <a:pt x="556" y="581"/>
                  <a:pt x="556" y="581"/>
                </a:cubicBezTo>
                <a:cubicBezTo>
                  <a:pt x="577" y="560"/>
                  <a:pt x="577" y="560"/>
                  <a:pt x="577" y="560"/>
                </a:cubicBezTo>
                <a:cubicBezTo>
                  <a:pt x="626" y="608"/>
                  <a:pt x="626" y="608"/>
                  <a:pt x="626" y="608"/>
                </a:cubicBezTo>
                <a:cubicBezTo>
                  <a:pt x="605" y="629"/>
                  <a:pt x="605" y="629"/>
                  <a:pt x="605" y="629"/>
                </a:cubicBezTo>
                <a:close/>
                <a:moveTo>
                  <a:pt x="123" y="629"/>
                </a:moveTo>
                <a:cubicBezTo>
                  <a:pt x="103" y="608"/>
                  <a:pt x="103" y="608"/>
                  <a:pt x="103" y="608"/>
                </a:cubicBezTo>
                <a:cubicBezTo>
                  <a:pt x="151" y="560"/>
                  <a:pt x="151" y="560"/>
                  <a:pt x="151" y="560"/>
                </a:cubicBezTo>
                <a:cubicBezTo>
                  <a:pt x="172" y="581"/>
                  <a:pt x="172" y="581"/>
                  <a:pt x="172" y="581"/>
                </a:cubicBezTo>
                <a:cubicBezTo>
                  <a:pt x="123" y="629"/>
                  <a:pt x="123" y="629"/>
                  <a:pt x="123" y="629"/>
                </a:cubicBezTo>
                <a:close/>
                <a:moveTo>
                  <a:pt x="363" y="528"/>
                </a:moveTo>
                <a:cubicBezTo>
                  <a:pt x="275" y="407"/>
                  <a:pt x="275" y="407"/>
                  <a:pt x="275" y="407"/>
                </a:cubicBezTo>
                <a:cubicBezTo>
                  <a:pt x="299" y="390"/>
                  <a:pt x="299" y="390"/>
                  <a:pt x="299" y="390"/>
                </a:cubicBezTo>
                <a:cubicBezTo>
                  <a:pt x="360" y="474"/>
                  <a:pt x="360" y="474"/>
                  <a:pt x="360" y="474"/>
                </a:cubicBezTo>
                <a:cubicBezTo>
                  <a:pt x="461" y="296"/>
                  <a:pt x="461" y="296"/>
                  <a:pt x="461" y="296"/>
                </a:cubicBezTo>
                <a:cubicBezTo>
                  <a:pt x="487" y="310"/>
                  <a:pt x="487" y="310"/>
                  <a:pt x="487" y="310"/>
                </a:cubicBezTo>
                <a:cubicBezTo>
                  <a:pt x="363" y="528"/>
                  <a:pt x="363" y="528"/>
                  <a:pt x="363" y="528"/>
                </a:cubicBezTo>
                <a:close/>
                <a:moveTo>
                  <a:pt x="738" y="377"/>
                </a:moveTo>
                <a:cubicBezTo>
                  <a:pt x="670" y="377"/>
                  <a:pt x="670" y="377"/>
                  <a:pt x="670" y="377"/>
                </a:cubicBezTo>
                <a:cubicBezTo>
                  <a:pt x="670" y="348"/>
                  <a:pt x="670" y="348"/>
                  <a:pt x="670" y="348"/>
                </a:cubicBezTo>
                <a:cubicBezTo>
                  <a:pt x="738" y="348"/>
                  <a:pt x="738" y="348"/>
                  <a:pt x="738" y="348"/>
                </a:cubicBezTo>
                <a:cubicBezTo>
                  <a:pt x="738" y="377"/>
                  <a:pt x="738" y="377"/>
                  <a:pt x="738" y="377"/>
                </a:cubicBezTo>
                <a:close/>
                <a:moveTo>
                  <a:pt x="68" y="363"/>
                </a:moveTo>
                <a:cubicBezTo>
                  <a:pt x="0" y="363"/>
                  <a:pt x="0" y="363"/>
                  <a:pt x="0" y="363"/>
                </a:cubicBezTo>
                <a:cubicBezTo>
                  <a:pt x="0" y="334"/>
                  <a:pt x="0" y="334"/>
                  <a:pt x="0" y="334"/>
                </a:cubicBezTo>
                <a:cubicBezTo>
                  <a:pt x="68" y="334"/>
                  <a:pt x="68" y="334"/>
                  <a:pt x="68" y="334"/>
                </a:cubicBezTo>
                <a:cubicBezTo>
                  <a:pt x="68" y="363"/>
                  <a:pt x="68" y="363"/>
                  <a:pt x="68" y="363"/>
                </a:cubicBezTo>
                <a:close/>
                <a:moveTo>
                  <a:pt x="161" y="154"/>
                </a:moveTo>
                <a:cubicBezTo>
                  <a:pt x="112" y="106"/>
                  <a:pt x="112" y="106"/>
                  <a:pt x="112" y="106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61" y="154"/>
                  <a:pt x="161" y="154"/>
                  <a:pt x="161" y="154"/>
                </a:cubicBezTo>
                <a:close/>
                <a:moveTo>
                  <a:pt x="587" y="154"/>
                </a:moveTo>
                <a:cubicBezTo>
                  <a:pt x="566" y="133"/>
                  <a:pt x="566" y="133"/>
                  <a:pt x="566" y="133"/>
                </a:cubicBezTo>
                <a:cubicBezTo>
                  <a:pt x="615" y="85"/>
                  <a:pt x="615" y="85"/>
                  <a:pt x="615" y="85"/>
                </a:cubicBezTo>
                <a:cubicBezTo>
                  <a:pt x="636" y="106"/>
                  <a:pt x="636" y="106"/>
                  <a:pt x="636" y="106"/>
                </a:cubicBezTo>
                <a:cubicBezTo>
                  <a:pt x="587" y="154"/>
                  <a:pt x="587" y="154"/>
                  <a:pt x="587" y="154"/>
                </a:cubicBezTo>
                <a:close/>
                <a:moveTo>
                  <a:pt x="391" y="69"/>
                </a:moveTo>
                <a:cubicBezTo>
                  <a:pt x="361" y="69"/>
                  <a:pt x="361" y="69"/>
                  <a:pt x="361" y="69"/>
                </a:cubicBezTo>
                <a:cubicBezTo>
                  <a:pt x="361" y="0"/>
                  <a:pt x="361" y="0"/>
                  <a:pt x="361" y="0"/>
                </a:cubicBezTo>
                <a:cubicBezTo>
                  <a:pt x="391" y="0"/>
                  <a:pt x="391" y="0"/>
                  <a:pt x="391" y="0"/>
                </a:cubicBezTo>
                <a:cubicBezTo>
                  <a:pt x="391" y="69"/>
                  <a:pt x="391" y="69"/>
                  <a:pt x="391" y="69"/>
                </a:cubicBezTo>
                <a:close/>
              </a:path>
            </a:pathLst>
          </a:custGeom>
          <a:solidFill>
            <a:srgbClr val="FFB81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0D6F41F-0E90-C847-A170-F035EF919630}"/>
              </a:ext>
            </a:extLst>
          </p:cNvPr>
          <p:cNvSpPr/>
          <p:nvPr userDrawn="1"/>
        </p:nvSpPr>
        <p:spPr>
          <a:xfrm>
            <a:off x="9340996" y="1863440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latin typeface="+mj-lt"/>
            </a:endParaRPr>
          </a:p>
        </p:txBody>
      </p:sp>
      <p:grpSp>
        <p:nvGrpSpPr>
          <p:cNvPr id="20" name="Group 581">
            <a:extLst>
              <a:ext uri="{FF2B5EF4-FFF2-40B4-BE49-F238E27FC236}">
                <a16:creationId xmlns:a16="http://schemas.microsoft.com/office/drawing/2014/main" id="{E06517AD-09FC-1549-82FD-F0966BD42F6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70207" y="2002286"/>
            <a:ext cx="342623" cy="413342"/>
            <a:chOff x="8459788" y="3476625"/>
            <a:chExt cx="446087" cy="538162"/>
          </a:xfrm>
          <a:solidFill>
            <a:srgbClr val="FFB81C"/>
          </a:solidFill>
        </p:grpSpPr>
        <p:sp>
          <p:nvSpPr>
            <p:cNvPr id="21" name="Freeform 275">
              <a:extLst>
                <a:ext uri="{FF2B5EF4-FFF2-40B4-BE49-F238E27FC236}">
                  <a16:creationId xmlns:a16="http://schemas.microsoft.com/office/drawing/2014/main" id="{DECCD457-4D5E-644A-B3E1-169F8D7BD1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1875" y="3476625"/>
              <a:ext cx="61912" cy="131762"/>
            </a:xfrm>
            <a:custGeom>
              <a:avLst/>
              <a:gdLst>
                <a:gd name="T0" fmla="*/ 19 w 39"/>
                <a:gd name="T1" fmla="*/ 83 h 83"/>
                <a:gd name="T2" fmla="*/ 0 w 39"/>
                <a:gd name="T3" fmla="*/ 53 h 83"/>
                <a:gd name="T4" fmla="*/ 0 w 39"/>
                <a:gd name="T5" fmla="*/ 29 h 83"/>
                <a:gd name="T6" fmla="*/ 19 w 39"/>
                <a:gd name="T7" fmla="*/ 0 h 83"/>
                <a:gd name="T8" fmla="*/ 39 w 39"/>
                <a:gd name="T9" fmla="*/ 29 h 83"/>
                <a:gd name="T10" fmla="*/ 39 w 39"/>
                <a:gd name="T11" fmla="*/ 53 h 83"/>
                <a:gd name="T12" fmla="*/ 19 w 39"/>
                <a:gd name="T13" fmla="*/ 83 h 83"/>
                <a:gd name="T14" fmla="*/ 19 w 39"/>
                <a:gd name="T15" fmla="*/ 83 h 83"/>
                <a:gd name="T16" fmla="*/ 11 w 39"/>
                <a:gd name="T17" fmla="*/ 50 h 83"/>
                <a:gd name="T18" fmla="*/ 19 w 39"/>
                <a:gd name="T19" fmla="*/ 63 h 83"/>
                <a:gd name="T20" fmla="*/ 28 w 39"/>
                <a:gd name="T21" fmla="*/ 50 h 83"/>
                <a:gd name="T22" fmla="*/ 28 w 39"/>
                <a:gd name="T23" fmla="*/ 32 h 83"/>
                <a:gd name="T24" fmla="*/ 19 w 39"/>
                <a:gd name="T25" fmla="*/ 19 h 83"/>
                <a:gd name="T26" fmla="*/ 11 w 39"/>
                <a:gd name="T27" fmla="*/ 32 h 83"/>
                <a:gd name="T28" fmla="*/ 11 w 39"/>
                <a:gd name="T29" fmla="*/ 50 h 83"/>
                <a:gd name="T30" fmla="*/ 11 w 39"/>
                <a:gd name="T31" fmla="*/ 5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83">
                  <a:moveTo>
                    <a:pt x="19" y="83"/>
                  </a:moveTo>
                  <a:lnTo>
                    <a:pt x="0" y="53"/>
                  </a:lnTo>
                  <a:lnTo>
                    <a:pt x="0" y="29"/>
                  </a:lnTo>
                  <a:lnTo>
                    <a:pt x="19" y="0"/>
                  </a:lnTo>
                  <a:lnTo>
                    <a:pt x="39" y="29"/>
                  </a:lnTo>
                  <a:lnTo>
                    <a:pt x="39" y="5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1" y="50"/>
                  </a:moveTo>
                  <a:lnTo>
                    <a:pt x="19" y="63"/>
                  </a:lnTo>
                  <a:lnTo>
                    <a:pt x="28" y="50"/>
                  </a:lnTo>
                  <a:lnTo>
                    <a:pt x="28" y="32"/>
                  </a:lnTo>
                  <a:lnTo>
                    <a:pt x="19" y="19"/>
                  </a:lnTo>
                  <a:lnTo>
                    <a:pt x="11" y="32"/>
                  </a:lnTo>
                  <a:lnTo>
                    <a:pt x="11" y="50"/>
                  </a:lnTo>
                  <a:lnTo>
                    <a:pt x="11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76">
              <a:extLst>
                <a:ext uri="{FF2B5EF4-FFF2-40B4-BE49-F238E27FC236}">
                  <a16:creationId xmlns:a16="http://schemas.microsoft.com/office/drawing/2014/main" id="{DB2F1D01-C65A-6B41-B818-A4E027F4E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6800" y="3667125"/>
              <a:ext cx="219075" cy="347662"/>
            </a:xfrm>
            <a:custGeom>
              <a:avLst/>
              <a:gdLst>
                <a:gd name="T0" fmla="*/ 112 w 138"/>
                <a:gd name="T1" fmla="*/ 219 h 219"/>
                <a:gd name="T2" fmla="*/ 0 w 138"/>
                <a:gd name="T3" fmla="*/ 26 h 219"/>
                <a:gd name="T4" fmla="*/ 9 w 138"/>
                <a:gd name="T5" fmla="*/ 21 h 219"/>
                <a:gd name="T6" fmla="*/ 112 w 138"/>
                <a:gd name="T7" fmla="*/ 197 h 219"/>
                <a:gd name="T8" fmla="*/ 126 w 138"/>
                <a:gd name="T9" fmla="*/ 172 h 219"/>
                <a:gd name="T10" fmla="*/ 28 w 138"/>
                <a:gd name="T11" fmla="*/ 5 h 219"/>
                <a:gd name="T12" fmla="*/ 37 w 138"/>
                <a:gd name="T13" fmla="*/ 0 h 219"/>
                <a:gd name="T14" fmla="*/ 138 w 138"/>
                <a:gd name="T15" fmla="*/ 172 h 219"/>
                <a:gd name="T16" fmla="*/ 112 w 138"/>
                <a:gd name="T17" fmla="*/ 219 h 219"/>
                <a:gd name="T18" fmla="*/ 112 w 138"/>
                <a:gd name="T1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219">
                  <a:moveTo>
                    <a:pt x="112" y="219"/>
                  </a:moveTo>
                  <a:lnTo>
                    <a:pt x="0" y="26"/>
                  </a:lnTo>
                  <a:lnTo>
                    <a:pt x="9" y="21"/>
                  </a:lnTo>
                  <a:lnTo>
                    <a:pt x="112" y="197"/>
                  </a:lnTo>
                  <a:lnTo>
                    <a:pt x="126" y="172"/>
                  </a:lnTo>
                  <a:lnTo>
                    <a:pt x="28" y="5"/>
                  </a:lnTo>
                  <a:lnTo>
                    <a:pt x="37" y="0"/>
                  </a:lnTo>
                  <a:lnTo>
                    <a:pt x="138" y="172"/>
                  </a:lnTo>
                  <a:lnTo>
                    <a:pt x="112" y="219"/>
                  </a:lnTo>
                  <a:lnTo>
                    <a:pt x="11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77">
              <a:extLst>
                <a:ext uri="{FF2B5EF4-FFF2-40B4-BE49-F238E27FC236}">
                  <a16:creationId xmlns:a16="http://schemas.microsoft.com/office/drawing/2014/main" id="{D0BF744B-FC30-E046-8813-B35F3BF40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9788" y="3667125"/>
              <a:ext cx="219075" cy="347662"/>
            </a:xfrm>
            <a:custGeom>
              <a:avLst/>
              <a:gdLst>
                <a:gd name="T0" fmla="*/ 26 w 138"/>
                <a:gd name="T1" fmla="*/ 219 h 219"/>
                <a:gd name="T2" fmla="*/ 0 w 138"/>
                <a:gd name="T3" fmla="*/ 172 h 219"/>
                <a:gd name="T4" fmla="*/ 1 w 138"/>
                <a:gd name="T5" fmla="*/ 170 h 219"/>
                <a:gd name="T6" fmla="*/ 100 w 138"/>
                <a:gd name="T7" fmla="*/ 0 h 219"/>
                <a:gd name="T8" fmla="*/ 110 w 138"/>
                <a:gd name="T9" fmla="*/ 5 h 219"/>
                <a:gd name="T10" fmla="*/ 12 w 138"/>
                <a:gd name="T11" fmla="*/ 172 h 219"/>
                <a:gd name="T12" fmla="*/ 26 w 138"/>
                <a:gd name="T13" fmla="*/ 197 h 219"/>
                <a:gd name="T14" fmla="*/ 129 w 138"/>
                <a:gd name="T15" fmla="*/ 21 h 219"/>
                <a:gd name="T16" fmla="*/ 138 w 138"/>
                <a:gd name="T17" fmla="*/ 26 h 219"/>
                <a:gd name="T18" fmla="*/ 26 w 138"/>
                <a:gd name="T19" fmla="*/ 219 h 219"/>
                <a:gd name="T20" fmla="*/ 26 w 138"/>
                <a:gd name="T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8" h="219">
                  <a:moveTo>
                    <a:pt x="26" y="219"/>
                  </a:moveTo>
                  <a:lnTo>
                    <a:pt x="0" y="172"/>
                  </a:lnTo>
                  <a:lnTo>
                    <a:pt x="1" y="170"/>
                  </a:lnTo>
                  <a:lnTo>
                    <a:pt x="100" y="0"/>
                  </a:lnTo>
                  <a:lnTo>
                    <a:pt x="110" y="5"/>
                  </a:lnTo>
                  <a:lnTo>
                    <a:pt x="12" y="172"/>
                  </a:lnTo>
                  <a:lnTo>
                    <a:pt x="26" y="197"/>
                  </a:lnTo>
                  <a:lnTo>
                    <a:pt x="129" y="21"/>
                  </a:lnTo>
                  <a:lnTo>
                    <a:pt x="138" y="26"/>
                  </a:lnTo>
                  <a:lnTo>
                    <a:pt x="26" y="219"/>
                  </a:lnTo>
                  <a:lnTo>
                    <a:pt x="2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78">
              <a:extLst>
                <a:ext uri="{FF2B5EF4-FFF2-40B4-BE49-F238E27FC236}">
                  <a16:creationId xmlns:a16="http://schemas.microsoft.com/office/drawing/2014/main" id="{76266D71-8A3A-6040-9EC8-D3E425D40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8538" y="3584575"/>
              <a:ext cx="128587" cy="128587"/>
            </a:xfrm>
            <a:custGeom>
              <a:avLst/>
              <a:gdLst>
                <a:gd name="T0" fmla="*/ 113 w 226"/>
                <a:gd name="T1" fmla="*/ 226 h 226"/>
                <a:gd name="T2" fmla="*/ 0 w 226"/>
                <a:gd name="T3" fmla="*/ 113 h 226"/>
                <a:gd name="T4" fmla="*/ 113 w 226"/>
                <a:gd name="T5" fmla="*/ 0 h 226"/>
                <a:gd name="T6" fmla="*/ 226 w 226"/>
                <a:gd name="T7" fmla="*/ 113 h 226"/>
                <a:gd name="T8" fmla="*/ 113 w 226"/>
                <a:gd name="T9" fmla="*/ 226 h 226"/>
                <a:gd name="T10" fmla="*/ 113 w 226"/>
                <a:gd name="T11" fmla="*/ 29 h 226"/>
                <a:gd name="T12" fmla="*/ 29 w 226"/>
                <a:gd name="T13" fmla="*/ 113 h 226"/>
                <a:gd name="T14" fmla="*/ 113 w 226"/>
                <a:gd name="T15" fmla="*/ 197 h 226"/>
                <a:gd name="T16" fmla="*/ 197 w 226"/>
                <a:gd name="T17" fmla="*/ 113 h 226"/>
                <a:gd name="T18" fmla="*/ 113 w 226"/>
                <a:gd name="T19" fmla="*/ 2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226">
                  <a:moveTo>
                    <a:pt x="113" y="226"/>
                  </a:moveTo>
                  <a:cubicBezTo>
                    <a:pt x="51" y="226"/>
                    <a:pt x="0" y="175"/>
                    <a:pt x="0" y="113"/>
                  </a:cubicBezTo>
                  <a:cubicBezTo>
                    <a:pt x="0" y="51"/>
                    <a:pt x="51" y="0"/>
                    <a:pt x="113" y="0"/>
                  </a:cubicBezTo>
                  <a:cubicBezTo>
                    <a:pt x="175" y="0"/>
                    <a:pt x="226" y="51"/>
                    <a:pt x="226" y="113"/>
                  </a:cubicBezTo>
                  <a:cubicBezTo>
                    <a:pt x="226" y="175"/>
                    <a:pt x="175" y="226"/>
                    <a:pt x="113" y="226"/>
                  </a:cubicBezTo>
                  <a:close/>
                  <a:moveTo>
                    <a:pt x="113" y="29"/>
                  </a:moveTo>
                  <a:cubicBezTo>
                    <a:pt x="67" y="29"/>
                    <a:pt x="29" y="67"/>
                    <a:pt x="29" y="113"/>
                  </a:cubicBezTo>
                  <a:cubicBezTo>
                    <a:pt x="29" y="159"/>
                    <a:pt x="67" y="197"/>
                    <a:pt x="113" y="197"/>
                  </a:cubicBezTo>
                  <a:cubicBezTo>
                    <a:pt x="159" y="197"/>
                    <a:pt x="197" y="159"/>
                    <a:pt x="197" y="113"/>
                  </a:cubicBezTo>
                  <a:cubicBezTo>
                    <a:pt x="197" y="67"/>
                    <a:pt x="159" y="29"/>
                    <a:pt x="11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79">
              <a:extLst>
                <a:ext uri="{FF2B5EF4-FFF2-40B4-BE49-F238E27FC236}">
                  <a16:creationId xmlns:a16="http://schemas.microsoft.com/office/drawing/2014/main" id="{9C416C21-4CB2-634E-B610-123CBAFE3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0" y="3794125"/>
              <a:ext cx="17462" cy="101600"/>
            </a:xfrm>
            <a:custGeom>
              <a:avLst/>
              <a:gdLst>
                <a:gd name="T0" fmla="*/ 11 w 11"/>
                <a:gd name="T1" fmla="*/ 64 h 64"/>
                <a:gd name="T2" fmla="*/ 0 w 11"/>
                <a:gd name="T3" fmla="*/ 64 h 64"/>
                <a:gd name="T4" fmla="*/ 0 w 11"/>
                <a:gd name="T5" fmla="*/ 0 h 64"/>
                <a:gd name="T6" fmla="*/ 11 w 11"/>
                <a:gd name="T7" fmla="*/ 0 h 64"/>
                <a:gd name="T8" fmla="*/ 11 w 11"/>
                <a:gd name="T9" fmla="*/ 64 h 64"/>
                <a:gd name="T10" fmla="*/ 11 w 11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4">
                  <a:moveTo>
                    <a:pt x="11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64"/>
                  </a:lnTo>
                  <a:lnTo>
                    <a:pt x="1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80">
              <a:extLst>
                <a:ext uri="{FF2B5EF4-FFF2-40B4-BE49-F238E27FC236}">
                  <a16:creationId xmlns:a16="http://schemas.microsoft.com/office/drawing/2014/main" id="{5CFCC031-ADF8-B24D-A051-7A83F7FC2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3600" y="3713163"/>
              <a:ext cx="396875" cy="134937"/>
            </a:xfrm>
            <a:custGeom>
              <a:avLst/>
              <a:gdLst>
                <a:gd name="T0" fmla="*/ 347 w 694"/>
                <a:gd name="T1" fmla="*/ 236 h 236"/>
                <a:gd name="T2" fmla="*/ 0 w 694"/>
                <a:gd name="T3" fmla="*/ 12 h 236"/>
                <a:gd name="T4" fmla="*/ 27 w 694"/>
                <a:gd name="T5" fmla="*/ 0 h 236"/>
                <a:gd name="T6" fmla="*/ 347 w 694"/>
                <a:gd name="T7" fmla="*/ 207 h 236"/>
                <a:gd name="T8" fmla="*/ 668 w 694"/>
                <a:gd name="T9" fmla="*/ 0 h 236"/>
                <a:gd name="T10" fmla="*/ 694 w 694"/>
                <a:gd name="T11" fmla="*/ 12 h 236"/>
                <a:gd name="T12" fmla="*/ 347 w 694"/>
                <a:gd name="T13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4" h="236">
                  <a:moveTo>
                    <a:pt x="347" y="236"/>
                  </a:moveTo>
                  <a:cubicBezTo>
                    <a:pt x="200" y="236"/>
                    <a:pt x="63" y="148"/>
                    <a:pt x="0" y="12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85" y="126"/>
                    <a:pt x="211" y="207"/>
                    <a:pt x="347" y="207"/>
                  </a:cubicBezTo>
                  <a:cubicBezTo>
                    <a:pt x="483" y="207"/>
                    <a:pt x="609" y="126"/>
                    <a:pt x="668" y="0"/>
                  </a:cubicBezTo>
                  <a:cubicBezTo>
                    <a:pt x="694" y="12"/>
                    <a:pt x="694" y="12"/>
                    <a:pt x="694" y="12"/>
                  </a:cubicBezTo>
                  <a:cubicBezTo>
                    <a:pt x="631" y="148"/>
                    <a:pt x="495" y="236"/>
                    <a:pt x="347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5F8E918A-0254-0C4C-84DA-768D64823D80}"/>
              </a:ext>
            </a:extLst>
          </p:cNvPr>
          <p:cNvSpPr/>
          <p:nvPr userDrawn="1"/>
        </p:nvSpPr>
        <p:spPr>
          <a:xfrm>
            <a:off x="6168450" y="3288780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latin typeface="+mj-lt"/>
            </a:endParaRPr>
          </a:p>
        </p:txBody>
      </p:sp>
      <p:grpSp>
        <p:nvGrpSpPr>
          <p:cNvPr id="29" name="Group 3970">
            <a:extLst>
              <a:ext uri="{FF2B5EF4-FFF2-40B4-BE49-F238E27FC236}">
                <a16:creationId xmlns:a16="http://schemas.microsoft.com/office/drawing/2014/main" id="{CD88F9E5-B40A-EA40-9FFC-C09A0CF5ACC0}"/>
              </a:ext>
            </a:extLst>
          </p:cNvPr>
          <p:cNvGrpSpPr/>
          <p:nvPr userDrawn="1"/>
        </p:nvGrpSpPr>
        <p:grpSpPr>
          <a:xfrm>
            <a:off x="6473760" y="3434480"/>
            <a:ext cx="394989" cy="393991"/>
            <a:chOff x="9471026" y="5054601"/>
            <a:chExt cx="628650" cy="627062"/>
          </a:xfrm>
          <a:solidFill>
            <a:srgbClr val="FFB81C"/>
          </a:solidFill>
        </p:grpSpPr>
        <p:sp>
          <p:nvSpPr>
            <p:cNvPr id="30" name="Freeform 444">
              <a:extLst>
                <a:ext uri="{FF2B5EF4-FFF2-40B4-BE49-F238E27FC236}">
                  <a16:creationId xmlns:a16="http://schemas.microsoft.com/office/drawing/2014/main" id="{F2BB0C7C-2ED1-0446-945C-7412A7BC3F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71026" y="5192713"/>
              <a:ext cx="628650" cy="350838"/>
            </a:xfrm>
            <a:custGeom>
              <a:avLst/>
              <a:gdLst>
                <a:gd name="T0" fmla="*/ 662 w 1325"/>
                <a:gd name="T1" fmla="*/ 744 h 744"/>
                <a:gd name="T2" fmla="*/ 6 w 1325"/>
                <a:gd name="T3" fmla="*/ 385 h 744"/>
                <a:gd name="T4" fmla="*/ 6 w 1325"/>
                <a:gd name="T5" fmla="*/ 359 h 744"/>
                <a:gd name="T6" fmla="*/ 662 w 1325"/>
                <a:gd name="T7" fmla="*/ 0 h 744"/>
                <a:gd name="T8" fmla="*/ 1319 w 1325"/>
                <a:gd name="T9" fmla="*/ 359 h 744"/>
                <a:gd name="T10" fmla="*/ 1319 w 1325"/>
                <a:gd name="T11" fmla="*/ 385 h 744"/>
                <a:gd name="T12" fmla="*/ 662 w 1325"/>
                <a:gd name="T13" fmla="*/ 744 h 744"/>
                <a:gd name="T14" fmla="*/ 49 w 1325"/>
                <a:gd name="T15" fmla="*/ 372 h 744"/>
                <a:gd name="T16" fmla="*/ 662 w 1325"/>
                <a:gd name="T17" fmla="*/ 703 h 744"/>
                <a:gd name="T18" fmla="*/ 1276 w 1325"/>
                <a:gd name="T19" fmla="*/ 372 h 744"/>
                <a:gd name="T20" fmla="*/ 662 w 1325"/>
                <a:gd name="T21" fmla="*/ 42 h 744"/>
                <a:gd name="T22" fmla="*/ 49 w 1325"/>
                <a:gd name="T23" fmla="*/ 37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25" h="744">
                  <a:moveTo>
                    <a:pt x="662" y="744"/>
                  </a:moveTo>
                  <a:cubicBezTo>
                    <a:pt x="303" y="744"/>
                    <a:pt x="18" y="400"/>
                    <a:pt x="6" y="385"/>
                  </a:cubicBezTo>
                  <a:cubicBezTo>
                    <a:pt x="0" y="378"/>
                    <a:pt x="0" y="367"/>
                    <a:pt x="6" y="359"/>
                  </a:cubicBezTo>
                  <a:cubicBezTo>
                    <a:pt x="18" y="344"/>
                    <a:pt x="303" y="0"/>
                    <a:pt x="662" y="0"/>
                  </a:cubicBezTo>
                  <a:cubicBezTo>
                    <a:pt x="1022" y="0"/>
                    <a:pt x="1307" y="344"/>
                    <a:pt x="1319" y="359"/>
                  </a:cubicBezTo>
                  <a:cubicBezTo>
                    <a:pt x="1325" y="367"/>
                    <a:pt x="1325" y="378"/>
                    <a:pt x="1319" y="385"/>
                  </a:cubicBezTo>
                  <a:cubicBezTo>
                    <a:pt x="1307" y="400"/>
                    <a:pt x="1022" y="744"/>
                    <a:pt x="662" y="744"/>
                  </a:cubicBezTo>
                  <a:moveTo>
                    <a:pt x="49" y="372"/>
                  </a:moveTo>
                  <a:cubicBezTo>
                    <a:pt x="105" y="435"/>
                    <a:pt x="361" y="703"/>
                    <a:pt x="662" y="703"/>
                  </a:cubicBezTo>
                  <a:cubicBezTo>
                    <a:pt x="964" y="703"/>
                    <a:pt x="1220" y="435"/>
                    <a:pt x="1276" y="372"/>
                  </a:cubicBezTo>
                  <a:cubicBezTo>
                    <a:pt x="1220" y="309"/>
                    <a:pt x="964" y="42"/>
                    <a:pt x="662" y="42"/>
                  </a:cubicBezTo>
                  <a:cubicBezTo>
                    <a:pt x="361" y="42"/>
                    <a:pt x="105" y="309"/>
                    <a:pt x="49" y="3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45">
              <a:extLst>
                <a:ext uri="{FF2B5EF4-FFF2-40B4-BE49-F238E27FC236}">
                  <a16:creationId xmlns:a16="http://schemas.microsoft.com/office/drawing/2014/main" id="{A88995C4-7B87-004E-A636-0E1CCB352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9138" y="5192713"/>
              <a:ext cx="352425" cy="350838"/>
            </a:xfrm>
            <a:custGeom>
              <a:avLst/>
              <a:gdLst>
                <a:gd name="T0" fmla="*/ 371 w 743"/>
                <a:gd name="T1" fmla="*/ 744 h 744"/>
                <a:gd name="T2" fmla="*/ 0 w 743"/>
                <a:gd name="T3" fmla="*/ 372 h 744"/>
                <a:gd name="T4" fmla="*/ 371 w 743"/>
                <a:gd name="T5" fmla="*/ 0 h 744"/>
                <a:gd name="T6" fmla="*/ 743 w 743"/>
                <a:gd name="T7" fmla="*/ 372 h 744"/>
                <a:gd name="T8" fmla="*/ 371 w 743"/>
                <a:gd name="T9" fmla="*/ 744 h 744"/>
                <a:gd name="T10" fmla="*/ 371 w 743"/>
                <a:gd name="T11" fmla="*/ 42 h 744"/>
                <a:gd name="T12" fmla="*/ 41 w 743"/>
                <a:gd name="T13" fmla="*/ 372 h 744"/>
                <a:gd name="T14" fmla="*/ 371 w 743"/>
                <a:gd name="T15" fmla="*/ 703 h 744"/>
                <a:gd name="T16" fmla="*/ 702 w 743"/>
                <a:gd name="T17" fmla="*/ 372 h 744"/>
                <a:gd name="T18" fmla="*/ 371 w 743"/>
                <a:gd name="T19" fmla="*/ 4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3" h="744">
                  <a:moveTo>
                    <a:pt x="371" y="744"/>
                  </a:moveTo>
                  <a:cubicBezTo>
                    <a:pt x="167" y="744"/>
                    <a:pt x="0" y="577"/>
                    <a:pt x="0" y="372"/>
                  </a:cubicBezTo>
                  <a:cubicBezTo>
                    <a:pt x="0" y="167"/>
                    <a:pt x="167" y="0"/>
                    <a:pt x="371" y="0"/>
                  </a:cubicBezTo>
                  <a:cubicBezTo>
                    <a:pt x="576" y="0"/>
                    <a:pt x="743" y="167"/>
                    <a:pt x="743" y="372"/>
                  </a:cubicBezTo>
                  <a:cubicBezTo>
                    <a:pt x="743" y="577"/>
                    <a:pt x="576" y="744"/>
                    <a:pt x="371" y="744"/>
                  </a:cubicBezTo>
                  <a:moveTo>
                    <a:pt x="371" y="42"/>
                  </a:moveTo>
                  <a:cubicBezTo>
                    <a:pt x="189" y="42"/>
                    <a:pt x="41" y="190"/>
                    <a:pt x="41" y="372"/>
                  </a:cubicBezTo>
                  <a:cubicBezTo>
                    <a:pt x="41" y="554"/>
                    <a:pt x="189" y="703"/>
                    <a:pt x="371" y="703"/>
                  </a:cubicBezTo>
                  <a:cubicBezTo>
                    <a:pt x="554" y="703"/>
                    <a:pt x="702" y="554"/>
                    <a:pt x="702" y="372"/>
                  </a:cubicBezTo>
                  <a:cubicBezTo>
                    <a:pt x="702" y="190"/>
                    <a:pt x="554" y="42"/>
                    <a:pt x="371" y="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46">
              <a:extLst>
                <a:ext uri="{FF2B5EF4-FFF2-40B4-BE49-F238E27FC236}">
                  <a16:creationId xmlns:a16="http://schemas.microsoft.com/office/drawing/2014/main" id="{7AFDCBD4-6294-AC4E-8047-A59345673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7876" y="5251451"/>
              <a:ext cx="234950" cy="233363"/>
            </a:xfrm>
            <a:custGeom>
              <a:avLst/>
              <a:gdLst>
                <a:gd name="T0" fmla="*/ 247 w 495"/>
                <a:gd name="T1" fmla="*/ 496 h 496"/>
                <a:gd name="T2" fmla="*/ 0 w 495"/>
                <a:gd name="T3" fmla="*/ 269 h 496"/>
                <a:gd name="T4" fmla="*/ 41 w 495"/>
                <a:gd name="T5" fmla="*/ 269 h 496"/>
                <a:gd name="T6" fmla="*/ 247 w 495"/>
                <a:gd name="T7" fmla="*/ 455 h 496"/>
                <a:gd name="T8" fmla="*/ 454 w 495"/>
                <a:gd name="T9" fmla="*/ 248 h 496"/>
                <a:gd name="T10" fmla="*/ 268 w 495"/>
                <a:gd name="T11" fmla="*/ 42 h 496"/>
                <a:gd name="T12" fmla="*/ 268 w 495"/>
                <a:gd name="T13" fmla="*/ 0 h 496"/>
                <a:gd name="T14" fmla="*/ 495 w 495"/>
                <a:gd name="T15" fmla="*/ 248 h 496"/>
                <a:gd name="T16" fmla="*/ 247 w 495"/>
                <a:gd name="T17" fmla="*/ 49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5" h="496">
                  <a:moveTo>
                    <a:pt x="247" y="496"/>
                  </a:moveTo>
                  <a:cubicBezTo>
                    <a:pt x="115" y="496"/>
                    <a:pt x="0" y="390"/>
                    <a:pt x="0" y="269"/>
                  </a:cubicBezTo>
                  <a:cubicBezTo>
                    <a:pt x="41" y="269"/>
                    <a:pt x="41" y="269"/>
                    <a:pt x="41" y="269"/>
                  </a:cubicBezTo>
                  <a:cubicBezTo>
                    <a:pt x="41" y="356"/>
                    <a:pt x="129" y="455"/>
                    <a:pt x="247" y="455"/>
                  </a:cubicBezTo>
                  <a:cubicBezTo>
                    <a:pt x="361" y="455"/>
                    <a:pt x="454" y="362"/>
                    <a:pt x="454" y="248"/>
                  </a:cubicBezTo>
                  <a:cubicBezTo>
                    <a:pt x="454" y="130"/>
                    <a:pt x="356" y="42"/>
                    <a:pt x="268" y="42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89" y="0"/>
                    <a:pt x="495" y="116"/>
                    <a:pt x="495" y="248"/>
                  </a:cubicBezTo>
                  <a:cubicBezTo>
                    <a:pt x="495" y="385"/>
                    <a:pt x="384" y="496"/>
                    <a:pt x="247" y="49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447">
              <a:extLst>
                <a:ext uri="{FF2B5EF4-FFF2-40B4-BE49-F238E27FC236}">
                  <a16:creationId xmlns:a16="http://schemas.microsoft.com/office/drawing/2014/main" id="{6233CC0F-5B6F-1042-AF53-0A30585EC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2138" y="5054601"/>
              <a:ext cx="606425" cy="238125"/>
            </a:xfrm>
            <a:custGeom>
              <a:avLst/>
              <a:gdLst>
                <a:gd name="T0" fmla="*/ 1239 w 1279"/>
                <a:gd name="T1" fmla="*/ 501 h 501"/>
                <a:gd name="T2" fmla="*/ 639 w 1279"/>
                <a:gd name="T3" fmla="*/ 41 h 501"/>
                <a:gd name="T4" fmla="*/ 40 w 1279"/>
                <a:gd name="T5" fmla="*/ 501 h 501"/>
                <a:gd name="T6" fmla="*/ 0 w 1279"/>
                <a:gd name="T7" fmla="*/ 491 h 501"/>
                <a:gd name="T8" fmla="*/ 639 w 1279"/>
                <a:gd name="T9" fmla="*/ 0 h 501"/>
                <a:gd name="T10" fmla="*/ 1279 w 1279"/>
                <a:gd name="T11" fmla="*/ 491 h 501"/>
                <a:gd name="T12" fmla="*/ 1239 w 1279"/>
                <a:gd name="T13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9" h="501">
                  <a:moveTo>
                    <a:pt x="1239" y="501"/>
                  </a:moveTo>
                  <a:cubicBezTo>
                    <a:pt x="1167" y="230"/>
                    <a:pt x="920" y="41"/>
                    <a:pt x="639" y="41"/>
                  </a:cubicBezTo>
                  <a:cubicBezTo>
                    <a:pt x="358" y="41"/>
                    <a:pt x="112" y="230"/>
                    <a:pt x="40" y="501"/>
                  </a:cubicBezTo>
                  <a:cubicBezTo>
                    <a:pt x="0" y="491"/>
                    <a:pt x="0" y="491"/>
                    <a:pt x="0" y="491"/>
                  </a:cubicBezTo>
                  <a:cubicBezTo>
                    <a:pt x="77" y="202"/>
                    <a:pt x="340" y="0"/>
                    <a:pt x="639" y="0"/>
                  </a:cubicBezTo>
                  <a:cubicBezTo>
                    <a:pt x="939" y="0"/>
                    <a:pt x="1202" y="202"/>
                    <a:pt x="1279" y="491"/>
                  </a:cubicBezTo>
                  <a:lnTo>
                    <a:pt x="1239" y="5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448">
              <a:extLst>
                <a:ext uri="{FF2B5EF4-FFF2-40B4-BE49-F238E27FC236}">
                  <a16:creationId xmlns:a16="http://schemas.microsoft.com/office/drawing/2014/main" id="{6F2FCD1B-6F67-8544-894D-F2112ACFA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2138" y="5443538"/>
              <a:ext cx="606425" cy="238125"/>
            </a:xfrm>
            <a:custGeom>
              <a:avLst/>
              <a:gdLst>
                <a:gd name="T0" fmla="*/ 639 w 1279"/>
                <a:gd name="T1" fmla="*/ 501 h 501"/>
                <a:gd name="T2" fmla="*/ 0 w 1279"/>
                <a:gd name="T3" fmla="*/ 11 h 501"/>
                <a:gd name="T4" fmla="*/ 40 w 1279"/>
                <a:gd name="T5" fmla="*/ 0 h 501"/>
                <a:gd name="T6" fmla="*/ 639 w 1279"/>
                <a:gd name="T7" fmla="*/ 460 h 501"/>
                <a:gd name="T8" fmla="*/ 1239 w 1279"/>
                <a:gd name="T9" fmla="*/ 0 h 501"/>
                <a:gd name="T10" fmla="*/ 1279 w 1279"/>
                <a:gd name="T11" fmla="*/ 11 h 501"/>
                <a:gd name="T12" fmla="*/ 639 w 1279"/>
                <a:gd name="T13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9" h="501">
                  <a:moveTo>
                    <a:pt x="639" y="501"/>
                  </a:moveTo>
                  <a:cubicBezTo>
                    <a:pt x="340" y="501"/>
                    <a:pt x="77" y="299"/>
                    <a:pt x="0" y="1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12" y="271"/>
                    <a:pt x="359" y="460"/>
                    <a:pt x="639" y="460"/>
                  </a:cubicBezTo>
                  <a:cubicBezTo>
                    <a:pt x="921" y="460"/>
                    <a:pt x="1167" y="271"/>
                    <a:pt x="1239" y="0"/>
                  </a:cubicBezTo>
                  <a:cubicBezTo>
                    <a:pt x="1279" y="11"/>
                    <a:pt x="1279" y="11"/>
                    <a:pt x="1279" y="11"/>
                  </a:cubicBezTo>
                  <a:cubicBezTo>
                    <a:pt x="1202" y="299"/>
                    <a:pt x="939" y="501"/>
                    <a:pt x="639" y="50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449">
              <a:extLst>
                <a:ext uri="{FF2B5EF4-FFF2-40B4-BE49-F238E27FC236}">
                  <a16:creationId xmlns:a16="http://schemas.microsoft.com/office/drawing/2014/main" id="{F51D4823-CC3A-9045-AB9C-10C3B8291D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7876" y="5251451"/>
              <a:ext cx="107950" cy="106363"/>
            </a:xfrm>
            <a:custGeom>
              <a:avLst/>
              <a:gdLst>
                <a:gd name="T0" fmla="*/ 227 w 227"/>
                <a:gd name="T1" fmla="*/ 227 h 227"/>
                <a:gd name="T2" fmla="*/ 0 w 227"/>
                <a:gd name="T3" fmla="*/ 227 h 227"/>
                <a:gd name="T4" fmla="*/ 0 w 227"/>
                <a:gd name="T5" fmla="*/ 207 h 227"/>
                <a:gd name="T6" fmla="*/ 206 w 227"/>
                <a:gd name="T7" fmla="*/ 0 h 227"/>
                <a:gd name="T8" fmla="*/ 227 w 227"/>
                <a:gd name="T9" fmla="*/ 0 h 227"/>
                <a:gd name="T10" fmla="*/ 227 w 227"/>
                <a:gd name="T11" fmla="*/ 227 h 227"/>
                <a:gd name="T12" fmla="*/ 42 w 227"/>
                <a:gd name="T13" fmla="*/ 186 h 227"/>
                <a:gd name="T14" fmla="*/ 186 w 227"/>
                <a:gd name="T15" fmla="*/ 186 h 227"/>
                <a:gd name="T16" fmla="*/ 186 w 227"/>
                <a:gd name="T17" fmla="*/ 43 h 227"/>
                <a:gd name="T18" fmla="*/ 42 w 227"/>
                <a:gd name="T19" fmla="*/ 18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7">
                  <a:moveTo>
                    <a:pt x="227" y="227"/>
                  </a:moveTo>
                  <a:cubicBezTo>
                    <a:pt x="0" y="227"/>
                    <a:pt x="0" y="227"/>
                    <a:pt x="0" y="22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93"/>
                    <a:pt x="92" y="0"/>
                    <a:pt x="206" y="0"/>
                  </a:cubicBezTo>
                  <a:cubicBezTo>
                    <a:pt x="227" y="0"/>
                    <a:pt x="227" y="0"/>
                    <a:pt x="227" y="0"/>
                  </a:cubicBezTo>
                  <a:lnTo>
                    <a:pt x="227" y="227"/>
                  </a:lnTo>
                  <a:close/>
                  <a:moveTo>
                    <a:pt x="42" y="186"/>
                  </a:moveTo>
                  <a:cubicBezTo>
                    <a:pt x="186" y="186"/>
                    <a:pt x="186" y="186"/>
                    <a:pt x="186" y="186"/>
                  </a:cubicBezTo>
                  <a:cubicBezTo>
                    <a:pt x="186" y="43"/>
                    <a:pt x="186" y="43"/>
                    <a:pt x="186" y="43"/>
                  </a:cubicBezTo>
                  <a:cubicBezTo>
                    <a:pt x="111" y="52"/>
                    <a:pt x="52" y="111"/>
                    <a:pt x="4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Rectangle 450">
              <a:extLst>
                <a:ext uri="{FF2B5EF4-FFF2-40B4-BE49-F238E27FC236}">
                  <a16:creationId xmlns:a16="http://schemas.microsoft.com/office/drawing/2014/main" id="{B4621BB0-3AB9-E042-8E79-F8BB6EC36B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75826" y="5583238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Rectangle 451">
              <a:extLst>
                <a:ext uri="{FF2B5EF4-FFF2-40B4-BE49-F238E27FC236}">
                  <a16:creationId xmlns:a16="http://schemas.microsoft.com/office/drawing/2014/main" id="{FEFFF84D-C676-7942-8446-4B6ED8976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6138" y="5583238"/>
              <a:ext cx="206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Rectangle 452">
              <a:extLst>
                <a:ext uri="{FF2B5EF4-FFF2-40B4-BE49-F238E27FC236}">
                  <a16:creationId xmlns:a16="http://schemas.microsoft.com/office/drawing/2014/main" id="{7345C989-CB1D-DB4B-AC3B-173E252D5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3926" y="5583238"/>
              <a:ext cx="206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Rectangle 453">
              <a:extLst>
                <a:ext uri="{FF2B5EF4-FFF2-40B4-BE49-F238E27FC236}">
                  <a16:creationId xmlns:a16="http://schemas.microsoft.com/office/drawing/2014/main" id="{7A086A64-1A99-0E4C-99DB-5D8A49EBD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75826" y="5133976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Rectangle 454">
              <a:extLst>
                <a:ext uri="{FF2B5EF4-FFF2-40B4-BE49-F238E27FC236}">
                  <a16:creationId xmlns:a16="http://schemas.microsoft.com/office/drawing/2014/main" id="{7AB7BB8A-BB6F-034F-96F7-25A550AC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6138" y="5133976"/>
              <a:ext cx="206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Rectangle 455">
              <a:extLst>
                <a:ext uri="{FF2B5EF4-FFF2-40B4-BE49-F238E27FC236}">
                  <a16:creationId xmlns:a16="http://schemas.microsoft.com/office/drawing/2014/main" id="{3303842B-5405-A843-A998-BF793F4EF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3926" y="5133976"/>
              <a:ext cx="206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85D8C116-C2F7-114A-923D-0F8A33DD6C3F}"/>
              </a:ext>
            </a:extLst>
          </p:cNvPr>
          <p:cNvSpPr/>
          <p:nvPr userDrawn="1"/>
        </p:nvSpPr>
        <p:spPr>
          <a:xfrm>
            <a:off x="6809167" y="4669027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 dirty="0">
              <a:latin typeface="+mj-lt"/>
            </a:endParaRPr>
          </a:p>
        </p:txBody>
      </p:sp>
      <p:grpSp>
        <p:nvGrpSpPr>
          <p:cNvPr id="43" name="Group 587">
            <a:extLst>
              <a:ext uri="{FF2B5EF4-FFF2-40B4-BE49-F238E27FC236}">
                <a16:creationId xmlns:a16="http://schemas.microsoft.com/office/drawing/2014/main" id="{B54305EF-162C-6740-B051-1AA6F43F6CE1}"/>
              </a:ext>
            </a:extLst>
          </p:cNvPr>
          <p:cNvGrpSpPr>
            <a:grpSpLocks noChangeAspect="1"/>
          </p:cNvGrpSpPr>
          <p:nvPr userDrawn="1"/>
        </p:nvGrpSpPr>
        <p:grpSpPr>
          <a:xfrm rot="2430203">
            <a:off x="7092944" y="4816092"/>
            <a:ext cx="463914" cy="422738"/>
            <a:chOff x="3817938" y="3500438"/>
            <a:chExt cx="536574" cy="488949"/>
          </a:xfrm>
          <a:solidFill>
            <a:srgbClr val="FFB81C"/>
          </a:solidFill>
        </p:grpSpPr>
        <p:sp>
          <p:nvSpPr>
            <p:cNvPr id="44" name="Freeform 206">
              <a:extLst>
                <a:ext uri="{FF2B5EF4-FFF2-40B4-BE49-F238E27FC236}">
                  <a16:creationId xmlns:a16="http://schemas.microsoft.com/office/drawing/2014/main" id="{A544EBCC-63CB-544D-BE8E-38C25C305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6850" y="3500438"/>
              <a:ext cx="347662" cy="347662"/>
            </a:xfrm>
            <a:custGeom>
              <a:avLst/>
              <a:gdLst>
                <a:gd name="T0" fmla="*/ 334 w 608"/>
                <a:gd name="T1" fmla="*/ 553 h 608"/>
                <a:gd name="T2" fmla="*/ 246 w 608"/>
                <a:gd name="T3" fmla="*/ 608 h 608"/>
                <a:gd name="T4" fmla="*/ 149 w 608"/>
                <a:gd name="T5" fmla="*/ 501 h 608"/>
                <a:gd name="T6" fmla="*/ 48 w 608"/>
                <a:gd name="T7" fmla="*/ 478 h 608"/>
                <a:gd name="T8" fmla="*/ 55 w 608"/>
                <a:gd name="T9" fmla="*/ 334 h 608"/>
                <a:gd name="T10" fmla="*/ 0 w 608"/>
                <a:gd name="T11" fmla="*/ 246 h 608"/>
                <a:gd name="T12" fmla="*/ 106 w 608"/>
                <a:gd name="T13" fmla="*/ 149 h 608"/>
                <a:gd name="T14" fmla="*/ 130 w 608"/>
                <a:gd name="T15" fmla="*/ 48 h 608"/>
                <a:gd name="T16" fmla="*/ 274 w 608"/>
                <a:gd name="T17" fmla="*/ 55 h 608"/>
                <a:gd name="T18" fmla="*/ 362 w 608"/>
                <a:gd name="T19" fmla="*/ 0 h 608"/>
                <a:gd name="T20" fmla="*/ 459 w 608"/>
                <a:gd name="T21" fmla="*/ 106 h 608"/>
                <a:gd name="T22" fmla="*/ 560 w 608"/>
                <a:gd name="T23" fmla="*/ 130 h 608"/>
                <a:gd name="T24" fmla="*/ 553 w 608"/>
                <a:gd name="T25" fmla="*/ 273 h 608"/>
                <a:gd name="T26" fmla="*/ 608 w 608"/>
                <a:gd name="T27" fmla="*/ 362 h 608"/>
                <a:gd name="T28" fmla="*/ 502 w 608"/>
                <a:gd name="T29" fmla="*/ 458 h 608"/>
                <a:gd name="T30" fmla="*/ 478 w 608"/>
                <a:gd name="T31" fmla="*/ 560 h 608"/>
                <a:gd name="T32" fmla="*/ 166 w 608"/>
                <a:gd name="T33" fmla="*/ 543 h 608"/>
                <a:gd name="T34" fmla="*/ 257 w 608"/>
                <a:gd name="T35" fmla="*/ 521 h 608"/>
                <a:gd name="T36" fmla="*/ 340 w 608"/>
                <a:gd name="T37" fmla="*/ 522 h 608"/>
                <a:gd name="T38" fmla="*/ 376 w 608"/>
                <a:gd name="T39" fmla="*/ 570 h 608"/>
                <a:gd name="T40" fmla="*/ 424 w 608"/>
                <a:gd name="T41" fmla="*/ 490 h 608"/>
                <a:gd name="T42" fmla="*/ 484 w 608"/>
                <a:gd name="T43" fmla="*/ 433 h 608"/>
                <a:gd name="T44" fmla="*/ 543 w 608"/>
                <a:gd name="T45" fmla="*/ 441 h 608"/>
                <a:gd name="T46" fmla="*/ 521 w 608"/>
                <a:gd name="T47" fmla="*/ 351 h 608"/>
                <a:gd name="T48" fmla="*/ 523 w 608"/>
                <a:gd name="T49" fmla="*/ 267 h 608"/>
                <a:gd name="T50" fmla="*/ 571 w 608"/>
                <a:gd name="T51" fmla="*/ 232 h 608"/>
                <a:gd name="T52" fmla="*/ 491 w 608"/>
                <a:gd name="T53" fmla="*/ 184 h 608"/>
                <a:gd name="T54" fmla="*/ 433 w 608"/>
                <a:gd name="T55" fmla="*/ 123 h 608"/>
                <a:gd name="T56" fmla="*/ 442 w 608"/>
                <a:gd name="T57" fmla="*/ 64 h 608"/>
                <a:gd name="T58" fmla="*/ 351 w 608"/>
                <a:gd name="T59" fmla="*/ 87 h 608"/>
                <a:gd name="T60" fmla="*/ 268 w 608"/>
                <a:gd name="T61" fmla="*/ 85 h 608"/>
                <a:gd name="T62" fmla="*/ 232 w 608"/>
                <a:gd name="T63" fmla="*/ 37 h 608"/>
                <a:gd name="T64" fmla="*/ 184 w 608"/>
                <a:gd name="T65" fmla="*/ 117 h 608"/>
                <a:gd name="T66" fmla="*/ 124 w 608"/>
                <a:gd name="T67" fmla="*/ 175 h 608"/>
                <a:gd name="T68" fmla="*/ 65 w 608"/>
                <a:gd name="T69" fmla="*/ 166 h 608"/>
                <a:gd name="T70" fmla="*/ 87 w 608"/>
                <a:gd name="T71" fmla="*/ 257 h 608"/>
                <a:gd name="T72" fmla="*/ 85 w 608"/>
                <a:gd name="T73" fmla="*/ 340 h 608"/>
                <a:gd name="T74" fmla="*/ 37 w 608"/>
                <a:gd name="T75" fmla="*/ 376 h 608"/>
                <a:gd name="T76" fmla="*/ 117 w 608"/>
                <a:gd name="T77" fmla="*/ 424 h 608"/>
                <a:gd name="T78" fmla="*/ 175 w 608"/>
                <a:gd name="T79" fmla="*/ 484 h 608"/>
                <a:gd name="T80" fmla="*/ 166 w 608"/>
                <a:gd name="T81" fmla="*/ 54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8" h="608">
                  <a:moveTo>
                    <a:pt x="362" y="608"/>
                  </a:moveTo>
                  <a:cubicBezTo>
                    <a:pt x="334" y="553"/>
                    <a:pt x="334" y="553"/>
                    <a:pt x="334" y="553"/>
                  </a:cubicBezTo>
                  <a:cubicBezTo>
                    <a:pt x="314" y="555"/>
                    <a:pt x="294" y="555"/>
                    <a:pt x="274" y="553"/>
                  </a:cubicBezTo>
                  <a:cubicBezTo>
                    <a:pt x="246" y="608"/>
                    <a:pt x="246" y="608"/>
                    <a:pt x="246" y="608"/>
                  </a:cubicBezTo>
                  <a:cubicBezTo>
                    <a:pt x="130" y="560"/>
                    <a:pt x="130" y="560"/>
                    <a:pt x="130" y="560"/>
                  </a:cubicBezTo>
                  <a:cubicBezTo>
                    <a:pt x="149" y="501"/>
                    <a:pt x="149" y="501"/>
                    <a:pt x="149" y="501"/>
                  </a:cubicBezTo>
                  <a:cubicBezTo>
                    <a:pt x="133" y="489"/>
                    <a:pt x="119" y="474"/>
                    <a:pt x="106" y="458"/>
                  </a:cubicBezTo>
                  <a:cubicBezTo>
                    <a:pt x="48" y="478"/>
                    <a:pt x="48" y="478"/>
                    <a:pt x="48" y="478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55" y="334"/>
                    <a:pt x="55" y="334"/>
                    <a:pt x="55" y="334"/>
                  </a:cubicBezTo>
                  <a:cubicBezTo>
                    <a:pt x="52" y="314"/>
                    <a:pt x="52" y="293"/>
                    <a:pt x="55" y="273"/>
                  </a:cubicBezTo>
                  <a:cubicBezTo>
                    <a:pt x="0" y="246"/>
                    <a:pt x="0" y="246"/>
                    <a:pt x="0" y="246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19" y="133"/>
                    <a:pt x="133" y="119"/>
                    <a:pt x="149" y="106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74" y="55"/>
                    <a:pt x="274" y="55"/>
                    <a:pt x="274" y="55"/>
                  </a:cubicBezTo>
                  <a:cubicBezTo>
                    <a:pt x="294" y="52"/>
                    <a:pt x="314" y="52"/>
                    <a:pt x="334" y="5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59" y="106"/>
                    <a:pt x="459" y="106"/>
                    <a:pt x="459" y="106"/>
                  </a:cubicBezTo>
                  <a:cubicBezTo>
                    <a:pt x="475" y="118"/>
                    <a:pt x="489" y="133"/>
                    <a:pt x="502" y="149"/>
                  </a:cubicBezTo>
                  <a:cubicBezTo>
                    <a:pt x="560" y="130"/>
                    <a:pt x="560" y="130"/>
                    <a:pt x="560" y="130"/>
                  </a:cubicBezTo>
                  <a:cubicBezTo>
                    <a:pt x="608" y="246"/>
                    <a:pt x="608" y="246"/>
                    <a:pt x="608" y="246"/>
                  </a:cubicBezTo>
                  <a:cubicBezTo>
                    <a:pt x="553" y="273"/>
                    <a:pt x="553" y="273"/>
                    <a:pt x="553" y="273"/>
                  </a:cubicBezTo>
                  <a:cubicBezTo>
                    <a:pt x="556" y="293"/>
                    <a:pt x="556" y="314"/>
                    <a:pt x="553" y="334"/>
                  </a:cubicBezTo>
                  <a:cubicBezTo>
                    <a:pt x="608" y="362"/>
                    <a:pt x="608" y="362"/>
                    <a:pt x="608" y="362"/>
                  </a:cubicBezTo>
                  <a:cubicBezTo>
                    <a:pt x="560" y="478"/>
                    <a:pt x="560" y="478"/>
                    <a:pt x="560" y="478"/>
                  </a:cubicBezTo>
                  <a:cubicBezTo>
                    <a:pt x="502" y="458"/>
                    <a:pt x="502" y="458"/>
                    <a:pt x="502" y="458"/>
                  </a:cubicBezTo>
                  <a:cubicBezTo>
                    <a:pt x="489" y="474"/>
                    <a:pt x="475" y="489"/>
                    <a:pt x="459" y="501"/>
                  </a:cubicBezTo>
                  <a:cubicBezTo>
                    <a:pt x="478" y="560"/>
                    <a:pt x="478" y="560"/>
                    <a:pt x="478" y="560"/>
                  </a:cubicBezTo>
                  <a:cubicBezTo>
                    <a:pt x="362" y="608"/>
                    <a:pt x="362" y="608"/>
                    <a:pt x="362" y="608"/>
                  </a:cubicBezTo>
                  <a:close/>
                  <a:moveTo>
                    <a:pt x="166" y="543"/>
                  </a:moveTo>
                  <a:cubicBezTo>
                    <a:pt x="232" y="570"/>
                    <a:pt x="232" y="570"/>
                    <a:pt x="232" y="570"/>
                  </a:cubicBezTo>
                  <a:cubicBezTo>
                    <a:pt x="257" y="521"/>
                    <a:pt x="257" y="521"/>
                    <a:pt x="257" y="521"/>
                  </a:cubicBezTo>
                  <a:cubicBezTo>
                    <a:pt x="268" y="522"/>
                    <a:pt x="268" y="522"/>
                    <a:pt x="268" y="522"/>
                  </a:cubicBezTo>
                  <a:cubicBezTo>
                    <a:pt x="292" y="526"/>
                    <a:pt x="316" y="526"/>
                    <a:pt x="340" y="522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76" y="570"/>
                    <a:pt x="376" y="570"/>
                    <a:pt x="376" y="570"/>
                  </a:cubicBezTo>
                  <a:cubicBezTo>
                    <a:pt x="442" y="543"/>
                    <a:pt x="442" y="543"/>
                    <a:pt x="442" y="543"/>
                  </a:cubicBezTo>
                  <a:cubicBezTo>
                    <a:pt x="424" y="490"/>
                    <a:pt x="424" y="490"/>
                    <a:pt x="424" y="490"/>
                  </a:cubicBezTo>
                  <a:cubicBezTo>
                    <a:pt x="433" y="484"/>
                    <a:pt x="433" y="484"/>
                    <a:pt x="433" y="484"/>
                  </a:cubicBezTo>
                  <a:cubicBezTo>
                    <a:pt x="453" y="470"/>
                    <a:pt x="470" y="452"/>
                    <a:pt x="484" y="433"/>
                  </a:cubicBezTo>
                  <a:cubicBezTo>
                    <a:pt x="491" y="424"/>
                    <a:pt x="491" y="424"/>
                    <a:pt x="491" y="424"/>
                  </a:cubicBezTo>
                  <a:cubicBezTo>
                    <a:pt x="543" y="441"/>
                    <a:pt x="543" y="441"/>
                    <a:pt x="543" y="441"/>
                  </a:cubicBezTo>
                  <a:cubicBezTo>
                    <a:pt x="571" y="376"/>
                    <a:pt x="571" y="376"/>
                    <a:pt x="571" y="376"/>
                  </a:cubicBezTo>
                  <a:cubicBezTo>
                    <a:pt x="521" y="351"/>
                    <a:pt x="521" y="351"/>
                    <a:pt x="521" y="351"/>
                  </a:cubicBezTo>
                  <a:cubicBezTo>
                    <a:pt x="523" y="340"/>
                    <a:pt x="523" y="340"/>
                    <a:pt x="523" y="340"/>
                  </a:cubicBezTo>
                  <a:cubicBezTo>
                    <a:pt x="527" y="316"/>
                    <a:pt x="527" y="291"/>
                    <a:pt x="523" y="267"/>
                  </a:cubicBezTo>
                  <a:cubicBezTo>
                    <a:pt x="521" y="257"/>
                    <a:pt x="521" y="257"/>
                    <a:pt x="521" y="257"/>
                  </a:cubicBezTo>
                  <a:cubicBezTo>
                    <a:pt x="571" y="232"/>
                    <a:pt x="571" y="232"/>
                    <a:pt x="571" y="232"/>
                  </a:cubicBezTo>
                  <a:cubicBezTo>
                    <a:pt x="543" y="166"/>
                    <a:pt x="543" y="166"/>
                    <a:pt x="543" y="166"/>
                  </a:cubicBezTo>
                  <a:cubicBezTo>
                    <a:pt x="491" y="184"/>
                    <a:pt x="491" y="184"/>
                    <a:pt x="491" y="184"/>
                  </a:cubicBezTo>
                  <a:cubicBezTo>
                    <a:pt x="484" y="175"/>
                    <a:pt x="484" y="175"/>
                    <a:pt x="484" y="175"/>
                  </a:cubicBezTo>
                  <a:cubicBezTo>
                    <a:pt x="470" y="155"/>
                    <a:pt x="453" y="137"/>
                    <a:pt x="433" y="123"/>
                  </a:cubicBezTo>
                  <a:cubicBezTo>
                    <a:pt x="424" y="117"/>
                    <a:pt x="424" y="117"/>
                    <a:pt x="424" y="11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376" y="37"/>
                    <a:pt x="376" y="37"/>
                    <a:pt x="376" y="37"/>
                  </a:cubicBezTo>
                  <a:cubicBezTo>
                    <a:pt x="351" y="87"/>
                    <a:pt x="351" y="87"/>
                    <a:pt x="351" y="87"/>
                  </a:cubicBezTo>
                  <a:cubicBezTo>
                    <a:pt x="340" y="85"/>
                    <a:pt x="340" y="85"/>
                    <a:pt x="340" y="85"/>
                  </a:cubicBezTo>
                  <a:cubicBezTo>
                    <a:pt x="316" y="81"/>
                    <a:pt x="292" y="81"/>
                    <a:pt x="268" y="85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32" y="37"/>
                    <a:pt x="232" y="37"/>
                    <a:pt x="232" y="37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84" y="117"/>
                    <a:pt x="184" y="117"/>
                    <a:pt x="184" y="117"/>
                  </a:cubicBezTo>
                  <a:cubicBezTo>
                    <a:pt x="175" y="123"/>
                    <a:pt x="175" y="123"/>
                    <a:pt x="175" y="123"/>
                  </a:cubicBezTo>
                  <a:cubicBezTo>
                    <a:pt x="155" y="138"/>
                    <a:pt x="138" y="155"/>
                    <a:pt x="124" y="175"/>
                  </a:cubicBezTo>
                  <a:cubicBezTo>
                    <a:pt x="117" y="184"/>
                    <a:pt x="117" y="184"/>
                    <a:pt x="117" y="184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37" y="232"/>
                    <a:pt x="37" y="232"/>
                    <a:pt x="37" y="232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67"/>
                    <a:pt x="85" y="267"/>
                    <a:pt x="85" y="267"/>
                  </a:cubicBezTo>
                  <a:cubicBezTo>
                    <a:pt x="81" y="291"/>
                    <a:pt x="81" y="316"/>
                    <a:pt x="85" y="340"/>
                  </a:cubicBezTo>
                  <a:cubicBezTo>
                    <a:pt x="87" y="351"/>
                    <a:pt x="87" y="351"/>
                    <a:pt x="87" y="351"/>
                  </a:cubicBezTo>
                  <a:cubicBezTo>
                    <a:pt x="37" y="376"/>
                    <a:pt x="37" y="376"/>
                    <a:pt x="37" y="376"/>
                  </a:cubicBezTo>
                  <a:cubicBezTo>
                    <a:pt x="65" y="441"/>
                    <a:pt x="65" y="441"/>
                    <a:pt x="65" y="441"/>
                  </a:cubicBezTo>
                  <a:cubicBezTo>
                    <a:pt x="117" y="424"/>
                    <a:pt x="117" y="424"/>
                    <a:pt x="117" y="424"/>
                  </a:cubicBezTo>
                  <a:cubicBezTo>
                    <a:pt x="124" y="433"/>
                    <a:pt x="124" y="433"/>
                    <a:pt x="124" y="433"/>
                  </a:cubicBezTo>
                  <a:cubicBezTo>
                    <a:pt x="138" y="453"/>
                    <a:pt x="155" y="470"/>
                    <a:pt x="175" y="484"/>
                  </a:cubicBezTo>
                  <a:cubicBezTo>
                    <a:pt x="184" y="490"/>
                    <a:pt x="184" y="490"/>
                    <a:pt x="184" y="490"/>
                  </a:cubicBezTo>
                  <a:cubicBezTo>
                    <a:pt x="166" y="543"/>
                    <a:pt x="166" y="543"/>
                    <a:pt x="166" y="5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207">
              <a:extLst>
                <a:ext uri="{FF2B5EF4-FFF2-40B4-BE49-F238E27FC236}">
                  <a16:creationId xmlns:a16="http://schemas.microsoft.com/office/drawing/2014/main" id="{69631514-80DD-3B43-B912-C6F75DD1BD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0038" y="3611563"/>
              <a:ext cx="141287" cy="125412"/>
            </a:xfrm>
            <a:custGeom>
              <a:avLst/>
              <a:gdLst>
                <a:gd name="T0" fmla="*/ 124 w 248"/>
                <a:gd name="T1" fmla="*/ 219 h 219"/>
                <a:gd name="T2" fmla="*/ 124 w 248"/>
                <a:gd name="T3" fmla="*/ 219 h 219"/>
                <a:gd name="T4" fmla="*/ 23 w 248"/>
                <a:gd name="T5" fmla="*/ 151 h 219"/>
                <a:gd name="T6" fmla="*/ 82 w 248"/>
                <a:gd name="T7" fmla="*/ 9 h 219"/>
                <a:gd name="T8" fmla="*/ 124 w 248"/>
                <a:gd name="T9" fmla="*/ 0 h 219"/>
                <a:gd name="T10" fmla="*/ 225 w 248"/>
                <a:gd name="T11" fmla="*/ 68 h 219"/>
                <a:gd name="T12" fmla="*/ 166 w 248"/>
                <a:gd name="T13" fmla="*/ 210 h 219"/>
                <a:gd name="T14" fmla="*/ 124 w 248"/>
                <a:gd name="T15" fmla="*/ 219 h 219"/>
                <a:gd name="T16" fmla="*/ 124 w 248"/>
                <a:gd name="T17" fmla="*/ 30 h 219"/>
                <a:gd name="T18" fmla="*/ 93 w 248"/>
                <a:gd name="T19" fmla="*/ 36 h 219"/>
                <a:gd name="T20" fmla="*/ 50 w 248"/>
                <a:gd name="T21" fmla="*/ 140 h 219"/>
                <a:gd name="T22" fmla="*/ 124 w 248"/>
                <a:gd name="T23" fmla="*/ 190 h 219"/>
                <a:gd name="T24" fmla="*/ 124 w 248"/>
                <a:gd name="T25" fmla="*/ 190 h 219"/>
                <a:gd name="T26" fmla="*/ 155 w 248"/>
                <a:gd name="T27" fmla="*/ 183 h 219"/>
                <a:gd name="T28" fmla="*/ 198 w 248"/>
                <a:gd name="T29" fmla="*/ 79 h 219"/>
                <a:gd name="T30" fmla="*/ 124 w 248"/>
                <a:gd name="T31" fmla="*/ 3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219">
                  <a:moveTo>
                    <a:pt x="124" y="219"/>
                  </a:moveTo>
                  <a:cubicBezTo>
                    <a:pt x="124" y="219"/>
                    <a:pt x="124" y="219"/>
                    <a:pt x="124" y="219"/>
                  </a:cubicBezTo>
                  <a:cubicBezTo>
                    <a:pt x="80" y="219"/>
                    <a:pt x="40" y="192"/>
                    <a:pt x="23" y="151"/>
                  </a:cubicBezTo>
                  <a:cubicBezTo>
                    <a:pt x="0" y="96"/>
                    <a:pt x="27" y="32"/>
                    <a:pt x="82" y="9"/>
                  </a:cubicBezTo>
                  <a:cubicBezTo>
                    <a:pt x="96" y="3"/>
                    <a:pt x="110" y="0"/>
                    <a:pt x="124" y="0"/>
                  </a:cubicBezTo>
                  <a:cubicBezTo>
                    <a:pt x="168" y="0"/>
                    <a:pt x="208" y="27"/>
                    <a:pt x="225" y="68"/>
                  </a:cubicBezTo>
                  <a:cubicBezTo>
                    <a:pt x="248" y="123"/>
                    <a:pt x="221" y="187"/>
                    <a:pt x="166" y="210"/>
                  </a:cubicBezTo>
                  <a:cubicBezTo>
                    <a:pt x="152" y="216"/>
                    <a:pt x="138" y="219"/>
                    <a:pt x="124" y="219"/>
                  </a:cubicBezTo>
                  <a:close/>
                  <a:moveTo>
                    <a:pt x="124" y="30"/>
                  </a:moveTo>
                  <a:cubicBezTo>
                    <a:pt x="114" y="30"/>
                    <a:pt x="103" y="32"/>
                    <a:pt x="93" y="36"/>
                  </a:cubicBezTo>
                  <a:cubicBezTo>
                    <a:pt x="53" y="53"/>
                    <a:pt x="33" y="100"/>
                    <a:pt x="50" y="140"/>
                  </a:cubicBezTo>
                  <a:cubicBezTo>
                    <a:pt x="63" y="170"/>
                    <a:pt x="92" y="190"/>
                    <a:pt x="124" y="190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35" y="190"/>
                    <a:pt x="145" y="187"/>
                    <a:pt x="155" y="183"/>
                  </a:cubicBezTo>
                  <a:cubicBezTo>
                    <a:pt x="195" y="167"/>
                    <a:pt x="215" y="120"/>
                    <a:pt x="198" y="79"/>
                  </a:cubicBezTo>
                  <a:cubicBezTo>
                    <a:pt x="185" y="49"/>
                    <a:pt x="156" y="30"/>
                    <a:pt x="1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208">
              <a:extLst>
                <a:ext uri="{FF2B5EF4-FFF2-40B4-BE49-F238E27FC236}">
                  <a16:creationId xmlns:a16="http://schemas.microsoft.com/office/drawing/2014/main" id="{955FF1D5-39B3-A845-8EFC-9FD45A5F6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788" y="3624263"/>
              <a:ext cx="95250" cy="90487"/>
            </a:xfrm>
            <a:custGeom>
              <a:avLst/>
              <a:gdLst>
                <a:gd name="T0" fmla="*/ 51 w 164"/>
                <a:gd name="T1" fmla="*/ 159 h 159"/>
                <a:gd name="T2" fmla="*/ 17 w 164"/>
                <a:gd name="T3" fmla="*/ 121 h 159"/>
                <a:gd name="T4" fmla="*/ 60 w 164"/>
                <a:gd name="T5" fmla="*/ 17 h 159"/>
                <a:gd name="T6" fmla="*/ 164 w 164"/>
                <a:gd name="T7" fmla="*/ 60 h 159"/>
                <a:gd name="T8" fmla="*/ 137 w 164"/>
                <a:gd name="T9" fmla="*/ 71 h 159"/>
                <a:gd name="T10" fmla="*/ 71 w 164"/>
                <a:gd name="T11" fmla="*/ 44 h 159"/>
                <a:gd name="T12" fmla="*/ 44 w 164"/>
                <a:gd name="T13" fmla="*/ 110 h 159"/>
                <a:gd name="T14" fmla="*/ 65 w 164"/>
                <a:gd name="T15" fmla="*/ 134 h 159"/>
                <a:gd name="T16" fmla="*/ 51 w 164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9">
                  <a:moveTo>
                    <a:pt x="51" y="159"/>
                  </a:moveTo>
                  <a:cubicBezTo>
                    <a:pt x="35" y="150"/>
                    <a:pt x="24" y="137"/>
                    <a:pt x="17" y="121"/>
                  </a:cubicBezTo>
                  <a:cubicBezTo>
                    <a:pt x="0" y="80"/>
                    <a:pt x="19" y="34"/>
                    <a:pt x="60" y="17"/>
                  </a:cubicBezTo>
                  <a:cubicBezTo>
                    <a:pt x="101" y="0"/>
                    <a:pt x="147" y="19"/>
                    <a:pt x="164" y="60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27" y="45"/>
                    <a:pt x="97" y="33"/>
                    <a:pt x="71" y="44"/>
                  </a:cubicBezTo>
                  <a:cubicBezTo>
                    <a:pt x="46" y="54"/>
                    <a:pt x="33" y="84"/>
                    <a:pt x="44" y="110"/>
                  </a:cubicBezTo>
                  <a:cubicBezTo>
                    <a:pt x="48" y="120"/>
                    <a:pt x="56" y="128"/>
                    <a:pt x="65" y="134"/>
                  </a:cubicBezTo>
                  <a:cubicBezTo>
                    <a:pt x="51" y="159"/>
                    <a:pt x="51" y="159"/>
                    <a:pt x="5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209">
              <a:extLst>
                <a:ext uri="{FF2B5EF4-FFF2-40B4-BE49-F238E27FC236}">
                  <a16:creationId xmlns:a16="http://schemas.microsoft.com/office/drawing/2014/main" id="{EA6DA032-523D-3140-A832-28D7681E5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4288" y="3743325"/>
              <a:ext cx="246062" cy="246062"/>
            </a:xfrm>
            <a:custGeom>
              <a:avLst/>
              <a:gdLst>
                <a:gd name="T0" fmla="*/ 230 w 429"/>
                <a:gd name="T1" fmla="*/ 377 h 428"/>
                <a:gd name="T2" fmla="*/ 178 w 429"/>
                <a:gd name="T3" fmla="*/ 428 h 428"/>
                <a:gd name="T4" fmla="*/ 110 w 429"/>
                <a:gd name="T5" fmla="*/ 340 h 428"/>
                <a:gd name="T6" fmla="*/ 37 w 429"/>
                <a:gd name="T7" fmla="*/ 340 h 428"/>
                <a:gd name="T8" fmla="*/ 52 w 429"/>
                <a:gd name="T9" fmla="*/ 229 h 428"/>
                <a:gd name="T10" fmla="*/ 0 w 429"/>
                <a:gd name="T11" fmla="*/ 178 h 428"/>
                <a:gd name="T12" fmla="*/ 89 w 429"/>
                <a:gd name="T13" fmla="*/ 110 h 428"/>
                <a:gd name="T14" fmla="*/ 89 w 429"/>
                <a:gd name="T15" fmla="*/ 37 h 428"/>
                <a:gd name="T16" fmla="*/ 200 w 429"/>
                <a:gd name="T17" fmla="*/ 51 h 428"/>
                <a:gd name="T18" fmla="*/ 251 w 429"/>
                <a:gd name="T19" fmla="*/ 0 h 428"/>
                <a:gd name="T20" fmla="*/ 319 w 429"/>
                <a:gd name="T21" fmla="*/ 88 h 428"/>
                <a:gd name="T22" fmla="*/ 392 w 429"/>
                <a:gd name="T23" fmla="*/ 88 h 428"/>
                <a:gd name="T24" fmla="*/ 378 w 429"/>
                <a:gd name="T25" fmla="*/ 199 h 428"/>
                <a:gd name="T26" fmla="*/ 429 w 429"/>
                <a:gd name="T27" fmla="*/ 251 h 428"/>
                <a:gd name="T28" fmla="*/ 341 w 429"/>
                <a:gd name="T29" fmla="*/ 319 h 428"/>
                <a:gd name="T30" fmla="*/ 341 w 429"/>
                <a:gd name="T31" fmla="*/ 391 h 428"/>
                <a:gd name="T32" fmla="*/ 127 w 429"/>
                <a:gd name="T33" fmla="*/ 376 h 428"/>
                <a:gd name="T34" fmla="*/ 181 w 429"/>
                <a:gd name="T35" fmla="*/ 345 h 428"/>
                <a:gd name="T36" fmla="*/ 237 w 429"/>
                <a:gd name="T37" fmla="*/ 347 h 428"/>
                <a:gd name="T38" fmla="*/ 267 w 429"/>
                <a:gd name="T39" fmla="*/ 390 h 428"/>
                <a:gd name="T40" fmla="*/ 283 w 429"/>
                <a:gd name="T41" fmla="*/ 330 h 428"/>
                <a:gd name="T42" fmla="*/ 324 w 429"/>
                <a:gd name="T43" fmla="*/ 292 h 428"/>
                <a:gd name="T44" fmla="*/ 376 w 429"/>
                <a:gd name="T45" fmla="*/ 302 h 428"/>
                <a:gd name="T46" fmla="*/ 345 w 429"/>
                <a:gd name="T47" fmla="*/ 248 h 428"/>
                <a:gd name="T48" fmla="*/ 347 w 429"/>
                <a:gd name="T49" fmla="*/ 192 h 428"/>
                <a:gd name="T50" fmla="*/ 391 w 429"/>
                <a:gd name="T51" fmla="*/ 162 h 428"/>
                <a:gd name="T52" fmla="*/ 331 w 429"/>
                <a:gd name="T53" fmla="*/ 145 h 428"/>
                <a:gd name="T54" fmla="*/ 293 w 429"/>
                <a:gd name="T55" fmla="*/ 105 h 428"/>
                <a:gd name="T56" fmla="*/ 302 w 429"/>
                <a:gd name="T57" fmla="*/ 53 h 428"/>
                <a:gd name="T58" fmla="*/ 248 w 429"/>
                <a:gd name="T59" fmla="*/ 83 h 428"/>
                <a:gd name="T60" fmla="*/ 193 w 429"/>
                <a:gd name="T61" fmla="*/ 82 h 428"/>
                <a:gd name="T62" fmla="*/ 162 w 429"/>
                <a:gd name="T63" fmla="*/ 38 h 428"/>
                <a:gd name="T64" fmla="*/ 146 w 429"/>
                <a:gd name="T65" fmla="*/ 98 h 428"/>
                <a:gd name="T66" fmla="*/ 105 w 429"/>
                <a:gd name="T67" fmla="*/ 136 h 428"/>
                <a:gd name="T68" fmla="*/ 53 w 429"/>
                <a:gd name="T69" fmla="*/ 127 h 428"/>
                <a:gd name="T70" fmla="*/ 84 w 429"/>
                <a:gd name="T71" fmla="*/ 181 h 428"/>
                <a:gd name="T72" fmla="*/ 82 w 429"/>
                <a:gd name="T73" fmla="*/ 236 h 428"/>
                <a:gd name="T74" fmla="*/ 39 w 429"/>
                <a:gd name="T75" fmla="*/ 266 h 428"/>
                <a:gd name="T76" fmla="*/ 99 w 429"/>
                <a:gd name="T77" fmla="*/ 283 h 428"/>
                <a:gd name="T78" fmla="*/ 137 w 429"/>
                <a:gd name="T79" fmla="*/ 324 h 428"/>
                <a:gd name="T80" fmla="*/ 127 w 429"/>
                <a:gd name="T81" fmla="*/ 37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428">
                  <a:moveTo>
                    <a:pt x="251" y="428"/>
                  </a:moveTo>
                  <a:cubicBezTo>
                    <a:pt x="230" y="377"/>
                    <a:pt x="230" y="377"/>
                    <a:pt x="230" y="377"/>
                  </a:cubicBezTo>
                  <a:cubicBezTo>
                    <a:pt x="220" y="378"/>
                    <a:pt x="210" y="378"/>
                    <a:pt x="200" y="377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89" y="391"/>
                    <a:pt x="89" y="391"/>
                    <a:pt x="89" y="391"/>
                  </a:cubicBezTo>
                  <a:cubicBezTo>
                    <a:pt x="110" y="340"/>
                    <a:pt x="110" y="340"/>
                    <a:pt x="110" y="340"/>
                  </a:cubicBezTo>
                  <a:cubicBezTo>
                    <a:pt x="102" y="334"/>
                    <a:pt x="95" y="326"/>
                    <a:pt x="89" y="319"/>
                  </a:cubicBezTo>
                  <a:cubicBezTo>
                    <a:pt x="37" y="340"/>
                    <a:pt x="37" y="340"/>
                    <a:pt x="37" y="340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52" y="229"/>
                    <a:pt x="52" y="229"/>
                    <a:pt x="52" y="229"/>
                  </a:cubicBezTo>
                  <a:cubicBezTo>
                    <a:pt x="51" y="219"/>
                    <a:pt x="51" y="209"/>
                    <a:pt x="52" y="199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5" y="102"/>
                    <a:pt x="102" y="95"/>
                    <a:pt x="110" y="8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10" y="50"/>
                    <a:pt x="220" y="50"/>
                    <a:pt x="230" y="51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341" y="37"/>
                    <a:pt x="341" y="37"/>
                    <a:pt x="341" y="37"/>
                  </a:cubicBezTo>
                  <a:cubicBezTo>
                    <a:pt x="319" y="88"/>
                    <a:pt x="319" y="88"/>
                    <a:pt x="319" y="88"/>
                  </a:cubicBezTo>
                  <a:cubicBezTo>
                    <a:pt x="327" y="95"/>
                    <a:pt x="334" y="102"/>
                    <a:pt x="341" y="110"/>
                  </a:cubicBezTo>
                  <a:cubicBezTo>
                    <a:pt x="392" y="88"/>
                    <a:pt x="392" y="88"/>
                    <a:pt x="392" y="8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79" y="209"/>
                    <a:pt x="379" y="219"/>
                    <a:pt x="378" y="229"/>
                  </a:cubicBezTo>
                  <a:cubicBezTo>
                    <a:pt x="429" y="251"/>
                    <a:pt x="429" y="251"/>
                    <a:pt x="429" y="251"/>
                  </a:cubicBezTo>
                  <a:cubicBezTo>
                    <a:pt x="392" y="340"/>
                    <a:pt x="392" y="340"/>
                    <a:pt x="392" y="340"/>
                  </a:cubicBezTo>
                  <a:cubicBezTo>
                    <a:pt x="341" y="319"/>
                    <a:pt x="341" y="319"/>
                    <a:pt x="341" y="319"/>
                  </a:cubicBezTo>
                  <a:cubicBezTo>
                    <a:pt x="334" y="326"/>
                    <a:pt x="327" y="334"/>
                    <a:pt x="319" y="34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251" y="428"/>
                    <a:pt x="251" y="428"/>
                    <a:pt x="251" y="428"/>
                  </a:cubicBezTo>
                  <a:close/>
                  <a:moveTo>
                    <a:pt x="127" y="376"/>
                  </a:moveTo>
                  <a:cubicBezTo>
                    <a:pt x="162" y="390"/>
                    <a:pt x="162" y="390"/>
                    <a:pt x="162" y="390"/>
                  </a:cubicBezTo>
                  <a:cubicBezTo>
                    <a:pt x="181" y="345"/>
                    <a:pt x="181" y="345"/>
                    <a:pt x="181" y="345"/>
                  </a:cubicBezTo>
                  <a:cubicBezTo>
                    <a:pt x="193" y="347"/>
                    <a:pt x="193" y="347"/>
                    <a:pt x="193" y="347"/>
                  </a:cubicBezTo>
                  <a:cubicBezTo>
                    <a:pt x="207" y="349"/>
                    <a:pt x="222" y="349"/>
                    <a:pt x="237" y="347"/>
                  </a:cubicBezTo>
                  <a:cubicBezTo>
                    <a:pt x="248" y="345"/>
                    <a:pt x="248" y="345"/>
                    <a:pt x="248" y="345"/>
                  </a:cubicBezTo>
                  <a:cubicBezTo>
                    <a:pt x="267" y="390"/>
                    <a:pt x="267" y="390"/>
                    <a:pt x="267" y="390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283" y="330"/>
                    <a:pt x="283" y="330"/>
                    <a:pt x="283" y="330"/>
                  </a:cubicBezTo>
                  <a:cubicBezTo>
                    <a:pt x="293" y="323"/>
                    <a:pt x="293" y="323"/>
                    <a:pt x="293" y="323"/>
                  </a:cubicBezTo>
                  <a:cubicBezTo>
                    <a:pt x="305" y="315"/>
                    <a:pt x="316" y="304"/>
                    <a:pt x="324" y="292"/>
                  </a:cubicBezTo>
                  <a:cubicBezTo>
                    <a:pt x="331" y="283"/>
                    <a:pt x="331" y="283"/>
                    <a:pt x="331" y="283"/>
                  </a:cubicBezTo>
                  <a:cubicBezTo>
                    <a:pt x="376" y="302"/>
                    <a:pt x="376" y="302"/>
                    <a:pt x="376" y="302"/>
                  </a:cubicBezTo>
                  <a:cubicBezTo>
                    <a:pt x="391" y="266"/>
                    <a:pt x="391" y="266"/>
                    <a:pt x="391" y="266"/>
                  </a:cubicBezTo>
                  <a:cubicBezTo>
                    <a:pt x="345" y="248"/>
                    <a:pt x="345" y="248"/>
                    <a:pt x="345" y="248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50" y="222"/>
                    <a:pt x="350" y="207"/>
                    <a:pt x="347" y="192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76" y="127"/>
                    <a:pt x="376" y="127"/>
                    <a:pt x="376" y="127"/>
                  </a:cubicBezTo>
                  <a:cubicBezTo>
                    <a:pt x="331" y="145"/>
                    <a:pt x="331" y="145"/>
                    <a:pt x="331" y="145"/>
                  </a:cubicBezTo>
                  <a:cubicBezTo>
                    <a:pt x="324" y="136"/>
                    <a:pt x="324" y="136"/>
                    <a:pt x="324" y="136"/>
                  </a:cubicBezTo>
                  <a:cubicBezTo>
                    <a:pt x="315" y="124"/>
                    <a:pt x="305" y="113"/>
                    <a:pt x="293" y="105"/>
                  </a:cubicBezTo>
                  <a:cubicBezTo>
                    <a:pt x="283" y="98"/>
                    <a:pt x="283" y="98"/>
                    <a:pt x="283" y="98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48" y="83"/>
                    <a:pt x="248" y="83"/>
                    <a:pt x="248" y="83"/>
                  </a:cubicBezTo>
                  <a:cubicBezTo>
                    <a:pt x="237" y="81"/>
                    <a:pt x="237" y="81"/>
                    <a:pt x="237" y="81"/>
                  </a:cubicBezTo>
                  <a:cubicBezTo>
                    <a:pt x="222" y="79"/>
                    <a:pt x="207" y="79"/>
                    <a:pt x="193" y="82"/>
                  </a:cubicBezTo>
                  <a:cubicBezTo>
                    <a:pt x="181" y="83"/>
                    <a:pt x="181" y="83"/>
                    <a:pt x="181" y="83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37" y="105"/>
                    <a:pt x="137" y="105"/>
                    <a:pt x="137" y="105"/>
                  </a:cubicBezTo>
                  <a:cubicBezTo>
                    <a:pt x="124" y="114"/>
                    <a:pt x="114" y="124"/>
                    <a:pt x="105" y="136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39" y="162"/>
                    <a:pt x="39" y="162"/>
                    <a:pt x="39" y="162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0" y="207"/>
                    <a:pt x="80" y="221"/>
                    <a:pt x="82" y="236"/>
                  </a:cubicBezTo>
                  <a:cubicBezTo>
                    <a:pt x="84" y="248"/>
                    <a:pt x="84" y="248"/>
                    <a:pt x="84" y="248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53" y="302"/>
                    <a:pt x="53" y="302"/>
                    <a:pt x="53" y="302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105" y="292"/>
                    <a:pt x="105" y="292"/>
                    <a:pt x="105" y="292"/>
                  </a:cubicBezTo>
                  <a:cubicBezTo>
                    <a:pt x="114" y="304"/>
                    <a:pt x="125" y="315"/>
                    <a:pt x="137" y="324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27" y="376"/>
                    <a:pt x="127" y="376"/>
                    <a:pt x="127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210">
              <a:extLst>
                <a:ext uri="{FF2B5EF4-FFF2-40B4-BE49-F238E27FC236}">
                  <a16:creationId xmlns:a16="http://schemas.microsoft.com/office/drawing/2014/main" id="{B39D74BA-0204-384E-A44F-C4DC7DCA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938" y="3552825"/>
              <a:ext cx="187325" cy="198437"/>
            </a:xfrm>
            <a:custGeom>
              <a:avLst/>
              <a:gdLst>
                <a:gd name="T0" fmla="*/ 46 w 326"/>
                <a:gd name="T1" fmla="*/ 347 h 347"/>
                <a:gd name="T2" fmla="*/ 4 w 326"/>
                <a:gd name="T3" fmla="*/ 261 h 347"/>
                <a:gd name="T4" fmla="*/ 53 w 326"/>
                <a:gd name="T5" fmla="*/ 237 h 347"/>
                <a:gd name="T6" fmla="*/ 51 w 326"/>
                <a:gd name="T7" fmla="*/ 208 h 347"/>
                <a:gd name="T8" fmla="*/ 0 w 326"/>
                <a:gd name="T9" fmla="*/ 190 h 347"/>
                <a:gd name="T10" fmla="*/ 31 w 326"/>
                <a:gd name="T11" fmla="*/ 100 h 347"/>
                <a:gd name="T12" fmla="*/ 83 w 326"/>
                <a:gd name="T13" fmla="*/ 117 h 347"/>
                <a:gd name="T14" fmla="*/ 102 w 326"/>
                <a:gd name="T15" fmla="*/ 95 h 347"/>
                <a:gd name="T16" fmla="*/ 78 w 326"/>
                <a:gd name="T17" fmla="*/ 46 h 347"/>
                <a:gd name="T18" fmla="*/ 164 w 326"/>
                <a:gd name="T19" fmla="*/ 4 h 347"/>
                <a:gd name="T20" fmla="*/ 188 w 326"/>
                <a:gd name="T21" fmla="*/ 53 h 347"/>
                <a:gd name="T22" fmla="*/ 218 w 326"/>
                <a:gd name="T23" fmla="*/ 52 h 347"/>
                <a:gd name="T24" fmla="*/ 236 w 326"/>
                <a:gd name="T25" fmla="*/ 0 h 347"/>
                <a:gd name="T26" fmla="*/ 326 w 326"/>
                <a:gd name="T27" fmla="*/ 31 h 347"/>
                <a:gd name="T28" fmla="*/ 304 w 326"/>
                <a:gd name="T29" fmla="*/ 93 h 347"/>
                <a:gd name="T30" fmla="*/ 277 w 326"/>
                <a:gd name="T31" fmla="*/ 84 h 347"/>
                <a:gd name="T32" fmla="*/ 289 w 326"/>
                <a:gd name="T33" fmla="*/ 49 h 347"/>
                <a:gd name="T34" fmla="*/ 254 w 326"/>
                <a:gd name="T35" fmla="*/ 37 h 347"/>
                <a:gd name="T36" fmla="*/ 238 w 326"/>
                <a:gd name="T37" fmla="*/ 83 h 347"/>
                <a:gd name="T38" fmla="*/ 226 w 326"/>
                <a:gd name="T39" fmla="*/ 82 h 347"/>
                <a:gd name="T40" fmla="*/ 183 w 326"/>
                <a:gd name="T41" fmla="*/ 84 h 347"/>
                <a:gd name="T42" fmla="*/ 172 w 326"/>
                <a:gd name="T43" fmla="*/ 87 h 347"/>
                <a:gd name="T44" fmla="*/ 151 w 326"/>
                <a:gd name="T45" fmla="*/ 43 h 347"/>
                <a:gd name="T46" fmla="*/ 118 w 326"/>
                <a:gd name="T47" fmla="*/ 60 h 347"/>
                <a:gd name="T48" fmla="*/ 139 w 326"/>
                <a:gd name="T49" fmla="*/ 103 h 347"/>
                <a:gd name="T50" fmla="*/ 130 w 326"/>
                <a:gd name="T51" fmla="*/ 110 h 347"/>
                <a:gd name="T52" fmla="*/ 101 w 326"/>
                <a:gd name="T53" fmla="*/ 143 h 347"/>
                <a:gd name="T54" fmla="*/ 95 w 326"/>
                <a:gd name="T55" fmla="*/ 152 h 347"/>
                <a:gd name="T56" fmla="*/ 49 w 326"/>
                <a:gd name="T57" fmla="*/ 137 h 347"/>
                <a:gd name="T58" fmla="*/ 37 w 326"/>
                <a:gd name="T59" fmla="*/ 172 h 347"/>
                <a:gd name="T60" fmla="*/ 83 w 326"/>
                <a:gd name="T61" fmla="*/ 187 h 347"/>
                <a:gd name="T62" fmla="*/ 81 w 326"/>
                <a:gd name="T63" fmla="*/ 199 h 347"/>
                <a:gd name="T64" fmla="*/ 84 w 326"/>
                <a:gd name="T65" fmla="*/ 242 h 347"/>
                <a:gd name="T66" fmla="*/ 87 w 326"/>
                <a:gd name="T67" fmla="*/ 254 h 347"/>
                <a:gd name="T68" fmla="*/ 43 w 326"/>
                <a:gd name="T69" fmla="*/ 275 h 347"/>
                <a:gd name="T70" fmla="*/ 59 w 326"/>
                <a:gd name="T71" fmla="*/ 308 h 347"/>
                <a:gd name="T72" fmla="*/ 92 w 326"/>
                <a:gd name="T73" fmla="*/ 292 h 347"/>
                <a:gd name="T74" fmla="*/ 105 w 326"/>
                <a:gd name="T75" fmla="*/ 318 h 347"/>
                <a:gd name="T76" fmla="*/ 46 w 326"/>
                <a:gd name="T77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6" h="347">
                  <a:moveTo>
                    <a:pt x="46" y="347"/>
                  </a:moveTo>
                  <a:cubicBezTo>
                    <a:pt x="4" y="261"/>
                    <a:pt x="4" y="261"/>
                    <a:pt x="4" y="261"/>
                  </a:cubicBezTo>
                  <a:cubicBezTo>
                    <a:pt x="53" y="237"/>
                    <a:pt x="53" y="237"/>
                    <a:pt x="53" y="237"/>
                  </a:cubicBezTo>
                  <a:cubicBezTo>
                    <a:pt x="52" y="227"/>
                    <a:pt x="51" y="218"/>
                    <a:pt x="51" y="20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8" y="109"/>
                    <a:pt x="95" y="102"/>
                    <a:pt x="102" y="95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198" y="52"/>
                    <a:pt x="208" y="51"/>
                    <a:pt x="218" y="52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04" y="93"/>
                    <a:pt x="304" y="93"/>
                    <a:pt x="304" y="93"/>
                  </a:cubicBezTo>
                  <a:cubicBezTo>
                    <a:pt x="277" y="84"/>
                    <a:pt x="277" y="84"/>
                    <a:pt x="277" y="84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54" y="37"/>
                    <a:pt x="254" y="37"/>
                    <a:pt x="254" y="37"/>
                  </a:cubicBezTo>
                  <a:cubicBezTo>
                    <a:pt x="238" y="83"/>
                    <a:pt x="238" y="83"/>
                    <a:pt x="238" y="83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12" y="80"/>
                    <a:pt x="197" y="81"/>
                    <a:pt x="183" y="84"/>
                  </a:cubicBezTo>
                  <a:cubicBezTo>
                    <a:pt x="172" y="87"/>
                    <a:pt x="172" y="87"/>
                    <a:pt x="172" y="87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0" y="110"/>
                    <a:pt x="130" y="110"/>
                    <a:pt x="130" y="110"/>
                  </a:cubicBezTo>
                  <a:cubicBezTo>
                    <a:pt x="118" y="120"/>
                    <a:pt x="109" y="130"/>
                    <a:pt x="101" y="143"/>
                  </a:cubicBezTo>
                  <a:cubicBezTo>
                    <a:pt x="95" y="152"/>
                    <a:pt x="95" y="152"/>
                    <a:pt x="95" y="152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83" y="187"/>
                    <a:pt x="83" y="187"/>
                    <a:pt x="83" y="187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80" y="213"/>
                    <a:pt x="81" y="228"/>
                    <a:pt x="84" y="242"/>
                  </a:cubicBezTo>
                  <a:cubicBezTo>
                    <a:pt x="87" y="254"/>
                    <a:pt x="87" y="254"/>
                    <a:pt x="87" y="254"/>
                  </a:cubicBezTo>
                  <a:cubicBezTo>
                    <a:pt x="43" y="275"/>
                    <a:pt x="43" y="275"/>
                    <a:pt x="43" y="275"/>
                  </a:cubicBezTo>
                  <a:cubicBezTo>
                    <a:pt x="59" y="308"/>
                    <a:pt x="59" y="308"/>
                    <a:pt x="59" y="308"/>
                  </a:cubicBezTo>
                  <a:cubicBezTo>
                    <a:pt x="92" y="292"/>
                    <a:pt x="92" y="292"/>
                    <a:pt x="92" y="292"/>
                  </a:cubicBezTo>
                  <a:cubicBezTo>
                    <a:pt x="105" y="318"/>
                    <a:pt x="105" y="318"/>
                    <a:pt x="105" y="318"/>
                  </a:cubicBezTo>
                  <a:cubicBezTo>
                    <a:pt x="46" y="347"/>
                    <a:pt x="46" y="347"/>
                    <a:pt x="46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11">
              <a:extLst>
                <a:ext uri="{FF2B5EF4-FFF2-40B4-BE49-F238E27FC236}">
                  <a16:creationId xmlns:a16="http://schemas.microsoft.com/office/drawing/2014/main" id="{B895EB90-C930-1A41-B045-D1016C939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5725" y="3821113"/>
              <a:ext cx="98425" cy="90487"/>
            </a:xfrm>
            <a:custGeom>
              <a:avLst/>
              <a:gdLst>
                <a:gd name="T0" fmla="*/ 91 w 173"/>
                <a:gd name="T1" fmla="*/ 160 h 160"/>
                <a:gd name="T2" fmla="*/ 91 w 173"/>
                <a:gd name="T3" fmla="*/ 160 h 160"/>
                <a:gd name="T4" fmla="*/ 60 w 173"/>
                <a:gd name="T5" fmla="*/ 154 h 160"/>
                <a:gd name="T6" fmla="*/ 17 w 173"/>
                <a:gd name="T7" fmla="*/ 49 h 160"/>
                <a:gd name="T8" fmla="*/ 91 w 173"/>
                <a:gd name="T9" fmla="*/ 0 h 160"/>
                <a:gd name="T10" fmla="*/ 121 w 173"/>
                <a:gd name="T11" fmla="*/ 6 h 160"/>
                <a:gd name="T12" fmla="*/ 165 w 173"/>
                <a:gd name="T13" fmla="*/ 50 h 160"/>
                <a:gd name="T14" fmla="*/ 165 w 173"/>
                <a:gd name="T15" fmla="*/ 111 h 160"/>
                <a:gd name="T16" fmla="*/ 91 w 173"/>
                <a:gd name="T17" fmla="*/ 160 h 160"/>
                <a:gd name="T18" fmla="*/ 91 w 173"/>
                <a:gd name="T19" fmla="*/ 29 h 160"/>
                <a:gd name="T20" fmla="*/ 44 w 173"/>
                <a:gd name="T21" fmla="*/ 61 h 160"/>
                <a:gd name="T22" fmla="*/ 71 w 173"/>
                <a:gd name="T23" fmla="*/ 127 h 160"/>
                <a:gd name="T24" fmla="*/ 138 w 173"/>
                <a:gd name="T25" fmla="*/ 100 h 160"/>
                <a:gd name="T26" fmla="*/ 138 w 173"/>
                <a:gd name="T27" fmla="*/ 61 h 160"/>
                <a:gd name="T28" fmla="*/ 110 w 173"/>
                <a:gd name="T29" fmla="*/ 33 h 160"/>
                <a:gd name="T30" fmla="*/ 91 w 173"/>
                <a:gd name="T31" fmla="*/ 2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3" h="160">
                  <a:moveTo>
                    <a:pt x="91" y="160"/>
                  </a:moveTo>
                  <a:cubicBezTo>
                    <a:pt x="91" y="160"/>
                    <a:pt x="91" y="160"/>
                    <a:pt x="91" y="160"/>
                  </a:cubicBezTo>
                  <a:cubicBezTo>
                    <a:pt x="80" y="160"/>
                    <a:pt x="70" y="158"/>
                    <a:pt x="60" y="154"/>
                  </a:cubicBezTo>
                  <a:cubicBezTo>
                    <a:pt x="19" y="137"/>
                    <a:pt x="0" y="90"/>
                    <a:pt x="17" y="49"/>
                  </a:cubicBezTo>
                  <a:cubicBezTo>
                    <a:pt x="29" y="19"/>
                    <a:pt x="58" y="0"/>
                    <a:pt x="91" y="0"/>
                  </a:cubicBezTo>
                  <a:cubicBezTo>
                    <a:pt x="101" y="0"/>
                    <a:pt x="112" y="2"/>
                    <a:pt x="121" y="6"/>
                  </a:cubicBezTo>
                  <a:cubicBezTo>
                    <a:pt x="141" y="14"/>
                    <a:pt x="157" y="30"/>
                    <a:pt x="165" y="50"/>
                  </a:cubicBezTo>
                  <a:cubicBezTo>
                    <a:pt x="173" y="69"/>
                    <a:pt x="173" y="91"/>
                    <a:pt x="165" y="111"/>
                  </a:cubicBezTo>
                  <a:cubicBezTo>
                    <a:pt x="152" y="141"/>
                    <a:pt x="123" y="160"/>
                    <a:pt x="91" y="160"/>
                  </a:cubicBezTo>
                  <a:close/>
                  <a:moveTo>
                    <a:pt x="91" y="29"/>
                  </a:moveTo>
                  <a:cubicBezTo>
                    <a:pt x="70" y="29"/>
                    <a:pt x="52" y="42"/>
                    <a:pt x="44" y="61"/>
                  </a:cubicBezTo>
                  <a:cubicBezTo>
                    <a:pt x="33" y="87"/>
                    <a:pt x="45" y="116"/>
                    <a:pt x="71" y="127"/>
                  </a:cubicBezTo>
                  <a:cubicBezTo>
                    <a:pt x="97" y="138"/>
                    <a:pt x="127" y="125"/>
                    <a:pt x="138" y="100"/>
                  </a:cubicBezTo>
                  <a:cubicBezTo>
                    <a:pt x="143" y="87"/>
                    <a:pt x="143" y="73"/>
                    <a:pt x="138" y="61"/>
                  </a:cubicBezTo>
                  <a:cubicBezTo>
                    <a:pt x="132" y="48"/>
                    <a:pt x="123" y="38"/>
                    <a:pt x="110" y="33"/>
                  </a:cubicBezTo>
                  <a:cubicBezTo>
                    <a:pt x="104" y="31"/>
                    <a:pt x="97" y="29"/>
                    <a:pt x="9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D007F8E4-6DE5-D946-8AF8-4C9D4A4BB35A}"/>
              </a:ext>
            </a:extLst>
          </p:cNvPr>
          <p:cNvSpPr/>
          <p:nvPr userDrawn="1"/>
        </p:nvSpPr>
        <p:spPr>
          <a:xfrm>
            <a:off x="9340996" y="4669027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latin typeface="+mj-lt"/>
            </a:endParaRPr>
          </a:p>
        </p:txBody>
      </p:sp>
      <p:grpSp>
        <p:nvGrpSpPr>
          <p:cNvPr id="52" name="Group 573">
            <a:extLst>
              <a:ext uri="{FF2B5EF4-FFF2-40B4-BE49-F238E27FC236}">
                <a16:creationId xmlns:a16="http://schemas.microsoft.com/office/drawing/2014/main" id="{F3154F9B-01F1-2B40-A6E7-AF1BE6A3918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56444" y="4834948"/>
            <a:ext cx="354650" cy="352545"/>
            <a:chOff x="334963" y="2722563"/>
            <a:chExt cx="534988" cy="531813"/>
          </a:xfrm>
          <a:solidFill>
            <a:srgbClr val="FFB81C"/>
          </a:solidFill>
        </p:grpSpPr>
        <p:sp>
          <p:nvSpPr>
            <p:cNvPr id="53" name="Freeform 170">
              <a:extLst>
                <a:ext uri="{FF2B5EF4-FFF2-40B4-BE49-F238E27FC236}">
                  <a16:creationId xmlns:a16="http://schemas.microsoft.com/office/drawing/2014/main" id="{CF7A6515-F5AD-A54B-A811-17F33F3AF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26" y="2852738"/>
              <a:ext cx="15875" cy="179388"/>
            </a:xfrm>
            <a:custGeom>
              <a:avLst/>
              <a:gdLst>
                <a:gd name="T0" fmla="*/ 10 w 10"/>
                <a:gd name="T1" fmla="*/ 113 h 113"/>
                <a:gd name="T2" fmla="*/ 0 w 10"/>
                <a:gd name="T3" fmla="*/ 113 h 113"/>
                <a:gd name="T4" fmla="*/ 0 w 10"/>
                <a:gd name="T5" fmla="*/ 0 h 113"/>
                <a:gd name="T6" fmla="*/ 10 w 10"/>
                <a:gd name="T7" fmla="*/ 0 h 113"/>
                <a:gd name="T8" fmla="*/ 10 w 10"/>
                <a:gd name="T9" fmla="*/ 113 h 113"/>
                <a:gd name="T10" fmla="*/ 10 w 10"/>
                <a:gd name="T1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13">
                  <a:moveTo>
                    <a:pt x="10" y="113"/>
                  </a:moveTo>
                  <a:lnTo>
                    <a:pt x="0" y="113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3"/>
                  </a:lnTo>
                  <a:lnTo>
                    <a:pt x="1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171">
              <a:extLst>
                <a:ext uri="{FF2B5EF4-FFF2-40B4-BE49-F238E27FC236}">
                  <a16:creationId xmlns:a16="http://schemas.microsoft.com/office/drawing/2014/main" id="{0FC329DC-A7E3-E646-8204-358146AA9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376" y="2852738"/>
              <a:ext cx="17463" cy="179388"/>
            </a:xfrm>
            <a:custGeom>
              <a:avLst/>
              <a:gdLst>
                <a:gd name="T0" fmla="*/ 11 w 11"/>
                <a:gd name="T1" fmla="*/ 113 h 113"/>
                <a:gd name="T2" fmla="*/ 0 w 11"/>
                <a:gd name="T3" fmla="*/ 113 h 113"/>
                <a:gd name="T4" fmla="*/ 0 w 11"/>
                <a:gd name="T5" fmla="*/ 0 h 113"/>
                <a:gd name="T6" fmla="*/ 11 w 11"/>
                <a:gd name="T7" fmla="*/ 0 h 113"/>
                <a:gd name="T8" fmla="*/ 11 w 11"/>
                <a:gd name="T9" fmla="*/ 113 h 113"/>
                <a:gd name="T10" fmla="*/ 11 w 11"/>
                <a:gd name="T1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13">
                  <a:moveTo>
                    <a:pt x="11" y="113"/>
                  </a:moveTo>
                  <a:lnTo>
                    <a:pt x="0" y="113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3"/>
                  </a:lnTo>
                  <a:lnTo>
                    <a:pt x="11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172">
              <a:extLst>
                <a:ext uri="{FF2B5EF4-FFF2-40B4-BE49-F238E27FC236}">
                  <a16:creationId xmlns:a16="http://schemas.microsoft.com/office/drawing/2014/main" id="{D2B813B9-09DE-B543-946F-DF9390A30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1" y="3021013"/>
              <a:ext cx="119063" cy="233363"/>
            </a:xfrm>
            <a:custGeom>
              <a:avLst/>
              <a:gdLst>
                <a:gd name="T0" fmla="*/ 75 w 75"/>
                <a:gd name="T1" fmla="*/ 147 h 147"/>
                <a:gd name="T2" fmla="*/ 0 w 75"/>
                <a:gd name="T3" fmla="*/ 147 h 147"/>
                <a:gd name="T4" fmla="*/ 0 w 75"/>
                <a:gd name="T5" fmla="*/ 133 h 147"/>
                <a:gd name="T6" fmla="*/ 7 w 75"/>
                <a:gd name="T7" fmla="*/ 119 h 147"/>
                <a:gd name="T8" fmla="*/ 7 w 75"/>
                <a:gd name="T9" fmla="*/ 27 h 147"/>
                <a:gd name="T10" fmla="*/ 14 w 75"/>
                <a:gd name="T11" fmla="*/ 6 h 147"/>
                <a:gd name="T12" fmla="*/ 14 w 75"/>
                <a:gd name="T13" fmla="*/ 0 h 147"/>
                <a:gd name="T14" fmla="*/ 25 w 75"/>
                <a:gd name="T15" fmla="*/ 0 h 147"/>
                <a:gd name="T16" fmla="*/ 25 w 75"/>
                <a:gd name="T17" fmla="*/ 9 h 147"/>
                <a:gd name="T18" fmla="*/ 18 w 75"/>
                <a:gd name="T19" fmla="*/ 29 h 147"/>
                <a:gd name="T20" fmla="*/ 18 w 75"/>
                <a:gd name="T21" fmla="*/ 122 h 147"/>
                <a:gd name="T22" fmla="*/ 11 w 75"/>
                <a:gd name="T23" fmla="*/ 136 h 147"/>
                <a:gd name="T24" fmla="*/ 64 w 75"/>
                <a:gd name="T25" fmla="*/ 136 h 147"/>
                <a:gd name="T26" fmla="*/ 64 w 75"/>
                <a:gd name="T27" fmla="*/ 136 h 147"/>
                <a:gd name="T28" fmla="*/ 57 w 75"/>
                <a:gd name="T29" fmla="*/ 122 h 147"/>
                <a:gd name="T30" fmla="*/ 57 w 75"/>
                <a:gd name="T31" fmla="*/ 29 h 147"/>
                <a:gd name="T32" fmla="*/ 51 w 75"/>
                <a:gd name="T33" fmla="*/ 13 h 147"/>
                <a:gd name="T34" fmla="*/ 34 w 75"/>
                <a:gd name="T35" fmla="*/ 13 h 147"/>
                <a:gd name="T36" fmla="*/ 34 w 75"/>
                <a:gd name="T37" fmla="*/ 2 h 147"/>
                <a:gd name="T38" fmla="*/ 59 w 75"/>
                <a:gd name="T39" fmla="*/ 2 h 147"/>
                <a:gd name="T40" fmla="*/ 67 w 75"/>
                <a:gd name="T41" fmla="*/ 28 h 147"/>
                <a:gd name="T42" fmla="*/ 67 w 75"/>
                <a:gd name="T43" fmla="*/ 119 h 147"/>
                <a:gd name="T44" fmla="*/ 75 w 75"/>
                <a:gd name="T45" fmla="*/ 133 h 147"/>
                <a:gd name="T46" fmla="*/ 75 w 75"/>
                <a:gd name="T47" fmla="*/ 147 h 147"/>
                <a:gd name="T48" fmla="*/ 75 w 75"/>
                <a:gd name="T4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147">
                  <a:moveTo>
                    <a:pt x="75" y="147"/>
                  </a:moveTo>
                  <a:lnTo>
                    <a:pt x="0" y="147"/>
                  </a:lnTo>
                  <a:lnTo>
                    <a:pt x="0" y="133"/>
                  </a:lnTo>
                  <a:lnTo>
                    <a:pt x="7" y="119"/>
                  </a:lnTo>
                  <a:lnTo>
                    <a:pt x="7" y="27"/>
                  </a:lnTo>
                  <a:lnTo>
                    <a:pt x="14" y="6"/>
                  </a:lnTo>
                  <a:lnTo>
                    <a:pt x="14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18" y="29"/>
                  </a:lnTo>
                  <a:lnTo>
                    <a:pt x="18" y="122"/>
                  </a:lnTo>
                  <a:lnTo>
                    <a:pt x="11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57" y="122"/>
                  </a:lnTo>
                  <a:lnTo>
                    <a:pt x="57" y="29"/>
                  </a:lnTo>
                  <a:lnTo>
                    <a:pt x="51" y="13"/>
                  </a:lnTo>
                  <a:lnTo>
                    <a:pt x="34" y="13"/>
                  </a:lnTo>
                  <a:lnTo>
                    <a:pt x="34" y="2"/>
                  </a:lnTo>
                  <a:lnTo>
                    <a:pt x="59" y="2"/>
                  </a:lnTo>
                  <a:lnTo>
                    <a:pt x="67" y="28"/>
                  </a:lnTo>
                  <a:lnTo>
                    <a:pt x="67" y="119"/>
                  </a:lnTo>
                  <a:lnTo>
                    <a:pt x="75" y="133"/>
                  </a:lnTo>
                  <a:lnTo>
                    <a:pt x="75" y="147"/>
                  </a:lnTo>
                  <a:lnTo>
                    <a:pt x="75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173">
              <a:extLst>
                <a:ext uri="{FF2B5EF4-FFF2-40B4-BE49-F238E27FC236}">
                  <a16:creationId xmlns:a16="http://schemas.microsoft.com/office/drawing/2014/main" id="{08216B6A-3810-AE4D-AA7E-C8EDDDACD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963" y="2732088"/>
              <a:ext cx="300038" cy="128588"/>
            </a:xfrm>
            <a:custGeom>
              <a:avLst/>
              <a:gdLst>
                <a:gd name="T0" fmla="*/ 347 w 524"/>
                <a:gd name="T1" fmla="*/ 225 h 225"/>
                <a:gd name="T2" fmla="*/ 222 w 524"/>
                <a:gd name="T3" fmla="*/ 225 h 225"/>
                <a:gd name="T4" fmla="*/ 220 w 524"/>
                <a:gd name="T5" fmla="*/ 213 h 225"/>
                <a:gd name="T6" fmla="*/ 176 w 524"/>
                <a:gd name="T7" fmla="*/ 147 h 225"/>
                <a:gd name="T8" fmla="*/ 72 w 524"/>
                <a:gd name="T9" fmla="*/ 179 h 225"/>
                <a:gd name="T10" fmla="*/ 58 w 524"/>
                <a:gd name="T11" fmla="*/ 191 h 225"/>
                <a:gd name="T12" fmla="*/ 48 w 524"/>
                <a:gd name="T13" fmla="*/ 182 h 225"/>
                <a:gd name="T14" fmla="*/ 7 w 524"/>
                <a:gd name="T15" fmla="*/ 141 h 225"/>
                <a:gd name="T16" fmla="*/ 0 w 524"/>
                <a:gd name="T17" fmla="*/ 132 h 225"/>
                <a:gd name="T18" fmla="*/ 7 w 524"/>
                <a:gd name="T19" fmla="*/ 123 h 225"/>
                <a:gd name="T20" fmla="*/ 215 w 524"/>
                <a:gd name="T21" fmla="*/ 0 h 225"/>
                <a:gd name="T22" fmla="*/ 313 w 524"/>
                <a:gd name="T23" fmla="*/ 0 h 225"/>
                <a:gd name="T24" fmla="*/ 363 w 524"/>
                <a:gd name="T25" fmla="*/ 23 h 225"/>
                <a:gd name="T26" fmla="*/ 392 w 524"/>
                <a:gd name="T27" fmla="*/ 39 h 225"/>
                <a:gd name="T28" fmla="*/ 422 w 524"/>
                <a:gd name="T29" fmla="*/ 23 h 225"/>
                <a:gd name="T30" fmla="*/ 470 w 524"/>
                <a:gd name="T31" fmla="*/ 0 h 225"/>
                <a:gd name="T32" fmla="*/ 524 w 524"/>
                <a:gd name="T33" fmla="*/ 0 h 225"/>
                <a:gd name="T34" fmla="*/ 524 w 524"/>
                <a:gd name="T35" fmla="*/ 186 h 225"/>
                <a:gd name="T36" fmla="*/ 451 w 524"/>
                <a:gd name="T37" fmla="*/ 186 h 225"/>
                <a:gd name="T38" fmla="*/ 422 w 524"/>
                <a:gd name="T39" fmla="*/ 168 h 225"/>
                <a:gd name="T40" fmla="*/ 392 w 524"/>
                <a:gd name="T41" fmla="*/ 147 h 225"/>
                <a:gd name="T42" fmla="*/ 347 w 524"/>
                <a:gd name="T43" fmla="*/ 211 h 225"/>
                <a:gd name="T44" fmla="*/ 347 w 524"/>
                <a:gd name="T45" fmla="*/ 225 h 225"/>
                <a:gd name="T46" fmla="*/ 247 w 524"/>
                <a:gd name="T47" fmla="*/ 196 h 225"/>
                <a:gd name="T48" fmla="*/ 319 w 524"/>
                <a:gd name="T49" fmla="*/ 196 h 225"/>
                <a:gd name="T50" fmla="*/ 392 w 524"/>
                <a:gd name="T51" fmla="*/ 118 h 225"/>
                <a:gd name="T52" fmla="*/ 444 w 524"/>
                <a:gd name="T53" fmla="*/ 148 h 225"/>
                <a:gd name="T54" fmla="*/ 453 w 524"/>
                <a:gd name="T55" fmla="*/ 157 h 225"/>
                <a:gd name="T56" fmla="*/ 495 w 524"/>
                <a:gd name="T57" fmla="*/ 157 h 225"/>
                <a:gd name="T58" fmla="*/ 495 w 524"/>
                <a:gd name="T59" fmla="*/ 29 h 225"/>
                <a:gd name="T60" fmla="*/ 470 w 524"/>
                <a:gd name="T61" fmla="*/ 29 h 225"/>
                <a:gd name="T62" fmla="*/ 441 w 524"/>
                <a:gd name="T63" fmla="*/ 45 h 225"/>
                <a:gd name="T64" fmla="*/ 392 w 524"/>
                <a:gd name="T65" fmla="*/ 68 h 225"/>
                <a:gd name="T66" fmla="*/ 345 w 524"/>
                <a:gd name="T67" fmla="*/ 46 h 225"/>
                <a:gd name="T68" fmla="*/ 313 w 524"/>
                <a:gd name="T69" fmla="*/ 29 h 225"/>
                <a:gd name="T70" fmla="*/ 215 w 524"/>
                <a:gd name="T71" fmla="*/ 29 h 225"/>
                <a:gd name="T72" fmla="*/ 38 w 524"/>
                <a:gd name="T73" fmla="*/ 132 h 225"/>
                <a:gd name="T74" fmla="*/ 58 w 524"/>
                <a:gd name="T75" fmla="*/ 151 h 225"/>
                <a:gd name="T76" fmla="*/ 176 w 524"/>
                <a:gd name="T77" fmla="*/ 118 h 225"/>
                <a:gd name="T78" fmla="*/ 247 w 524"/>
                <a:gd name="T79" fmla="*/ 19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4" h="225">
                  <a:moveTo>
                    <a:pt x="347" y="225"/>
                  </a:moveTo>
                  <a:cubicBezTo>
                    <a:pt x="222" y="225"/>
                    <a:pt x="222" y="225"/>
                    <a:pt x="222" y="225"/>
                  </a:cubicBezTo>
                  <a:cubicBezTo>
                    <a:pt x="220" y="213"/>
                    <a:pt x="220" y="213"/>
                    <a:pt x="220" y="213"/>
                  </a:cubicBezTo>
                  <a:cubicBezTo>
                    <a:pt x="220" y="212"/>
                    <a:pt x="211" y="147"/>
                    <a:pt x="176" y="147"/>
                  </a:cubicBezTo>
                  <a:cubicBezTo>
                    <a:pt x="105" y="147"/>
                    <a:pt x="95" y="156"/>
                    <a:pt x="72" y="179"/>
                  </a:cubicBezTo>
                  <a:cubicBezTo>
                    <a:pt x="58" y="191"/>
                    <a:pt x="58" y="191"/>
                    <a:pt x="58" y="191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7" y="181"/>
                    <a:pt x="20" y="158"/>
                    <a:pt x="7" y="141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7" y="123"/>
                    <a:pt x="7" y="123"/>
                    <a:pt x="7" y="123"/>
                  </a:cubicBezTo>
                  <a:cubicBezTo>
                    <a:pt x="72" y="45"/>
                    <a:pt x="127" y="0"/>
                    <a:pt x="215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33" y="0"/>
                    <a:pt x="349" y="12"/>
                    <a:pt x="363" y="23"/>
                  </a:cubicBezTo>
                  <a:cubicBezTo>
                    <a:pt x="373" y="31"/>
                    <a:pt x="383" y="39"/>
                    <a:pt x="392" y="39"/>
                  </a:cubicBezTo>
                  <a:cubicBezTo>
                    <a:pt x="403" y="39"/>
                    <a:pt x="410" y="33"/>
                    <a:pt x="422" y="23"/>
                  </a:cubicBezTo>
                  <a:cubicBezTo>
                    <a:pt x="433" y="13"/>
                    <a:pt x="448" y="0"/>
                    <a:pt x="470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24" y="186"/>
                    <a:pt x="524" y="186"/>
                    <a:pt x="524" y="186"/>
                  </a:cubicBezTo>
                  <a:cubicBezTo>
                    <a:pt x="451" y="186"/>
                    <a:pt x="451" y="186"/>
                    <a:pt x="451" y="186"/>
                  </a:cubicBezTo>
                  <a:cubicBezTo>
                    <a:pt x="439" y="186"/>
                    <a:pt x="431" y="177"/>
                    <a:pt x="422" y="168"/>
                  </a:cubicBezTo>
                  <a:cubicBezTo>
                    <a:pt x="414" y="158"/>
                    <a:pt x="404" y="147"/>
                    <a:pt x="392" y="147"/>
                  </a:cubicBezTo>
                  <a:cubicBezTo>
                    <a:pt x="374" y="147"/>
                    <a:pt x="347" y="164"/>
                    <a:pt x="347" y="211"/>
                  </a:cubicBezTo>
                  <a:cubicBezTo>
                    <a:pt x="347" y="225"/>
                    <a:pt x="347" y="225"/>
                    <a:pt x="347" y="225"/>
                  </a:cubicBezTo>
                  <a:close/>
                  <a:moveTo>
                    <a:pt x="247" y="196"/>
                  </a:moveTo>
                  <a:cubicBezTo>
                    <a:pt x="319" y="196"/>
                    <a:pt x="319" y="196"/>
                    <a:pt x="319" y="196"/>
                  </a:cubicBezTo>
                  <a:cubicBezTo>
                    <a:pt x="325" y="139"/>
                    <a:pt x="364" y="118"/>
                    <a:pt x="392" y="118"/>
                  </a:cubicBezTo>
                  <a:cubicBezTo>
                    <a:pt x="417" y="118"/>
                    <a:pt x="433" y="136"/>
                    <a:pt x="444" y="148"/>
                  </a:cubicBezTo>
                  <a:cubicBezTo>
                    <a:pt x="447" y="151"/>
                    <a:pt x="451" y="155"/>
                    <a:pt x="453" y="157"/>
                  </a:cubicBezTo>
                  <a:cubicBezTo>
                    <a:pt x="495" y="157"/>
                    <a:pt x="495" y="157"/>
                    <a:pt x="495" y="157"/>
                  </a:cubicBezTo>
                  <a:cubicBezTo>
                    <a:pt x="495" y="29"/>
                    <a:pt x="495" y="29"/>
                    <a:pt x="495" y="29"/>
                  </a:cubicBezTo>
                  <a:cubicBezTo>
                    <a:pt x="470" y="29"/>
                    <a:pt x="470" y="29"/>
                    <a:pt x="470" y="29"/>
                  </a:cubicBezTo>
                  <a:cubicBezTo>
                    <a:pt x="460" y="29"/>
                    <a:pt x="452" y="35"/>
                    <a:pt x="441" y="45"/>
                  </a:cubicBezTo>
                  <a:cubicBezTo>
                    <a:pt x="429" y="55"/>
                    <a:pt x="415" y="68"/>
                    <a:pt x="392" y="68"/>
                  </a:cubicBezTo>
                  <a:cubicBezTo>
                    <a:pt x="373" y="68"/>
                    <a:pt x="358" y="57"/>
                    <a:pt x="345" y="46"/>
                  </a:cubicBezTo>
                  <a:cubicBezTo>
                    <a:pt x="334" y="37"/>
                    <a:pt x="323" y="29"/>
                    <a:pt x="313" y="29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149" y="29"/>
                    <a:pt x="104" y="55"/>
                    <a:pt x="38" y="132"/>
                  </a:cubicBezTo>
                  <a:cubicBezTo>
                    <a:pt x="44" y="139"/>
                    <a:pt x="52" y="146"/>
                    <a:pt x="58" y="151"/>
                  </a:cubicBezTo>
                  <a:cubicBezTo>
                    <a:pt x="83" y="128"/>
                    <a:pt x="102" y="118"/>
                    <a:pt x="176" y="118"/>
                  </a:cubicBezTo>
                  <a:cubicBezTo>
                    <a:pt x="224" y="118"/>
                    <a:pt x="241" y="171"/>
                    <a:pt x="247" y="1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174">
              <a:extLst>
                <a:ext uri="{FF2B5EF4-FFF2-40B4-BE49-F238E27FC236}">
                  <a16:creationId xmlns:a16="http://schemas.microsoft.com/office/drawing/2014/main" id="{9B334D5A-1AB3-C546-93D0-F53B674306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463" y="2722563"/>
              <a:ext cx="217488" cy="531813"/>
            </a:xfrm>
            <a:custGeom>
              <a:avLst/>
              <a:gdLst>
                <a:gd name="T0" fmla="*/ 191 w 382"/>
                <a:gd name="T1" fmla="*/ 929 h 929"/>
                <a:gd name="T2" fmla="*/ 118 w 382"/>
                <a:gd name="T3" fmla="*/ 855 h 929"/>
                <a:gd name="T4" fmla="*/ 118 w 382"/>
                <a:gd name="T5" fmla="*/ 364 h 929"/>
                <a:gd name="T6" fmla="*/ 0 w 382"/>
                <a:gd name="T7" fmla="*/ 207 h 929"/>
                <a:gd name="T8" fmla="*/ 0 w 382"/>
                <a:gd name="T9" fmla="*/ 168 h 929"/>
                <a:gd name="T10" fmla="*/ 127 w 382"/>
                <a:gd name="T11" fmla="*/ 7 h 929"/>
                <a:gd name="T12" fmla="*/ 147 w 382"/>
                <a:gd name="T13" fmla="*/ 0 h 929"/>
                <a:gd name="T14" fmla="*/ 147 w 382"/>
                <a:gd name="T15" fmla="*/ 153 h 929"/>
                <a:gd name="T16" fmla="*/ 235 w 382"/>
                <a:gd name="T17" fmla="*/ 153 h 929"/>
                <a:gd name="T18" fmla="*/ 235 w 382"/>
                <a:gd name="T19" fmla="*/ 0 h 929"/>
                <a:gd name="T20" fmla="*/ 255 w 382"/>
                <a:gd name="T21" fmla="*/ 7 h 929"/>
                <a:gd name="T22" fmla="*/ 382 w 382"/>
                <a:gd name="T23" fmla="*/ 168 h 929"/>
                <a:gd name="T24" fmla="*/ 382 w 382"/>
                <a:gd name="T25" fmla="*/ 207 h 929"/>
                <a:gd name="T26" fmla="*/ 265 w 382"/>
                <a:gd name="T27" fmla="*/ 364 h 929"/>
                <a:gd name="T28" fmla="*/ 265 w 382"/>
                <a:gd name="T29" fmla="*/ 855 h 929"/>
                <a:gd name="T30" fmla="*/ 191 w 382"/>
                <a:gd name="T31" fmla="*/ 929 h 929"/>
                <a:gd name="T32" fmla="*/ 118 w 382"/>
                <a:gd name="T33" fmla="*/ 43 h 929"/>
                <a:gd name="T34" fmla="*/ 29 w 382"/>
                <a:gd name="T35" fmla="*/ 168 h 929"/>
                <a:gd name="T36" fmla="*/ 29 w 382"/>
                <a:gd name="T37" fmla="*/ 207 h 929"/>
                <a:gd name="T38" fmla="*/ 137 w 382"/>
                <a:gd name="T39" fmla="*/ 340 h 929"/>
                <a:gd name="T40" fmla="*/ 147 w 382"/>
                <a:gd name="T41" fmla="*/ 344 h 929"/>
                <a:gd name="T42" fmla="*/ 147 w 382"/>
                <a:gd name="T43" fmla="*/ 855 h 929"/>
                <a:gd name="T44" fmla="*/ 191 w 382"/>
                <a:gd name="T45" fmla="*/ 899 h 929"/>
                <a:gd name="T46" fmla="*/ 235 w 382"/>
                <a:gd name="T47" fmla="*/ 855 h 929"/>
                <a:gd name="T48" fmla="*/ 235 w 382"/>
                <a:gd name="T49" fmla="*/ 344 h 929"/>
                <a:gd name="T50" fmla="*/ 245 w 382"/>
                <a:gd name="T51" fmla="*/ 340 h 929"/>
                <a:gd name="T52" fmla="*/ 353 w 382"/>
                <a:gd name="T53" fmla="*/ 207 h 929"/>
                <a:gd name="T54" fmla="*/ 353 w 382"/>
                <a:gd name="T55" fmla="*/ 168 h 929"/>
                <a:gd name="T56" fmla="*/ 265 w 382"/>
                <a:gd name="T57" fmla="*/ 43 h 929"/>
                <a:gd name="T58" fmla="*/ 265 w 382"/>
                <a:gd name="T59" fmla="*/ 183 h 929"/>
                <a:gd name="T60" fmla="*/ 118 w 382"/>
                <a:gd name="T61" fmla="*/ 183 h 929"/>
                <a:gd name="T62" fmla="*/ 118 w 382"/>
                <a:gd name="T63" fmla="*/ 43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2" h="929">
                  <a:moveTo>
                    <a:pt x="191" y="929"/>
                  </a:moveTo>
                  <a:cubicBezTo>
                    <a:pt x="151" y="929"/>
                    <a:pt x="118" y="896"/>
                    <a:pt x="118" y="855"/>
                  </a:cubicBezTo>
                  <a:cubicBezTo>
                    <a:pt x="118" y="364"/>
                    <a:pt x="118" y="364"/>
                    <a:pt x="118" y="364"/>
                  </a:cubicBezTo>
                  <a:cubicBezTo>
                    <a:pt x="40" y="334"/>
                    <a:pt x="0" y="280"/>
                    <a:pt x="0" y="207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88"/>
                    <a:pt x="64" y="30"/>
                    <a:pt x="127" y="7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7" y="153"/>
                    <a:pt x="147" y="153"/>
                    <a:pt x="147" y="153"/>
                  </a:cubicBezTo>
                  <a:cubicBezTo>
                    <a:pt x="235" y="153"/>
                    <a:pt x="235" y="153"/>
                    <a:pt x="235" y="153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55" y="7"/>
                    <a:pt x="255" y="7"/>
                    <a:pt x="255" y="7"/>
                  </a:cubicBezTo>
                  <a:cubicBezTo>
                    <a:pt x="318" y="30"/>
                    <a:pt x="382" y="88"/>
                    <a:pt x="382" y="168"/>
                  </a:cubicBezTo>
                  <a:cubicBezTo>
                    <a:pt x="382" y="207"/>
                    <a:pt x="382" y="207"/>
                    <a:pt x="382" y="207"/>
                  </a:cubicBezTo>
                  <a:cubicBezTo>
                    <a:pt x="382" y="280"/>
                    <a:pt x="342" y="334"/>
                    <a:pt x="265" y="364"/>
                  </a:cubicBezTo>
                  <a:cubicBezTo>
                    <a:pt x="265" y="855"/>
                    <a:pt x="265" y="855"/>
                    <a:pt x="265" y="855"/>
                  </a:cubicBezTo>
                  <a:cubicBezTo>
                    <a:pt x="265" y="896"/>
                    <a:pt x="232" y="929"/>
                    <a:pt x="191" y="929"/>
                  </a:cubicBezTo>
                  <a:close/>
                  <a:moveTo>
                    <a:pt x="118" y="43"/>
                  </a:moveTo>
                  <a:cubicBezTo>
                    <a:pt x="72" y="66"/>
                    <a:pt x="29" y="111"/>
                    <a:pt x="29" y="168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29" y="270"/>
                    <a:pt x="65" y="315"/>
                    <a:pt x="137" y="340"/>
                  </a:cubicBezTo>
                  <a:cubicBezTo>
                    <a:pt x="147" y="344"/>
                    <a:pt x="147" y="344"/>
                    <a:pt x="147" y="344"/>
                  </a:cubicBezTo>
                  <a:cubicBezTo>
                    <a:pt x="147" y="855"/>
                    <a:pt x="147" y="855"/>
                    <a:pt x="147" y="855"/>
                  </a:cubicBezTo>
                  <a:cubicBezTo>
                    <a:pt x="147" y="879"/>
                    <a:pt x="167" y="899"/>
                    <a:pt x="191" y="899"/>
                  </a:cubicBezTo>
                  <a:cubicBezTo>
                    <a:pt x="216" y="899"/>
                    <a:pt x="235" y="879"/>
                    <a:pt x="235" y="855"/>
                  </a:cubicBezTo>
                  <a:cubicBezTo>
                    <a:pt x="235" y="344"/>
                    <a:pt x="235" y="344"/>
                    <a:pt x="235" y="344"/>
                  </a:cubicBezTo>
                  <a:cubicBezTo>
                    <a:pt x="245" y="340"/>
                    <a:pt x="245" y="340"/>
                    <a:pt x="245" y="340"/>
                  </a:cubicBezTo>
                  <a:cubicBezTo>
                    <a:pt x="317" y="315"/>
                    <a:pt x="353" y="270"/>
                    <a:pt x="353" y="207"/>
                  </a:cubicBezTo>
                  <a:cubicBezTo>
                    <a:pt x="353" y="168"/>
                    <a:pt x="353" y="168"/>
                    <a:pt x="353" y="168"/>
                  </a:cubicBezTo>
                  <a:cubicBezTo>
                    <a:pt x="353" y="111"/>
                    <a:pt x="310" y="66"/>
                    <a:pt x="265" y="43"/>
                  </a:cubicBezTo>
                  <a:cubicBezTo>
                    <a:pt x="265" y="183"/>
                    <a:pt x="265" y="183"/>
                    <a:pt x="265" y="183"/>
                  </a:cubicBezTo>
                  <a:cubicBezTo>
                    <a:pt x="118" y="183"/>
                    <a:pt x="118" y="183"/>
                    <a:pt x="118" y="183"/>
                  </a:cubicBezTo>
                  <a:cubicBezTo>
                    <a:pt x="118" y="43"/>
                    <a:pt x="118" y="43"/>
                    <a:pt x="11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175">
              <a:extLst>
                <a:ext uri="{FF2B5EF4-FFF2-40B4-BE49-F238E27FC236}">
                  <a16:creationId xmlns:a16="http://schemas.microsoft.com/office/drawing/2014/main" id="{8B338E74-6AA5-274D-ACD2-08D1E389A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76" y="3178176"/>
              <a:ext cx="17463" cy="33338"/>
            </a:xfrm>
            <a:custGeom>
              <a:avLst/>
              <a:gdLst>
                <a:gd name="T0" fmla="*/ 11 w 11"/>
                <a:gd name="T1" fmla="*/ 21 h 21"/>
                <a:gd name="T2" fmla="*/ 0 w 11"/>
                <a:gd name="T3" fmla="*/ 21 h 21"/>
                <a:gd name="T4" fmla="*/ 0 w 11"/>
                <a:gd name="T5" fmla="*/ 0 h 21"/>
                <a:gd name="T6" fmla="*/ 11 w 11"/>
                <a:gd name="T7" fmla="*/ 0 h 21"/>
                <a:gd name="T8" fmla="*/ 11 w 11"/>
                <a:gd name="T9" fmla="*/ 21 h 21"/>
                <a:gd name="T10" fmla="*/ 11 w 11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1">
                  <a:moveTo>
                    <a:pt x="11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21"/>
                  </a:lnTo>
                  <a:lnTo>
                    <a:pt x="1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0" name="Oval 59">
            <a:extLst>
              <a:ext uri="{FF2B5EF4-FFF2-40B4-BE49-F238E27FC236}">
                <a16:creationId xmlns:a16="http://schemas.microsoft.com/office/drawing/2014/main" id="{5DC166E0-AE9D-6146-909C-0B1F7CFFF84D}"/>
              </a:ext>
            </a:extLst>
          </p:cNvPr>
          <p:cNvSpPr/>
          <p:nvPr userDrawn="1"/>
        </p:nvSpPr>
        <p:spPr>
          <a:xfrm>
            <a:off x="9963823" y="3288780"/>
            <a:ext cx="1005611" cy="1005611"/>
          </a:xfrm>
          <a:prstGeom prst="ellipse">
            <a:avLst/>
          </a:prstGeom>
          <a:solidFill>
            <a:srgbClr val="262626"/>
          </a:solidFill>
          <a:ln w="1270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latin typeface="+mj-lt"/>
            </a:endParaRPr>
          </a:p>
        </p:txBody>
      </p:sp>
      <p:grpSp>
        <p:nvGrpSpPr>
          <p:cNvPr id="61" name="Group 862">
            <a:extLst>
              <a:ext uri="{FF2B5EF4-FFF2-40B4-BE49-F238E27FC236}">
                <a16:creationId xmlns:a16="http://schemas.microsoft.com/office/drawing/2014/main" id="{F90DFA30-177A-FF45-9895-0077672308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9647" y="3443539"/>
            <a:ext cx="373962" cy="373962"/>
            <a:chOff x="9626601" y="3146426"/>
            <a:chExt cx="660400" cy="660400"/>
          </a:xfrm>
          <a:solidFill>
            <a:srgbClr val="FFB81C"/>
          </a:solidFill>
        </p:grpSpPr>
        <p:sp>
          <p:nvSpPr>
            <p:cNvPr id="62" name="Freeform 503">
              <a:extLst>
                <a:ext uri="{FF2B5EF4-FFF2-40B4-BE49-F238E27FC236}">
                  <a16:creationId xmlns:a16="http://schemas.microsoft.com/office/drawing/2014/main" id="{C733DA88-C2BC-2A46-B176-9CFE9D9F8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676" y="3146426"/>
              <a:ext cx="568325" cy="568325"/>
            </a:xfrm>
            <a:custGeom>
              <a:avLst/>
              <a:gdLst>
                <a:gd name="T0" fmla="*/ 335 w 1412"/>
                <a:gd name="T1" fmla="*/ 1410 h 1410"/>
                <a:gd name="T2" fmla="*/ 317 w 1412"/>
                <a:gd name="T3" fmla="*/ 1402 h 1410"/>
                <a:gd name="T4" fmla="*/ 10 w 1412"/>
                <a:gd name="T5" fmla="*/ 1095 h 1410"/>
                <a:gd name="T6" fmla="*/ 6 w 1412"/>
                <a:gd name="T7" fmla="*/ 1063 h 1410"/>
                <a:gd name="T8" fmla="*/ 1386 w 1412"/>
                <a:gd name="T9" fmla="*/ 0 h 1410"/>
                <a:gd name="T10" fmla="*/ 1412 w 1412"/>
                <a:gd name="T11" fmla="*/ 26 h 1410"/>
                <a:gd name="T12" fmla="*/ 349 w 1412"/>
                <a:gd name="T13" fmla="*/ 1406 h 1410"/>
                <a:gd name="T14" fmla="*/ 335 w 1412"/>
                <a:gd name="T15" fmla="*/ 1410 h 1410"/>
                <a:gd name="T16" fmla="*/ 61 w 1412"/>
                <a:gd name="T17" fmla="*/ 1073 h 1410"/>
                <a:gd name="T18" fmla="*/ 339 w 1412"/>
                <a:gd name="T19" fmla="*/ 1351 h 1410"/>
                <a:gd name="T20" fmla="*/ 1360 w 1412"/>
                <a:gd name="T21" fmla="*/ 52 h 1410"/>
                <a:gd name="T22" fmla="*/ 61 w 1412"/>
                <a:gd name="T23" fmla="*/ 1073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2" h="1410">
                  <a:moveTo>
                    <a:pt x="335" y="1410"/>
                  </a:moveTo>
                  <a:cubicBezTo>
                    <a:pt x="329" y="1410"/>
                    <a:pt x="322" y="1407"/>
                    <a:pt x="317" y="1402"/>
                  </a:cubicBezTo>
                  <a:cubicBezTo>
                    <a:pt x="10" y="1095"/>
                    <a:pt x="10" y="1095"/>
                    <a:pt x="10" y="1095"/>
                  </a:cubicBezTo>
                  <a:cubicBezTo>
                    <a:pt x="1" y="1086"/>
                    <a:pt x="0" y="1073"/>
                    <a:pt x="6" y="1063"/>
                  </a:cubicBezTo>
                  <a:cubicBezTo>
                    <a:pt x="33" y="1020"/>
                    <a:pt x="663" y="0"/>
                    <a:pt x="1386" y="0"/>
                  </a:cubicBezTo>
                  <a:cubicBezTo>
                    <a:pt x="1400" y="0"/>
                    <a:pt x="1412" y="12"/>
                    <a:pt x="1412" y="26"/>
                  </a:cubicBezTo>
                  <a:cubicBezTo>
                    <a:pt x="1412" y="749"/>
                    <a:pt x="392" y="1379"/>
                    <a:pt x="349" y="1406"/>
                  </a:cubicBezTo>
                  <a:cubicBezTo>
                    <a:pt x="345" y="1408"/>
                    <a:pt x="340" y="1410"/>
                    <a:pt x="335" y="1410"/>
                  </a:cubicBezTo>
                  <a:moveTo>
                    <a:pt x="61" y="1073"/>
                  </a:moveTo>
                  <a:cubicBezTo>
                    <a:pt x="339" y="1351"/>
                    <a:pt x="339" y="1351"/>
                    <a:pt x="339" y="1351"/>
                  </a:cubicBezTo>
                  <a:cubicBezTo>
                    <a:pt x="472" y="1266"/>
                    <a:pt x="1337" y="687"/>
                    <a:pt x="1360" y="52"/>
                  </a:cubicBezTo>
                  <a:cubicBezTo>
                    <a:pt x="725" y="75"/>
                    <a:pt x="146" y="940"/>
                    <a:pt x="61" y="107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504">
              <a:extLst>
                <a:ext uri="{FF2B5EF4-FFF2-40B4-BE49-F238E27FC236}">
                  <a16:creationId xmlns:a16="http://schemas.microsoft.com/office/drawing/2014/main" id="{4C524072-5DBD-3545-B6ED-2D420ADED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7563" y="3594101"/>
              <a:ext cx="131763" cy="130175"/>
            </a:xfrm>
            <a:custGeom>
              <a:avLst/>
              <a:gdLst>
                <a:gd name="T0" fmla="*/ 233 w 328"/>
                <a:gd name="T1" fmla="*/ 325 h 325"/>
                <a:gd name="T2" fmla="*/ 215 w 328"/>
                <a:gd name="T3" fmla="*/ 318 h 325"/>
                <a:gd name="T4" fmla="*/ 10 w 328"/>
                <a:gd name="T5" fmla="*/ 113 h 325"/>
                <a:gd name="T6" fmla="*/ 10 w 328"/>
                <a:gd name="T7" fmla="*/ 77 h 325"/>
                <a:gd name="T8" fmla="*/ 87 w 328"/>
                <a:gd name="T9" fmla="*/ 0 h 325"/>
                <a:gd name="T10" fmla="*/ 123 w 328"/>
                <a:gd name="T11" fmla="*/ 36 h 325"/>
                <a:gd name="T12" fmla="*/ 65 w 328"/>
                <a:gd name="T13" fmla="*/ 95 h 325"/>
                <a:gd name="T14" fmla="*/ 233 w 328"/>
                <a:gd name="T15" fmla="*/ 263 h 325"/>
                <a:gd name="T16" fmla="*/ 292 w 328"/>
                <a:gd name="T17" fmla="*/ 205 h 325"/>
                <a:gd name="T18" fmla="*/ 328 w 328"/>
                <a:gd name="T19" fmla="*/ 241 h 325"/>
                <a:gd name="T20" fmla="*/ 251 w 328"/>
                <a:gd name="T21" fmla="*/ 318 h 325"/>
                <a:gd name="T22" fmla="*/ 233 w 328"/>
                <a:gd name="T23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8" h="325">
                  <a:moveTo>
                    <a:pt x="233" y="325"/>
                  </a:moveTo>
                  <a:cubicBezTo>
                    <a:pt x="227" y="325"/>
                    <a:pt x="220" y="323"/>
                    <a:pt x="215" y="318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0" y="103"/>
                    <a:pt x="0" y="87"/>
                    <a:pt x="10" y="77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233" y="263"/>
                    <a:pt x="233" y="263"/>
                    <a:pt x="233" y="263"/>
                  </a:cubicBezTo>
                  <a:cubicBezTo>
                    <a:pt x="292" y="205"/>
                    <a:pt x="292" y="205"/>
                    <a:pt x="292" y="205"/>
                  </a:cubicBezTo>
                  <a:cubicBezTo>
                    <a:pt x="328" y="241"/>
                    <a:pt x="328" y="241"/>
                    <a:pt x="328" y="241"/>
                  </a:cubicBezTo>
                  <a:cubicBezTo>
                    <a:pt x="251" y="318"/>
                    <a:pt x="251" y="318"/>
                    <a:pt x="251" y="318"/>
                  </a:cubicBezTo>
                  <a:cubicBezTo>
                    <a:pt x="246" y="323"/>
                    <a:pt x="240" y="325"/>
                    <a:pt x="233" y="3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505">
              <a:extLst>
                <a:ext uri="{FF2B5EF4-FFF2-40B4-BE49-F238E27FC236}">
                  <a16:creationId xmlns:a16="http://schemas.microsoft.com/office/drawing/2014/main" id="{8FA30231-A5A8-AC4E-AB3B-0FF2985A5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601" y="3654426"/>
              <a:ext cx="150813" cy="152400"/>
            </a:xfrm>
            <a:custGeom>
              <a:avLst/>
              <a:gdLst>
                <a:gd name="T0" fmla="*/ 25 w 377"/>
                <a:gd name="T1" fmla="*/ 377 h 377"/>
                <a:gd name="T2" fmla="*/ 0 w 377"/>
                <a:gd name="T3" fmla="*/ 352 h 377"/>
                <a:gd name="T4" fmla="*/ 161 w 377"/>
                <a:gd name="T5" fmla="*/ 0 h 377"/>
                <a:gd name="T6" fmla="*/ 197 w 377"/>
                <a:gd name="T7" fmla="*/ 37 h 377"/>
                <a:gd name="T8" fmla="*/ 53 w 377"/>
                <a:gd name="T9" fmla="*/ 324 h 377"/>
                <a:gd name="T10" fmla="*/ 340 w 377"/>
                <a:gd name="T11" fmla="*/ 180 h 377"/>
                <a:gd name="T12" fmla="*/ 377 w 377"/>
                <a:gd name="T13" fmla="*/ 216 h 377"/>
                <a:gd name="T14" fmla="*/ 25 w 377"/>
                <a:gd name="T15" fmla="*/ 37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7" h="377">
                  <a:moveTo>
                    <a:pt x="25" y="377"/>
                  </a:moveTo>
                  <a:cubicBezTo>
                    <a:pt x="11" y="377"/>
                    <a:pt x="0" y="366"/>
                    <a:pt x="0" y="352"/>
                  </a:cubicBezTo>
                  <a:cubicBezTo>
                    <a:pt x="0" y="344"/>
                    <a:pt x="2" y="160"/>
                    <a:pt x="161" y="0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88" y="146"/>
                    <a:pt x="60" y="269"/>
                    <a:pt x="53" y="324"/>
                  </a:cubicBezTo>
                  <a:cubicBezTo>
                    <a:pt x="108" y="316"/>
                    <a:pt x="231" y="289"/>
                    <a:pt x="340" y="180"/>
                  </a:cubicBezTo>
                  <a:cubicBezTo>
                    <a:pt x="377" y="216"/>
                    <a:pt x="377" y="216"/>
                    <a:pt x="377" y="216"/>
                  </a:cubicBezTo>
                  <a:cubicBezTo>
                    <a:pt x="217" y="375"/>
                    <a:pt x="33" y="377"/>
                    <a:pt x="25" y="3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506">
              <a:extLst>
                <a:ext uri="{FF2B5EF4-FFF2-40B4-BE49-F238E27FC236}">
                  <a16:creationId xmlns:a16="http://schemas.microsoft.com/office/drawing/2014/main" id="{052824C6-77BC-E04A-B1C8-BC002DD28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8876" y="3279776"/>
              <a:ext cx="104775" cy="104775"/>
            </a:xfrm>
            <a:custGeom>
              <a:avLst/>
              <a:gdLst>
                <a:gd name="T0" fmla="*/ 128 w 257"/>
                <a:gd name="T1" fmla="*/ 257 h 257"/>
                <a:gd name="T2" fmla="*/ 0 w 257"/>
                <a:gd name="T3" fmla="*/ 128 h 257"/>
                <a:gd name="T4" fmla="*/ 128 w 257"/>
                <a:gd name="T5" fmla="*/ 0 h 257"/>
                <a:gd name="T6" fmla="*/ 257 w 257"/>
                <a:gd name="T7" fmla="*/ 128 h 257"/>
                <a:gd name="T8" fmla="*/ 128 w 257"/>
                <a:gd name="T9" fmla="*/ 257 h 257"/>
                <a:gd name="T10" fmla="*/ 128 w 257"/>
                <a:gd name="T11" fmla="*/ 52 h 257"/>
                <a:gd name="T12" fmla="*/ 52 w 257"/>
                <a:gd name="T13" fmla="*/ 128 h 257"/>
                <a:gd name="T14" fmla="*/ 128 w 257"/>
                <a:gd name="T15" fmla="*/ 205 h 257"/>
                <a:gd name="T16" fmla="*/ 205 w 257"/>
                <a:gd name="T17" fmla="*/ 128 h 257"/>
                <a:gd name="T18" fmla="*/ 128 w 257"/>
                <a:gd name="T19" fmla="*/ 5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257">
                  <a:moveTo>
                    <a:pt x="128" y="257"/>
                  </a:moveTo>
                  <a:cubicBezTo>
                    <a:pt x="58" y="257"/>
                    <a:pt x="0" y="199"/>
                    <a:pt x="0" y="128"/>
                  </a:cubicBezTo>
                  <a:cubicBezTo>
                    <a:pt x="0" y="58"/>
                    <a:pt x="58" y="0"/>
                    <a:pt x="128" y="0"/>
                  </a:cubicBezTo>
                  <a:cubicBezTo>
                    <a:pt x="199" y="0"/>
                    <a:pt x="257" y="58"/>
                    <a:pt x="257" y="128"/>
                  </a:cubicBezTo>
                  <a:cubicBezTo>
                    <a:pt x="257" y="199"/>
                    <a:pt x="199" y="257"/>
                    <a:pt x="128" y="257"/>
                  </a:cubicBezTo>
                  <a:moveTo>
                    <a:pt x="128" y="52"/>
                  </a:moveTo>
                  <a:cubicBezTo>
                    <a:pt x="86" y="52"/>
                    <a:pt x="52" y="86"/>
                    <a:pt x="52" y="128"/>
                  </a:cubicBezTo>
                  <a:cubicBezTo>
                    <a:pt x="52" y="171"/>
                    <a:pt x="86" y="205"/>
                    <a:pt x="128" y="205"/>
                  </a:cubicBezTo>
                  <a:cubicBezTo>
                    <a:pt x="171" y="205"/>
                    <a:pt x="205" y="171"/>
                    <a:pt x="205" y="128"/>
                  </a:cubicBezTo>
                  <a:cubicBezTo>
                    <a:pt x="205" y="86"/>
                    <a:pt x="171" y="52"/>
                    <a:pt x="128" y="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507">
              <a:extLst>
                <a:ext uri="{FF2B5EF4-FFF2-40B4-BE49-F238E27FC236}">
                  <a16:creationId xmlns:a16="http://schemas.microsoft.com/office/drawing/2014/main" id="{9468B784-BCB4-974C-91D4-BF3FD67716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6801" y="3373438"/>
              <a:ext cx="103188" cy="103188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51 h 256"/>
                <a:gd name="T12" fmla="*/ 51 w 256"/>
                <a:gd name="T13" fmla="*/ 128 h 256"/>
                <a:gd name="T14" fmla="*/ 128 w 256"/>
                <a:gd name="T15" fmla="*/ 205 h 256"/>
                <a:gd name="T16" fmla="*/ 205 w 256"/>
                <a:gd name="T17" fmla="*/ 128 h 256"/>
                <a:gd name="T18" fmla="*/ 128 w 256"/>
                <a:gd name="T19" fmla="*/ 5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7" y="256"/>
                    <a:pt x="0" y="199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8" y="0"/>
                    <a:pt x="256" y="57"/>
                    <a:pt x="256" y="128"/>
                  </a:cubicBezTo>
                  <a:cubicBezTo>
                    <a:pt x="256" y="199"/>
                    <a:pt x="198" y="256"/>
                    <a:pt x="128" y="256"/>
                  </a:cubicBezTo>
                  <a:moveTo>
                    <a:pt x="128" y="51"/>
                  </a:moveTo>
                  <a:cubicBezTo>
                    <a:pt x="85" y="51"/>
                    <a:pt x="51" y="86"/>
                    <a:pt x="51" y="128"/>
                  </a:cubicBezTo>
                  <a:cubicBezTo>
                    <a:pt x="51" y="170"/>
                    <a:pt x="85" y="205"/>
                    <a:pt x="128" y="205"/>
                  </a:cubicBezTo>
                  <a:cubicBezTo>
                    <a:pt x="170" y="205"/>
                    <a:pt x="205" y="170"/>
                    <a:pt x="205" y="128"/>
                  </a:cubicBezTo>
                  <a:cubicBezTo>
                    <a:pt x="205" y="86"/>
                    <a:pt x="170" y="51"/>
                    <a:pt x="128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508">
              <a:extLst>
                <a:ext uri="{FF2B5EF4-FFF2-40B4-BE49-F238E27FC236}">
                  <a16:creationId xmlns:a16="http://schemas.microsoft.com/office/drawing/2014/main" id="{49FD17EA-7B1E-034A-9716-FA5D0414B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138" y="3467101"/>
              <a:ext cx="103188" cy="103188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51 h 256"/>
                <a:gd name="T12" fmla="*/ 51 w 256"/>
                <a:gd name="T13" fmla="*/ 128 h 256"/>
                <a:gd name="T14" fmla="*/ 128 w 256"/>
                <a:gd name="T15" fmla="*/ 205 h 256"/>
                <a:gd name="T16" fmla="*/ 205 w 256"/>
                <a:gd name="T17" fmla="*/ 128 h 256"/>
                <a:gd name="T18" fmla="*/ 128 w 256"/>
                <a:gd name="T19" fmla="*/ 5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8" y="256"/>
                    <a:pt x="0" y="198"/>
                    <a:pt x="0" y="128"/>
                  </a:cubicBezTo>
                  <a:cubicBezTo>
                    <a:pt x="0" y="57"/>
                    <a:pt x="58" y="0"/>
                    <a:pt x="128" y="0"/>
                  </a:cubicBezTo>
                  <a:cubicBezTo>
                    <a:pt x="199" y="0"/>
                    <a:pt x="256" y="57"/>
                    <a:pt x="256" y="128"/>
                  </a:cubicBezTo>
                  <a:cubicBezTo>
                    <a:pt x="256" y="198"/>
                    <a:pt x="199" y="256"/>
                    <a:pt x="128" y="256"/>
                  </a:cubicBezTo>
                  <a:moveTo>
                    <a:pt x="128" y="51"/>
                  </a:moveTo>
                  <a:cubicBezTo>
                    <a:pt x="86" y="51"/>
                    <a:pt x="51" y="85"/>
                    <a:pt x="51" y="128"/>
                  </a:cubicBezTo>
                  <a:cubicBezTo>
                    <a:pt x="51" y="170"/>
                    <a:pt x="86" y="205"/>
                    <a:pt x="128" y="205"/>
                  </a:cubicBezTo>
                  <a:cubicBezTo>
                    <a:pt x="171" y="205"/>
                    <a:pt x="205" y="170"/>
                    <a:pt x="205" y="128"/>
                  </a:cubicBezTo>
                  <a:cubicBezTo>
                    <a:pt x="205" y="85"/>
                    <a:pt x="171" y="51"/>
                    <a:pt x="128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509">
              <a:extLst>
                <a:ext uri="{FF2B5EF4-FFF2-40B4-BE49-F238E27FC236}">
                  <a16:creationId xmlns:a16="http://schemas.microsoft.com/office/drawing/2014/main" id="{61F10841-C4FB-3648-A012-B88D19FD8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3400426"/>
              <a:ext cx="298450" cy="406400"/>
            </a:xfrm>
            <a:custGeom>
              <a:avLst/>
              <a:gdLst>
                <a:gd name="T0" fmla="*/ 282 w 741"/>
                <a:gd name="T1" fmla="*/ 1010 h 1010"/>
                <a:gd name="T2" fmla="*/ 26 w 741"/>
                <a:gd name="T3" fmla="*/ 1010 h 1010"/>
                <a:gd name="T4" fmla="*/ 0 w 741"/>
                <a:gd name="T5" fmla="*/ 985 h 1010"/>
                <a:gd name="T6" fmla="*/ 0 w 741"/>
                <a:gd name="T7" fmla="*/ 780 h 1010"/>
                <a:gd name="T8" fmla="*/ 51 w 741"/>
                <a:gd name="T9" fmla="*/ 780 h 1010"/>
                <a:gd name="T10" fmla="*/ 51 w 741"/>
                <a:gd name="T11" fmla="*/ 959 h 1010"/>
                <a:gd name="T12" fmla="*/ 265 w 741"/>
                <a:gd name="T13" fmla="*/ 959 h 1010"/>
                <a:gd name="T14" fmla="*/ 694 w 741"/>
                <a:gd name="T15" fmla="*/ 0 h 1010"/>
                <a:gd name="T16" fmla="*/ 741 w 741"/>
                <a:gd name="T17" fmla="*/ 21 h 1010"/>
                <a:gd name="T18" fmla="*/ 305 w 741"/>
                <a:gd name="T19" fmla="*/ 995 h 1010"/>
                <a:gd name="T20" fmla="*/ 282 w 741"/>
                <a:gd name="T21" fmla="*/ 101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1" h="1010">
                  <a:moveTo>
                    <a:pt x="282" y="1010"/>
                  </a:moveTo>
                  <a:cubicBezTo>
                    <a:pt x="26" y="1010"/>
                    <a:pt x="26" y="1010"/>
                    <a:pt x="26" y="1010"/>
                  </a:cubicBezTo>
                  <a:cubicBezTo>
                    <a:pt x="12" y="1010"/>
                    <a:pt x="0" y="999"/>
                    <a:pt x="0" y="985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51" y="780"/>
                    <a:pt x="51" y="780"/>
                    <a:pt x="51" y="780"/>
                  </a:cubicBezTo>
                  <a:cubicBezTo>
                    <a:pt x="51" y="959"/>
                    <a:pt x="51" y="959"/>
                    <a:pt x="51" y="959"/>
                  </a:cubicBezTo>
                  <a:cubicBezTo>
                    <a:pt x="265" y="959"/>
                    <a:pt x="265" y="959"/>
                    <a:pt x="265" y="959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741" y="21"/>
                    <a:pt x="741" y="21"/>
                    <a:pt x="741" y="21"/>
                  </a:cubicBezTo>
                  <a:cubicBezTo>
                    <a:pt x="305" y="995"/>
                    <a:pt x="305" y="995"/>
                    <a:pt x="305" y="995"/>
                  </a:cubicBezTo>
                  <a:cubicBezTo>
                    <a:pt x="301" y="1004"/>
                    <a:pt x="292" y="1010"/>
                    <a:pt x="282" y="10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510">
              <a:extLst>
                <a:ext uri="{FF2B5EF4-FFF2-40B4-BE49-F238E27FC236}">
                  <a16:creationId xmlns:a16="http://schemas.microsoft.com/office/drawing/2014/main" id="{9671C3BA-B2CA-D14B-A9E7-17B34440F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601" y="3240088"/>
              <a:ext cx="406400" cy="298450"/>
            </a:xfrm>
            <a:custGeom>
              <a:avLst/>
              <a:gdLst>
                <a:gd name="T0" fmla="*/ 230 w 1009"/>
                <a:gd name="T1" fmla="*/ 741 h 741"/>
                <a:gd name="T2" fmla="*/ 25 w 1009"/>
                <a:gd name="T3" fmla="*/ 741 h 741"/>
                <a:gd name="T4" fmla="*/ 0 w 1009"/>
                <a:gd name="T5" fmla="*/ 715 h 741"/>
                <a:gd name="T6" fmla="*/ 0 w 1009"/>
                <a:gd name="T7" fmla="*/ 459 h 741"/>
                <a:gd name="T8" fmla="*/ 15 w 1009"/>
                <a:gd name="T9" fmla="*/ 436 h 741"/>
                <a:gd name="T10" fmla="*/ 989 w 1009"/>
                <a:gd name="T11" fmla="*/ 0 h 741"/>
                <a:gd name="T12" fmla="*/ 1009 w 1009"/>
                <a:gd name="T13" fmla="*/ 47 h 741"/>
                <a:gd name="T14" fmla="*/ 51 w 1009"/>
                <a:gd name="T15" fmla="*/ 476 h 741"/>
                <a:gd name="T16" fmla="*/ 51 w 1009"/>
                <a:gd name="T17" fmla="*/ 690 h 741"/>
                <a:gd name="T18" fmla="*/ 230 w 1009"/>
                <a:gd name="T19" fmla="*/ 690 h 741"/>
                <a:gd name="T20" fmla="*/ 230 w 1009"/>
                <a:gd name="T21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9" h="741">
                  <a:moveTo>
                    <a:pt x="230" y="741"/>
                  </a:moveTo>
                  <a:cubicBezTo>
                    <a:pt x="25" y="741"/>
                    <a:pt x="25" y="741"/>
                    <a:pt x="25" y="741"/>
                  </a:cubicBezTo>
                  <a:cubicBezTo>
                    <a:pt x="11" y="741"/>
                    <a:pt x="0" y="729"/>
                    <a:pt x="0" y="715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0" y="449"/>
                    <a:pt x="6" y="440"/>
                    <a:pt x="15" y="436"/>
                  </a:cubicBezTo>
                  <a:cubicBezTo>
                    <a:pt x="989" y="0"/>
                    <a:pt x="989" y="0"/>
                    <a:pt x="989" y="0"/>
                  </a:cubicBezTo>
                  <a:cubicBezTo>
                    <a:pt x="1009" y="47"/>
                    <a:pt x="1009" y="47"/>
                    <a:pt x="1009" y="47"/>
                  </a:cubicBezTo>
                  <a:cubicBezTo>
                    <a:pt x="51" y="476"/>
                    <a:pt x="51" y="476"/>
                    <a:pt x="51" y="476"/>
                  </a:cubicBezTo>
                  <a:cubicBezTo>
                    <a:pt x="51" y="690"/>
                    <a:pt x="51" y="690"/>
                    <a:pt x="51" y="690"/>
                  </a:cubicBezTo>
                  <a:cubicBezTo>
                    <a:pt x="230" y="690"/>
                    <a:pt x="230" y="690"/>
                    <a:pt x="230" y="690"/>
                  </a:cubicBezTo>
                  <a:lnTo>
                    <a:pt x="230" y="7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511">
              <a:extLst>
                <a:ext uri="{FF2B5EF4-FFF2-40B4-BE49-F238E27FC236}">
                  <a16:creationId xmlns:a16="http://schemas.microsoft.com/office/drawing/2014/main" id="{7304DF2B-B276-8741-9B4F-644258F4C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3176" y="3176588"/>
              <a:ext cx="92075" cy="93663"/>
            </a:xfrm>
            <a:custGeom>
              <a:avLst/>
              <a:gdLst>
                <a:gd name="T0" fmla="*/ 231 w 231"/>
                <a:gd name="T1" fmla="*/ 231 h 231"/>
                <a:gd name="T2" fmla="*/ 0 w 231"/>
                <a:gd name="T3" fmla="*/ 0 h 231"/>
                <a:gd name="T4" fmla="*/ 51 w 231"/>
                <a:gd name="T5" fmla="*/ 0 h 231"/>
                <a:gd name="T6" fmla="*/ 231 w 231"/>
                <a:gd name="T7" fmla="*/ 179 h 231"/>
                <a:gd name="T8" fmla="*/ 231 w 231"/>
                <a:gd name="T9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31">
                  <a:moveTo>
                    <a:pt x="231" y="231"/>
                  </a:moveTo>
                  <a:cubicBezTo>
                    <a:pt x="104" y="231"/>
                    <a:pt x="0" y="127"/>
                    <a:pt x="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99"/>
                    <a:pt x="132" y="179"/>
                    <a:pt x="231" y="179"/>
                  </a:cubicBezTo>
                  <a:lnTo>
                    <a:pt x="231" y="2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5814AADB-F416-D545-BD2B-370D871ECC72}"/>
              </a:ext>
            </a:extLst>
          </p:cNvPr>
          <p:cNvGrpSpPr/>
          <p:nvPr userDrawn="1"/>
        </p:nvGrpSpPr>
        <p:grpSpPr>
          <a:xfrm rot="20063912">
            <a:off x="6743179" y="4398014"/>
            <a:ext cx="217324" cy="318318"/>
            <a:chOff x="5643775" y="4385940"/>
            <a:chExt cx="217324" cy="318318"/>
          </a:xfrm>
        </p:grpSpPr>
        <p:sp>
          <p:nvSpPr>
            <p:cNvPr id="73" name="Dreieck 72">
              <a:extLst>
                <a:ext uri="{FF2B5EF4-FFF2-40B4-BE49-F238E27FC236}">
                  <a16:creationId xmlns:a16="http://schemas.microsoft.com/office/drawing/2014/main" id="{A4EB6E27-9BFC-804D-B585-C02A8539D45E}"/>
                </a:ext>
              </a:extLst>
            </p:cNvPr>
            <p:cNvSpPr/>
            <p:nvPr/>
          </p:nvSpPr>
          <p:spPr>
            <a:xfrm>
              <a:off x="5643775" y="4385940"/>
              <a:ext cx="217324" cy="272170"/>
            </a:xfrm>
            <a:prstGeom prst="triangle">
              <a:avLst/>
            </a:prstGeom>
            <a:solidFill>
              <a:srgbClr val="FFB8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Dreieck 73">
              <a:extLst>
                <a:ext uri="{FF2B5EF4-FFF2-40B4-BE49-F238E27FC236}">
                  <a16:creationId xmlns:a16="http://schemas.microsoft.com/office/drawing/2014/main" id="{CBAEDDFA-9086-F04B-8D58-228749B05858}"/>
                </a:ext>
              </a:extLst>
            </p:cNvPr>
            <p:cNvSpPr/>
            <p:nvPr/>
          </p:nvSpPr>
          <p:spPr>
            <a:xfrm>
              <a:off x="5668667" y="4493722"/>
              <a:ext cx="168110" cy="210536"/>
            </a:xfrm>
            <a:prstGeom prst="triangle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06E42D77-1E13-3540-9E89-DEBBB8F3ED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55303" y="3930696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. Überschrift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A2077368-3DC4-474A-BFA2-7447B6B8320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605137" y="3407504"/>
            <a:ext cx="1959648" cy="73416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D468B396-EB26-884A-A2AE-2374CAD749E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6662" y="3930696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. Überschrif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62F97343-362E-284F-82F2-D56FFB37332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914851" y="2507315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. Überschrift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1BEC5CA2-4D2E-EE4D-8CF6-C2F1EDA62CC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435140" y="2499360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. Überschrift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454525AB-0B27-994C-802B-5BB1A54F626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444179" y="5277957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5. Überschrift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3A932BFA-B38E-0F4D-B6BE-A1F6607FA90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02006" y="5277957"/>
            <a:ext cx="819931" cy="2538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6. Überschrift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B80DD33F-7A15-534E-8FBB-14C1208492D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1" y="2484120"/>
            <a:ext cx="4994506" cy="109997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imperdiet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</a:t>
            </a:r>
          </a:p>
        </p:txBody>
      </p:sp>
      <p:sp>
        <p:nvSpPr>
          <p:cNvPr id="84" name="Textplatzhalter 5">
            <a:extLst>
              <a:ext uri="{FF2B5EF4-FFF2-40B4-BE49-F238E27FC236}">
                <a16:creationId xmlns:a16="http://schemas.microsoft.com/office/drawing/2014/main" id="{DB8810A0-B2C2-EF44-9716-AB8B4A54CD9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6891" y="2122156"/>
            <a:ext cx="2547934" cy="2769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D0236187-A18D-A64C-9A6B-347985823C1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96891" y="3930697"/>
            <a:ext cx="4994506" cy="1743942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EF210152-043C-0345-B0CC-44B05BE134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9191197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4">
            <a:extLst>
              <a:ext uri="{FF2B5EF4-FFF2-40B4-BE49-F238E27FC236}">
                <a16:creationId xmlns:a16="http://schemas.microsoft.com/office/drawing/2014/main" id="{FB09F847-8D68-1B48-900F-4B3D36FF7A5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6096000" y="0"/>
            <a:ext cx="60948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grpSp>
        <p:nvGrpSpPr>
          <p:cNvPr id="7" name="Logo-Pos">
            <a:extLst>
              <a:ext uri="{FF2B5EF4-FFF2-40B4-BE49-F238E27FC236}">
                <a16:creationId xmlns:a16="http://schemas.microsoft.com/office/drawing/2014/main" id="{4F5189E4-FACA-3140-9EEC-5FCD613443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8" name="Freeform 29">
              <a:extLst>
                <a:ext uri="{FF2B5EF4-FFF2-40B4-BE49-F238E27FC236}">
                  <a16:creationId xmlns:a16="http://schemas.microsoft.com/office/drawing/2014/main" id="{CD3758E9-B254-584A-BC94-6623F7FA1A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ED2881A-B23B-7145-A3B6-9B56D568D4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12F4119-F2A4-D144-83B4-6C4C8AC6164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81975" y="2484120"/>
            <a:ext cx="3306196" cy="508462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151AA5C-0214-9048-8352-DA0DC091EA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81973" y="2122156"/>
            <a:ext cx="3306195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cxnSp>
        <p:nvCxnSpPr>
          <p:cNvPr id="12" name="Straight Connector 18">
            <a:extLst>
              <a:ext uri="{FF2B5EF4-FFF2-40B4-BE49-F238E27FC236}">
                <a16:creationId xmlns:a16="http://schemas.microsoft.com/office/drawing/2014/main" id="{7E0FF2D1-3E74-6E44-A2A2-FFA05FB0A65C}"/>
              </a:ext>
            </a:extLst>
          </p:cNvPr>
          <p:cNvCxnSpPr>
            <a:cxnSpLocks/>
          </p:cNvCxnSpPr>
          <p:nvPr userDrawn="1"/>
        </p:nvCxnSpPr>
        <p:spPr>
          <a:xfrm>
            <a:off x="6975670" y="3363399"/>
            <a:ext cx="1187768" cy="0"/>
          </a:xfrm>
          <a:prstGeom prst="line">
            <a:avLst/>
          </a:prstGeom>
          <a:ln w="12700">
            <a:solidFill>
              <a:srgbClr val="FFB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C149A03-77CD-474C-95C6-2391784DBB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75669" y="3499364"/>
            <a:ext cx="1875959" cy="27333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en-US" dirty="0" err="1">
                <a:solidFill>
                  <a:srgbClr val="FFB81C"/>
                </a:solidFill>
                <a:latin typeface="Reso" panose="02000000000000000000" pitchFamily="50" charset="0"/>
              </a:rPr>
              <a:t>Überschrift</a:t>
            </a: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2227A4B0-3A3A-444B-81E3-56DBCA3804A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75670" y="2874179"/>
            <a:ext cx="1875959" cy="35325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28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OUR MISSION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7333E956-266B-1A46-B102-AF91E949F78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83399" y="3940646"/>
            <a:ext cx="3306196" cy="508462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0B7C908D-7BEB-F649-9292-962792A82FF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83397" y="3578682"/>
            <a:ext cx="3306195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67E475A0-B600-5644-BCF0-1BB1DB4D404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981975" y="5397172"/>
            <a:ext cx="3306196" cy="508462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5D987BAC-99C2-094D-98FB-DF4FD8B675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1973" y="5035208"/>
            <a:ext cx="3306195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F33C9E2D-4C62-8546-858C-C6309452D0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7377" y="3578682"/>
            <a:ext cx="508462" cy="508462"/>
          </a:xfrm>
          <a:prstGeom prst="rect">
            <a:avLst/>
          </a:prstGeom>
        </p:spPr>
      </p:pic>
      <p:grpSp>
        <p:nvGrpSpPr>
          <p:cNvPr id="21" name="Group 2939">
            <a:extLst>
              <a:ext uri="{FF2B5EF4-FFF2-40B4-BE49-F238E27FC236}">
                <a16:creationId xmlns:a16="http://schemas.microsoft.com/office/drawing/2014/main" id="{7699C118-3224-3140-81E2-36353F4B1A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9178" y="2122156"/>
            <a:ext cx="451114" cy="408150"/>
            <a:chOff x="6559551" y="3549650"/>
            <a:chExt cx="533400" cy="482600"/>
          </a:xfrm>
          <a:solidFill>
            <a:schemeClr val="bg2"/>
          </a:solidFill>
        </p:grpSpPr>
        <p:sp>
          <p:nvSpPr>
            <p:cNvPr id="22" name="Freeform 1178">
              <a:extLst>
                <a:ext uri="{FF2B5EF4-FFF2-40B4-BE49-F238E27FC236}">
                  <a16:creationId xmlns:a16="http://schemas.microsoft.com/office/drawing/2014/main" id="{F203D04D-9A5A-1749-B6DF-77CD13916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551" y="3549650"/>
              <a:ext cx="533400" cy="400050"/>
            </a:xfrm>
            <a:custGeom>
              <a:avLst/>
              <a:gdLst>
                <a:gd name="T0" fmla="*/ 1208 w 1288"/>
                <a:gd name="T1" fmla="*/ 966 h 966"/>
                <a:gd name="T2" fmla="*/ 81 w 1288"/>
                <a:gd name="T3" fmla="*/ 966 h 966"/>
                <a:gd name="T4" fmla="*/ 0 w 1288"/>
                <a:gd name="T5" fmla="*/ 885 h 966"/>
                <a:gd name="T6" fmla="*/ 0 w 1288"/>
                <a:gd name="T7" fmla="*/ 80 h 966"/>
                <a:gd name="T8" fmla="*/ 81 w 1288"/>
                <a:gd name="T9" fmla="*/ 0 h 966"/>
                <a:gd name="T10" fmla="*/ 1208 w 1288"/>
                <a:gd name="T11" fmla="*/ 0 h 966"/>
                <a:gd name="T12" fmla="*/ 1288 w 1288"/>
                <a:gd name="T13" fmla="*/ 80 h 966"/>
                <a:gd name="T14" fmla="*/ 1288 w 1288"/>
                <a:gd name="T15" fmla="*/ 885 h 966"/>
                <a:gd name="T16" fmla="*/ 1208 w 1288"/>
                <a:gd name="T17" fmla="*/ 966 h 966"/>
                <a:gd name="T18" fmla="*/ 81 w 1288"/>
                <a:gd name="T19" fmla="*/ 40 h 966"/>
                <a:gd name="T20" fmla="*/ 41 w 1288"/>
                <a:gd name="T21" fmla="*/ 80 h 966"/>
                <a:gd name="T22" fmla="*/ 41 w 1288"/>
                <a:gd name="T23" fmla="*/ 885 h 966"/>
                <a:gd name="T24" fmla="*/ 81 w 1288"/>
                <a:gd name="T25" fmla="*/ 925 h 966"/>
                <a:gd name="T26" fmla="*/ 1208 w 1288"/>
                <a:gd name="T27" fmla="*/ 925 h 966"/>
                <a:gd name="T28" fmla="*/ 1248 w 1288"/>
                <a:gd name="T29" fmla="*/ 885 h 966"/>
                <a:gd name="T30" fmla="*/ 1248 w 1288"/>
                <a:gd name="T31" fmla="*/ 80 h 966"/>
                <a:gd name="T32" fmla="*/ 1208 w 1288"/>
                <a:gd name="T33" fmla="*/ 40 h 966"/>
                <a:gd name="T34" fmla="*/ 81 w 1288"/>
                <a:gd name="T35" fmla="*/ 40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8" h="966">
                  <a:moveTo>
                    <a:pt x="1208" y="966"/>
                  </a:moveTo>
                  <a:cubicBezTo>
                    <a:pt x="81" y="966"/>
                    <a:pt x="81" y="966"/>
                    <a:pt x="81" y="966"/>
                  </a:cubicBezTo>
                  <a:cubicBezTo>
                    <a:pt x="36" y="966"/>
                    <a:pt x="0" y="930"/>
                    <a:pt x="0" y="88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08" y="0"/>
                    <a:pt x="1208" y="0"/>
                    <a:pt x="1208" y="0"/>
                  </a:cubicBezTo>
                  <a:cubicBezTo>
                    <a:pt x="1252" y="0"/>
                    <a:pt x="1288" y="36"/>
                    <a:pt x="1288" y="80"/>
                  </a:cubicBezTo>
                  <a:cubicBezTo>
                    <a:pt x="1288" y="885"/>
                    <a:pt x="1288" y="885"/>
                    <a:pt x="1288" y="885"/>
                  </a:cubicBezTo>
                  <a:cubicBezTo>
                    <a:pt x="1288" y="930"/>
                    <a:pt x="1252" y="966"/>
                    <a:pt x="1208" y="966"/>
                  </a:cubicBezTo>
                  <a:moveTo>
                    <a:pt x="81" y="40"/>
                  </a:moveTo>
                  <a:cubicBezTo>
                    <a:pt x="59" y="40"/>
                    <a:pt x="41" y="58"/>
                    <a:pt x="41" y="80"/>
                  </a:cubicBezTo>
                  <a:cubicBezTo>
                    <a:pt x="41" y="885"/>
                    <a:pt x="41" y="885"/>
                    <a:pt x="41" y="885"/>
                  </a:cubicBezTo>
                  <a:cubicBezTo>
                    <a:pt x="41" y="907"/>
                    <a:pt x="59" y="925"/>
                    <a:pt x="81" y="925"/>
                  </a:cubicBezTo>
                  <a:cubicBezTo>
                    <a:pt x="1208" y="925"/>
                    <a:pt x="1208" y="925"/>
                    <a:pt x="1208" y="925"/>
                  </a:cubicBezTo>
                  <a:cubicBezTo>
                    <a:pt x="1230" y="925"/>
                    <a:pt x="1248" y="907"/>
                    <a:pt x="1248" y="885"/>
                  </a:cubicBezTo>
                  <a:cubicBezTo>
                    <a:pt x="1248" y="80"/>
                    <a:pt x="1248" y="80"/>
                    <a:pt x="1248" y="80"/>
                  </a:cubicBezTo>
                  <a:cubicBezTo>
                    <a:pt x="1248" y="58"/>
                    <a:pt x="1230" y="40"/>
                    <a:pt x="1208" y="40"/>
                  </a:cubicBezTo>
                  <a:lnTo>
                    <a:pt x="81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179">
              <a:extLst>
                <a:ext uri="{FF2B5EF4-FFF2-40B4-BE49-F238E27FC236}">
                  <a16:creationId xmlns:a16="http://schemas.microsoft.com/office/drawing/2014/main" id="{0C24CB92-DDF0-044E-9990-7112F6AB7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3938588"/>
              <a:ext cx="39688" cy="88900"/>
            </a:xfrm>
            <a:custGeom>
              <a:avLst/>
              <a:gdLst>
                <a:gd name="T0" fmla="*/ 15 w 25"/>
                <a:gd name="T1" fmla="*/ 56 h 56"/>
                <a:gd name="T2" fmla="*/ 0 w 25"/>
                <a:gd name="T3" fmla="*/ 3 h 56"/>
                <a:gd name="T4" fmla="*/ 9 w 25"/>
                <a:gd name="T5" fmla="*/ 0 h 56"/>
                <a:gd name="T6" fmla="*/ 25 w 25"/>
                <a:gd name="T7" fmla="*/ 53 h 56"/>
                <a:gd name="T8" fmla="*/ 15 w 25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6">
                  <a:moveTo>
                    <a:pt x="15" y="56"/>
                  </a:moveTo>
                  <a:lnTo>
                    <a:pt x="0" y="3"/>
                  </a:lnTo>
                  <a:lnTo>
                    <a:pt x="9" y="0"/>
                  </a:lnTo>
                  <a:lnTo>
                    <a:pt x="25" y="53"/>
                  </a:lnTo>
                  <a:lnTo>
                    <a:pt x="1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80">
              <a:extLst>
                <a:ext uri="{FF2B5EF4-FFF2-40B4-BE49-F238E27FC236}">
                  <a16:creationId xmlns:a16="http://schemas.microsoft.com/office/drawing/2014/main" id="{3CC87071-BF8D-2F41-B6DE-2070D2015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701" y="3938588"/>
              <a:ext cx="39688" cy="88900"/>
            </a:xfrm>
            <a:custGeom>
              <a:avLst/>
              <a:gdLst>
                <a:gd name="T0" fmla="*/ 10 w 25"/>
                <a:gd name="T1" fmla="*/ 56 h 56"/>
                <a:gd name="T2" fmla="*/ 0 w 25"/>
                <a:gd name="T3" fmla="*/ 53 h 56"/>
                <a:gd name="T4" fmla="*/ 15 w 25"/>
                <a:gd name="T5" fmla="*/ 0 h 56"/>
                <a:gd name="T6" fmla="*/ 25 w 25"/>
                <a:gd name="T7" fmla="*/ 3 h 56"/>
                <a:gd name="T8" fmla="*/ 10 w 25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6">
                  <a:moveTo>
                    <a:pt x="10" y="56"/>
                  </a:moveTo>
                  <a:lnTo>
                    <a:pt x="0" y="53"/>
                  </a:lnTo>
                  <a:lnTo>
                    <a:pt x="15" y="0"/>
                  </a:lnTo>
                  <a:lnTo>
                    <a:pt x="25" y="3"/>
                  </a:lnTo>
                  <a:lnTo>
                    <a:pt x="1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Rectangle 1181">
              <a:extLst>
                <a:ext uri="{FF2B5EF4-FFF2-40B4-BE49-F238E27FC236}">
                  <a16:creationId xmlns:a16="http://schemas.microsoft.com/office/drawing/2014/main" id="{10B97959-DFFC-1B44-8025-C4F034114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8301" y="4016375"/>
              <a:ext cx="2159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Rectangle 1182">
              <a:extLst>
                <a:ext uri="{FF2B5EF4-FFF2-40B4-BE49-F238E27FC236}">
                  <a16:creationId xmlns:a16="http://schemas.microsoft.com/office/drawing/2014/main" id="{B5126264-3735-3B40-9C1D-4DE23DB50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8313" y="3898900"/>
              <a:ext cx="158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183">
              <a:extLst>
                <a:ext uri="{FF2B5EF4-FFF2-40B4-BE49-F238E27FC236}">
                  <a16:creationId xmlns:a16="http://schemas.microsoft.com/office/drawing/2014/main" id="{91D4709B-62BD-D942-9BB0-B1D5DA7A62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2888" y="3582988"/>
              <a:ext cx="466725" cy="300038"/>
            </a:xfrm>
            <a:custGeom>
              <a:avLst/>
              <a:gdLst>
                <a:gd name="T0" fmla="*/ 1107 w 1127"/>
                <a:gd name="T1" fmla="*/ 725 h 725"/>
                <a:gd name="T2" fmla="*/ 20 w 1127"/>
                <a:gd name="T3" fmla="*/ 725 h 725"/>
                <a:gd name="T4" fmla="*/ 0 w 1127"/>
                <a:gd name="T5" fmla="*/ 705 h 725"/>
                <a:gd name="T6" fmla="*/ 0 w 1127"/>
                <a:gd name="T7" fmla="*/ 20 h 725"/>
                <a:gd name="T8" fmla="*/ 20 w 1127"/>
                <a:gd name="T9" fmla="*/ 0 h 725"/>
                <a:gd name="T10" fmla="*/ 1107 w 1127"/>
                <a:gd name="T11" fmla="*/ 0 h 725"/>
                <a:gd name="T12" fmla="*/ 1127 w 1127"/>
                <a:gd name="T13" fmla="*/ 20 h 725"/>
                <a:gd name="T14" fmla="*/ 1127 w 1127"/>
                <a:gd name="T15" fmla="*/ 705 h 725"/>
                <a:gd name="T16" fmla="*/ 1107 w 1127"/>
                <a:gd name="T17" fmla="*/ 725 h 725"/>
                <a:gd name="T18" fmla="*/ 40 w 1127"/>
                <a:gd name="T19" fmla="*/ 684 h 725"/>
                <a:gd name="T20" fmla="*/ 1087 w 1127"/>
                <a:gd name="T21" fmla="*/ 684 h 725"/>
                <a:gd name="T22" fmla="*/ 1087 w 1127"/>
                <a:gd name="T23" fmla="*/ 40 h 725"/>
                <a:gd name="T24" fmla="*/ 40 w 1127"/>
                <a:gd name="T25" fmla="*/ 40 h 725"/>
                <a:gd name="T26" fmla="*/ 40 w 1127"/>
                <a:gd name="T27" fmla="*/ 684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7" h="725">
                  <a:moveTo>
                    <a:pt x="1107" y="725"/>
                  </a:moveTo>
                  <a:cubicBezTo>
                    <a:pt x="20" y="725"/>
                    <a:pt x="20" y="725"/>
                    <a:pt x="20" y="725"/>
                  </a:cubicBezTo>
                  <a:cubicBezTo>
                    <a:pt x="9" y="725"/>
                    <a:pt x="0" y="716"/>
                    <a:pt x="0" y="70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107" y="0"/>
                    <a:pt x="1107" y="0"/>
                    <a:pt x="1107" y="0"/>
                  </a:cubicBezTo>
                  <a:cubicBezTo>
                    <a:pt x="1118" y="0"/>
                    <a:pt x="1127" y="9"/>
                    <a:pt x="1127" y="20"/>
                  </a:cubicBezTo>
                  <a:cubicBezTo>
                    <a:pt x="1127" y="705"/>
                    <a:pt x="1127" y="705"/>
                    <a:pt x="1127" y="705"/>
                  </a:cubicBezTo>
                  <a:cubicBezTo>
                    <a:pt x="1127" y="716"/>
                    <a:pt x="1118" y="725"/>
                    <a:pt x="1107" y="725"/>
                  </a:cubicBezTo>
                  <a:moveTo>
                    <a:pt x="40" y="684"/>
                  </a:moveTo>
                  <a:cubicBezTo>
                    <a:pt x="1087" y="684"/>
                    <a:pt x="1087" y="684"/>
                    <a:pt x="1087" y="684"/>
                  </a:cubicBezTo>
                  <a:cubicBezTo>
                    <a:pt x="1087" y="40"/>
                    <a:pt x="1087" y="40"/>
                    <a:pt x="1087" y="40"/>
                  </a:cubicBezTo>
                  <a:cubicBezTo>
                    <a:pt x="40" y="40"/>
                    <a:pt x="40" y="40"/>
                    <a:pt x="40" y="40"/>
                  </a:cubicBezTo>
                  <a:lnTo>
                    <a:pt x="40" y="6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8" name="Group 862">
            <a:extLst>
              <a:ext uri="{FF2B5EF4-FFF2-40B4-BE49-F238E27FC236}">
                <a16:creationId xmlns:a16="http://schemas.microsoft.com/office/drawing/2014/main" id="{B4D1FF66-E2BF-D146-AC40-25ED5AD0EB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7890" y="5035208"/>
            <a:ext cx="423878" cy="423878"/>
            <a:chOff x="9626601" y="3146426"/>
            <a:chExt cx="660400" cy="660400"/>
          </a:xfrm>
          <a:solidFill>
            <a:schemeClr val="bg2"/>
          </a:solidFill>
        </p:grpSpPr>
        <p:sp>
          <p:nvSpPr>
            <p:cNvPr id="29" name="Freeform 503">
              <a:extLst>
                <a:ext uri="{FF2B5EF4-FFF2-40B4-BE49-F238E27FC236}">
                  <a16:creationId xmlns:a16="http://schemas.microsoft.com/office/drawing/2014/main" id="{F266DD59-C3CF-0F4C-950B-20AFC8F79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676" y="3146426"/>
              <a:ext cx="568325" cy="568325"/>
            </a:xfrm>
            <a:custGeom>
              <a:avLst/>
              <a:gdLst>
                <a:gd name="T0" fmla="*/ 335 w 1412"/>
                <a:gd name="T1" fmla="*/ 1410 h 1410"/>
                <a:gd name="T2" fmla="*/ 317 w 1412"/>
                <a:gd name="T3" fmla="*/ 1402 h 1410"/>
                <a:gd name="T4" fmla="*/ 10 w 1412"/>
                <a:gd name="T5" fmla="*/ 1095 h 1410"/>
                <a:gd name="T6" fmla="*/ 6 w 1412"/>
                <a:gd name="T7" fmla="*/ 1063 h 1410"/>
                <a:gd name="T8" fmla="*/ 1386 w 1412"/>
                <a:gd name="T9" fmla="*/ 0 h 1410"/>
                <a:gd name="T10" fmla="*/ 1412 w 1412"/>
                <a:gd name="T11" fmla="*/ 26 h 1410"/>
                <a:gd name="T12" fmla="*/ 349 w 1412"/>
                <a:gd name="T13" fmla="*/ 1406 h 1410"/>
                <a:gd name="T14" fmla="*/ 335 w 1412"/>
                <a:gd name="T15" fmla="*/ 1410 h 1410"/>
                <a:gd name="T16" fmla="*/ 61 w 1412"/>
                <a:gd name="T17" fmla="*/ 1073 h 1410"/>
                <a:gd name="T18" fmla="*/ 339 w 1412"/>
                <a:gd name="T19" fmla="*/ 1351 h 1410"/>
                <a:gd name="T20" fmla="*/ 1360 w 1412"/>
                <a:gd name="T21" fmla="*/ 52 h 1410"/>
                <a:gd name="T22" fmla="*/ 61 w 1412"/>
                <a:gd name="T23" fmla="*/ 1073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2" h="1410">
                  <a:moveTo>
                    <a:pt x="335" y="1410"/>
                  </a:moveTo>
                  <a:cubicBezTo>
                    <a:pt x="329" y="1410"/>
                    <a:pt x="322" y="1407"/>
                    <a:pt x="317" y="1402"/>
                  </a:cubicBezTo>
                  <a:cubicBezTo>
                    <a:pt x="10" y="1095"/>
                    <a:pt x="10" y="1095"/>
                    <a:pt x="10" y="1095"/>
                  </a:cubicBezTo>
                  <a:cubicBezTo>
                    <a:pt x="1" y="1086"/>
                    <a:pt x="0" y="1073"/>
                    <a:pt x="6" y="1063"/>
                  </a:cubicBezTo>
                  <a:cubicBezTo>
                    <a:pt x="33" y="1020"/>
                    <a:pt x="663" y="0"/>
                    <a:pt x="1386" y="0"/>
                  </a:cubicBezTo>
                  <a:cubicBezTo>
                    <a:pt x="1400" y="0"/>
                    <a:pt x="1412" y="12"/>
                    <a:pt x="1412" y="26"/>
                  </a:cubicBezTo>
                  <a:cubicBezTo>
                    <a:pt x="1412" y="749"/>
                    <a:pt x="392" y="1379"/>
                    <a:pt x="349" y="1406"/>
                  </a:cubicBezTo>
                  <a:cubicBezTo>
                    <a:pt x="345" y="1408"/>
                    <a:pt x="340" y="1410"/>
                    <a:pt x="335" y="1410"/>
                  </a:cubicBezTo>
                  <a:moveTo>
                    <a:pt x="61" y="1073"/>
                  </a:moveTo>
                  <a:cubicBezTo>
                    <a:pt x="339" y="1351"/>
                    <a:pt x="339" y="1351"/>
                    <a:pt x="339" y="1351"/>
                  </a:cubicBezTo>
                  <a:cubicBezTo>
                    <a:pt x="472" y="1266"/>
                    <a:pt x="1337" y="687"/>
                    <a:pt x="1360" y="52"/>
                  </a:cubicBezTo>
                  <a:cubicBezTo>
                    <a:pt x="725" y="75"/>
                    <a:pt x="146" y="940"/>
                    <a:pt x="61" y="107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504">
              <a:extLst>
                <a:ext uri="{FF2B5EF4-FFF2-40B4-BE49-F238E27FC236}">
                  <a16:creationId xmlns:a16="http://schemas.microsoft.com/office/drawing/2014/main" id="{735030F3-0618-B743-A849-B8A90FE40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7563" y="3594101"/>
              <a:ext cx="131763" cy="130175"/>
            </a:xfrm>
            <a:custGeom>
              <a:avLst/>
              <a:gdLst>
                <a:gd name="T0" fmla="*/ 233 w 328"/>
                <a:gd name="T1" fmla="*/ 325 h 325"/>
                <a:gd name="T2" fmla="*/ 215 w 328"/>
                <a:gd name="T3" fmla="*/ 318 h 325"/>
                <a:gd name="T4" fmla="*/ 10 w 328"/>
                <a:gd name="T5" fmla="*/ 113 h 325"/>
                <a:gd name="T6" fmla="*/ 10 w 328"/>
                <a:gd name="T7" fmla="*/ 77 h 325"/>
                <a:gd name="T8" fmla="*/ 87 w 328"/>
                <a:gd name="T9" fmla="*/ 0 h 325"/>
                <a:gd name="T10" fmla="*/ 123 w 328"/>
                <a:gd name="T11" fmla="*/ 36 h 325"/>
                <a:gd name="T12" fmla="*/ 65 w 328"/>
                <a:gd name="T13" fmla="*/ 95 h 325"/>
                <a:gd name="T14" fmla="*/ 233 w 328"/>
                <a:gd name="T15" fmla="*/ 263 h 325"/>
                <a:gd name="T16" fmla="*/ 292 w 328"/>
                <a:gd name="T17" fmla="*/ 205 h 325"/>
                <a:gd name="T18" fmla="*/ 328 w 328"/>
                <a:gd name="T19" fmla="*/ 241 h 325"/>
                <a:gd name="T20" fmla="*/ 251 w 328"/>
                <a:gd name="T21" fmla="*/ 318 h 325"/>
                <a:gd name="T22" fmla="*/ 233 w 328"/>
                <a:gd name="T23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8" h="325">
                  <a:moveTo>
                    <a:pt x="233" y="325"/>
                  </a:moveTo>
                  <a:cubicBezTo>
                    <a:pt x="227" y="325"/>
                    <a:pt x="220" y="323"/>
                    <a:pt x="215" y="318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0" y="103"/>
                    <a:pt x="0" y="87"/>
                    <a:pt x="10" y="77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233" y="263"/>
                    <a:pt x="233" y="263"/>
                    <a:pt x="233" y="263"/>
                  </a:cubicBezTo>
                  <a:cubicBezTo>
                    <a:pt x="292" y="205"/>
                    <a:pt x="292" y="205"/>
                    <a:pt x="292" y="205"/>
                  </a:cubicBezTo>
                  <a:cubicBezTo>
                    <a:pt x="328" y="241"/>
                    <a:pt x="328" y="241"/>
                    <a:pt x="328" y="241"/>
                  </a:cubicBezTo>
                  <a:cubicBezTo>
                    <a:pt x="251" y="318"/>
                    <a:pt x="251" y="318"/>
                    <a:pt x="251" y="318"/>
                  </a:cubicBezTo>
                  <a:cubicBezTo>
                    <a:pt x="246" y="323"/>
                    <a:pt x="240" y="325"/>
                    <a:pt x="233" y="3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505">
              <a:extLst>
                <a:ext uri="{FF2B5EF4-FFF2-40B4-BE49-F238E27FC236}">
                  <a16:creationId xmlns:a16="http://schemas.microsoft.com/office/drawing/2014/main" id="{519410DB-B6CE-6447-B105-A99D629DE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601" y="3654426"/>
              <a:ext cx="150813" cy="152400"/>
            </a:xfrm>
            <a:custGeom>
              <a:avLst/>
              <a:gdLst>
                <a:gd name="T0" fmla="*/ 25 w 377"/>
                <a:gd name="T1" fmla="*/ 377 h 377"/>
                <a:gd name="T2" fmla="*/ 0 w 377"/>
                <a:gd name="T3" fmla="*/ 352 h 377"/>
                <a:gd name="T4" fmla="*/ 161 w 377"/>
                <a:gd name="T5" fmla="*/ 0 h 377"/>
                <a:gd name="T6" fmla="*/ 197 w 377"/>
                <a:gd name="T7" fmla="*/ 37 h 377"/>
                <a:gd name="T8" fmla="*/ 53 w 377"/>
                <a:gd name="T9" fmla="*/ 324 h 377"/>
                <a:gd name="T10" fmla="*/ 340 w 377"/>
                <a:gd name="T11" fmla="*/ 180 h 377"/>
                <a:gd name="T12" fmla="*/ 377 w 377"/>
                <a:gd name="T13" fmla="*/ 216 h 377"/>
                <a:gd name="T14" fmla="*/ 25 w 377"/>
                <a:gd name="T15" fmla="*/ 37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7" h="377">
                  <a:moveTo>
                    <a:pt x="25" y="377"/>
                  </a:moveTo>
                  <a:cubicBezTo>
                    <a:pt x="11" y="377"/>
                    <a:pt x="0" y="366"/>
                    <a:pt x="0" y="352"/>
                  </a:cubicBezTo>
                  <a:cubicBezTo>
                    <a:pt x="0" y="344"/>
                    <a:pt x="2" y="160"/>
                    <a:pt x="161" y="0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88" y="146"/>
                    <a:pt x="60" y="269"/>
                    <a:pt x="53" y="324"/>
                  </a:cubicBezTo>
                  <a:cubicBezTo>
                    <a:pt x="108" y="316"/>
                    <a:pt x="231" y="289"/>
                    <a:pt x="340" y="180"/>
                  </a:cubicBezTo>
                  <a:cubicBezTo>
                    <a:pt x="377" y="216"/>
                    <a:pt x="377" y="216"/>
                    <a:pt x="377" y="216"/>
                  </a:cubicBezTo>
                  <a:cubicBezTo>
                    <a:pt x="217" y="375"/>
                    <a:pt x="33" y="377"/>
                    <a:pt x="25" y="3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506">
              <a:extLst>
                <a:ext uri="{FF2B5EF4-FFF2-40B4-BE49-F238E27FC236}">
                  <a16:creationId xmlns:a16="http://schemas.microsoft.com/office/drawing/2014/main" id="{55A9F5DC-0E2C-0F4A-AA3F-9BDDFCE8AD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8876" y="3279776"/>
              <a:ext cx="104775" cy="104775"/>
            </a:xfrm>
            <a:custGeom>
              <a:avLst/>
              <a:gdLst>
                <a:gd name="T0" fmla="*/ 128 w 257"/>
                <a:gd name="T1" fmla="*/ 257 h 257"/>
                <a:gd name="T2" fmla="*/ 0 w 257"/>
                <a:gd name="T3" fmla="*/ 128 h 257"/>
                <a:gd name="T4" fmla="*/ 128 w 257"/>
                <a:gd name="T5" fmla="*/ 0 h 257"/>
                <a:gd name="T6" fmla="*/ 257 w 257"/>
                <a:gd name="T7" fmla="*/ 128 h 257"/>
                <a:gd name="T8" fmla="*/ 128 w 257"/>
                <a:gd name="T9" fmla="*/ 257 h 257"/>
                <a:gd name="T10" fmla="*/ 128 w 257"/>
                <a:gd name="T11" fmla="*/ 52 h 257"/>
                <a:gd name="T12" fmla="*/ 52 w 257"/>
                <a:gd name="T13" fmla="*/ 128 h 257"/>
                <a:gd name="T14" fmla="*/ 128 w 257"/>
                <a:gd name="T15" fmla="*/ 205 h 257"/>
                <a:gd name="T16" fmla="*/ 205 w 257"/>
                <a:gd name="T17" fmla="*/ 128 h 257"/>
                <a:gd name="T18" fmla="*/ 128 w 257"/>
                <a:gd name="T19" fmla="*/ 5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257">
                  <a:moveTo>
                    <a:pt x="128" y="257"/>
                  </a:moveTo>
                  <a:cubicBezTo>
                    <a:pt x="58" y="257"/>
                    <a:pt x="0" y="199"/>
                    <a:pt x="0" y="128"/>
                  </a:cubicBezTo>
                  <a:cubicBezTo>
                    <a:pt x="0" y="58"/>
                    <a:pt x="58" y="0"/>
                    <a:pt x="128" y="0"/>
                  </a:cubicBezTo>
                  <a:cubicBezTo>
                    <a:pt x="199" y="0"/>
                    <a:pt x="257" y="58"/>
                    <a:pt x="257" y="128"/>
                  </a:cubicBezTo>
                  <a:cubicBezTo>
                    <a:pt x="257" y="199"/>
                    <a:pt x="199" y="257"/>
                    <a:pt x="128" y="257"/>
                  </a:cubicBezTo>
                  <a:moveTo>
                    <a:pt x="128" y="52"/>
                  </a:moveTo>
                  <a:cubicBezTo>
                    <a:pt x="86" y="52"/>
                    <a:pt x="52" y="86"/>
                    <a:pt x="52" y="128"/>
                  </a:cubicBezTo>
                  <a:cubicBezTo>
                    <a:pt x="52" y="171"/>
                    <a:pt x="86" y="205"/>
                    <a:pt x="128" y="205"/>
                  </a:cubicBezTo>
                  <a:cubicBezTo>
                    <a:pt x="171" y="205"/>
                    <a:pt x="205" y="171"/>
                    <a:pt x="205" y="128"/>
                  </a:cubicBezTo>
                  <a:cubicBezTo>
                    <a:pt x="205" y="86"/>
                    <a:pt x="171" y="52"/>
                    <a:pt x="128" y="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507">
              <a:extLst>
                <a:ext uri="{FF2B5EF4-FFF2-40B4-BE49-F238E27FC236}">
                  <a16:creationId xmlns:a16="http://schemas.microsoft.com/office/drawing/2014/main" id="{20E63636-0934-9D40-82D7-35CF36C8CD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6801" y="3373438"/>
              <a:ext cx="103188" cy="103188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51 h 256"/>
                <a:gd name="T12" fmla="*/ 51 w 256"/>
                <a:gd name="T13" fmla="*/ 128 h 256"/>
                <a:gd name="T14" fmla="*/ 128 w 256"/>
                <a:gd name="T15" fmla="*/ 205 h 256"/>
                <a:gd name="T16" fmla="*/ 205 w 256"/>
                <a:gd name="T17" fmla="*/ 128 h 256"/>
                <a:gd name="T18" fmla="*/ 128 w 256"/>
                <a:gd name="T19" fmla="*/ 5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7" y="256"/>
                    <a:pt x="0" y="199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8" y="0"/>
                    <a:pt x="256" y="57"/>
                    <a:pt x="256" y="128"/>
                  </a:cubicBezTo>
                  <a:cubicBezTo>
                    <a:pt x="256" y="199"/>
                    <a:pt x="198" y="256"/>
                    <a:pt x="128" y="256"/>
                  </a:cubicBezTo>
                  <a:moveTo>
                    <a:pt x="128" y="51"/>
                  </a:moveTo>
                  <a:cubicBezTo>
                    <a:pt x="85" y="51"/>
                    <a:pt x="51" y="86"/>
                    <a:pt x="51" y="128"/>
                  </a:cubicBezTo>
                  <a:cubicBezTo>
                    <a:pt x="51" y="170"/>
                    <a:pt x="85" y="205"/>
                    <a:pt x="128" y="205"/>
                  </a:cubicBezTo>
                  <a:cubicBezTo>
                    <a:pt x="170" y="205"/>
                    <a:pt x="205" y="170"/>
                    <a:pt x="205" y="128"/>
                  </a:cubicBezTo>
                  <a:cubicBezTo>
                    <a:pt x="205" y="86"/>
                    <a:pt x="170" y="51"/>
                    <a:pt x="128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508">
              <a:extLst>
                <a:ext uri="{FF2B5EF4-FFF2-40B4-BE49-F238E27FC236}">
                  <a16:creationId xmlns:a16="http://schemas.microsoft.com/office/drawing/2014/main" id="{B64B84DD-8DF6-3B4B-922E-F5135D1E9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3138" y="3467101"/>
              <a:ext cx="103188" cy="103188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51 h 256"/>
                <a:gd name="T12" fmla="*/ 51 w 256"/>
                <a:gd name="T13" fmla="*/ 128 h 256"/>
                <a:gd name="T14" fmla="*/ 128 w 256"/>
                <a:gd name="T15" fmla="*/ 205 h 256"/>
                <a:gd name="T16" fmla="*/ 205 w 256"/>
                <a:gd name="T17" fmla="*/ 128 h 256"/>
                <a:gd name="T18" fmla="*/ 128 w 256"/>
                <a:gd name="T19" fmla="*/ 5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8" y="256"/>
                    <a:pt x="0" y="198"/>
                    <a:pt x="0" y="128"/>
                  </a:cubicBezTo>
                  <a:cubicBezTo>
                    <a:pt x="0" y="57"/>
                    <a:pt x="58" y="0"/>
                    <a:pt x="128" y="0"/>
                  </a:cubicBezTo>
                  <a:cubicBezTo>
                    <a:pt x="199" y="0"/>
                    <a:pt x="256" y="57"/>
                    <a:pt x="256" y="128"/>
                  </a:cubicBezTo>
                  <a:cubicBezTo>
                    <a:pt x="256" y="198"/>
                    <a:pt x="199" y="256"/>
                    <a:pt x="128" y="256"/>
                  </a:cubicBezTo>
                  <a:moveTo>
                    <a:pt x="128" y="51"/>
                  </a:moveTo>
                  <a:cubicBezTo>
                    <a:pt x="86" y="51"/>
                    <a:pt x="51" y="85"/>
                    <a:pt x="51" y="128"/>
                  </a:cubicBezTo>
                  <a:cubicBezTo>
                    <a:pt x="51" y="170"/>
                    <a:pt x="86" y="205"/>
                    <a:pt x="128" y="205"/>
                  </a:cubicBezTo>
                  <a:cubicBezTo>
                    <a:pt x="171" y="205"/>
                    <a:pt x="205" y="170"/>
                    <a:pt x="205" y="128"/>
                  </a:cubicBezTo>
                  <a:cubicBezTo>
                    <a:pt x="205" y="85"/>
                    <a:pt x="171" y="51"/>
                    <a:pt x="128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509">
              <a:extLst>
                <a:ext uri="{FF2B5EF4-FFF2-40B4-BE49-F238E27FC236}">
                  <a16:creationId xmlns:a16="http://schemas.microsoft.com/office/drawing/2014/main" id="{651B06EC-F176-BB42-B915-6413F847B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4888" y="3400426"/>
              <a:ext cx="298450" cy="406400"/>
            </a:xfrm>
            <a:custGeom>
              <a:avLst/>
              <a:gdLst>
                <a:gd name="T0" fmla="*/ 282 w 741"/>
                <a:gd name="T1" fmla="*/ 1010 h 1010"/>
                <a:gd name="T2" fmla="*/ 26 w 741"/>
                <a:gd name="T3" fmla="*/ 1010 h 1010"/>
                <a:gd name="T4" fmla="*/ 0 w 741"/>
                <a:gd name="T5" fmla="*/ 985 h 1010"/>
                <a:gd name="T6" fmla="*/ 0 w 741"/>
                <a:gd name="T7" fmla="*/ 780 h 1010"/>
                <a:gd name="T8" fmla="*/ 51 w 741"/>
                <a:gd name="T9" fmla="*/ 780 h 1010"/>
                <a:gd name="T10" fmla="*/ 51 w 741"/>
                <a:gd name="T11" fmla="*/ 959 h 1010"/>
                <a:gd name="T12" fmla="*/ 265 w 741"/>
                <a:gd name="T13" fmla="*/ 959 h 1010"/>
                <a:gd name="T14" fmla="*/ 694 w 741"/>
                <a:gd name="T15" fmla="*/ 0 h 1010"/>
                <a:gd name="T16" fmla="*/ 741 w 741"/>
                <a:gd name="T17" fmla="*/ 21 h 1010"/>
                <a:gd name="T18" fmla="*/ 305 w 741"/>
                <a:gd name="T19" fmla="*/ 995 h 1010"/>
                <a:gd name="T20" fmla="*/ 282 w 741"/>
                <a:gd name="T21" fmla="*/ 101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1" h="1010">
                  <a:moveTo>
                    <a:pt x="282" y="1010"/>
                  </a:moveTo>
                  <a:cubicBezTo>
                    <a:pt x="26" y="1010"/>
                    <a:pt x="26" y="1010"/>
                    <a:pt x="26" y="1010"/>
                  </a:cubicBezTo>
                  <a:cubicBezTo>
                    <a:pt x="12" y="1010"/>
                    <a:pt x="0" y="999"/>
                    <a:pt x="0" y="985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51" y="780"/>
                    <a:pt x="51" y="780"/>
                    <a:pt x="51" y="780"/>
                  </a:cubicBezTo>
                  <a:cubicBezTo>
                    <a:pt x="51" y="959"/>
                    <a:pt x="51" y="959"/>
                    <a:pt x="51" y="959"/>
                  </a:cubicBezTo>
                  <a:cubicBezTo>
                    <a:pt x="265" y="959"/>
                    <a:pt x="265" y="959"/>
                    <a:pt x="265" y="959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741" y="21"/>
                    <a:pt x="741" y="21"/>
                    <a:pt x="741" y="21"/>
                  </a:cubicBezTo>
                  <a:cubicBezTo>
                    <a:pt x="305" y="995"/>
                    <a:pt x="305" y="995"/>
                    <a:pt x="305" y="995"/>
                  </a:cubicBezTo>
                  <a:cubicBezTo>
                    <a:pt x="301" y="1004"/>
                    <a:pt x="292" y="1010"/>
                    <a:pt x="282" y="10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510">
              <a:extLst>
                <a:ext uri="{FF2B5EF4-FFF2-40B4-BE49-F238E27FC236}">
                  <a16:creationId xmlns:a16="http://schemas.microsoft.com/office/drawing/2014/main" id="{E7056C34-A0DB-BF49-A9E8-009B0FF45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6601" y="3240088"/>
              <a:ext cx="406400" cy="298450"/>
            </a:xfrm>
            <a:custGeom>
              <a:avLst/>
              <a:gdLst>
                <a:gd name="T0" fmla="*/ 230 w 1009"/>
                <a:gd name="T1" fmla="*/ 741 h 741"/>
                <a:gd name="T2" fmla="*/ 25 w 1009"/>
                <a:gd name="T3" fmla="*/ 741 h 741"/>
                <a:gd name="T4" fmla="*/ 0 w 1009"/>
                <a:gd name="T5" fmla="*/ 715 h 741"/>
                <a:gd name="T6" fmla="*/ 0 w 1009"/>
                <a:gd name="T7" fmla="*/ 459 h 741"/>
                <a:gd name="T8" fmla="*/ 15 w 1009"/>
                <a:gd name="T9" fmla="*/ 436 h 741"/>
                <a:gd name="T10" fmla="*/ 989 w 1009"/>
                <a:gd name="T11" fmla="*/ 0 h 741"/>
                <a:gd name="T12" fmla="*/ 1009 w 1009"/>
                <a:gd name="T13" fmla="*/ 47 h 741"/>
                <a:gd name="T14" fmla="*/ 51 w 1009"/>
                <a:gd name="T15" fmla="*/ 476 h 741"/>
                <a:gd name="T16" fmla="*/ 51 w 1009"/>
                <a:gd name="T17" fmla="*/ 690 h 741"/>
                <a:gd name="T18" fmla="*/ 230 w 1009"/>
                <a:gd name="T19" fmla="*/ 690 h 741"/>
                <a:gd name="T20" fmla="*/ 230 w 1009"/>
                <a:gd name="T21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9" h="741">
                  <a:moveTo>
                    <a:pt x="230" y="741"/>
                  </a:moveTo>
                  <a:cubicBezTo>
                    <a:pt x="25" y="741"/>
                    <a:pt x="25" y="741"/>
                    <a:pt x="25" y="741"/>
                  </a:cubicBezTo>
                  <a:cubicBezTo>
                    <a:pt x="11" y="741"/>
                    <a:pt x="0" y="729"/>
                    <a:pt x="0" y="715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0" y="449"/>
                    <a:pt x="6" y="440"/>
                    <a:pt x="15" y="436"/>
                  </a:cubicBezTo>
                  <a:cubicBezTo>
                    <a:pt x="989" y="0"/>
                    <a:pt x="989" y="0"/>
                    <a:pt x="989" y="0"/>
                  </a:cubicBezTo>
                  <a:cubicBezTo>
                    <a:pt x="1009" y="47"/>
                    <a:pt x="1009" y="47"/>
                    <a:pt x="1009" y="47"/>
                  </a:cubicBezTo>
                  <a:cubicBezTo>
                    <a:pt x="51" y="476"/>
                    <a:pt x="51" y="476"/>
                    <a:pt x="51" y="476"/>
                  </a:cubicBezTo>
                  <a:cubicBezTo>
                    <a:pt x="51" y="690"/>
                    <a:pt x="51" y="690"/>
                    <a:pt x="51" y="690"/>
                  </a:cubicBezTo>
                  <a:cubicBezTo>
                    <a:pt x="230" y="690"/>
                    <a:pt x="230" y="690"/>
                    <a:pt x="230" y="690"/>
                  </a:cubicBezTo>
                  <a:lnTo>
                    <a:pt x="230" y="7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511">
              <a:extLst>
                <a:ext uri="{FF2B5EF4-FFF2-40B4-BE49-F238E27FC236}">
                  <a16:creationId xmlns:a16="http://schemas.microsoft.com/office/drawing/2014/main" id="{1020768D-E3D2-D84A-8F63-322BF532E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3176" y="3176588"/>
              <a:ext cx="92075" cy="93663"/>
            </a:xfrm>
            <a:custGeom>
              <a:avLst/>
              <a:gdLst>
                <a:gd name="T0" fmla="*/ 231 w 231"/>
                <a:gd name="T1" fmla="*/ 231 h 231"/>
                <a:gd name="T2" fmla="*/ 0 w 231"/>
                <a:gd name="T3" fmla="*/ 0 h 231"/>
                <a:gd name="T4" fmla="*/ 51 w 231"/>
                <a:gd name="T5" fmla="*/ 0 h 231"/>
                <a:gd name="T6" fmla="*/ 231 w 231"/>
                <a:gd name="T7" fmla="*/ 179 h 231"/>
                <a:gd name="T8" fmla="*/ 231 w 231"/>
                <a:gd name="T9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1" h="231">
                  <a:moveTo>
                    <a:pt x="231" y="231"/>
                  </a:moveTo>
                  <a:cubicBezTo>
                    <a:pt x="104" y="231"/>
                    <a:pt x="0" y="127"/>
                    <a:pt x="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99"/>
                    <a:pt x="132" y="179"/>
                    <a:pt x="231" y="179"/>
                  </a:cubicBezTo>
                  <a:lnTo>
                    <a:pt x="231" y="2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C5899EF-F598-9748-BEB6-1CF3948D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36132893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FC662E6-CAB2-A14C-BADE-2E012FDE9774}"/>
              </a:ext>
            </a:extLst>
          </p:cNvPr>
          <p:cNvCxnSpPr>
            <a:cxnSpLocks/>
          </p:cNvCxnSpPr>
          <p:nvPr userDrawn="1"/>
        </p:nvCxnSpPr>
        <p:spPr>
          <a:xfrm>
            <a:off x="6102110" y="2484263"/>
            <a:ext cx="0" cy="43737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69384A3-A284-5248-BDD5-AC714FE55E0D}"/>
              </a:ext>
            </a:extLst>
          </p:cNvPr>
          <p:cNvSpPr/>
          <p:nvPr userDrawn="1"/>
        </p:nvSpPr>
        <p:spPr>
          <a:xfrm rot="5400000">
            <a:off x="5731035" y="1742114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4A8A1B7-BF71-924A-82B4-1E5EA184AD57}"/>
              </a:ext>
            </a:extLst>
          </p:cNvPr>
          <p:cNvSpPr/>
          <p:nvPr userDrawn="1"/>
        </p:nvSpPr>
        <p:spPr>
          <a:xfrm rot="5400000">
            <a:off x="5731035" y="4665374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9935A835-355F-3D41-B750-B4B2538A6EB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63827" y="2025218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990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66D2165A-21BA-FE43-8D1F-710051BEF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837380" y="4950492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000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9123BCE1-3A5B-4E43-A080-D8C30C6D41D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319503" y="1122612"/>
            <a:ext cx="1571732" cy="27109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IMELINE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0A715F7C-7016-5E43-82C9-9157E31BC8F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837380" y="5407523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F6399F07-102A-1F44-88CD-F71D56999D8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534198" y="2484263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31" name="Shape 2525">
            <a:extLst>
              <a:ext uri="{FF2B5EF4-FFF2-40B4-BE49-F238E27FC236}">
                <a16:creationId xmlns:a16="http://schemas.microsoft.com/office/drawing/2014/main" id="{7079881A-B5EE-CE4C-9DBC-64FE7FDBA32D}"/>
              </a:ext>
            </a:extLst>
          </p:cNvPr>
          <p:cNvSpPr/>
          <p:nvPr userDrawn="1"/>
        </p:nvSpPr>
        <p:spPr>
          <a:xfrm>
            <a:off x="5899989" y="1917177"/>
            <a:ext cx="392021" cy="3920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bg2"/>
          </a:solidFill>
          <a:ln w="0">
            <a:noFill/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C0C30A7F-22EF-8E46-B756-2C55AF4FEA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917986" y="4831971"/>
            <a:ext cx="374767" cy="374767"/>
          </a:xfrm>
          <a:prstGeom prst="rect">
            <a:avLst/>
          </a:prstGeom>
        </p:spPr>
      </p:pic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C7AB7BF-7C65-AD47-9D35-4C8523AF2C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94411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31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FC662E6-CAB2-A14C-BADE-2E012FDE9774}"/>
              </a:ext>
            </a:extLst>
          </p:cNvPr>
          <p:cNvCxnSpPr>
            <a:cxnSpLocks/>
          </p:cNvCxnSpPr>
          <p:nvPr userDrawn="1"/>
        </p:nvCxnSpPr>
        <p:spPr>
          <a:xfrm>
            <a:off x="6102110" y="0"/>
            <a:ext cx="0" cy="6858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69384A3-A284-5248-BDD5-AC714FE55E0D}"/>
              </a:ext>
            </a:extLst>
          </p:cNvPr>
          <p:cNvSpPr/>
          <p:nvPr userDrawn="1"/>
        </p:nvSpPr>
        <p:spPr>
          <a:xfrm rot="5400000">
            <a:off x="5731035" y="2980737"/>
            <a:ext cx="742149" cy="7421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4A8A1B7-BF71-924A-82B4-1E5EA184AD57}"/>
              </a:ext>
            </a:extLst>
          </p:cNvPr>
          <p:cNvSpPr/>
          <p:nvPr userDrawn="1"/>
        </p:nvSpPr>
        <p:spPr>
          <a:xfrm rot="5400000">
            <a:off x="5731035" y="5253145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9935A835-355F-3D41-B750-B4B2538A6EB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53514" y="3265478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66D2165A-21BA-FE43-8D1F-710051BEF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837380" y="5538263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0A715F7C-7016-5E43-82C9-9157E31BC8F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837380" y="5995294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F6399F07-102A-1F44-88CD-F71D56999D8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534198" y="3722886"/>
            <a:ext cx="2846388" cy="50918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455230-6A9E-D341-A943-DE07CC510971}"/>
              </a:ext>
            </a:extLst>
          </p:cNvPr>
          <p:cNvSpPr/>
          <p:nvPr userDrawn="1"/>
        </p:nvSpPr>
        <p:spPr>
          <a:xfrm rot="5400000">
            <a:off x="5731035" y="708328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9625A5E6-224A-4D4B-8F07-B90AB71A7DB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837380" y="993446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E27DFBB5-FC9F-334F-822B-ECC47CD88E6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837380" y="1450477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grpSp>
        <p:nvGrpSpPr>
          <p:cNvPr id="23" name="Group 587">
            <a:extLst>
              <a:ext uri="{FF2B5EF4-FFF2-40B4-BE49-F238E27FC236}">
                <a16:creationId xmlns:a16="http://schemas.microsoft.com/office/drawing/2014/main" id="{72C0593D-5184-3745-BDB6-09724EC90BD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01466" y="3183904"/>
            <a:ext cx="423964" cy="386334"/>
            <a:chOff x="3817938" y="3500438"/>
            <a:chExt cx="536574" cy="488949"/>
          </a:xfrm>
          <a:solidFill>
            <a:schemeClr val="bg2"/>
          </a:solidFill>
        </p:grpSpPr>
        <p:sp>
          <p:nvSpPr>
            <p:cNvPr id="25" name="Freeform 206">
              <a:extLst>
                <a:ext uri="{FF2B5EF4-FFF2-40B4-BE49-F238E27FC236}">
                  <a16:creationId xmlns:a16="http://schemas.microsoft.com/office/drawing/2014/main" id="{E147CF4E-B746-594F-B9D8-8F6B9758C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6850" y="3500438"/>
              <a:ext cx="347662" cy="347662"/>
            </a:xfrm>
            <a:custGeom>
              <a:avLst/>
              <a:gdLst>
                <a:gd name="T0" fmla="*/ 334 w 608"/>
                <a:gd name="T1" fmla="*/ 553 h 608"/>
                <a:gd name="T2" fmla="*/ 246 w 608"/>
                <a:gd name="T3" fmla="*/ 608 h 608"/>
                <a:gd name="T4" fmla="*/ 149 w 608"/>
                <a:gd name="T5" fmla="*/ 501 h 608"/>
                <a:gd name="T6" fmla="*/ 48 w 608"/>
                <a:gd name="T7" fmla="*/ 478 h 608"/>
                <a:gd name="T8" fmla="*/ 55 w 608"/>
                <a:gd name="T9" fmla="*/ 334 h 608"/>
                <a:gd name="T10" fmla="*/ 0 w 608"/>
                <a:gd name="T11" fmla="*/ 246 h 608"/>
                <a:gd name="T12" fmla="*/ 106 w 608"/>
                <a:gd name="T13" fmla="*/ 149 h 608"/>
                <a:gd name="T14" fmla="*/ 130 w 608"/>
                <a:gd name="T15" fmla="*/ 48 h 608"/>
                <a:gd name="T16" fmla="*/ 274 w 608"/>
                <a:gd name="T17" fmla="*/ 55 h 608"/>
                <a:gd name="T18" fmla="*/ 362 w 608"/>
                <a:gd name="T19" fmla="*/ 0 h 608"/>
                <a:gd name="T20" fmla="*/ 459 w 608"/>
                <a:gd name="T21" fmla="*/ 106 h 608"/>
                <a:gd name="T22" fmla="*/ 560 w 608"/>
                <a:gd name="T23" fmla="*/ 130 h 608"/>
                <a:gd name="T24" fmla="*/ 553 w 608"/>
                <a:gd name="T25" fmla="*/ 273 h 608"/>
                <a:gd name="T26" fmla="*/ 608 w 608"/>
                <a:gd name="T27" fmla="*/ 362 h 608"/>
                <a:gd name="T28" fmla="*/ 502 w 608"/>
                <a:gd name="T29" fmla="*/ 458 h 608"/>
                <a:gd name="T30" fmla="*/ 478 w 608"/>
                <a:gd name="T31" fmla="*/ 560 h 608"/>
                <a:gd name="T32" fmla="*/ 166 w 608"/>
                <a:gd name="T33" fmla="*/ 543 h 608"/>
                <a:gd name="T34" fmla="*/ 257 w 608"/>
                <a:gd name="T35" fmla="*/ 521 h 608"/>
                <a:gd name="T36" fmla="*/ 340 w 608"/>
                <a:gd name="T37" fmla="*/ 522 h 608"/>
                <a:gd name="T38" fmla="*/ 376 w 608"/>
                <a:gd name="T39" fmla="*/ 570 h 608"/>
                <a:gd name="T40" fmla="*/ 424 w 608"/>
                <a:gd name="T41" fmla="*/ 490 h 608"/>
                <a:gd name="T42" fmla="*/ 484 w 608"/>
                <a:gd name="T43" fmla="*/ 433 h 608"/>
                <a:gd name="T44" fmla="*/ 543 w 608"/>
                <a:gd name="T45" fmla="*/ 441 h 608"/>
                <a:gd name="T46" fmla="*/ 521 w 608"/>
                <a:gd name="T47" fmla="*/ 351 h 608"/>
                <a:gd name="T48" fmla="*/ 523 w 608"/>
                <a:gd name="T49" fmla="*/ 267 h 608"/>
                <a:gd name="T50" fmla="*/ 571 w 608"/>
                <a:gd name="T51" fmla="*/ 232 h 608"/>
                <a:gd name="T52" fmla="*/ 491 w 608"/>
                <a:gd name="T53" fmla="*/ 184 h 608"/>
                <a:gd name="T54" fmla="*/ 433 w 608"/>
                <a:gd name="T55" fmla="*/ 123 h 608"/>
                <a:gd name="T56" fmla="*/ 442 w 608"/>
                <a:gd name="T57" fmla="*/ 64 h 608"/>
                <a:gd name="T58" fmla="*/ 351 w 608"/>
                <a:gd name="T59" fmla="*/ 87 h 608"/>
                <a:gd name="T60" fmla="*/ 268 w 608"/>
                <a:gd name="T61" fmla="*/ 85 h 608"/>
                <a:gd name="T62" fmla="*/ 232 w 608"/>
                <a:gd name="T63" fmla="*/ 37 h 608"/>
                <a:gd name="T64" fmla="*/ 184 w 608"/>
                <a:gd name="T65" fmla="*/ 117 h 608"/>
                <a:gd name="T66" fmla="*/ 124 w 608"/>
                <a:gd name="T67" fmla="*/ 175 h 608"/>
                <a:gd name="T68" fmla="*/ 65 w 608"/>
                <a:gd name="T69" fmla="*/ 166 h 608"/>
                <a:gd name="T70" fmla="*/ 87 w 608"/>
                <a:gd name="T71" fmla="*/ 257 h 608"/>
                <a:gd name="T72" fmla="*/ 85 w 608"/>
                <a:gd name="T73" fmla="*/ 340 h 608"/>
                <a:gd name="T74" fmla="*/ 37 w 608"/>
                <a:gd name="T75" fmla="*/ 376 h 608"/>
                <a:gd name="T76" fmla="*/ 117 w 608"/>
                <a:gd name="T77" fmla="*/ 424 h 608"/>
                <a:gd name="T78" fmla="*/ 175 w 608"/>
                <a:gd name="T79" fmla="*/ 484 h 608"/>
                <a:gd name="T80" fmla="*/ 166 w 608"/>
                <a:gd name="T81" fmla="*/ 54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8" h="608">
                  <a:moveTo>
                    <a:pt x="362" y="608"/>
                  </a:moveTo>
                  <a:cubicBezTo>
                    <a:pt x="334" y="553"/>
                    <a:pt x="334" y="553"/>
                    <a:pt x="334" y="553"/>
                  </a:cubicBezTo>
                  <a:cubicBezTo>
                    <a:pt x="314" y="555"/>
                    <a:pt x="294" y="555"/>
                    <a:pt x="274" y="553"/>
                  </a:cubicBezTo>
                  <a:cubicBezTo>
                    <a:pt x="246" y="608"/>
                    <a:pt x="246" y="608"/>
                    <a:pt x="246" y="608"/>
                  </a:cubicBezTo>
                  <a:cubicBezTo>
                    <a:pt x="130" y="560"/>
                    <a:pt x="130" y="560"/>
                    <a:pt x="130" y="560"/>
                  </a:cubicBezTo>
                  <a:cubicBezTo>
                    <a:pt x="149" y="501"/>
                    <a:pt x="149" y="501"/>
                    <a:pt x="149" y="501"/>
                  </a:cubicBezTo>
                  <a:cubicBezTo>
                    <a:pt x="133" y="489"/>
                    <a:pt x="119" y="474"/>
                    <a:pt x="106" y="458"/>
                  </a:cubicBezTo>
                  <a:cubicBezTo>
                    <a:pt x="48" y="478"/>
                    <a:pt x="48" y="478"/>
                    <a:pt x="48" y="478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55" y="334"/>
                    <a:pt x="55" y="334"/>
                    <a:pt x="55" y="334"/>
                  </a:cubicBezTo>
                  <a:cubicBezTo>
                    <a:pt x="52" y="314"/>
                    <a:pt x="52" y="293"/>
                    <a:pt x="55" y="273"/>
                  </a:cubicBezTo>
                  <a:cubicBezTo>
                    <a:pt x="0" y="246"/>
                    <a:pt x="0" y="246"/>
                    <a:pt x="0" y="246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19" y="133"/>
                    <a:pt x="133" y="119"/>
                    <a:pt x="149" y="106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74" y="55"/>
                    <a:pt x="274" y="55"/>
                    <a:pt x="274" y="55"/>
                  </a:cubicBezTo>
                  <a:cubicBezTo>
                    <a:pt x="294" y="52"/>
                    <a:pt x="314" y="52"/>
                    <a:pt x="334" y="5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59" y="106"/>
                    <a:pt x="459" y="106"/>
                    <a:pt x="459" y="106"/>
                  </a:cubicBezTo>
                  <a:cubicBezTo>
                    <a:pt x="475" y="118"/>
                    <a:pt x="489" y="133"/>
                    <a:pt x="502" y="149"/>
                  </a:cubicBezTo>
                  <a:cubicBezTo>
                    <a:pt x="560" y="130"/>
                    <a:pt x="560" y="130"/>
                    <a:pt x="560" y="130"/>
                  </a:cubicBezTo>
                  <a:cubicBezTo>
                    <a:pt x="608" y="246"/>
                    <a:pt x="608" y="246"/>
                    <a:pt x="608" y="246"/>
                  </a:cubicBezTo>
                  <a:cubicBezTo>
                    <a:pt x="553" y="273"/>
                    <a:pt x="553" y="273"/>
                    <a:pt x="553" y="273"/>
                  </a:cubicBezTo>
                  <a:cubicBezTo>
                    <a:pt x="556" y="293"/>
                    <a:pt x="556" y="314"/>
                    <a:pt x="553" y="334"/>
                  </a:cubicBezTo>
                  <a:cubicBezTo>
                    <a:pt x="608" y="362"/>
                    <a:pt x="608" y="362"/>
                    <a:pt x="608" y="362"/>
                  </a:cubicBezTo>
                  <a:cubicBezTo>
                    <a:pt x="560" y="478"/>
                    <a:pt x="560" y="478"/>
                    <a:pt x="560" y="478"/>
                  </a:cubicBezTo>
                  <a:cubicBezTo>
                    <a:pt x="502" y="458"/>
                    <a:pt x="502" y="458"/>
                    <a:pt x="502" y="458"/>
                  </a:cubicBezTo>
                  <a:cubicBezTo>
                    <a:pt x="489" y="474"/>
                    <a:pt x="475" y="489"/>
                    <a:pt x="459" y="501"/>
                  </a:cubicBezTo>
                  <a:cubicBezTo>
                    <a:pt x="478" y="560"/>
                    <a:pt x="478" y="560"/>
                    <a:pt x="478" y="560"/>
                  </a:cubicBezTo>
                  <a:cubicBezTo>
                    <a:pt x="362" y="608"/>
                    <a:pt x="362" y="608"/>
                    <a:pt x="362" y="608"/>
                  </a:cubicBezTo>
                  <a:close/>
                  <a:moveTo>
                    <a:pt x="166" y="543"/>
                  </a:moveTo>
                  <a:cubicBezTo>
                    <a:pt x="232" y="570"/>
                    <a:pt x="232" y="570"/>
                    <a:pt x="232" y="570"/>
                  </a:cubicBezTo>
                  <a:cubicBezTo>
                    <a:pt x="257" y="521"/>
                    <a:pt x="257" y="521"/>
                    <a:pt x="257" y="521"/>
                  </a:cubicBezTo>
                  <a:cubicBezTo>
                    <a:pt x="268" y="522"/>
                    <a:pt x="268" y="522"/>
                    <a:pt x="268" y="522"/>
                  </a:cubicBezTo>
                  <a:cubicBezTo>
                    <a:pt x="292" y="526"/>
                    <a:pt x="316" y="526"/>
                    <a:pt x="340" y="522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76" y="570"/>
                    <a:pt x="376" y="570"/>
                    <a:pt x="376" y="570"/>
                  </a:cubicBezTo>
                  <a:cubicBezTo>
                    <a:pt x="442" y="543"/>
                    <a:pt x="442" y="543"/>
                    <a:pt x="442" y="543"/>
                  </a:cubicBezTo>
                  <a:cubicBezTo>
                    <a:pt x="424" y="490"/>
                    <a:pt x="424" y="490"/>
                    <a:pt x="424" y="490"/>
                  </a:cubicBezTo>
                  <a:cubicBezTo>
                    <a:pt x="433" y="484"/>
                    <a:pt x="433" y="484"/>
                    <a:pt x="433" y="484"/>
                  </a:cubicBezTo>
                  <a:cubicBezTo>
                    <a:pt x="453" y="470"/>
                    <a:pt x="470" y="452"/>
                    <a:pt x="484" y="433"/>
                  </a:cubicBezTo>
                  <a:cubicBezTo>
                    <a:pt x="491" y="424"/>
                    <a:pt x="491" y="424"/>
                    <a:pt x="491" y="424"/>
                  </a:cubicBezTo>
                  <a:cubicBezTo>
                    <a:pt x="543" y="441"/>
                    <a:pt x="543" y="441"/>
                    <a:pt x="543" y="441"/>
                  </a:cubicBezTo>
                  <a:cubicBezTo>
                    <a:pt x="571" y="376"/>
                    <a:pt x="571" y="376"/>
                    <a:pt x="571" y="376"/>
                  </a:cubicBezTo>
                  <a:cubicBezTo>
                    <a:pt x="521" y="351"/>
                    <a:pt x="521" y="351"/>
                    <a:pt x="521" y="351"/>
                  </a:cubicBezTo>
                  <a:cubicBezTo>
                    <a:pt x="523" y="340"/>
                    <a:pt x="523" y="340"/>
                    <a:pt x="523" y="340"/>
                  </a:cubicBezTo>
                  <a:cubicBezTo>
                    <a:pt x="527" y="316"/>
                    <a:pt x="527" y="291"/>
                    <a:pt x="523" y="267"/>
                  </a:cubicBezTo>
                  <a:cubicBezTo>
                    <a:pt x="521" y="257"/>
                    <a:pt x="521" y="257"/>
                    <a:pt x="521" y="257"/>
                  </a:cubicBezTo>
                  <a:cubicBezTo>
                    <a:pt x="571" y="232"/>
                    <a:pt x="571" y="232"/>
                    <a:pt x="571" y="232"/>
                  </a:cubicBezTo>
                  <a:cubicBezTo>
                    <a:pt x="543" y="166"/>
                    <a:pt x="543" y="166"/>
                    <a:pt x="543" y="166"/>
                  </a:cubicBezTo>
                  <a:cubicBezTo>
                    <a:pt x="491" y="184"/>
                    <a:pt x="491" y="184"/>
                    <a:pt x="491" y="184"/>
                  </a:cubicBezTo>
                  <a:cubicBezTo>
                    <a:pt x="484" y="175"/>
                    <a:pt x="484" y="175"/>
                    <a:pt x="484" y="175"/>
                  </a:cubicBezTo>
                  <a:cubicBezTo>
                    <a:pt x="470" y="155"/>
                    <a:pt x="453" y="137"/>
                    <a:pt x="433" y="123"/>
                  </a:cubicBezTo>
                  <a:cubicBezTo>
                    <a:pt x="424" y="117"/>
                    <a:pt x="424" y="117"/>
                    <a:pt x="424" y="11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376" y="37"/>
                    <a:pt x="376" y="37"/>
                    <a:pt x="376" y="37"/>
                  </a:cubicBezTo>
                  <a:cubicBezTo>
                    <a:pt x="351" y="87"/>
                    <a:pt x="351" y="87"/>
                    <a:pt x="351" y="87"/>
                  </a:cubicBezTo>
                  <a:cubicBezTo>
                    <a:pt x="340" y="85"/>
                    <a:pt x="340" y="85"/>
                    <a:pt x="340" y="85"/>
                  </a:cubicBezTo>
                  <a:cubicBezTo>
                    <a:pt x="316" y="81"/>
                    <a:pt x="292" y="81"/>
                    <a:pt x="268" y="85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32" y="37"/>
                    <a:pt x="232" y="37"/>
                    <a:pt x="232" y="37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84" y="117"/>
                    <a:pt x="184" y="117"/>
                    <a:pt x="184" y="117"/>
                  </a:cubicBezTo>
                  <a:cubicBezTo>
                    <a:pt x="175" y="123"/>
                    <a:pt x="175" y="123"/>
                    <a:pt x="175" y="123"/>
                  </a:cubicBezTo>
                  <a:cubicBezTo>
                    <a:pt x="155" y="138"/>
                    <a:pt x="138" y="155"/>
                    <a:pt x="124" y="175"/>
                  </a:cubicBezTo>
                  <a:cubicBezTo>
                    <a:pt x="117" y="184"/>
                    <a:pt x="117" y="184"/>
                    <a:pt x="117" y="184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37" y="232"/>
                    <a:pt x="37" y="232"/>
                    <a:pt x="37" y="232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67"/>
                    <a:pt x="85" y="267"/>
                    <a:pt x="85" y="267"/>
                  </a:cubicBezTo>
                  <a:cubicBezTo>
                    <a:pt x="81" y="291"/>
                    <a:pt x="81" y="316"/>
                    <a:pt x="85" y="340"/>
                  </a:cubicBezTo>
                  <a:cubicBezTo>
                    <a:pt x="87" y="351"/>
                    <a:pt x="87" y="351"/>
                    <a:pt x="87" y="351"/>
                  </a:cubicBezTo>
                  <a:cubicBezTo>
                    <a:pt x="37" y="376"/>
                    <a:pt x="37" y="376"/>
                    <a:pt x="37" y="376"/>
                  </a:cubicBezTo>
                  <a:cubicBezTo>
                    <a:pt x="65" y="441"/>
                    <a:pt x="65" y="441"/>
                    <a:pt x="65" y="441"/>
                  </a:cubicBezTo>
                  <a:cubicBezTo>
                    <a:pt x="117" y="424"/>
                    <a:pt x="117" y="424"/>
                    <a:pt x="117" y="424"/>
                  </a:cubicBezTo>
                  <a:cubicBezTo>
                    <a:pt x="124" y="433"/>
                    <a:pt x="124" y="433"/>
                    <a:pt x="124" y="433"/>
                  </a:cubicBezTo>
                  <a:cubicBezTo>
                    <a:pt x="138" y="453"/>
                    <a:pt x="155" y="470"/>
                    <a:pt x="175" y="484"/>
                  </a:cubicBezTo>
                  <a:cubicBezTo>
                    <a:pt x="184" y="490"/>
                    <a:pt x="184" y="490"/>
                    <a:pt x="184" y="490"/>
                  </a:cubicBezTo>
                  <a:cubicBezTo>
                    <a:pt x="166" y="543"/>
                    <a:pt x="166" y="543"/>
                    <a:pt x="166" y="5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07">
              <a:extLst>
                <a:ext uri="{FF2B5EF4-FFF2-40B4-BE49-F238E27FC236}">
                  <a16:creationId xmlns:a16="http://schemas.microsoft.com/office/drawing/2014/main" id="{8757F002-9E7B-EB4A-8858-AF1E38590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0038" y="3611563"/>
              <a:ext cx="141287" cy="125412"/>
            </a:xfrm>
            <a:custGeom>
              <a:avLst/>
              <a:gdLst>
                <a:gd name="T0" fmla="*/ 124 w 248"/>
                <a:gd name="T1" fmla="*/ 219 h 219"/>
                <a:gd name="T2" fmla="*/ 124 w 248"/>
                <a:gd name="T3" fmla="*/ 219 h 219"/>
                <a:gd name="T4" fmla="*/ 23 w 248"/>
                <a:gd name="T5" fmla="*/ 151 h 219"/>
                <a:gd name="T6" fmla="*/ 82 w 248"/>
                <a:gd name="T7" fmla="*/ 9 h 219"/>
                <a:gd name="T8" fmla="*/ 124 w 248"/>
                <a:gd name="T9" fmla="*/ 0 h 219"/>
                <a:gd name="T10" fmla="*/ 225 w 248"/>
                <a:gd name="T11" fmla="*/ 68 h 219"/>
                <a:gd name="T12" fmla="*/ 166 w 248"/>
                <a:gd name="T13" fmla="*/ 210 h 219"/>
                <a:gd name="T14" fmla="*/ 124 w 248"/>
                <a:gd name="T15" fmla="*/ 219 h 219"/>
                <a:gd name="T16" fmla="*/ 124 w 248"/>
                <a:gd name="T17" fmla="*/ 30 h 219"/>
                <a:gd name="T18" fmla="*/ 93 w 248"/>
                <a:gd name="T19" fmla="*/ 36 h 219"/>
                <a:gd name="T20" fmla="*/ 50 w 248"/>
                <a:gd name="T21" fmla="*/ 140 h 219"/>
                <a:gd name="T22" fmla="*/ 124 w 248"/>
                <a:gd name="T23" fmla="*/ 190 h 219"/>
                <a:gd name="T24" fmla="*/ 124 w 248"/>
                <a:gd name="T25" fmla="*/ 190 h 219"/>
                <a:gd name="T26" fmla="*/ 155 w 248"/>
                <a:gd name="T27" fmla="*/ 183 h 219"/>
                <a:gd name="T28" fmla="*/ 198 w 248"/>
                <a:gd name="T29" fmla="*/ 79 h 219"/>
                <a:gd name="T30" fmla="*/ 124 w 248"/>
                <a:gd name="T31" fmla="*/ 3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219">
                  <a:moveTo>
                    <a:pt x="124" y="219"/>
                  </a:moveTo>
                  <a:cubicBezTo>
                    <a:pt x="124" y="219"/>
                    <a:pt x="124" y="219"/>
                    <a:pt x="124" y="219"/>
                  </a:cubicBezTo>
                  <a:cubicBezTo>
                    <a:pt x="80" y="219"/>
                    <a:pt x="40" y="192"/>
                    <a:pt x="23" y="151"/>
                  </a:cubicBezTo>
                  <a:cubicBezTo>
                    <a:pt x="0" y="96"/>
                    <a:pt x="27" y="32"/>
                    <a:pt x="82" y="9"/>
                  </a:cubicBezTo>
                  <a:cubicBezTo>
                    <a:pt x="96" y="3"/>
                    <a:pt x="110" y="0"/>
                    <a:pt x="124" y="0"/>
                  </a:cubicBezTo>
                  <a:cubicBezTo>
                    <a:pt x="168" y="0"/>
                    <a:pt x="208" y="27"/>
                    <a:pt x="225" y="68"/>
                  </a:cubicBezTo>
                  <a:cubicBezTo>
                    <a:pt x="248" y="123"/>
                    <a:pt x="221" y="187"/>
                    <a:pt x="166" y="210"/>
                  </a:cubicBezTo>
                  <a:cubicBezTo>
                    <a:pt x="152" y="216"/>
                    <a:pt x="138" y="219"/>
                    <a:pt x="124" y="219"/>
                  </a:cubicBezTo>
                  <a:close/>
                  <a:moveTo>
                    <a:pt x="124" y="30"/>
                  </a:moveTo>
                  <a:cubicBezTo>
                    <a:pt x="114" y="30"/>
                    <a:pt x="103" y="32"/>
                    <a:pt x="93" y="36"/>
                  </a:cubicBezTo>
                  <a:cubicBezTo>
                    <a:pt x="53" y="53"/>
                    <a:pt x="33" y="100"/>
                    <a:pt x="50" y="140"/>
                  </a:cubicBezTo>
                  <a:cubicBezTo>
                    <a:pt x="63" y="170"/>
                    <a:pt x="92" y="190"/>
                    <a:pt x="124" y="190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35" y="190"/>
                    <a:pt x="145" y="187"/>
                    <a:pt x="155" y="183"/>
                  </a:cubicBezTo>
                  <a:cubicBezTo>
                    <a:pt x="195" y="167"/>
                    <a:pt x="215" y="120"/>
                    <a:pt x="198" y="79"/>
                  </a:cubicBezTo>
                  <a:cubicBezTo>
                    <a:pt x="185" y="49"/>
                    <a:pt x="156" y="30"/>
                    <a:pt x="1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08">
              <a:extLst>
                <a:ext uri="{FF2B5EF4-FFF2-40B4-BE49-F238E27FC236}">
                  <a16:creationId xmlns:a16="http://schemas.microsoft.com/office/drawing/2014/main" id="{96BAA0D6-B603-B64F-A1F5-028865CF6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788" y="3624263"/>
              <a:ext cx="95250" cy="90487"/>
            </a:xfrm>
            <a:custGeom>
              <a:avLst/>
              <a:gdLst>
                <a:gd name="T0" fmla="*/ 51 w 164"/>
                <a:gd name="T1" fmla="*/ 159 h 159"/>
                <a:gd name="T2" fmla="*/ 17 w 164"/>
                <a:gd name="T3" fmla="*/ 121 h 159"/>
                <a:gd name="T4" fmla="*/ 60 w 164"/>
                <a:gd name="T5" fmla="*/ 17 h 159"/>
                <a:gd name="T6" fmla="*/ 164 w 164"/>
                <a:gd name="T7" fmla="*/ 60 h 159"/>
                <a:gd name="T8" fmla="*/ 137 w 164"/>
                <a:gd name="T9" fmla="*/ 71 h 159"/>
                <a:gd name="T10" fmla="*/ 71 w 164"/>
                <a:gd name="T11" fmla="*/ 44 h 159"/>
                <a:gd name="T12" fmla="*/ 44 w 164"/>
                <a:gd name="T13" fmla="*/ 110 h 159"/>
                <a:gd name="T14" fmla="*/ 65 w 164"/>
                <a:gd name="T15" fmla="*/ 134 h 159"/>
                <a:gd name="T16" fmla="*/ 51 w 164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9">
                  <a:moveTo>
                    <a:pt x="51" y="159"/>
                  </a:moveTo>
                  <a:cubicBezTo>
                    <a:pt x="35" y="150"/>
                    <a:pt x="24" y="137"/>
                    <a:pt x="17" y="121"/>
                  </a:cubicBezTo>
                  <a:cubicBezTo>
                    <a:pt x="0" y="80"/>
                    <a:pt x="19" y="34"/>
                    <a:pt x="60" y="17"/>
                  </a:cubicBezTo>
                  <a:cubicBezTo>
                    <a:pt x="101" y="0"/>
                    <a:pt x="147" y="19"/>
                    <a:pt x="164" y="60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27" y="45"/>
                    <a:pt x="97" y="33"/>
                    <a:pt x="71" y="44"/>
                  </a:cubicBezTo>
                  <a:cubicBezTo>
                    <a:pt x="46" y="54"/>
                    <a:pt x="33" y="84"/>
                    <a:pt x="44" y="110"/>
                  </a:cubicBezTo>
                  <a:cubicBezTo>
                    <a:pt x="48" y="120"/>
                    <a:pt x="56" y="128"/>
                    <a:pt x="65" y="134"/>
                  </a:cubicBezTo>
                  <a:cubicBezTo>
                    <a:pt x="51" y="159"/>
                    <a:pt x="51" y="159"/>
                    <a:pt x="5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09">
              <a:extLst>
                <a:ext uri="{FF2B5EF4-FFF2-40B4-BE49-F238E27FC236}">
                  <a16:creationId xmlns:a16="http://schemas.microsoft.com/office/drawing/2014/main" id="{CE423A9E-02B5-1E48-8052-648AA52424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4288" y="3743325"/>
              <a:ext cx="246062" cy="246062"/>
            </a:xfrm>
            <a:custGeom>
              <a:avLst/>
              <a:gdLst>
                <a:gd name="T0" fmla="*/ 230 w 429"/>
                <a:gd name="T1" fmla="*/ 377 h 428"/>
                <a:gd name="T2" fmla="*/ 178 w 429"/>
                <a:gd name="T3" fmla="*/ 428 h 428"/>
                <a:gd name="T4" fmla="*/ 110 w 429"/>
                <a:gd name="T5" fmla="*/ 340 h 428"/>
                <a:gd name="T6" fmla="*/ 37 w 429"/>
                <a:gd name="T7" fmla="*/ 340 h 428"/>
                <a:gd name="T8" fmla="*/ 52 w 429"/>
                <a:gd name="T9" fmla="*/ 229 h 428"/>
                <a:gd name="T10" fmla="*/ 0 w 429"/>
                <a:gd name="T11" fmla="*/ 178 h 428"/>
                <a:gd name="T12" fmla="*/ 89 w 429"/>
                <a:gd name="T13" fmla="*/ 110 h 428"/>
                <a:gd name="T14" fmla="*/ 89 w 429"/>
                <a:gd name="T15" fmla="*/ 37 h 428"/>
                <a:gd name="T16" fmla="*/ 200 w 429"/>
                <a:gd name="T17" fmla="*/ 51 h 428"/>
                <a:gd name="T18" fmla="*/ 251 w 429"/>
                <a:gd name="T19" fmla="*/ 0 h 428"/>
                <a:gd name="T20" fmla="*/ 319 w 429"/>
                <a:gd name="T21" fmla="*/ 88 h 428"/>
                <a:gd name="T22" fmla="*/ 392 w 429"/>
                <a:gd name="T23" fmla="*/ 88 h 428"/>
                <a:gd name="T24" fmla="*/ 378 w 429"/>
                <a:gd name="T25" fmla="*/ 199 h 428"/>
                <a:gd name="T26" fmla="*/ 429 w 429"/>
                <a:gd name="T27" fmla="*/ 251 h 428"/>
                <a:gd name="T28" fmla="*/ 341 w 429"/>
                <a:gd name="T29" fmla="*/ 319 h 428"/>
                <a:gd name="T30" fmla="*/ 341 w 429"/>
                <a:gd name="T31" fmla="*/ 391 h 428"/>
                <a:gd name="T32" fmla="*/ 127 w 429"/>
                <a:gd name="T33" fmla="*/ 376 h 428"/>
                <a:gd name="T34" fmla="*/ 181 w 429"/>
                <a:gd name="T35" fmla="*/ 345 h 428"/>
                <a:gd name="T36" fmla="*/ 237 w 429"/>
                <a:gd name="T37" fmla="*/ 347 h 428"/>
                <a:gd name="T38" fmla="*/ 267 w 429"/>
                <a:gd name="T39" fmla="*/ 390 h 428"/>
                <a:gd name="T40" fmla="*/ 283 w 429"/>
                <a:gd name="T41" fmla="*/ 330 h 428"/>
                <a:gd name="T42" fmla="*/ 324 w 429"/>
                <a:gd name="T43" fmla="*/ 292 h 428"/>
                <a:gd name="T44" fmla="*/ 376 w 429"/>
                <a:gd name="T45" fmla="*/ 302 h 428"/>
                <a:gd name="T46" fmla="*/ 345 w 429"/>
                <a:gd name="T47" fmla="*/ 248 h 428"/>
                <a:gd name="T48" fmla="*/ 347 w 429"/>
                <a:gd name="T49" fmla="*/ 192 h 428"/>
                <a:gd name="T50" fmla="*/ 391 w 429"/>
                <a:gd name="T51" fmla="*/ 162 h 428"/>
                <a:gd name="T52" fmla="*/ 331 w 429"/>
                <a:gd name="T53" fmla="*/ 145 h 428"/>
                <a:gd name="T54" fmla="*/ 293 w 429"/>
                <a:gd name="T55" fmla="*/ 105 h 428"/>
                <a:gd name="T56" fmla="*/ 302 w 429"/>
                <a:gd name="T57" fmla="*/ 53 h 428"/>
                <a:gd name="T58" fmla="*/ 248 w 429"/>
                <a:gd name="T59" fmla="*/ 83 h 428"/>
                <a:gd name="T60" fmla="*/ 193 w 429"/>
                <a:gd name="T61" fmla="*/ 82 h 428"/>
                <a:gd name="T62" fmla="*/ 162 w 429"/>
                <a:gd name="T63" fmla="*/ 38 h 428"/>
                <a:gd name="T64" fmla="*/ 146 w 429"/>
                <a:gd name="T65" fmla="*/ 98 h 428"/>
                <a:gd name="T66" fmla="*/ 105 w 429"/>
                <a:gd name="T67" fmla="*/ 136 h 428"/>
                <a:gd name="T68" fmla="*/ 53 w 429"/>
                <a:gd name="T69" fmla="*/ 127 h 428"/>
                <a:gd name="T70" fmla="*/ 84 w 429"/>
                <a:gd name="T71" fmla="*/ 181 h 428"/>
                <a:gd name="T72" fmla="*/ 82 w 429"/>
                <a:gd name="T73" fmla="*/ 236 h 428"/>
                <a:gd name="T74" fmla="*/ 39 w 429"/>
                <a:gd name="T75" fmla="*/ 266 h 428"/>
                <a:gd name="T76" fmla="*/ 99 w 429"/>
                <a:gd name="T77" fmla="*/ 283 h 428"/>
                <a:gd name="T78" fmla="*/ 137 w 429"/>
                <a:gd name="T79" fmla="*/ 324 h 428"/>
                <a:gd name="T80" fmla="*/ 127 w 429"/>
                <a:gd name="T81" fmla="*/ 37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428">
                  <a:moveTo>
                    <a:pt x="251" y="428"/>
                  </a:moveTo>
                  <a:cubicBezTo>
                    <a:pt x="230" y="377"/>
                    <a:pt x="230" y="377"/>
                    <a:pt x="230" y="377"/>
                  </a:cubicBezTo>
                  <a:cubicBezTo>
                    <a:pt x="220" y="378"/>
                    <a:pt x="210" y="378"/>
                    <a:pt x="200" y="377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89" y="391"/>
                    <a:pt x="89" y="391"/>
                    <a:pt x="89" y="391"/>
                  </a:cubicBezTo>
                  <a:cubicBezTo>
                    <a:pt x="110" y="340"/>
                    <a:pt x="110" y="340"/>
                    <a:pt x="110" y="340"/>
                  </a:cubicBezTo>
                  <a:cubicBezTo>
                    <a:pt x="102" y="334"/>
                    <a:pt x="95" y="326"/>
                    <a:pt x="89" y="319"/>
                  </a:cubicBezTo>
                  <a:cubicBezTo>
                    <a:pt x="37" y="340"/>
                    <a:pt x="37" y="340"/>
                    <a:pt x="37" y="340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52" y="229"/>
                    <a:pt x="52" y="229"/>
                    <a:pt x="52" y="229"/>
                  </a:cubicBezTo>
                  <a:cubicBezTo>
                    <a:pt x="51" y="219"/>
                    <a:pt x="51" y="209"/>
                    <a:pt x="52" y="199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5" y="102"/>
                    <a:pt x="102" y="95"/>
                    <a:pt x="110" y="8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10" y="50"/>
                    <a:pt x="220" y="50"/>
                    <a:pt x="230" y="51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341" y="37"/>
                    <a:pt x="341" y="37"/>
                    <a:pt x="341" y="37"/>
                  </a:cubicBezTo>
                  <a:cubicBezTo>
                    <a:pt x="319" y="88"/>
                    <a:pt x="319" y="88"/>
                    <a:pt x="319" y="88"/>
                  </a:cubicBezTo>
                  <a:cubicBezTo>
                    <a:pt x="327" y="95"/>
                    <a:pt x="334" y="102"/>
                    <a:pt x="341" y="110"/>
                  </a:cubicBezTo>
                  <a:cubicBezTo>
                    <a:pt x="392" y="88"/>
                    <a:pt x="392" y="88"/>
                    <a:pt x="392" y="8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79" y="209"/>
                    <a:pt x="379" y="219"/>
                    <a:pt x="378" y="229"/>
                  </a:cubicBezTo>
                  <a:cubicBezTo>
                    <a:pt x="429" y="251"/>
                    <a:pt x="429" y="251"/>
                    <a:pt x="429" y="251"/>
                  </a:cubicBezTo>
                  <a:cubicBezTo>
                    <a:pt x="392" y="340"/>
                    <a:pt x="392" y="340"/>
                    <a:pt x="392" y="340"/>
                  </a:cubicBezTo>
                  <a:cubicBezTo>
                    <a:pt x="341" y="319"/>
                    <a:pt x="341" y="319"/>
                    <a:pt x="341" y="319"/>
                  </a:cubicBezTo>
                  <a:cubicBezTo>
                    <a:pt x="334" y="326"/>
                    <a:pt x="327" y="334"/>
                    <a:pt x="319" y="34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251" y="428"/>
                    <a:pt x="251" y="428"/>
                    <a:pt x="251" y="428"/>
                  </a:cubicBezTo>
                  <a:close/>
                  <a:moveTo>
                    <a:pt x="127" y="376"/>
                  </a:moveTo>
                  <a:cubicBezTo>
                    <a:pt x="162" y="390"/>
                    <a:pt x="162" y="390"/>
                    <a:pt x="162" y="390"/>
                  </a:cubicBezTo>
                  <a:cubicBezTo>
                    <a:pt x="181" y="345"/>
                    <a:pt x="181" y="345"/>
                    <a:pt x="181" y="345"/>
                  </a:cubicBezTo>
                  <a:cubicBezTo>
                    <a:pt x="193" y="347"/>
                    <a:pt x="193" y="347"/>
                    <a:pt x="193" y="347"/>
                  </a:cubicBezTo>
                  <a:cubicBezTo>
                    <a:pt x="207" y="349"/>
                    <a:pt x="222" y="349"/>
                    <a:pt x="237" y="347"/>
                  </a:cubicBezTo>
                  <a:cubicBezTo>
                    <a:pt x="248" y="345"/>
                    <a:pt x="248" y="345"/>
                    <a:pt x="248" y="345"/>
                  </a:cubicBezTo>
                  <a:cubicBezTo>
                    <a:pt x="267" y="390"/>
                    <a:pt x="267" y="390"/>
                    <a:pt x="267" y="390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283" y="330"/>
                    <a:pt x="283" y="330"/>
                    <a:pt x="283" y="330"/>
                  </a:cubicBezTo>
                  <a:cubicBezTo>
                    <a:pt x="293" y="323"/>
                    <a:pt x="293" y="323"/>
                    <a:pt x="293" y="323"/>
                  </a:cubicBezTo>
                  <a:cubicBezTo>
                    <a:pt x="305" y="315"/>
                    <a:pt x="316" y="304"/>
                    <a:pt x="324" y="292"/>
                  </a:cubicBezTo>
                  <a:cubicBezTo>
                    <a:pt x="331" y="283"/>
                    <a:pt x="331" y="283"/>
                    <a:pt x="331" y="283"/>
                  </a:cubicBezTo>
                  <a:cubicBezTo>
                    <a:pt x="376" y="302"/>
                    <a:pt x="376" y="302"/>
                    <a:pt x="376" y="302"/>
                  </a:cubicBezTo>
                  <a:cubicBezTo>
                    <a:pt x="391" y="266"/>
                    <a:pt x="391" y="266"/>
                    <a:pt x="391" y="266"/>
                  </a:cubicBezTo>
                  <a:cubicBezTo>
                    <a:pt x="345" y="248"/>
                    <a:pt x="345" y="248"/>
                    <a:pt x="345" y="248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50" y="222"/>
                    <a:pt x="350" y="207"/>
                    <a:pt x="347" y="192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76" y="127"/>
                    <a:pt x="376" y="127"/>
                    <a:pt x="376" y="127"/>
                  </a:cubicBezTo>
                  <a:cubicBezTo>
                    <a:pt x="331" y="145"/>
                    <a:pt x="331" y="145"/>
                    <a:pt x="331" y="145"/>
                  </a:cubicBezTo>
                  <a:cubicBezTo>
                    <a:pt x="324" y="136"/>
                    <a:pt x="324" y="136"/>
                    <a:pt x="324" y="136"/>
                  </a:cubicBezTo>
                  <a:cubicBezTo>
                    <a:pt x="315" y="124"/>
                    <a:pt x="305" y="113"/>
                    <a:pt x="293" y="105"/>
                  </a:cubicBezTo>
                  <a:cubicBezTo>
                    <a:pt x="283" y="98"/>
                    <a:pt x="283" y="98"/>
                    <a:pt x="283" y="98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48" y="83"/>
                    <a:pt x="248" y="83"/>
                    <a:pt x="248" y="83"/>
                  </a:cubicBezTo>
                  <a:cubicBezTo>
                    <a:pt x="237" y="81"/>
                    <a:pt x="237" y="81"/>
                    <a:pt x="237" y="81"/>
                  </a:cubicBezTo>
                  <a:cubicBezTo>
                    <a:pt x="222" y="79"/>
                    <a:pt x="207" y="79"/>
                    <a:pt x="193" y="82"/>
                  </a:cubicBezTo>
                  <a:cubicBezTo>
                    <a:pt x="181" y="83"/>
                    <a:pt x="181" y="83"/>
                    <a:pt x="181" y="83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37" y="105"/>
                    <a:pt x="137" y="105"/>
                    <a:pt x="137" y="105"/>
                  </a:cubicBezTo>
                  <a:cubicBezTo>
                    <a:pt x="124" y="114"/>
                    <a:pt x="114" y="124"/>
                    <a:pt x="105" y="136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39" y="162"/>
                    <a:pt x="39" y="162"/>
                    <a:pt x="39" y="162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0" y="207"/>
                    <a:pt x="80" y="221"/>
                    <a:pt x="82" y="236"/>
                  </a:cubicBezTo>
                  <a:cubicBezTo>
                    <a:pt x="84" y="248"/>
                    <a:pt x="84" y="248"/>
                    <a:pt x="84" y="248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53" y="302"/>
                    <a:pt x="53" y="302"/>
                    <a:pt x="53" y="302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105" y="292"/>
                    <a:pt x="105" y="292"/>
                    <a:pt x="105" y="292"/>
                  </a:cubicBezTo>
                  <a:cubicBezTo>
                    <a:pt x="114" y="304"/>
                    <a:pt x="125" y="315"/>
                    <a:pt x="137" y="324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27" y="376"/>
                    <a:pt x="127" y="376"/>
                    <a:pt x="127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10">
              <a:extLst>
                <a:ext uri="{FF2B5EF4-FFF2-40B4-BE49-F238E27FC236}">
                  <a16:creationId xmlns:a16="http://schemas.microsoft.com/office/drawing/2014/main" id="{B9F57C61-F4E3-9D47-B439-96B00AF6D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938" y="3552825"/>
              <a:ext cx="187325" cy="198437"/>
            </a:xfrm>
            <a:custGeom>
              <a:avLst/>
              <a:gdLst>
                <a:gd name="T0" fmla="*/ 46 w 326"/>
                <a:gd name="T1" fmla="*/ 347 h 347"/>
                <a:gd name="T2" fmla="*/ 4 w 326"/>
                <a:gd name="T3" fmla="*/ 261 h 347"/>
                <a:gd name="T4" fmla="*/ 53 w 326"/>
                <a:gd name="T5" fmla="*/ 237 h 347"/>
                <a:gd name="T6" fmla="*/ 51 w 326"/>
                <a:gd name="T7" fmla="*/ 208 h 347"/>
                <a:gd name="T8" fmla="*/ 0 w 326"/>
                <a:gd name="T9" fmla="*/ 190 h 347"/>
                <a:gd name="T10" fmla="*/ 31 w 326"/>
                <a:gd name="T11" fmla="*/ 100 h 347"/>
                <a:gd name="T12" fmla="*/ 83 w 326"/>
                <a:gd name="T13" fmla="*/ 117 h 347"/>
                <a:gd name="T14" fmla="*/ 102 w 326"/>
                <a:gd name="T15" fmla="*/ 95 h 347"/>
                <a:gd name="T16" fmla="*/ 78 w 326"/>
                <a:gd name="T17" fmla="*/ 46 h 347"/>
                <a:gd name="T18" fmla="*/ 164 w 326"/>
                <a:gd name="T19" fmla="*/ 4 h 347"/>
                <a:gd name="T20" fmla="*/ 188 w 326"/>
                <a:gd name="T21" fmla="*/ 53 h 347"/>
                <a:gd name="T22" fmla="*/ 218 w 326"/>
                <a:gd name="T23" fmla="*/ 52 h 347"/>
                <a:gd name="T24" fmla="*/ 236 w 326"/>
                <a:gd name="T25" fmla="*/ 0 h 347"/>
                <a:gd name="T26" fmla="*/ 326 w 326"/>
                <a:gd name="T27" fmla="*/ 31 h 347"/>
                <a:gd name="T28" fmla="*/ 304 w 326"/>
                <a:gd name="T29" fmla="*/ 93 h 347"/>
                <a:gd name="T30" fmla="*/ 277 w 326"/>
                <a:gd name="T31" fmla="*/ 84 h 347"/>
                <a:gd name="T32" fmla="*/ 289 w 326"/>
                <a:gd name="T33" fmla="*/ 49 h 347"/>
                <a:gd name="T34" fmla="*/ 254 w 326"/>
                <a:gd name="T35" fmla="*/ 37 h 347"/>
                <a:gd name="T36" fmla="*/ 238 w 326"/>
                <a:gd name="T37" fmla="*/ 83 h 347"/>
                <a:gd name="T38" fmla="*/ 226 w 326"/>
                <a:gd name="T39" fmla="*/ 82 h 347"/>
                <a:gd name="T40" fmla="*/ 183 w 326"/>
                <a:gd name="T41" fmla="*/ 84 h 347"/>
                <a:gd name="T42" fmla="*/ 172 w 326"/>
                <a:gd name="T43" fmla="*/ 87 h 347"/>
                <a:gd name="T44" fmla="*/ 151 w 326"/>
                <a:gd name="T45" fmla="*/ 43 h 347"/>
                <a:gd name="T46" fmla="*/ 118 w 326"/>
                <a:gd name="T47" fmla="*/ 60 h 347"/>
                <a:gd name="T48" fmla="*/ 139 w 326"/>
                <a:gd name="T49" fmla="*/ 103 h 347"/>
                <a:gd name="T50" fmla="*/ 130 w 326"/>
                <a:gd name="T51" fmla="*/ 110 h 347"/>
                <a:gd name="T52" fmla="*/ 101 w 326"/>
                <a:gd name="T53" fmla="*/ 143 h 347"/>
                <a:gd name="T54" fmla="*/ 95 w 326"/>
                <a:gd name="T55" fmla="*/ 152 h 347"/>
                <a:gd name="T56" fmla="*/ 49 w 326"/>
                <a:gd name="T57" fmla="*/ 137 h 347"/>
                <a:gd name="T58" fmla="*/ 37 w 326"/>
                <a:gd name="T59" fmla="*/ 172 h 347"/>
                <a:gd name="T60" fmla="*/ 83 w 326"/>
                <a:gd name="T61" fmla="*/ 187 h 347"/>
                <a:gd name="T62" fmla="*/ 81 w 326"/>
                <a:gd name="T63" fmla="*/ 199 h 347"/>
                <a:gd name="T64" fmla="*/ 84 w 326"/>
                <a:gd name="T65" fmla="*/ 242 h 347"/>
                <a:gd name="T66" fmla="*/ 87 w 326"/>
                <a:gd name="T67" fmla="*/ 254 h 347"/>
                <a:gd name="T68" fmla="*/ 43 w 326"/>
                <a:gd name="T69" fmla="*/ 275 h 347"/>
                <a:gd name="T70" fmla="*/ 59 w 326"/>
                <a:gd name="T71" fmla="*/ 308 h 347"/>
                <a:gd name="T72" fmla="*/ 92 w 326"/>
                <a:gd name="T73" fmla="*/ 292 h 347"/>
                <a:gd name="T74" fmla="*/ 105 w 326"/>
                <a:gd name="T75" fmla="*/ 318 h 347"/>
                <a:gd name="T76" fmla="*/ 46 w 326"/>
                <a:gd name="T77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6" h="347">
                  <a:moveTo>
                    <a:pt x="46" y="347"/>
                  </a:moveTo>
                  <a:cubicBezTo>
                    <a:pt x="4" y="261"/>
                    <a:pt x="4" y="261"/>
                    <a:pt x="4" y="261"/>
                  </a:cubicBezTo>
                  <a:cubicBezTo>
                    <a:pt x="53" y="237"/>
                    <a:pt x="53" y="237"/>
                    <a:pt x="53" y="237"/>
                  </a:cubicBezTo>
                  <a:cubicBezTo>
                    <a:pt x="52" y="227"/>
                    <a:pt x="51" y="218"/>
                    <a:pt x="51" y="20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8" y="109"/>
                    <a:pt x="95" y="102"/>
                    <a:pt x="102" y="95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198" y="52"/>
                    <a:pt x="208" y="51"/>
                    <a:pt x="218" y="52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04" y="93"/>
                    <a:pt x="304" y="93"/>
                    <a:pt x="304" y="93"/>
                  </a:cubicBezTo>
                  <a:cubicBezTo>
                    <a:pt x="277" y="84"/>
                    <a:pt x="277" y="84"/>
                    <a:pt x="277" y="84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54" y="37"/>
                    <a:pt x="254" y="37"/>
                    <a:pt x="254" y="37"/>
                  </a:cubicBezTo>
                  <a:cubicBezTo>
                    <a:pt x="238" y="83"/>
                    <a:pt x="238" y="83"/>
                    <a:pt x="238" y="83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12" y="80"/>
                    <a:pt x="197" y="81"/>
                    <a:pt x="183" y="84"/>
                  </a:cubicBezTo>
                  <a:cubicBezTo>
                    <a:pt x="172" y="87"/>
                    <a:pt x="172" y="87"/>
                    <a:pt x="172" y="87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0" y="110"/>
                    <a:pt x="130" y="110"/>
                    <a:pt x="130" y="110"/>
                  </a:cubicBezTo>
                  <a:cubicBezTo>
                    <a:pt x="118" y="120"/>
                    <a:pt x="109" y="130"/>
                    <a:pt x="101" y="143"/>
                  </a:cubicBezTo>
                  <a:cubicBezTo>
                    <a:pt x="95" y="152"/>
                    <a:pt x="95" y="152"/>
                    <a:pt x="95" y="152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83" y="187"/>
                    <a:pt x="83" y="187"/>
                    <a:pt x="83" y="187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80" y="213"/>
                    <a:pt x="81" y="228"/>
                    <a:pt x="84" y="242"/>
                  </a:cubicBezTo>
                  <a:cubicBezTo>
                    <a:pt x="87" y="254"/>
                    <a:pt x="87" y="254"/>
                    <a:pt x="87" y="254"/>
                  </a:cubicBezTo>
                  <a:cubicBezTo>
                    <a:pt x="43" y="275"/>
                    <a:pt x="43" y="275"/>
                    <a:pt x="43" y="275"/>
                  </a:cubicBezTo>
                  <a:cubicBezTo>
                    <a:pt x="59" y="308"/>
                    <a:pt x="59" y="308"/>
                    <a:pt x="59" y="308"/>
                  </a:cubicBezTo>
                  <a:cubicBezTo>
                    <a:pt x="92" y="292"/>
                    <a:pt x="92" y="292"/>
                    <a:pt x="92" y="292"/>
                  </a:cubicBezTo>
                  <a:cubicBezTo>
                    <a:pt x="105" y="318"/>
                    <a:pt x="105" y="318"/>
                    <a:pt x="105" y="318"/>
                  </a:cubicBezTo>
                  <a:cubicBezTo>
                    <a:pt x="46" y="347"/>
                    <a:pt x="46" y="347"/>
                    <a:pt x="46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11">
              <a:extLst>
                <a:ext uri="{FF2B5EF4-FFF2-40B4-BE49-F238E27FC236}">
                  <a16:creationId xmlns:a16="http://schemas.microsoft.com/office/drawing/2014/main" id="{DBEFC43B-FBD0-684E-8E67-18FFBE207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5725" y="3821113"/>
              <a:ext cx="98425" cy="90487"/>
            </a:xfrm>
            <a:custGeom>
              <a:avLst/>
              <a:gdLst>
                <a:gd name="T0" fmla="*/ 91 w 173"/>
                <a:gd name="T1" fmla="*/ 160 h 160"/>
                <a:gd name="T2" fmla="*/ 91 w 173"/>
                <a:gd name="T3" fmla="*/ 160 h 160"/>
                <a:gd name="T4" fmla="*/ 60 w 173"/>
                <a:gd name="T5" fmla="*/ 154 h 160"/>
                <a:gd name="T6" fmla="*/ 17 w 173"/>
                <a:gd name="T7" fmla="*/ 49 h 160"/>
                <a:gd name="T8" fmla="*/ 91 w 173"/>
                <a:gd name="T9" fmla="*/ 0 h 160"/>
                <a:gd name="T10" fmla="*/ 121 w 173"/>
                <a:gd name="T11" fmla="*/ 6 h 160"/>
                <a:gd name="T12" fmla="*/ 165 w 173"/>
                <a:gd name="T13" fmla="*/ 50 h 160"/>
                <a:gd name="T14" fmla="*/ 165 w 173"/>
                <a:gd name="T15" fmla="*/ 111 h 160"/>
                <a:gd name="T16" fmla="*/ 91 w 173"/>
                <a:gd name="T17" fmla="*/ 160 h 160"/>
                <a:gd name="T18" fmla="*/ 91 w 173"/>
                <a:gd name="T19" fmla="*/ 29 h 160"/>
                <a:gd name="T20" fmla="*/ 44 w 173"/>
                <a:gd name="T21" fmla="*/ 61 h 160"/>
                <a:gd name="T22" fmla="*/ 71 w 173"/>
                <a:gd name="T23" fmla="*/ 127 h 160"/>
                <a:gd name="T24" fmla="*/ 138 w 173"/>
                <a:gd name="T25" fmla="*/ 100 h 160"/>
                <a:gd name="T26" fmla="*/ 138 w 173"/>
                <a:gd name="T27" fmla="*/ 61 h 160"/>
                <a:gd name="T28" fmla="*/ 110 w 173"/>
                <a:gd name="T29" fmla="*/ 33 h 160"/>
                <a:gd name="T30" fmla="*/ 91 w 173"/>
                <a:gd name="T31" fmla="*/ 2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3" h="160">
                  <a:moveTo>
                    <a:pt x="91" y="160"/>
                  </a:moveTo>
                  <a:cubicBezTo>
                    <a:pt x="91" y="160"/>
                    <a:pt x="91" y="160"/>
                    <a:pt x="91" y="160"/>
                  </a:cubicBezTo>
                  <a:cubicBezTo>
                    <a:pt x="80" y="160"/>
                    <a:pt x="70" y="158"/>
                    <a:pt x="60" y="154"/>
                  </a:cubicBezTo>
                  <a:cubicBezTo>
                    <a:pt x="19" y="137"/>
                    <a:pt x="0" y="90"/>
                    <a:pt x="17" y="49"/>
                  </a:cubicBezTo>
                  <a:cubicBezTo>
                    <a:pt x="29" y="19"/>
                    <a:pt x="58" y="0"/>
                    <a:pt x="91" y="0"/>
                  </a:cubicBezTo>
                  <a:cubicBezTo>
                    <a:pt x="101" y="0"/>
                    <a:pt x="112" y="2"/>
                    <a:pt x="121" y="6"/>
                  </a:cubicBezTo>
                  <a:cubicBezTo>
                    <a:pt x="141" y="14"/>
                    <a:pt x="157" y="30"/>
                    <a:pt x="165" y="50"/>
                  </a:cubicBezTo>
                  <a:cubicBezTo>
                    <a:pt x="173" y="69"/>
                    <a:pt x="173" y="91"/>
                    <a:pt x="165" y="111"/>
                  </a:cubicBezTo>
                  <a:cubicBezTo>
                    <a:pt x="152" y="141"/>
                    <a:pt x="123" y="160"/>
                    <a:pt x="91" y="160"/>
                  </a:cubicBezTo>
                  <a:close/>
                  <a:moveTo>
                    <a:pt x="91" y="29"/>
                  </a:moveTo>
                  <a:cubicBezTo>
                    <a:pt x="70" y="29"/>
                    <a:pt x="52" y="42"/>
                    <a:pt x="44" y="61"/>
                  </a:cubicBezTo>
                  <a:cubicBezTo>
                    <a:pt x="33" y="87"/>
                    <a:pt x="45" y="116"/>
                    <a:pt x="71" y="127"/>
                  </a:cubicBezTo>
                  <a:cubicBezTo>
                    <a:pt x="97" y="138"/>
                    <a:pt x="127" y="125"/>
                    <a:pt x="138" y="100"/>
                  </a:cubicBezTo>
                  <a:cubicBezTo>
                    <a:pt x="143" y="87"/>
                    <a:pt x="143" y="73"/>
                    <a:pt x="138" y="61"/>
                  </a:cubicBezTo>
                  <a:cubicBezTo>
                    <a:pt x="132" y="48"/>
                    <a:pt x="123" y="38"/>
                    <a:pt x="110" y="33"/>
                  </a:cubicBezTo>
                  <a:cubicBezTo>
                    <a:pt x="104" y="31"/>
                    <a:pt x="97" y="29"/>
                    <a:pt x="9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5" name="Grafik 3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D922601-0EE5-C148-97F1-D3E9ACA7B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4" y="5338359"/>
            <a:ext cx="571718" cy="57171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030FAB1E-04BC-2A44-B2DF-4A81FBC7FD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75757" y="849296"/>
            <a:ext cx="449673" cy="449673"/>
          </a:xfrm>
          <a:prstGeom prst="rect">
            <a:avLst/>
          </a:prstGeom>
        </p:spPr>
      </p:pic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AF7B9672-0651-A745-8B23-E83DBC0DAE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903025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15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FC662E6-CAB2-A14C-BADE-2E012FDE9774}"/>
              </a:ext>
            </a:extLst>
          </p:cNvPr>
          <p:cNvCxnSpPr>
            <a:cxnSpLocks/>
          </p:cNvCxnSpPr>
          <p:nvPr userDrawn="1"/>
        </p:nvCxnSpPr>
        <p:spPr>
          <a:xfrm>
            <a:off x="6102111" y="0"/>
            <a:ext cx="0" cy="591007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E69384A3-A284-5248-BDD5-AC714FE55E0D}"/>
              </a:ext>
            </a:extLst>
          </p:cNvPr>
          <p:cNvSpPr/>
          <p:nvPr userDrawn="1"/>
        </p:nvSpPr>
        <p:spPr>
          <a:xfrm rot="5400000">
            <a:off x="5731035" y="2980737"/>
            <a:ext cx="742149" cy="7421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4A8A1B7-BF71-924A-82B4-1E5EA184AD57}"/>
              </a:ext>
            </a:extLst>
          </p:cNvPr>
          <p:cNvSpPr/>
          <p:nvPr userDrawn="1"/>
        </p:nvSpPr>
        <p:spPr>
          <a:xfrm rot="5400000">
            <a:off x="5731035" y="5253145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9935A835-355F-3D41-B750-B4B2538A6EB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753514" y="3265478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66D2165A-21BA-FE43-8D1F-710051BEFA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837380" y="5538263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Finish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0A715F7C-7016-5E43-82C9-9157E31BC8F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837380" y="5995294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F6399F07-102A-1F44-88CD-F71D56999D8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534198" y="3722886"/>
            <a:ext cx="2846388" cy="50918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E455230-6A9E-D341-A943-DE07CC510971}"/>
              </a:ext>
            </a:extLst>
          </p:cNvPr>
          <p:cNvSpPr/>
          <p:nvPr userDrawn="1"/>
        </p:nvSpPr>
        <p:spPr>
          <a:xfrm rot="5400000">
            <a:off x="5731035" y="708328"/>
            <a:ext cx="742149" cy="74214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9625A5E6-224A-4D4B-8F07-B90AB71A7DB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837380" y="993446"/>
            <a:ext cx="2616759" cy="17191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E27DFBB5-FC9F-334F-822B-ECC47CD88E6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837380" y="1450477"/>
            <a:ext cx="2846388" cy="5001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.</a:t>
            </a:r>
          </a:p>
        </p:txBody>
      </p:sp>
      <p:grpSp>
        <p:nvGrpSpPr>
          <p:cNvPr id="23" name="Group 587">
            <a:extLst>
              <a:ext uri="{FF2B5EF4-FFF2-40B4-BE49-F238E27FC236}">
                <a16:creationId xmlns:a16="http://schemas.microsoft.com/office/drawing/2014/main" id="{72C0593D-5184-3745-BDB6-09724EC90BD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01466" y="3183904"/>
            <a:ext cx="423964" cy="386334"/>
            <a:chOff x="3817938" y="3500438"/>
            <a:chExt cx="536574" cy="488949"/>
          </a:xfrm>
          <a:solidFill>
            <a:schemeClr val="bg2"/>
          </a:solidFill>
        </p:grpSpPr>
        <p:sp>
          <p:nvSpPr>
            <p:cNvPr id="25" name="Freeform 206">
              <a:extLst>
                <a:ext uri="{FF2B5EF4-FFF2-40B4-BE49-F238E27FC236}">
                  <a16:creationId xmlns:a16="http://schemas.microsoft.com/office/drawing/2014/main" id="{E147CF4E-B746-594F-B9D8-8F6B9758C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6850" y="3500438"/>
              <a:ext cx="347662" cy="347662"/>
            </a:xfrm>
            <a:custGeom>
              <a:avLst/>
              <a:gdLst>
                <a:gd name="T0" fmla="*/ 334 w 608"/>
                <a:gd name="T1" fmla="*/ 553 h 608"/>
                <a:gd name="T2" fmla="*/ 246 w 608"/>
                <a:gd name="T3" fmla="*/ 608 h 608"/>
                <a:gd name="T4" fmla="*/ 149 w 608"/>
                <a:gd name="T5" fmla="*/ 501 h 608"/>
                <a:gd name="T6" fmla="*/ 48 w 608"/>
                <a:gd name="T7" fmla="*/ 478 h 608"/>
                <a:gd name="T8" fmla="*/ 55 w 608"/>
                <a:gd name="T9" fmla="*/ 334 h 608"/>
                <a:gd name="T10" fmla="*/ 0 w 608"/>
                <a:gd name="T11" fmla="*/ 246 h 608"/>
                <a:gd name="T12" fmla="*/ 106 w 608"/>
                <a:gd name="T13" fmla="*/ 149 h 608"/>
                <a:gd name="T14" fmla="*/ 130 w 608"/>
                <a:gd name="T15" fmla="*/ 48 h 608"/>
                <a:gd name="T16" fmla="*/ 274 w 608"/>
                <a:gd name="T17" fmla="*/ 55 h 608"/>
                <a:gd name="T18" fmla="*/ 362 w 608"/>
                <a:gd name="T19" fmla="*/ 0 h 608"/>
                <a:gd name="T20" fmla="*/ 459 w 608"/>
                <a:gd name="T21" fmla="*/ 106 h 608"/>
                <a:gd name="T22" fmla="*/ 560 w 608"/>
                <a:gd name="T23" fmla="*/ 130 h 608"/>
                <a:gd name="T24" fmla="*/ 553 w 608"/>
                <a:gd name="T25" fmla="*/ 273 h 608"/>
                <a:gd name="T26" fmla="*/ 608 w 608"/>
                <a:gd name="T27" fmla="*/ 362 h 608"/>
                <a:gd name="T28" fmla="*/ 502 w 608"/>
                <a:gd name="T29" fmla="*/ 458 h 608"/>
                <a:gd name="T30" fmla="*/ 478 w 608"/>
                <a:gd name="T31" fmla="*/ 560 h 608"/>
                <a:gd name="T32" fmla="*/ 166 w 608"/>
                <a:gd name="T33" fmla="*/ 543 h 608"/>
                <a:gd name="T34" fmla="*/ 257 w 608"/>
                <a:gd name="T35" fmla="*/ 521 h 608"/>
                <a:gd name="T36" fmla="*/ 340 w 608"/>
                <a:gd name="T37" fmla="*/ 522 h 608"/>
                <a:gd name="T38" fmla="*/ 376 w 608"/>
                <a:gd name="T39" fmla="*/ 570 h 608"/>
                <a:gd name="T40" fmla="*/ 424 w 608"/>
                <a:gd name="T41" fmla="*/ 490 h 608"/>
                <a:gd name="T42" fmla="*/ 484 w 608"/>
                <a:gd name="T43" fmla="*/ 433 h 608"/>
                <a:gd name="T44" fmla="*/ 543 w 608"/>
                <a:gd name="T45" fmla="*/ 441 h 608"/>
                <a:gd name="T46" fmla="*/ 521 w 608"/>
                <a:gd name="T47" fmla="*/ 351 h 608"/>
                <a:gd name="T48" fmla="*/ 523 w 608"/>
                <a:gd name="T49" fmla="*/ 267 h 608"/>
                <a:gd name="T50" fmla="*/ 571 w 608"/>
                <a:gd name="T51" fmla="*/ 232 h 608"/>
                <a:gd name="T52" fmla="*/ 491 w 608"/>
                <a:gd name="T53" fmla="*/ 184 h 608"/>
                <a:gd name="T54" fmla="*/ 433 w 608"/>
                <a:gd name="T55" fmla="*/ 123 h 608"/>
                <a:gd name="T56" fmla="*/ 442 w 608"/>
                <a:gd name="T57" fmla="*/ 64 h 608"/>
                <a:gd name="T58" fmla="*/ 351 w 608"/>
                <a:gd name="T59" fmla="*/ 87 h 608"/>
                <a:gd name="T60" fmla="*/ 268 w 608"/>
                <a:gd name="T61" fmla="*/ 85 h 608"/>
                <a:gd name="T62" fmla="*/ 232 w 608"/>
                <a:gd name="T63" fmla="*/ 37 h 608"/>
                <a:gd name="T64" fmla="*/ 184 w 608"/>
                <a:gd name="T65" fmla="*/ 117 h 608"/>
                <a:gd name="T66" fmla="*/ 124 w 608"/>
                <a:gd name="T67" fmla="*/ 175 h 608"/>
                <a:gd name="T68" fmla="*/ 65 w 608"/>
                <a:gd name="T69" fmla="*/ 166 h 608"/>
                <a:gd name="T70" fmla="*/ 87 w 608"/>
                <a:gd name="T71" fmla="*/ 257 h 608"/>
                <a:gd name="T72" fmla="*/ 85 w 608"/>
                <a:gd name="T73" fmla="*/ 340 h 608"/>
                <a:gd name="T74" fmla="*/ 37 w 608"/>
                <a:gd name="T75" fmla="*/ 376 h 608"/>
                <a:gd name="T76" fmla="*/ 117 w 608"/>
                <a:gd name="T77" fmla="*/ 424 h 608"/>
                <a:gd name="T78" fmla="*/ 175 w 608"/>
                <a:gd name="T79" fmla="*/ 484 h 608"/>
                <a:gd name="T80" fmla="*/ 166 w 608"/>
                <a:gd name="T81" fmla="*/ 54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8" h="608">
                  <a:moveTo>
                    <a:pt x="362" y="608"/>
                  </a:moveTo>
                  <a:cubicBezTo>
                    <a:pt x="334" y="553"/>
                    <a:pt x="334" y="553"/>
                    <a:pt x="334" y="553"/>
                  </a:cubicBezTo>
                  <a:cubicBezTo>
                    <a:pt x="314" y="555"/>
                    <a:pt x="294" y="555"/>
                    <a:pt x="274" y="553"/>
                  </a:cubicBezTo>
                  <a:cubicBezTo>
                    <a:pt x="246" y="608"/>
                    <a:pt x="246" y="608"/>
                    <a:pt x="246" y="608"/>
                  </a:cubicBezTo>
                  <a:cubicBezTo>
                    <a:pt x="130" y="560"/>
                    <a:pt x="130" y="560"/>
                    <a:pt x="130" y="560"/>
                  </a:cubicBezTo>
                  <a:cubicBezTo>
                    <a:pt x="149" y="501"/>
                    <a:pt x="149" y="501"/>
                    <a:pt x="149" y="501"/>
                  </a:cubicBezTo>
                  <a:cubicBezTo>
                    <a:pt x="133" y="489"/>
                    <a:pt x="119" y="474"/>
                    <a:pt x="106" y="458"/>
                  </a:cubicBezTo>
                  <a:cubicBezTo>
                    <a:pt x="48" y="478"/>
                    <a:pt x="48" y="478"/>
                    <a:pt x="48" y="478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55" y="334"/>
                    <a:pt x="55" y="334"/>
                    <a:pt x="55" y="334"/>
                  </a:cubicBezTo>
                  <a:cubicBezTo>
                    <a:pt x="52" y="314"/>
                    <a:pt x="52" y="293"/>
                    <a:pt x="55" y="273"/>
                  </a:cubicBezTo>
                  <a:cubicBezTo>
                    <a:pt x="0" y="246"/>
                    <a:pt x="0" y="246"/>
                    <a:pt x="0" y="246"/>
                  </a:cubicBezTo>
                  <a:cubicBezTo>
                    <a:pt x="48" y="130"/>
                    <a:pt x="48" y="130"/>
                    <a:pt x="48" y="13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19" y="133"/>
                    <a:pt x="133" y="119"/>
                    <a:pt x="149" y="106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74" y="55"/>
                    <a:pt x="274" y="55"/>
                    <a:pt x="274" y="55"/>
                  </a:cubicBezTo>
                  <a:cubicBezTo>
                    <a:pt x="294" y="52"/>
                    <a:pt x="314" y="52"/>
                    <a:pt x="334" y="55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59" y="106"/>
                    <a:pt x="459" y="106"/>
                    <a:pt x="459" y="106"/>
                  </a:cubicBezTo>
                  <a:cubicBezTo>
                    <a:pt x="475" y="118"/>
                    <a:pt x="489" y="133"/>
                    <a:pt x="502" y="149"/>
                  </a:cubicBezTo>
                  <a:cubicBezTo>
                    <a:pt x="560" y="130"/>
                    <a:pt x="560" y="130"/>
                    <a:pt x="560" y="130"/>
                  </a:cubicBezTo>
                  <a:cubicBezTo>
                    <a:pt x="608" y="246"/>
                    <a:pt x="608" y="246"/>
                    <a:pt x="608" y="246"/>
                  </a:cubicBezTo>
                  <a:cubicBezTo>
                    <a:pt x="553" y="273"/>
                    <a:pt x="553" y="273"/>
                    <a:pt x="553" y="273"/>
                  </a:cubicBezTo>
                  <a:cubicBezTo>
                    <a:pt x="556" y="293"/>
                    <a:pt x="556" y="314"/>
                    <a:pt x="553" y="334"/>
                  </a:cubicBezTo>
                  <a:cubicBezTo>
                    <a:pt x="608" y="362"/>
                    <a:pt x="608" y="362"/>
                    <a:pt x="608" y="362"/>
                  </a:cubicBezTo>
                  <a:cubicBezTo>
                    <a:pt x="560" y="478"/>
                    <a:pt x="560" y="478"/>
                    <a:pt x="560" y="478"/>
                  </a:cubicBezTo>
                  <a:cubicBezTo>
                    <a:pt x="502" y="458"/>
                    <a:pt x="502" y="458"/>
                    <a:pt x="502" y="458"/>
                  </a:cubicBezTo>
                  <a:cubicBezTo>
                    <a:pt x="489" y="474"/>
                    <a:pt x="475" y="489"/>
                    <a:pt x="459" y="501"/>
                  </a:cubicBezTo>
                  <a:cubicBezTo>
                    <a:pt x="478" y="560"/>
                    <a:pt x="478" y="560"/>
                    <a:pt x="478" y="560"/>
                  </a:cubicBezTo>
                  <a:cubicBezTo>
                    <a:pt x="362" y="608"/>
                    <a:pt x="362" y="608"/>
                    <a:pt x="362" y="608"/>
                  </a:cubicBezTo>
                  <a:close/>
                  <a:moveTo>
                    <a:pt x="166" y="543"/>
                  </a:moveTo>
                  <a:cubicBezTo>
                    <a:pt x="232" y="570"/>
                    <a:pt x="232" y="570"/>
                    <a:pt x="232" y="570"/>
                  </a:cubicBezTo>
                  <a:cubicBezTo>
                    <a:pt x="257" y="521"/>
                    <a:pt x="257" y="521"/>
                    <a:pt x="257" y="521"/>
                  </a:cubicBezTo>
                  <a:cubicBezTo>
                    <a:pt x="268" y="522"/>
                    <a:pt x="268" y="522"/>
                    <a:pt x="268" y="522"/>
                  </a:cubicBezTo>
                  <a:cubicBezTo>
                    <a:pt x="292" y="526"/>
                    <a:pt x="316" y="526"/>
                    <a:pt x="340" y="522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76" y="570"/>
                    <a:pt x="376" y="570"/>
                    <a:pt x="376" y="570"/>
                  </a:cubicBezTo>
                  <a:cubicBezTo>
                    <a:pt x="442" y="543"/>
                    <a:pt x="442" y="543"/>
                    <a:pt x="442" y="543"/>
                  </a:cubicBezTo>
                  <a:cubicBezTo>
                    <a:pt x="424" y="490"/>
                    <a:pt x="424" y="490"/>
                    <a:pt x="424" y="490"/>
                  </a:cubicBezTo>
                  <a:cubicBezTo>
                    <a:pt x="433" y="484"/>
                    <a:pt x="433" y="484"/>
                    <a:pt x="433" y="484"/>
                  </a:cubicBezTo>
                  <a:cubicBezTo>
                    <a:pt x="453" y="470"/>
                    <a:pt x="470" y="452"/>
                    <a:pt x="484" y="433"/>
                  </a:cubicBezTo>
                  <a:cubicBezTo>
                    <a:pt x="491" y="424"/>
                    <a:pt x="491" y="424"/>
                    <a:pt x="491" y="424"/>
                  </a:cubicBezTo>
                  <a:cubicBezTo>
                    <a:pt x="543" y="441"/>
                    <a:pt x="543" y="441"/>
                    <a:pt x="543" y="441"/>
                  </a:cubicBezTo>
                  <a:cubicBezTo>
                    <a:pt x="571" y="376"/>
                    <a:pt x="571" y="376"/>
                    <a:pt x="571" y="376"/>
                  </a:cubicBezTo>
                  <a:cubicBezTo>
                    <a:pt x="521" y="351"/>
                    <a:pt x="521" y="351"/>
                    <a:pt x="521" y="351"/>
                  </a:cubicBezTo>
                  <a:cubicBezTo>
                    <a:pt x="523" y="340"/>
                    <a:pt x="523" y="340"/>
                    <a:pt x="523" y="340"/>
                  </a:cubicBezTo>
                  <a:cubicBezTo>
                    <a:pt x="527" y="316"/>
                    <a:pt x="527" y="291"/>
                    <a:pt x="523" y="267"/>
                  </a:cubicBezTo>
                  <a:cubicBezTo>
                    <a:pt x="521" y="257"/>
                    <a:pt x="521" y="257"/>
                    <a:pt x="521" y="257"/>
                  </a:cubicBezTo>
                  <a:cubicBezTo>
                    <a:pt x="571" y="232"/>
                    <a:pt x="571" y="232"/>
                    <a:pt x="571" y="232"/>
                  </a:cubicBezTo>
                  <a:cubicBezTo>
                    <a:pt x="543" y="166"/>
                    <a:pt x="543" y="166"/>
                    <a:pt x="543" y="166"/>
                  </a:cubicBezTo>
                  <a:cubicBezTo>
                    <a:pt x="491" y="184"/>
                    <a:pt x="491" y="184"/>
                    <a:pt x="491" y="184"/>
                  </a:cubicBezTo>
                  <a:cubicBezTo>
                    <a:pt x="484" y="175"/>
                    <a:pt x="484" y="175"/>
                    <a:pt x="484" y="175"/>
                  </a:cubicBezTo>
                  <a:cubicBezTo>
                    <a:pt x="470" y="155"/>
                    <a:pt x="453" y="137"/>
                    <a:pt x="433" y="123"/>
                  </a:cubicBezTo>
                  <a:cubicBezTo>
                    <a:pt x="424" y="117"/>
                    <a:pt x="424" y="117"/>
                    <a:pt x="424" y="11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376" y="37"/>
                    <a:pt x="376" y="37"/>
                    <a:pt x="376" y="37"/>
                  </a:cubicBezTo>
                  <a:cubicBezTo>
                    <a:pt x="351" y="87"/>
                    <a:pt x="351" y="87"/>
                    <a:pt x="351" y="87"/>
                  </a:cubicBezTo>
                  <a:cubicBezTo>
                    <a:pt x="340" y="85"/>
                    <a:pt x="340" y="85"/>
                    <a:pt x="340" y="85"/>
                  </a:cubicBezTo>
                  <a:cubicBezTo>
                    <a:pt x="316" y="81"/>
                    <a:pt x="292" y="81"/>
                    <a:pt x="268" y="85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32" y="37"/>
                    <a:pt x="232" y="37"/>
                    <a:pt x="232" y="37"/>
                  </a:cubicBezTo>
                  <a:cubicBezTo>
                    <a:pt x="166" y="64"/>
                    <a:pt x="166" y="64"/>
                    <a:pt x="166" y="64"/>
                  </a:cubicBezTo>
                  <a:cubicBezTo>
                    <a:pt x="184" y="117"/>
                    <a:pt x="184" y="117"/>
                    <a:pt x="184" y="117"/>
                  </a:cubicBezTo>
                  <a:cubicBezTo>
                    <a:pt x="175" y="123"/>
                    <a:pt x="175" y="123"/>
                    <a:pt x="175" y="123"/>
                  </a:cubicBezTo>
                  <a:cubicBezTo>
                    <a:pt x="155" y="138"/>
                    <a:pt x="138" y="155"/>
                    <a:pt x="124" y="175"/>
                  </a:cubicBezTo>
                  <a:cubicBezTo>
                    <a:pt x="117" y="184"/>
                    <a:pt x="117" y="184"/>
                    <a:pt x="117" y="184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37" y="232"/>
                    <a:pt x="37" y="232"/>
                    <a:pt x="37" y="232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67"/>
                    <a:pt x="85" y="267"/>
                    <a:pt x="85" y="267"/>
                  </a:cubicBezTo>
                  <a:cubicBezTo>
                    <a:pt x="81" y="291"/>
                    <a:pt x="81" y="316"/>
                    <a:pt x="85" y="340"/>
                  </a:cubicBezTo>
                  <a:cubicBezTo>
                    <a:pt x="87" y="351"/>
                    <a:pt x="87" y="351"/>
                    <a:pt x="87" y="351"/>
                  </a:cubicBezTo>
                  <a:cubicBezTo>
                    <a:pt x="37" y="376"/>
                    <a:pt x="37" y="376"/>
                    <a:pt x="37" y="376"/>
                  </a:cubicBezTo>
                  <a:cubicBezTo>
                    <a:pt x="65" y="441"/>
                    <a:pt x="65" y="441"/>
                    <a:pt x="65" y="441"/>
                  </a:cubicBezTo>
                  <a:cubicBezTo>
                    <a:pt x="117" y="424"/>
                    <a:pt x="117" y="424"/>
                    <a:pt x="117" y="424"/>
                  </a:cubicBezTo>
                  <a:cubicBezTo>
                    <a:pt x="124" y="433"/>
                    <a:pt x="124" y="433"/>
                    <a:pt x="124" y="433"/>
                  </a:cubicBezTo>
                  <a:cubicBezTo>
                    <a:pt x="138" y="453"/>
                    <a:pt x="155" y="470"/>
                    <a:pt x="175" y="484"/>
                  </a:cubicBezTo>
                  <a:cubicBezTo>
                    <a:pt x="184" y="490"/>
                    <a:pt x="184" y="490"/>
                    <a:pt x="184" y="490"/>
                  </a:cubicBezTo>
                  <a:cubicBezTo>
                    <a:pt x="166" y="543"/>
                    <a:pt x="166" y="543"/>
                    <a:pt x="166" y="5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07">
              <a:extLst>
                <a:ext uri="{FF2B5EF4-FFF2-40B4-BE49-F238E27FC236}">
                  <a16:creationId xmlns:a16="http://schemas.microsoft.com/office/drawing/2014/main" id="{8757F002-9E7B-EB4A-8858-AF1E38590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0038" y="3611563"/>
              <a:ext cx="141287" cy="125412"/>
            </a:xfrm>
            <a:custGeom>
              <a:avLst/>
              <a:gdLst>
                <a:gd name="T0" fmla="*/ 124 w 248"/>
                <a:gd name="T1" fmla="*/ 219 h 219"/>
                <a:gd name="T2" fmla="*/ 124 w 248"/>
                <a:gd name="T3" fmla="*/ 219 h 219"/>
                <a:gd name="T4" fmla="*/ 23 w 248"/>
                <a:gd name="T5" fmla="*/ 151 h 219"/>
                <a:gd name="T6" fmla="*/ 82 w 248"/>
                <a:gd name="T7" fmla="*/ 9 h 219"/>
                <a:gd name="T8" fmla="*/ 124 w 248"/>
                <a:gd name="T9" fmla="*/ 0 h 219"/>
                <a:gd name="T10" fmla="*/ 225 w 248"/>
                <a:gd name="T11" fmla="*/ 68 h 219"/>
                <a:gd name="T12" fmla="*/ 166 w 248"/>
                <a:gd name="T13" fmla="*/ 210 h 219"/>
                <a:gd name="T14" fmla="*/ 124 w 248"/>
                <a:gd name="T15" fmla="*/ 219 h 219"/>
                <a:gd name="T16" fmla="*/ 124 w 248"/>
                <a:gd name="T17" fmla="*/ 30 h 219"/>
                <a:gd name="T18" fmla="*/ 93 w 248"/>
                <a:gd name="T19" fmla="*/ 36 h 219"/>
                <a:gd name="T20" fmla="*/ 50 w 248"/>
                <a:gd name="T21" fmla="*/ 140 h 219"/>
                <a:gd name="T22" fmla="*/ 124 w 248"/>
                <a:gd name="T23" fmla="*/ 190 h 219"/>
                <a:gd name="T24" fmla="*/ 124 w 248"/>
                <a:gd name="T25" fmla="*/ 190 h 219"/>
                <a:gd name="T26" fmla="*/ 155 w 248"/>
                <a:gd name="T27" fmla="*/ 183 h 219"/>
                <a:gd name="T28" fmla="*/ 198 w 248"/>
                <a:gd name="T29" fmla="*/ 79 h 219"/>
                <a:gd name="T30" fmla="*/ 124 w 248"/>
                <a:gd name="T31" fmla="*/ 3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8" h="219">
                  <a:moveTo>
                    <a:pt x="124" y="219"/>
                  </a:moveTo>
                  <a:cubicBezTo>
                    <a:pt x="124" y="219"/>
                    <a:pt x="124" y="219"/>
                    <a:pt x="124" y="219"/>
                  </a:cubicBezTo>
                  <a:cubicBezTo>
                    <a:pt x="80" y="219"/>
                    <a:pt x="40" y="192"/>
                    <a:pt x="23" y="151"/>
                  </a:cubicBezTo>
                  <a:cubicBezTo>
                    <a:pt x="0" y="96"/>
                    <a:pt x="27" y="32"/>
                    <a:pt x="82" y="9"/>
                  </a:cubicBezTo>
                  <a:cubicBezTo>
                    <a:pt x="96" y="3"/>
                    <a:pt x="110" y="0"/>
                    <a:pt x="124" y="0"/>
                  </a:cubicBezTo>
                  <a:cubicBezTo>
                    <a:pt x="168" y="0"/>
                    <a:pt x="208" y="27"/>
                    <a:pt x="225" y="68"/>
                  </a:cubicBezTo>
                  <a:cubicBezTo>
                    <a:pt x="248" y="123"/>
                    <a:pt x="221" y="187"/>
                    <a:pt x="166" y="210"/>
                  </a:cubicBezTo>
                  <a:cubicBezTo>
                    <a:pt x="152" y="216"/>
                    <a:pt x="138" y="219"/>
                    <a:pt x="124" y="219"/>
                  </a:cubicBezTo>
                  <a:close/>
                  <a:moveTo>
                    <a:pt x="124" y="30"/>
                  </a:moveTo>
                  <a:cubicBezTo>
                    <a:pt x="114" y="30"/>
                    <a:pt x="103" y="32"/>
                    <a:pt x="93" y="36"/>
                  </a:cubicBezTo>
                  <a:cubicBezTo>
                    <a:pt x="53" y="53"/>
                    <a:pt x="33" y="100"/>
                    <a:pt x="50" y="140"/>
                  </a:cubicBezTo>
                  <a:cubicBezTo>
                    <a:pt x="63" y="170"/>
                    <a:pt x="92" y="190"/>
                    <a:pt x="124" y="190"/>
                  </a:cubicBezTo>
                  <a:cubicBezTo>
                    <a:pt x="124" y="190"/>
                    <a:pt x="124" y="190"/>
                    <a:pt x="124" y="190"/>
                  </a:cubicBezTo>
                  <a:cubicBezTo>
                    <a:pt x="135" y="190"/>
                    <a:pt x="145" y="187"/>
                    <a:pt x="155" y="183"/>
                  </a:cubicBezTo>
                  <a:cubicBezTo>
                    <a:pt x="195" y="167"/>
                    <a:pt x="215" y="120"/>
                    <a:pt x="198" y="79"/>
                  </a:cubicBezTo>
                  <a:cubicBezTo>
                    <a:pt x="185" y="49"/>
                    <a:pt x="156" y="30"/>
                    <a:pt x="1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08">
              <a:extLst>
                <a:ext uri="{FF2B5EF4-FFF2-40B4-BE49-F238E27FC236}">
                  <a16:creationId xmlns:a16="http://schemas.microsoft.com/office/drawing/2014/main" id="{96BAA0D6-B603-B64F-A1F5-028865CF6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788" y="3624263"/>
              <a:ext cx="95250" cy="90487"/>
            </a:xfrm>
            <a:custGeom>
              <a:avLst/>
              <a:gdLst>
                <a:gd name="T0" fmla="*/ 51 w 164"/>
                <a:gd name="T1" fmla="*/ 159 h 159"/>
                <a:gd name="T2" fmla="*/ 17 w 164"/>
                <a:gd name="T3" fmla="*/ 121 h 159"/>
                <a:gd name="T4" fmla="*/ 60 w 164"/>
                <a:gd name="T5" fmla="*/ 17 h 159"/>
                <a:gd name="T6" fmla="*/ 164 w 164"/>
                <a:gd name="T7" fmla="*/ 60 h 159"/>
                <a:gd name="T8" fmla="*/ 137 w 164"/>
                <a:gd name="T9" fmla="*/ 71 h 159"/>
                <a:gd name="T10" fmla="*/ 71 w 164"/>
                <a:gd name="T11" fmla="*/ 44 h 159"/>
                <a:gd name="T12" fmla="*/ 44 w 164"/>
                <a:gd name="T13" fmla="*/ 110 h 159"/>
                <a:gd name="T14" fmla="*/ 65 w 164"/>
                <a:gd name="T15" fmla="*/ 134 h 159"/>
                <a:gd name="T16" fmla="*/ 51 w 164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9">
                  <a:moveTo>
                    <a:pt x="51" y="159"/>
                  </a:moveTo>
                  <a:cubicBezTo>
                    <a:pt x="35" y="150"/>
                    <a:pt x="24" y="137"/>
                    <a:pt x="17" y="121"/>
                  </a:cubicBezTo>
                  <a:cubicBezTo>
                    <a:pt x="0" y="80"/>
                    <a:pt x="19" y="34"/>
                    <a:pt x="60" y="17"/>
                  </a:cubicBezTo>
                  <a:cubicBezTo>
                    <a:pt x="101" y="0"/>
                    <a:pt x="147" y="19"/>
                    <a:pt x="164" y="60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27" y="45"/>
                    <a:pt x="97" y="33"/>
                    <a:pt x="71" y="44"/>
                  </a:cubicBezTo>
                  <a:cubicBezTo>
                    <a:pt x="46" y="54"/>
                    <a:pt x="33" y="84"/>
                    <a:pt x="44" y="110"/>
                  </a:cubicBezTo>
                  <a:cubicBezTo>
                    <a:pt x="48" y="120"/>
                    <a:pt x="56" y="128"/>
                    <a:pt x="65" y="134"/>
                  </a:cubicBezTo>
                  <a:cubicBezTo>
                    <a:pt x="51" y="159"/>
                    <a:pt x="51" y="159"/>
                    <a:pt x="5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09">
              <a:extLst>
                <a:ext uri="{FF2B5EF4-FFF2-40B4-BE49-F238E27FC236}">
                  <a16:creationId xmlns:a16="http://schemas.microsoft.com/office/drawing/2014/main" id="{CE423A9E-02B5-1E48-8052-648AA52424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4288" y="3743325"/>
              <a:ext cx="246062" cy="246062"/>
            </a:xfrm>
            <a:custGeom>
              <a:avLst/>
              <a:gdLst>
                <a:gd name="T0" fmla="*/ 230 w 429"/>
                <a:gd name="T1" fmla="*/ 377 h 428"/>
                <a:gd name="T2" fmla="*/ 178 w 429"/>
                <a:gd name="T3" fmla="*/ 428 h 428"/>
                <a:gd name="T4" fmla="*/ 110 w 429"/>
                <a:gd name="T5" fmla="*/ 340 h 428"/>
                <a:gd name="T6" fmla="*/ 37 w 429"/>
                <a:gd name="T7" fmla="*/ 340 h 428"/>
                <a:gd name="T8" fmla="*/ 52 w 429"/>
                <a:gd name="T9" fmla="*/ 229 h 428"/>
                <a:gd name="T10" fmla="*/ 0 w 429"/>
                <a:gd name="T11" fmla="*/ 178 h 428"/>
                <a:gd name="T12" fmla="*/ 89 w 429"/>
                <a:gd name="T13" fmla="*/ 110 h 428"/>
                <a:gd name="T14" fmla="*/ 89 w 429"/>
                <a:gd name="T15" fmla="*/ 37 h 428"/>
                <a:gd name="T16" fmla="*/ 200 w 429"/>
                <a:gd name="T17" fmla="*/ 51 h 428"/>
                <a:gd name="T18" fmla="*/ 251 w 429"/>
                <a:gd name="T19" fmla="*/ 0 h 428"/>
                <a:gd name="T20" fmla="*/ 319 w 429"/>
                <a:gd name="T21" fmla="*/ 88 h 428"/>
                <a:gd name="T22" fmla="*/ 392 w 429"/>
                <a:gd name="T23" fmla="*/ 88 h 428"/>
                <a:gd name="T24" fmla="*/ 378 w 429"/>
                <a:gd name="T25" fmla="*/ 199 h 428"/>
                <a:gd name="T26" fmla="*/ 429 w 429"/>
                <a:gd name="T27" fmla="*/ 251 h 428"/>
                <a:gd name="T28" fmla="*/ 341 w 429"/>
                <a:gd name="T29" fmla="*/ 319 h 428"/>
                <a:gd name="T30" fmla="*/ 341 w 429"/>
                <a:gd name="T31" fmla="*/ 391 h 428"/>
                <a:gd name="T32" fmla="*/ 127 w 429"/>
                <a:gd name="T33" fmla="*/ 376 h 428"/>
                <a:gd name="T34" fmla="*/ 181 w 429"/>
                <a:gd name="T35" fmla="*/ 345 h 428"/>
                <a:gd name="T36" fmla="*/ 237 w 429"/>
                <a:gd name="T37" fmla="*/ 347 h 428"/>
                <a:gd name="T38" fmla="*/ 267 w 429"/>
                <a:gd name="T39" fmla="*/ 390 h 428"/>
                <a:gd name="T40" fmla="*/ 283 w 429"/>
                <a:gd name="T41" fmla="*/ 330 h 428"/>
                <a:gd name="T42" fmla="*/ 324 w 429"/>
                <a:gd name="T43" fmla="*/ 292 h 428"/>
                <a:gd name="T44" fmla="*/ 376 w 429"/>
                <a:gd name="T45" fmla="*/ 302 h 428"/>
                <a:gd name="T46" fmla="*/ 345 w 429"/>
                <a:gd name="T47" fmla="*/ 248 h 428"/>
                <a:gd name="T48" fmla="*/ 347 w 429"/>
                <a:gd name="T49" fmla="*/ 192 h 428"/>
                <a:gd name="T50" fmla="*/ 391 w 429"/>
                <a:gd name="T51" fmla="*/ 162 h 428"/>
                <a:gd name="T52" fmla="*/ 331 w 429"/>
                <a:gd name="T53" fmla="*/ 145 h 428"/>
                <a:gd name="T54" fmla="*/ 293 w 429"/>
                <a:gd name="T55" fmla="*/ 105 h 428"/>
                <a:gd name="T56" fmla="*/ 302 w 429"/>
                <a:gd name="T57" fmla="*/ 53 h 428"/>
                <a:gd name="T58" fmla="*/ 248 w 429"/>
                <a:gd name="T59" fmla="*/ 83 h 428"/>
                <a:gd name="T60" fmla="*/ 193 w 429"/>
                <a:gd name="T61" fmla="*/ 82 h 428"/>
                <a:gd name="T62" fmla="*/ 162 w 429"/>
                <a:gd name="T63" fmla="*/ 38 h 428"/>
                <a:gd name="T64" fmla="*/ 146 w 429"/>
                <a:gd name="T65" fmla="*/ 98 h 428"/>
                <a:gd name="T66" fmla="*/ 105 w 429"/>
                <a:gd name="T67" fmla="*/ 136 h 428"/>
                <a:gd name="T68" fmla="*/ 53 w 429"/>
                <a:gd name="T69" fmla="*/ 127 h 428"/>
                <a:gd name="T70" fmla="*/ 84 w 429"/>
                <a:gd name="T71" fmla="*/ 181 h 428"/>
                <a:gd name="T72" fmla="*/ 82 w 429"/>
                <a:gd name="T73" fmla="*/ 236 h 428"/>
                <a:gd name="T74" fmla="*/ 39 w 429"/>
                <a:gd name="T75" fmla="*/ 266 h 428"/>
                <a:gd name="T76" fmla="*/ 99 w 429"/>
                <a:gd name="T77" fmla="*/ 283 h 428"/>
                <a:gd name="T78" fmla="*/ 137 w 429"/>
                <a:gd name="T79" fmla="*/ 324 h 428"/>
                <a:gd name="T80" fmla="*/ 127 w 429"/>
                <a:gd name="T81" fmla="*/ 37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9" h="428">
                  <a:moveTo>
                    <a:pt x="251" y="428"/>
                  </a:moveTo>
                  <a:cubicBezTo>
                    <a:pt x="230" y="377"/>
                    <a:pt x="230" y="377"/>
                    <a:pt x="230" y="377"/>
                  </a:cubicBezTo>
                  <a:cubicBezTo>
                    <a:pt x="220" y="378"/>
                    <a:pt x="210" y="378"/>
                    <a:pt x="200" y="377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89" y="391"/>
                    <a:pt x="89" y="391"/>
                    <a:pt x="89" y="391"/>
                  </a:cubicBezTo>
                  <a:cubicBezTo>
                    <a:pt x="110" y="340"/>
                    <a:pt x="110" y="340"/>
                    <a:pt x="110" y="340"/>
                  </a:cubicBezTo>
                  <a:cubicBezTo>
                    <a:pt x="102" y="334"/>
                    <a:pt x="95" y="326"/>
                    <a:pt x="89" y="319"/>
                  </a:cubicBezTo>
                  <a:cubicBezTo>
                    <a:pt x="37" y="340"/>
                    <a:pt x="37" y="340"/>
                    <a:pt x="37" y="340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52" y="229"/>
                    <a:pt x="52" y="229"/>
                    <a:pt x="52" y="229"/>
                  </a:cubicBezTo>
                  <a:cubicBezTo>
                    <a:pt x="51" y="219"/>
                    <a:pt x="51" y="209"/>
                    <a:pt x="52" y="199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89" y="110"/>
                    <a:pt x="89" y="110"/>
                    <a:pt x="89" y="110"/>
                  </a:cubicBezTo>
                  <a:cubicBezTo>
                    <a:pt x="95" y="102"/>
                    <a:pt x="102" y="95"/>
                    <a:pt x="110" y="8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200" y="51"/>
                    <a:pt x="200" y="51"/>
                    <a:pt x="200" y="51"/>
                  </a:cubicBezTo>
                  <a:cubicBezTo>
                    <a:pt x="210" y="50"/>
                    <a:pt x="220" y="50"/>
                    <a:pt x="230" y="51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341" y="37"/>
                    <a:pt x="341" y="37"/>
                    <a:pt x="341" y="37"/>
                  </a:cubicBezTo>
                  <a:cubicBezTo>
                    <a:pt x="319" y="88"/>
                    <a:pt x="319" y="88"/>
                    <a:pt x="319" y="88"/>
                  </a:cubicBezTo>
                  <a:cubicBezTo>
                    <a:pt x="327" y="95"/>
                    <a:pt x="334" y="102"/>
                    <a:pt x="341" y="110"/>
                  </a:cubicBezTo>
                  <a:cubicBezTo>
                    <a:pt x="392" y="88"/>
                    <a:pt x="392" y="88"/>
                    <a:pt x="392" y="88"/>
                  </a:cubicBezTo>
                  <a:cubicBezTo>
                    <a:pt x="429" y="178"/>
                    <a:pt x="429" y="178"/>
                    <a:pt x="429" y="178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79" y="209"/>
                    <a:pt x="379" y="219"/>
                    <a:pt x="378" y="229"/>
                  </a:cubicBezTo>
                  <a:cubicBezTo>
                    <a:pt x="429" y="251"/>
                    <a:pt x="429" y="251"/>
                    <a:pt x="429" y="251"/>
                  </a:cubicBezTo>
                  <a:cubicBezTo>
                    <a:pt x="392" y="340"/>
                    <a:pt x="392" y="340"/>
                    <a:pt x="392" y="340"/>
                  </a:cubicBezTo>
                  <a:cubicBezTo>
                    <a:pt x="341" y="319"/>
                    <a:pt x="341" y="319"/>
                    <a:pt x="341" y="319"/>
                  </a:cubicBezTo>
                  <a:cubicBezTo>
                    <a:pt x="334" y="326"/>
                    <a:pt x="327" y="334"/>
                    <a:pt x="319" y="340"/>
                  </a:cubicBezTo>
                  <a:cubicBezTo>
                    <a:pt x="341" y="391"/>
                    <a:pt x="341" y="391"/>
                    <a:pt x="341" y="391"/>
                  </a:cubicBezTo>
                  <a:cubicBezTo>
                    <a:pt x="251" y="428"/>
                    <a:pt x="251" y="428"/>
                    <a:pt x="251" y="428"/>
                  </a:cubicBezTo>
                  <a:close/>
                  <a:moveTo>
                    <a:pt x="127" y="376"/>
                  </a:moveTo>
                  <a:cubicBezTo>
                    <a:pt x="162" y="390"/>
                    <a:pt x="162" y="390"/>
                    <a:pt x="162" y="390"/>
                  </a:cubicBezTo>
                  <a:cubicBezTo>
                    <a:pt x="181" y="345"/>
                    <a:pt x="181" y="345"/>
                    <a:pt x="181" y="345"/>
                  </a:cubicBezTo>
                  <a:cubicBezTo>
                    <a:pt x="193" y="347"/>
                    <a:pt x="193" y="347"/>
                    <a:pt x="193" y="347"/>
                  </a:cubicBezTo>
                  <a:cubicBezTo>
                    <a:pt x="207" y="349"/>
                    <a:pt x="222" y="349"/>
                    <a:pt x="237" y="347"/>
                  </a:cubicBezTo>
                  <a:cubicBezTo>
                    <a:pt x="248" y="345"/>
                    <a:pt x="248" y="345"/>
                    <a:pt x="248" y="345"/>
                  </a:cubicBezTo>
                  <a:cubicBezTo>
                    <a:pt x="267" y="390"/>
                    <a:pt x="267" y="390"/>
                    <a:pt x="267" y="390"/>
                  </a:cubicBezTo>
                  <a:cubicBezTo>
                    <a:pt x="302" y="376"/>
                    <a:pt x="302" y="376"/>
                    <a:pt x="302" y="376"/>
                  </a:cubicBezTo>
                  <a:cubicBezTo>
                    <a:pt x="283" y="330"/>
                    <a:pt x="283" y="330"/>
                    <a:pt x="283" y="330"/>
                  </a:cubicBezTo>
                  <a:cubicBezTo>
                    <a:pt x="293" y="323"/>
                    <a:pt x="293" y="323"/>
                    <a:pt x="293" y="323"/>
                  </a:cubicBezTo>
                  <a:cubicBezTo>
                    <a:pt x="305" y="315"/>
                    <a:pt x="316" y="304"/>
                    <a:pt x="324" y="292"/>
                  </a:cubicBezTo>
                  <a:cubicBezTo>
                    <a:pt x="331" y="283"/>
                    <a:pt x="331" y="283"/>
                    <a:pt x="331" y="283"/>
                  </a:cubicBezTo>
                  <a:cubicBezTo>
                    <a:pt x="376" y="302"/>
                    <a:pt x="376" y="302"/>
                    <a:pt x="376" y="302"/>
                  </a:cubicBezTo>
                  <a:cubicBezTo>
                    <a:pt x="391" y="266"/>
                    <a:pt x="391" y="266"/>
                    <a:pt x="391" y="266"/>
                  </a:cubicBezTo>
                  <a:cubicBezTo>
                    <a:pt x="345" y="248"/>
                    <a:pt x="345" y="248"/>
                    <a:pt x="345" y="248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50" y="222"/>
                    <a:pt x="350" y="207"/>
                    <a:pt x="347" y="192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91" y="162"/>
                    <a:pt x="391" y="162"/>
                    <a:pt x="391" y="162"/>
                  </a:cubicBezTo>
                  <a:cubicBezTo>
                    <a:pt x="376" y="127"/>
                    <a:pt x="376" y="127"/>
                    <a:pt x="376" y="127"/>
                  </a:cubicBezTo>
                  <a:cubicBezTo>
                    <a:pt x="331" y="145"/>
                    <a:pt x="331" y="145"/>
                    <a:pt x="331" y="145"/>
                  </a:cubicBezTo>
                  <a:cubicBezTo>
                    <a:pt x="324" y="136"/>
                    <a:pt x="324" y="136"/>
                    <a:pt x="324" y="136"/>
                  </a:cubicBezTo>
                  <a:cubicBezTo>
                    <a:pt x="315" y="124"/>
                    <a:pt x="305" y="113"/>
                    <a:pt x="293" y="105"/>
                  </a:cubicBezTo>
                  <a:cubicBezTo>
                    <a:pt x="283" y="98"/>
                    <a:pt x="283" y="98"/>
                    <a:pt x="283" y="98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48" y="83"/>
                    <a:pt x="248" y="83"/>
                    <a:pt x="248" y="83"/>
                  </a:cubicBezTo>
                  <a:cubicBezTo>
                    <a:pt x="237" y="81"/>
                    <a:pt x="237" y="81"/>
                    <a:pt x="237" y="81"/>
                  </a:cubicBezTo>
                  <a:cubicBezTo>
                    <a:pt x="222" y="79"/>
                    <a:pt x="207" y="79"/>
                    <a:pt x="193" y="82"/>
                  </a:cubicBezTo>
                  <a:cubicBezTo>
                    <a:pt x="181" y="83"/>
                    <a:pt x="181" y="83"/>
                    <a:pt x="181" y="83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37" y="105"/>
                    <a:pt x="137" y="105"/>
                    <a:pt x="137" y="105"/>
                  </a:cubicBezTo>
                  <a:cubicBezTo>
                    <a:pt x="124" y="114"/>
                    <a:pt x="114" y="124"/>
                    <a:pt x="105" y="136"/>
                  </a:cubicBezTo>
                  <a:cubicBezTo>
                    <a:pt x="99" y="145"/>
                    <a:pt x="99" y="145"/>
                    <a:pt x="99" y="14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39" y="162"/>
                    <a:pt x="39" y="162"/>
                    <a:pt x="39" y="162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80" y="207"/>
                    <a:pt x="80" y="221"/>
                    <a:pt x="82" y="236"/>
                  </a:cubicBezTo>
                  <a:cubicBezTo>
                    <a:pt x="84" y="248"/>
                    <a:pt x="84" y="248"/>
                    <a:pt x="84" y="248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53" y="302"/>
                    <a:pt x="53" y="302"/>
                    <a:pt x="53" y="302"/>
                  </a:cubicBezTo>
                  <a:cubicBezTo>
                    <a:pt x="99" y="283"/>
                    <a:pt x="99" y="283"/>
                    <a:pt x="99" y="283"/>
                  </a:cubicBezTo>
                  <a:cubicBezTo>
                    <a:pt x="105" y="292"/>
                    <a:pt x="105" y="292"/>
                    <a:pt x="105" y="292"/>
                  </a:cubicBezTo>
                  <a:cubicBezTo>
                    <a:pt x="114" y="304"/>
                    <a:pt x="125" y="315"/>
                    <a:pt x="137" y="324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27" y="376"/>
                    <a:pt x="127" y="376"/>
                    <a:pt x="127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10">
              <a:extLst>
                <a:ext uri="{FF2B5EF4-FFF2-40B4-BE49-F238E27FC236}">
                  <a16:creationId xmlns:a16="http://schemas.microsoft.com/office/drawing/2014/main" id="{B9F57C61-F4E3-9D47-B439-96B00AF6D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938" y="3552825"/>
              <a:ext cx="187325" cy="198437"/>
            </a:xfrm>
            <a:custGeom>
              <a:avLst/>
              <a:gdLst>
                <a:gd name="T0" fmla="*/ 46 w 326"/>
                <a:gd name="T1" fmla="*/ 347 h 347"/>
                <a:gd name="T2" fmla="*/ 4 w 326"/>
                <a:gd name="T3" fmla="*/ 261 h 347"/>
                <a:gd name="T4" fmla="*/ 53 w 326"/>
                <a:gd name="T5" fmla="*/ 237 h 347"/>
                <a:gd name="T6" fmla="*/ 51 w 326"/>
                <a:gd name="T7" fmla="*/ 208 h 347"/>
                <a:gd name="T8" fmla="*/ 0 w 326"/>
                <a:gd name="T9" fmla="*/ 190 h 347"/>
                <a:gd name="T10" fmla="*/ 31 w 326"/>
                <a:gd name="T11" fmla="*/ 100 h 347"/>
                <a:gd name="T12" fmla="*/ 83 w 326"/>
                <a:gd name="T13" fmla="*/ 117 h 347"/>
                <a:gd name="T14" fmla="*/ 102 w 326"/>
                <a:gd name="T15" fmla="*/ 95 h 347"/>
                <a:gd name="T16" fmla="*/ 78 w 326"/>
                <a:gd name="T17" fmla="*/ 46 h 347"/>
                <a:gd name="T18" fmla="*/ 164 w 326"/>
                <a:gd name="T19" fmla="*/ 4 h 347"/>
                <a:gd name="T20" fmla="*/ 188 w 326"/>
                <a:gd name="T21" fmla="*/ 53 h 347"/>
                <a:gd name="T22" fmla="*/ 218 w 326"/>
                <a:gd name="T23" fmla="*/ 52 h 347"/>
                <a:gd name="T24" fmla="*/ 236 w 326"/>
                <a:gd name="T25" fmla="*/ 0 h 347"/>
                <a:gd name="T26" fmla="*/ 326 w 326"/>
                <a:gd name="T27" fmla="*/ 31 h 347"/>
                <a:gd name="T28" fmla="*/ 304 w 326"/>
                <a:gd name="T29" fmla="*/ 93 h 347"/>
                <a:gd name="T30" fmla="*/ 277 w 326"/>
                <a:gd name="T31" fmla="*/ 84 h 347"/>
                <a:gd name="T32" fmla="*/ 289 w 326"/>
                <a:gd name="T33" fmla="*/ 49 h 347"/>
                <a:gd name="T34" fmla="*/ 254 w 326"/>
                <a:gd name="T35" fmla="*/ 37 h 347"/>
                <a:gd name="T36" fmla="*/ 238 w 326"/>
                <a:gd name="T37" fmla="*/ 83 h 347"/>
                <a:gd name="T38" fmla="*/ 226 w 326"/>
                <a:gd name="T39" fmla="*/ 82 h 347"/>
                <a:gd name="T40" fmla="*/ 183 w 326"/>
                <a:gd name="T41" fmla="*/ 84 h 347"/>
                <a:gd name="T42" fmla="*/ 172 w 326"/>
                <a:gd name="T43" fmla="*/ 87 h 347"/>
                <a:gd name="T44" fmla="*/ 151 w 326"/>
                <a:gd name="T45" fmla="*/ 43 h 347"/>
                <a:gd name="T46" fmla="*/ 118 w 326"/>
                <a:gd name="T47" fmla="*/ 60 h 347"/>
                <a:gd name="T48" fmla="*/ 139 w 326"/>
                <a:gd name="T49" fmla="*/ 103 h 347"/>
                <a:gd name="T50" fmla="*/ 130 w 326"/>
                <a:gd name="T51" fmla="*/ 110 h 347"/>
                <a:gd name="T52" fmla="*/ 101 w 326"/>
                <a:gd name="T53" fmla="*/ 143 h 347"/>
                <a:gd name="T54" fmla="*/ 95 w 326"/>
                <a:gd name="T55" fmla="*/ 152 h 347"/>
                <a:gd name="T56" fmla="*/ 49 w 326"/>
                <a:gd name="T57" fmla="*/ 137 h 347"/>
                <a:gd name="T58" fmla="*/ 37 w 326"/>
                <a:gd name="T59" fmla="*/ 172 h 347"/>
                <a:gd name="T60" fmla="*/ 83 w 326"/>
                <a:gd name="T61" fmla="*/ 187 h 347"/>
                <a:gd name="T62" fmla="*/ 81 w 326"/>
                <a:gd name="T63" fmla="*/ 199 h 347"/>
                <a:gd name="T64" fmla="*/ 84 w 326"/>
                <a:gd name="T65" fmla="*/ 242 h 347"/>
                <a:gd name="T66" fmla="*/ 87 w 326"/>
                <a:gd name="T67" fmla="*/ 254 h 347"/>
                <a:gd name="T68" fmla="*/ 43 w 326"/>
                <a:gd name="T69" fmla="*/ 275 h 347"/>
                <a:gd name="T70" fmla="*/ 59 w 326"/>
                <a:gd name="T71" fmla="*/ 308 h 347"/>
                <a:gd name="T72" fmla="*/ 92 w 326"/>
                <a:gd name="T73" fmla="*/ 292 h 347"/>
                <a:gd name="T74" fmla="*/ 105 w 326"/>
                <a:gd name="T75" fmla="*/ 318 h 347"/>
                <a:gd name="T76" fmla="*/ 46 w 326"/>
                <a:gd name="T77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6" h="347">
                  <a:moveTo>
                    <a:pt x="46" y="347"/>
                  </a:moveTo>
                  <a:cubicBezTo>
                    <a:pt x="4" y="261"/>
                    <a:pt x="4" y="261"/>
                    <a:pt x="4" y="261"/>
                  </a:cubicBezTo>
                  <a:cubicBezTo>
                    <a:pt x="53" y="237"/>
                    <a:pt x="53" y="237"/>
                    <a:pt x="53" y="237"/>
                  </a:cubicBezTo>
                  <a:cubicBezTo>
                    <a:pt x="52" y="227"/>
                    <a:pt x="51" y="218"/>
                    <a:pt x="51" y="20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8" y="109"/>
                    <a:pt x="95" y="102"/>
                    <a:pt x="102" y="95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164" y="4"/>
                    <a:pt x="164" y="4"/>
                    <a:pt x="164" y="4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198" y="52"/>
                    <a:pt x="208" y="51"/>
                    <a:pt x="218" y="52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326" y="31"/>
                    <a:pt x="326" y="31"/>
                    <a:pt x="326" y="31"/>
                  </a:cubicBezTo>
                  <a:cubicBezTo>
                    <a:pt x="304" y="93"/>
                    <a:pt x="304" y="93"/>
                    <a:pt x="304" y="93"/>
                  </a:cubicBezTo>
                  <a:cubicBezTo>
                    <a:pt x="277" y="84"/>
                    <a:pt x="277" y="84"/>
                    <a:pt x="277" y="84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54" y="37"/>
                    <a:pt x="254" y="37"/>
                    <a:pt x="254" y="37"/>
                  </a:cubicBezTo>
                  <a:cubicBezTo>
                    <a:pt x="238" y="83"/>
                    <a:pt x="238" y="83"/>
                    <a:pt x="238" y="83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12" y="80"/>
                    <a:pt x="197" y="81"/>
                    <a:pt x="183" y="84"/>
                  </a:cubicBezTo>
                  <a:cubicBezTo>
                    <a:pt x="172" y="87"/>
                    <a:pt x="172" y="87"/>
                    <a:pt x="172" y="87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0" y="110"/>
                    <a:pt x="130" y="110"/>
                    <a:pt x="130" y="110"/>
                  </a:cubicBezTo>
                  <a:cubicBezTo>
                    <a:pt x="118" y="120"/>
                    <a:pt x="109" y="130"/>
                    <a:pt x="101" y="143"/>
                  </a:cubicBezTo>
                  <a:cubicBezTo>
                    <a:pt x="95" y="152"/>
                    <a:pt x="95" y="152"/>
                    <a:pt x="95" y="152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83" y="187"/>
                    <a:pt x="83" y="187"/>
                    <a:pt x="83" y="187"/>
                  </a:cubicBezTo>
                  <a:cubicBezTo>
                    <a:pt x="81" y="199"/>
                    <a:pt x="81" y="199"/>
                    <a:pt x="81" y="199"/>
                  </a:cubicBezTo>
                  <a:cubicBezTo>
                    <a:pt x="80" y="213"/>
                    <a:pt x="81" y="228"/>
                    <a:pt x="84" y="242"/>
                  </a:cubicBezTo>
                  <a:cubicBezTo>
                    <a:pt x="87" y="254"/>
                    <a:pt x="87" y="254"/>
                    <a:pt x="87" y="254"/>
                  </a:cubicBezTo>
                  <a:cubicBezTo>
                    <a:pt x="43" y="275"/>
                    <a:pt x="43" y="275"/>
                    <a:pt x="43" y="275"/>
                  </a:cubicBezTo>
                  <a:cubicBezTo>
                    <a:pt x="59" y="308"/>
                    <a:pt x="59" y="308"/>
                    <a:pt x="59" y="308"/>
                  </a:cubicBezTo>
                  <a:cubicBezTo>
                    <a:pt x="92" y="292"/>
                    <a:pt x="92" y="292"/>
                    <a:pt x="92" y="292"/>
                  </a:cubicBezTo>
                  <a:cubicBezTo>
                    <a:pt x="105" y="318"/>
                    <a:pt x="105" y="318"/>
                    <a:pt x="105" y="318"/>
                  </a:cubicBezTo>
                  <a:cubicBezTo>
                    <a:pt x="46" y="347"/>
                    <a:pt x="46" y="347"/>
                    <a:pt x="46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11">
              <a:extLst>
                <a:ext uri="{FF2B5EF4-FFF2-40B4-BE49-F238E27FC236}">
                  <a16:creationId xmlns:a16="http://schemas.microsoft.com/office/drawing/2014/main" id="{DBEFC43B-FBD0-684E-8E67-18FFBE207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5725" y="3821113"/>
              <a:ext cx="98425" cy="90487"/>
            </a:xfrm>
            <a:custGeom>
              <a:avLst/>
              <a:gdLst>
                <a:gd name="T0" fmla="*/ 91 w 173"/>
                <a:gd name="T1" fmla="*/ 160 h 160"/>
                <a:gd name="T2" fmla="*/ 91 w 173"/>
                <a:gd name="T3" fmla="*/ 160 h 160"/>
                <a:gd name="T4" fmla="*/ 60 w 173"/>
                <a:gd name="T5" fmla="*/ 154 h 160"/>
                <a:gd name="T6" fmla="*/ 17 w 173"/>
                <a:gd name="T7" fmla="*/ 49 h 160"/>
                <a:gd name="T8" fmla="*/ 91 w 173"/>
                <a:gd name="T9" fmla="*/ 0 h 160"/>
                <a:gd name="T10" fmla="*/ 121 w 173"/>
                <a:gd name="T11" fmla="*/ 6 h 160"/>
                <a:gd name="T12" fmla="*/ 165 w 173"/>
                <a:gd name="T13" fmla="*/ 50 h 160"/>
                <a:gd name="T14" fmla="*/ 165 w 173"/>
                <a:gd name="T15" fmla="*/ 111 h 160"/>
                <a:gd name="T16" fmla="*/ 91 w 173"/>
                <a:gd name="T17" fmla="*/ 160 h 160"/>
                <a:gd name="T18" fmla="*/ 91 w 173"/>
                <a:gd name="T19" fmla="*/ 29 h 160"/>
                <a:gd name="T20" fmla="*/ 44 w 173"/>
                <a:gd name="T21" fmla="*/ 61 h 160"/>
                <a:gd name="T22" fmla="*/ 71 w 173"/>
                <a:gd name="T23" fmla="*/ 127 h 160"/>
                <a:gd name="T24" fmla="*/ 138 w 173"/>
                <a:gd name="T25" fmla="*/ 100 h 160"/>
                <a:gd name="T26" fmla="*/ 138 w 173"/>
                <a:gd name="T27" fmla="*/ 61 h 160"/>
                <a:gd name="T28" fmla="*/ 110 w 173"/>
                <a:gd name="T29" fmla="*/ 33 h 160"/>
                <a:gd name="T30" fmla="*/ 91 w 173"/>
                <a:gd name="T31" fmla="*/ 2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3" h="160">
                  <a:moveTo>
                    <a:pt x="91" y="160"/>
                  </a:moveTo>
                  <a:cubicBezTo>
                    <a:pt x="91" y="160"/>
                    <a:pt x="91" y="160"/>
                    <a:pt x="91" y="160"/>
                  </a:cubicBezTo>
                  <a:cubicBezTo>
                    <a:pt x="80" y="160"/>
                    <a:pt x="70" y="158"/>
                    <a:pt x="60" y="154"/>
                  </a:cubicBezTo>
                  <a:cubicBezTo>
                    <a:pt x="19" y="137"/>
                    <a:pt x="0" y="90"/>
                    <a:pt x="17" y="49"/>
                  </a:cubicBezTo>
                  <a:cubicBezTo>
                    <a:pt x="29" y="19"/>
                    <a:pt x="58" y="0"/>
                    <a:pt x="91" y="0"/>
                  </a:cubicBezTo>
                  <a:cubicBezTo>
                    <a:pt x="101" y="0"/>
                    <a:pt x="112" y="2"/>
                    <a:pt x="121" y="6"/>
                  </a:cubicBezTo>
                  <a:cubicBezTo>
                    <a:pt x="141" y="14"/>
                    <a:pt x="157" y="30"/>
                    <a:pt x="165" y="50"/>
                  </a:cubicBezTo>
                  <a:cubicBezTo>
                    <a:pt x="173" y="69"/>
                    <a:pt x="173" y="91"/>
                    <a:pt x="165" y="111"/>
                  </a:cubicBezTo>
                  <a:cubicBezTo>
                    <a:pt x="152" y="141"/>
                    <a:pt x="123" y="160"/>
                    <a:pt x="91" y="160"/>
                  </a:cubicBezTo>
                  <a:close/>
                  <a:moveTo>
                    <a:pt x="91" y="29"/>
                  </a:moveTo>
                  <a:cubicBezTo>
                    <a:pt x="70" y="29"/>
                    <a:pt x="52" y="42"/>
                    <a:pt x="44" y="61"/>
                  </a:cubicBezTo>
                  <a:cubicBezTo>
                    <a:pt x="33" y="87"/>
                    <a:pt x="45" y="116"/>
                    <a:pt x="71" y="127"/>
                  </a:cubicBezTo>
                  <a:cubicBezTo>
                    <a:pt x="97" y="138"/>
                    <a:pt x="127" y="125"/>
                    <a:pt x="138" y="100"/>
                  </a:cubicBezTo>
                  <a:cubicBezTo>
                    <a:pt x="143" y="87"/>
                    <a:pt x="143" y="73"/>
                    <a:pt x="138" y="61"/>
                  </a:cubicBezTo>
                  <a:cubicBezTo>
                    <a:pt x="132" y="48"/>
                    <a:pt x="123" y="38"/>
                    <a:pt x="110" y="33"/>
                  </a:cubicBezTo>
                  <a:cubicBezTo>
                    <a:pt x="104" y="31"/>
                    <a:pt x="97" y="29"/>
                    <a:pt x="9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5" name="Grafik 34" descr="Ein Bild, das Text enthält.&#10;&#10;Automatisch generierte Beschreibung">
            <a:extLst>
              <a:ext uri="{FF2B5EF4-FFF2-40B4-BE49-F238E27FC236}">
                <a16:creationId xmlns:a16="http://schemas.microsoft.com/office/drawing/2014/main" id="{ED922601-0EE5-C148-97F1-D3E9ACA7B9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6404" y="5338359"/>
            <a:ext cx="571718" cy="57171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030FAB1E-04BC-2A44-B2DF-4A81FBC7FD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75757" y="849296"/>
            <a:ext cx="449673" cy="449673"/>
          </a:xfrm>
          <a:prstGeom prst="rect">
            <a:avLst/>
          </a:prstGeom>
        </p:spPr>
      </p:pic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BB619B7E-7124-5640-A6CB-23718DC8F2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912985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15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3B9D07-A60C-134C-A9AD-9C495BCCA096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9C0110E-E18E-8F4A-AF0A-2493E0B4A029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96DB895-C8C2-C04D-8700-950D428A09F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E7B95BE-BCFC-1149-8F2F-2BC47696DB3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193636" y="3461430"/>
            <a:ext cx="2546351" cy="1390916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BD1D148F-8F27-2C4A-8DB7-D7E696B2DA0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042819" y="3461430"/>
            <a:ext cx="2546351" cy="1390916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93FB77E-1508-3245-8B96-753A3778A3E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344451" y="2182266"/>
            <a:ext cx="2546349" cy="11080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A5EE79DB-DE92-5247-B8D5-78B523BBA283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193638" y="2182266"/>
            <a:ext cx="2546349" cy="11080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511BA39C-98B1-3D43-80CA-A7E99179DEDB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9042821" y="2182266"/>
            <a:ext cx="2546349" cy="11080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33E65A5-A6F7-0A4E-967C-C30FEA90C65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3269" y="1727642"/>
            <a:ext cx="2551556" cy="21471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42D86070-8338-F34F-9B4B-4C4484070E0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95265" y="2170633"/>
            <a:ext cx="2546349" cy="110801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CDE6E6BA-B398-D645-8361-51816C6796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93267" y="3429001"/>
            <a:ext cx="2546351" cy="1411712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EB03C45-E4A8-3043-B75E-0612FD28EFF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4451" y="3461430"/>
            <a:ext cx="2546351" cy="1390916"/>
          </a:xfrm>
          <a:prstGeom prst="rect">
            <a:avLst/>
          </a:prstGeom>
        </p:spPr>
        <p:txBody>
          <a:bodyPr lIns="0" tIns="0" rIns="7200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2AF8C65-1CD2-504D-B5BC-5E9B85427D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0742699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5">
            <a:extLst>
              <a:ext uri="{FF2B5EF4-FFF2-40B4-BE49-F238E27FC236}">
                <a16:creationId xmlns:a16="http://schemas.microsoft.com/office/drawing/2014/main" id="{526401CF-07AD-6947-A3D6-A72427A2025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492552" y="3429002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B3B9D07-A60C-134C-A9AD-9C495BCCA096}"/>
              </a:ext>
            </a:extLst>
          </p:cNvPr>
          <p:cNvSpPr>
            <a:spLocks noGrp="1"/>
          </p:cNvSpPr>
          <p:nvPr>
            <p:ph type="dt" sz="half" idx="54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9C0110E-E18E-8F4A-AF0A-2493E0B4A029}"/>
              </a:ext>
            </a:extLst>
          </p:cNvPr>
          <p:cNvSpPr>
            <a:spLocks noGrp="1"/>
          </p:cNvSpPr>
          <p:nvPr>
            <p:ph type="ftr" sz="quarter" idx="5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96DB895-C8C2-C04D-8700-950D428A09F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2BAA82C-D9B6-1442-866B-3117EB2E247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492551" y="3832176"/>
            <a:ext cx="2546351" cy="1390916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E7B95BE-BCFC-1149-8F2F-2BC47696DB3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98120" y="3832176"/>
            <a:ext cx="2546351" cy="1390916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BD1D148F-8F27-2C4A-8DB7-D7E696B2DA0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303689" y="3832176"/>
            <a:ext cx="2546351" cy="1390916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</a:p>
        </p:txBody>
      </p:sp>
      <p:sp>
        <p:nvSpPr>
          <p:cNvPr id="18" name="Bildplatzhalter 115">
            <a:extLst>
              <a:ext uri="{FF2B5EF4-FFF2-40B4-BE49-F238E27FC236}">
                <a16:creationId xmlns:a16="http://schemas.microsoft.com/office/drawing/2014/main" id="{EE1E5EF6-0B02-1C4D-A971-FEEECC339CF5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027547" y="1727643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19" name="Bildplatzhalter 115">
            <a:extLst>
              <a:ext uri="{FF2B5EF4-FFF2-40B4-BE49-F238E27FC236}">
                <a16:creationId xmlns:a16="http://schemas.microsoft.com/office/drawing/2014/main" id="{0F15FC14-21D0-5C48-96FA-98AF7EA23C05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>
          <a:xfrm>
            <a:off x="6933118" y="1727642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20" name="Bildplatzhalter 115">
            <a:extLst>
              <a:ext uri="{FF2B5EF4-FFF2-40B4-BE49-F238E27FC236}">
                <a16:creationId xmlns:a16="http://schemas.microsoft.com/office/drawing/2014/main" id="{405EC3BD-296B-C64D-AC9F-DDCC75A7858E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9833021" y="1727641"/>
            <a:ext cx="1476353" cy="1489003"/>
          </a:xfrm>
          <a:prstGeom prst="ellipse">
            <a:avLst/>
          </a:prstGeom>
          <a:noFill/>
          <a:ln>
            <a:noFill/>
          </a:ln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Bild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3649D78A-7729-1E4F-8CC2-6DC7254B33D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98121" y="3429001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2D8169C3-61E5-034C-B5F4-E3072AC60C4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303690" y="3429000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8E8CDBE3-E7F0-8440-9CDE-30B2BF4A4D9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3269" y="1727642"/>
            <a:ext cx="2551556" cy="21471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174C4631-DF98-F441-8A73-675F8D4FD2C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96890" y="2170632"/>
            <a:ext cx="2544724" cy="1449185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C47977DC-66FE-D946-8382-C9784B4644E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94895" y="3832176"/>
            <a:ext cx="2544724" cy="1738579"/>
          </a:xfrm>
          <a:prstGeom prst="rect">
            <a:avLst/>
          </a:prstGeom>
        </p:spPr>
        <p:txBody>
          <a:bodyPr lIns="0" tIns="0" rIns="0" bIns="0"/>
          <a:lstStyle>
            <a:lvl1pPr marL="171450" marR="0" indent="-171450" algn="l" defTabSz="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E740070D-48A7-994F-9669-32835BE630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24975635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1">
            <a:extLst>
              <a:ext uri="{FF2B5EF4-FFF2-40B4-BE49-F238E27FC236}">
                <a16:creationId xmlns:a16="http://schemas.microsoft.com/office/drawing/2014/main" id="{E001C2B8-5A26-3D47-AC9B-E976916BE5DD}"/>
              </a:ext>
            </a:extLst>
          </p:cNvPr>
          <p:cNvSpPr/>
          <p:nvPr userDrawn="1"/>
        </p:nvSpPr>
        <p:spPr>
          <a:xfrm>
            <a:off x="1915560" y="4685058"/>
            <a:ext cx="2546349" cy="144932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Bildplatzhalter 4">
            <a:extLst>
              <a:ext uri="{FF2B5EF4-FFF2-40B4-BE49-F238E27FC236}">
                <a16:creationId xmlns:a16="http://schemas.microsoft.com/office/drawing/2014/main" id="{05F330F8-48A8-EC4B-B36B-797126F3E7D0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915560" y="1576722"/>
            <a:ext cx="2546349" cy="30906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E2ADD78-5559-FD4C-ADD0-2B3B6A0E86DB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4821132" y="1576722"/>
            <a:ext cx="2546349" cy="30906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13FA0E79-BAD0-7D4E-A28D-630E0461E16B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726701" y="1576722"/>
            <a:ext cx="2546349" cy="30906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Reso Thin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2774D3B5-ABE8-A845-B660-C1B170A80D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15559" y="4860984"/>
            <a:ext cx="2546350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25" name="Textplatzhalter 39">
            <a:extLst>
              <a:ext uri="{FF2B5EF4-FFF2-40B4-BE49-F238E27FC236}">
                <a16:creationId xmlns:a16="http://schemas.microsoft.com/office/drawing/2014/main" id="{21AF1ACC-A4CF-C54B-8668-D0A046CB403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915559" y="5215897"/>
            <a:ext cx="2546349" cy="345915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6" name="Rounded Rectangle 111">
            <a:extLst>
              <a:ext uri="{FF2B5EF4-FFF2-40B4-BE49-F238E27FC236}">
                <a16:creationId xmlns:a16="http://schemas.microsoft.com/office/drawing/2014/main" id="{4CC55170-3594-BA46-8B4E-9F192C3DCB4C}"/>
              </a:ext>
            </a:extLst>
          </p:cNvPr>
          <p:cNvSpPr/>
          <p:nvPr userDrawn="1"/>
        </p:nvSpPr>
        <p:spPr>
          <a:xfrm>
            <a:off x="4821131" y="4685058"/>
            <a:ext cx="2546349" cy="144932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7" name="Rounded Rectangle 111">
            <a:extLst>
              <a:ext uri="{FF2B5EF4-FFF2-40B4-BE49-F238E27FC236}">
                <a16:creationId xmlns:a16="http://schemas.microsoft.com/office/drawing/2014/main" id="{508F6150-A461-F844-A493-03FE223453CF}"/>
              </a:ext>
            </a:extLst>
          </p:cNvPr>
          <p:cNvSpPr/>
          <p:nvPr userDrawn="1"/>
        </p:nvSpPr>
        <p:spPr>
          <a:xfrm>
            <a:off x="7726700" y="4667363"/>
            <a:ext cx="2546349" cy="1449322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5" name="Datumsplatzhalter 34">
            <a:extLst>
              <a:ext uri="{FF2B5EF4-FFF2-40B4-BE49-F238E27FC236}">
                <a16:creationId xmlns:a16="http://schemas.microsoft.com/office/drawing/2014/main" id="{8A2FE42B-B371-1444-9E7E-FCFA65C4B21D}"/>
              </a:ext>
            </a:extLst>
          </p:cNvPr>
          <p:cNvSpPr>
            <a:spLocks noGrp="1"/>
          </p:cNvSpPr>
          <p:nvPr>
            <p:ph type="dt" sz="half" idx="6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36" name="Fußzeilenplatzhalter 35">
            <a:extLst>
              <a:ext uri="{FF2B5EF4-FFF2-40B4-BE49-F238E27FC236}">
                <a16:creationId xmlns:a16="http://schemas.microsoft.com/office/drawing/2014/main" id="{56592A52-87E5-3A40-8B5E-A153150F17C3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7" name="Foliennummernplatzhalter 36">
            <a:extLst>
              <a:ext uri="{FF2B5EF4-FFF2-40B4-BE49-F238E27FC236}">
                <a16:creationId xmlns:a16="http://schemas.microsoft.com/office/drawing/2014/main" id="{65505AD4-3D83-264C-88A5-6EC34AA0EDCF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B66E9767-34CA-994F-8F9E-B643BD7F11E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822825" y="4860984"/>
            <a:ext cx="2546350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E0E77F1-717E-A843-A72F-6832845B317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822825" y="5215897"/>
            <a:ext cx="2546349" cy="345915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94100388-7D74-4446-AB21-C064D7EDC3A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733311" y="4860984"/>
            <a:ext cx="2546350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2" name="Textplatzhalter 39">
            <a:extLst>
              <a:ext uri="{FF2B5EF4-FFF2-40B4-BE49-F238E27FC236}">
                <a16:creationId xmlns:a16="http://schemas.microsoft.com/office/drawing/2014/main" id="{08722E37-58D7-7F4F-98DA-F9EB84D3790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733311" y="5215897"/>
            <a:ext cx="2546349" cy="345915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CAE578CC-45CF-4D4B-8ADC-BC6DE7DEA9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CD739658-B873-994A-916A-236640E9429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BDC2612-6754-3440-A76B-E22DDB0B8141}"/>
              </a:ext>
            </a:extLst>
          </p:cNvPr>
          <p:cNvGrpSpPr/>
          <p:nvPr userDrawn="1"/>
        </p:nvGrpSpPr>
        <p:grpSpPr>
          <a:xfrm rot="16200000">
            <a:off x="8889105" y="4453907"/>
            <a:ext cx="221537" cy="221537"/>
            <a:chOff x="4234157" y="4026187"/>
            <a:chExt cx="489344" cy="489344"/>
          </a:xfrm>
        </p:grpSpPr>
        <p:sp>
          <p:nvSpPr>
            <p:cNvPr id="23" name="Isosceles Triangle 30">
              <a:extLst>
                <a:ext uri="{FF2B5EF4-FFF2-40B4-BE49-F238E27FC236}">
                  <a16:creationId xmlns:a16="http://schemas.microsoft.com/office/drawing/2014/main" id="{D533D71C-AEEE-8549-886D-EAD65D6F6F1F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Isosceles Triangle 30">
              <a:extLst>
                <a:ext uri="{FF2B5EF4-FFF2-40B4-BE49-F238E27FC236}">
                  <a16:creationId xmlns:a16="http://schemas.microsoft.com/office/drawing/2014/main" id="{9B49E3D6-FEA1-AD47-A268-31F7EAF4A9A8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46323B1-CB0E-B149-B2F2-97140C8D4462}"/>
              </a:ext>
            </a:extLst>
          </p:cNvPr>
          <p:cNvGrpSpPr/>
          <p:nvPr userDrawn="1"/>
        </p:nvGrpSpPr>
        <p:grpSpPr>
          <a:xfrm rot="16200000">
            <a:off x="5921576" y="4453907"/>
            <a:ext cx="221537" cy="221537"/>
            <a:chOff x="4234157" y="4026187"/>
            <a:chExt cx="489344" cy="489344"/>
          </a:xfrm>
        </p:grpSpPr>
        <p:sp>
          <p:nvSpPr>
            <p:cNvPr id="30" name="Isosceles Triangle 30">
              <a:extLst>
                <a:ext uri="{FF2B5EF4-FFF2-40B4-BE49-F238E27FC236}">
                  <a16:creationId xmlns:a16="http://schemas.microsoft.com/office/drawing/2014/main" id="{D95010BC-3C39-EA4D-AACB-CB8D93BAA194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8D223E35-BE4E-F84A-B523-7DCF44FD5974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F7EA851-EB07-854F-AC5F-4A2CD3B4BE1C}"/>
              </a:ext>
            </a:extLst>
          </p:cNvPr>
          <p:cNvGrpSpPr/>
          <p:nvPr userDrawn="1"/>
        </p:nvGrpSpPr>
        <p:grpSpPr>
          <a:xfrm rot="16200000">
            <a:off x="3077967" y="4453908"/>
            <a:ext cx="221537" cy="221537"/>
            <a:chOff x="4234157" y="4026187"/>
            <a:chExt cx="489344" cy="489344"/>
          </a:xfrm>
        </p:grpSpPr>
        <p:sp>
          <p:nvSpPr>
            <p:cNvPr id="33" name="Isosceles Triangle 30">
              <a:extLst>
                <a:ext uri="{FF2B5EF4-FFF2-40B4-BE49-F238E27FC236}">
                  <a16:creationId xmlns:a16="http://schemas.microsoft.com/office/drawing/2014/main" id="{400F0E86-41D0-A541-BBCD-B3DF7F2B8026}"/>
                </a:ext>
              </a:extLst>
            </p:cNvPr>
            <p:cNvSpPr/>
            <p:nvPr/>
          </p:nvSpPr>
          <p:spPr>
            <a:xfrm rot="16200000" flipV="1">
              <a:off x="4234157" y="4026187"/>
              <a:ext cx="489344" cy="489344"/>
            </a:xfrm>
            <a:prstGeom prst="triangle">
              <a:avLst/>
            </a:prstGeom>
            <a:solidFill>
              <a:srgbClr val="FAB117">
                <a:alpha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" name="Isosceles Triangle 30">
              <a:extLst>
                <a:ext uri="{FF2B5EF4-FFF2-40B4-BE49-F238E27FC236}">
                  <a16:creationId xmlns:a16="http://schemas.microsoft.com/office/drawing/2014/main" id="{49CA4E49-C1CB-D044-A12C-107515930B0D}"/>
                </a:ext>
              </a:extLst>
            </p:cNvPr>
            <p:cNvSpPr/>
            <p:nvPr/>
          </p:nvSpPr>
          <p:spPr>
            <a:xfrm rot="16200000" flipV="1">
              <a:off x="4234157" y="4144860"/>
              <a:ext cx="252000" cy="252000"/>
            </a:xfrm>
            <a:prstGeom prst="triangle">
              <a:avLst/>
            </a:prstGeom>
            <a:solidFill>
              <a:srgbClr val="FAB11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ko-KR" sz="27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1959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3788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grpSp>
        <p:nvGrpSpPr>
          <p:cNvPr id="6" name="Group 92">
            <a:extLst>
              <a:ext uri="{FF2B5EF4-FFF2-40B4-BE49-F238E27FC236}">
                <a16:creationId xmlns:a16="http://schemas.microsoft.com/office/drawing/2014/main" id="{71301602-C6A7-8E4D-9798-3B21410D2AE8}"/>
              </a:ext>
            </a:extLst>
          </p:cNvPr>
          <p:cNvGrpSpPr/>
          <p:nvPr userDrawn="1"/>
        </p:nvGrpSpPr>
        <p:grpSpPr>
          <a:xfrm>
            <a:off x="3839333" y="2427472"/>
            <a:ext cx="7763573" cy="3069560"/>
            <a:chOff x="4019359" y="1562560"/>
            <a:chExt cx="7291522" cy="4140000"/>
          </a:xfrm>
        </p:grpSpPr>
        <p:cxnSp>
          <p:nvCxnSpPr>
            <p:cNvPr id="7" name="Straight Connector 93">
              <a:extLst>
                <a:ext uri="{FF2B5EF4-FFF2-40B4-BE49-F238E27FC236}">
                  <a16:creationId xmlns:a16="http://schemas.microsoft.com/office/drawing/2014/main" id="{7E0E1FD6-F78E-EC47-BAA4-34EBC871C39D}"/>
                </a:ext>
              </a:extLst>
            </p:cNvPr>
            <p:cNvCxnSpPr/>
            <p:nvPr/>
          </p:nvCxnSpPr>
          <p:spPr>
            <a:xfrm>
              <a:off x="5846070" y="1562560"/>
              <a:ext cx="0" cy="414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94">
              <a:extLst>
                <a:ext uri="{FF2B5EF4-FFF2-40B4-BE49-F238E27FC236}">
                  <a16:creationId xmlns:a16="http://schemas.microsoft.com/office/drawing/2014/main" id="{599168B5-8264-9242-A2A0-D283FDB0C22C}"/>
                </a:ext>
              </a:extLst>
            </p:cNvPr>
            <p:cNvCxnSpPr/>
            <p:nvPr/>
          </p:nvCxnSpPr>
          <p:spPr>
            <a:xfrm>
              <a:off x="7662148" y="1562560"/>
              <a:ext cx="0" cy="414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95">
              <a:extLst>
                <a:ext uri="{FF2B5EF4-FFF2-40B4-BE49-F238E27FC236}">
                  <a16:creationId xmlns:a16="http://schemas.microsoft.com/office/drawing/2014/main" id="{0B8F6253-564C-2640-B3C8-35526FD7D75E}"/>
                </a:ext>
              </a:extLst>
            </p:cNvPr>
            <p:cNvCxnSpPr/>
            <p:nvPr/>
          </p:nvCxnSpPr>
          <p:spPr>
            <a:xfrm>
              <a:off x="4019359" y="1562560"/>
              <a:ext cx="0" cy="414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6">
              <a:extLst>
                <a:ext uri="{FF2B5EF4-FFF2-40B4-BE49-F238E27FC236}">
                  <a16:creationId xmlns:a16="http://schemas.microsoft.com/office/drawing/2014/main" id="{474F2AC0-EF47-544B-B426-2F7C885A76A2}"/>
                </a:ext>
              </a:extLst>
            </p:cNvPr>
            <p:cNvCxnSpPr/>
            <p:nvPr/>
          </p:nvCxnSpPr>
          <p:spPr>
            <a:xfrm>
              <a:off x="9509188" y="1562560"/>
              <a:ext cx="0" cy="414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97">
              <a:extLst>
                <a:ext uri="{FF2B5EF4-FFF2-40B4-BE49-F238E27FC236}">
                  <a16:creationId xmlns:a16="http://schemas.microsoft.com/office/drawing/2014/main" id="{CE093051-37E3-0244-8469-91547F5B23F5}"/>
                </a:ext>
              </a:extLst>
            </p:cNvPr>
            <p:cNvCxnSpPr/>
            <p:nvPr/>
          </p:nvCxnSpPr>
          <p:spPr>
            <a:xfrm>
              <a:off x="11310881" y="1562560"/>
              <a:ext cx="0" cy="414000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98">
            <a:extLst>
              <a:ext uri="{FF2B5EF4-FFF2-40B4-BE49-F238E27FC236}">
                <a16:creationId xmlns:a16="http://schemas.microsoft.com/office/drawing/2014/main" id="{F9AB9EB0-D94E-3F4E-8149-4099189338B3}"/>
              </a:ext>
            </a:extLst>
          </p:cNvPr>
          <p:cNvSpPr/>
          <p:nvPr userDrawn="1"/>
        </p:nvSpPr>
        <p:spPr>
          <a:xfrm>
            <a:off x="587758" y="4229894"/>
            <a:ext cx="11016484" cy="421647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9" tIns="91445" rIns="182889" bIns="91445"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/>
              <a:cs typeface="Roboto Light"/>
            </a:endParaRPr>
          </a:p>
        </p:txBody>
      </p:sp>
      <p:sp>
        <p:nvSpPr>
          <p:cNvPr id="13" name="Rectangle 99">
            <a:extLst>
              <a:ext uri="{FF2B5EF4-FFF2-40B4-BE49-F238E27FC236}">
                <a16:creationId xmlns:a16="http://schemas.microsoft.com/office/drawing/2014/main" id="{976F183D-2FBE-3C42-9498-E3E3D8C894D2}"/>
              </a:ext>
            </a:extLst>
          </p:cNvPr>
          <p:cNvSpPr/>
          <p:nvPr userDrawn="1"/>
        </p:nvSpPr>
        <p:spPr>
          <a:xfrm>
            <a:off x="587758" y="3373235"/>
            <a:ext cx="11016484" cy="421647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9" tIns="91445" rIns="182889" bIns="91445"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/>
              <a:cs typeface="Roboto Light"/>
            </a:endParaRPr>
          </a:p>
        </p:txBody>
      </p:sp>
      <p:sp>
        <p:nvSpPr>
          <p:cNvPr id="14" name="Rectangle 100">
            <a:extLst>
              <a:ext uri="{FF2B5EF4-FFF2-40B4-BE49-F238E27FC236}">
                <a16:creationId xmlns:a16="http://schemas.microsoft.com/office/drawing/2014/main" id="{0C4FC416-2D31-684B-B978-8B83F4F59A8C}"/>
              </a:ext>
            </a:extLst>
          </p:cNvPr>
          <p:cNvSpPr/>
          <p:nvPr userDrawn="1"/>
        </p:nvSpPr>
        <p:spPr>
          <a:xfrm>
            <a:off x="587758" y="5075385"/>
            <a:ext cx="11016484" cy="421647"/>
          </a:xfrm>
          <a:prstGeom prst="rect">
            <a:avLst/>
          </a:prstGeom>
          <a:solidFill>
            <a:srgbClr val="5959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9" tIns="91445" rIns="182889" bIns="91445"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Roboto Light"/>
              <a:cs typeface="Roboto Light"/>
            </a:endParaRPr>
          </a:p>
        </p:txBody>
      </p:sp>
      <p:sp>
        <p:nvSpPr>
          <p:cNvPr id="25" name="AutoShape 105">
            <a:extLst>
              <a:ext uri="{FF2B5EF4-FFF2-40B4-BE49-F238E27FC236}">
                <a16:creationId xmlns:a16="http://schemas.microsoft.com/office/drawing/2014/main" id="{48525869-FF1F-0842-BDC3-932CA218F6ED}"/>
              </a:ext>
            </a:extLst>
          </p:cNvPr>
          <p:cNvSpPr>
            <a:spLocks/>
          </p:cNvSpPr>
          <p:nvPr userDrawn="1"/>
        </p:nvSpPr>
        <p:spPr bwMode="auto">
          <a:xfrm>
            <a:off x="4708488" y="3494435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26" name="AutoShape 105">
            <a:extLst>
              <a:ext uri="{FF2B5EF4-FFF2-40B4-BE49-F238E27FC236}">
                <a16:creationId xmlns:a16="http://schemas.microsoft.com/office/drawing/2014/main" id="{597144E2-902C-1047-B40F-FDF8F6CD9A22}"/>
              </a:ext>
            </a:extLst>
          </p:cNvPr>
          <p:cNvSpPr>
            <a:spLocks/>
          </p:cNvSpPr>
          <p:nvPr userDrawn="1"/>
        </p:nvSpPr>
        <p:spPr bwMode="auto">
          <a:xfrm>
            <a:off x="6652031" y="3930740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27" name="AutoShape 105">
            <a:extLst>
              <a:ext uri="{FF2B5EF4-FFF2-40B4-BE49-F238E27FC236}">
                <a16:creationId xmlns:a16="http://schemas.microsoft.com/office/drawing/2014/main" id="{DA013DE6-0733-EF45-A620-14FFE33A4DB8}"/>
              </a:ext>
            </a:extLst>
          </p:cNvPr>
          <p:cNvSpPr>
            <a:spLocks/>
          </p:cNvSpPr>
          <p:nvPr userDrawn="1"/>
        </p:nvSpPr>
        <p:spPr bwMode="auto">
          <a:xfrm>
            <a:off x="8589752" y="3494435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28" name="AutoShape 105">
            <a:extLst>
              <a:ext uri="{FF2B5EF4-FFF2-40B4-BE49-F238E27FC236}">
                <a16:creationId xmlns:a16="http://schemas.microsoft.com/office/drawing/2014/main" id="{64A2637F-81BC-C846-A120-1E6F0FE5F005}"/>
              </a:ext>
            </a:extLst>
          </p:cNvPr>
          <p:cNvSpPr>
            <a:spLocks/>
          </p:cNvSpPr>
          <p:nvPr userDrawn="1"/>
        </p:nvSpPr>
        <p:spPr bwMode="auto">
          <a:xfrm>
            <a:off x="10527832" y="5209136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29" name="AutoShape 105">
            <a:extLst>
              <a:ext uri="{FF2B5EF4-FFF2-40B4-BE49-F238E27FC236}">
                <a16:creationId xmlns:a16="http://schemas.microsoft.com/office/drawing/2014/main" id="{80DDBB44-4566-844E-85DD-7629CD844FFF}"/>
              </a:ext>
            </a:extLst>
          </p:cNvPr>
          <p:cNvSpPr>
            <a:spLocks/>
          </p:cNvSpPr>
          <p:nvPr userDrawn="1"/>
        </p:nvSpPr>
        <p:spPr bwMode="auto">
          <a:xfrm>
            <a:off x="10527832" y="3930740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0" name="AutoShape 105">
            <a:extLst>
              <a:ext uri="{FF2B5EF4-FFF2-40B4-BE49-F238E27FC236}">
                <a16:creationId xmlns:a16="http://schemas.microsoft.com/office/drawing/2014/main" id="{E3854F6D-34F4-0140-9B3F-C0AAA8D02E47}"/>
              </a:ext>
            </a:extLst>
          </p:cNvPr>
          <p:cNvSpPr>
            <a:spLocks/>
          </p:cNvSpPr>
          <p:nvPr userDrawn="1"/>
        </p:nvSpPr>
        <p:spPr bwMode="auto">
          <a:xfrm>
            <a:off x="6628159" y="4747251"/>
            <a:ext cx="238713" cy="2002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191" y="17891"/>
                </a:moveTo>
                <a:cubicBezTo>
                  <a:pt x="21461" y="18164"/>
                  <a:pt x="21599" y="18475"/>
                  <a:pt x="21599" y="18824"/>
                </a:cubicBezTo>
                <a:cubicBezTo>
                  <a:pt x="21599" y="19176"/>
                  <a:pt x="21461" y="19490"/>
                  <a:pt x="21191" y="19760"/>
                </a:cubicBezTo>
                <a:lnTo>
                  <a:pt x="19784" y="21192"/>
                </a:lnTo>
                <a:cubicBezTo>
                  <a:pt x="19514" y="21465"/>
                  <a:pt x="19196" y="21599"/>
                  <a:pt x="18829" y="21599"/>
                </a:cubicBezTo>
                <a:cubicBezTo>
                  <a:pt x="18465" y="21599"/>
                  <a:pt x="18150" y="21465"/>
                  <a:pt x="17889" y="21192"/>
                </a:cubicBezTo>
                <a:lnTo>
                  <a:pt x="10800" y="14101"/>
                </a:lnTo>
                <a:lnTo>
                  <a:pt x="3684" y="21192"/>
                </a:lnTo>
                <a:cubicBezTo>
                  <a:pt x="3410" y="21465"/>
                  <a:pt x="3099" y="21599"/>
                  <a:pt x="2749" y="21599"/>
                </a:cubicBezTo>
                <a:cubicBezTo>
                  <a:pt x="2397" y="21599"/>
                  <a:pt x="2083" y="21465"/>
                  <a:pt x="1815" y="21192"/>
                </a:cubicBezTo>
                <a:lnTo>
                  <a:pt x="408" y="19787"/>
                </a:lnTo>
                <a:cubicBezTo>
                  <a:pt x="135" y="19520"/>
                  <a:pt x="0" y="19200"/>
                  <a:pt x="0" y="18839"/>
                </a:cubicBezTo>
                <a:cubicBezTo>
                  <a:pt x="0" y="18481"/>
                  <a:pt x="135" y="18164"/>
                  <a:pt x="408" y="17891"/>
                </a:cubicBezTo>
                <a:lnTo>
                  <a:pt x="7556" y="10731"/>
                </a:lnTo>
                <a:lnTo>
                  <a:pt x="408" y="3708"/>
                </a:lnTo>
                <a:cubicBezTo>
                  <a:pt x="135" y="3435"/>
                  <a:pt x="0" y="3121"/>
                  <a:pt x="0" y="2760"/>
                </a:cubicBezTo>
                <a:cubicBezTo>
                  <a:pt x="0" y="2399"/>
                  <a:pt x="135" y="2082"/>
                  <a:pt x="408" y="1815"/>
                </a:cubicBezTo>
                <a:lnTo>
                  <a:pt x="1815" y="407"/>
                </a:lnTo>
                <a:cubicBezTo>
                  <a:pt x="2085" y="135"/>
                  <a:pt x="2403" y="0"/>
                  <a:pt x="2770" y="0"/>
                </a:cubicBezTo>
                <a:cubicBezTo>
                  <a:pt x="3134" y="0"/>
                  <a:pt x="3449" y="134"/>
                  <a:pt x="3710" y="407"/>
                </a:cubicBezTo>
                <a:lnTo>
                  <a:pt x="10800" y="7486"/>
                </a:lnTo>
                <a:lnTo>
                  <a:pt x="17889" y="407"/>
                </a:lnTo>
                <a:cubicBezTo>
                  <a:pt x="18159" y="135"/>
                  <a:pt x="18476" y="0"/>
                  <a:pt x="18838" y="0"/>
                </a:cubicBezTo>
                <a:cubicBezTo>
                  <a:pt x="19196" y="0"/>
                  <a:pt x="19514" y="134"/>
                  <a:pt x="19784" y="407"/>
                </a:cubicBezTo>
                <a:lnTo>
                  <a:pt x="21191" y="1815"/>
                </a:lnTo>
                <a:cubicBezTo>
                  <a:pt x="21461" y="2082"/>
                  <a:pt x="21599" y="2402"/>
                  <a:pt x="21599" y="2769"/>
                </a:cubicBezTo>
                <a:cubicBezTo>
                  <a:pt x="21599" y="3133"/>
                  <a:pt x="21461" y="3447"/>
                  <a:pt x="21191" y="3708"/>
                </a:cubicBezTo>
                <a:lnTo>
                  <a:pt x="14043" y="10869"/>
                </a:lnTo>
                <a:lnTo>
                  <a:pt x="21191" y="1789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1" name="AutoShape 39">
            <a:extLst>
              <a:ext uri="{FF2B5EF4-FFF2-40B4-BE49-F238E27FC236}">
                <a16:creationId xmlns:a16="http://schemas.microsoft.com/office/drawing/2014/main" id="{BCC84156-04A2-3742-9E0D-CAE766A004CB}"/>
              </a:ext>
            </a:extLst>
          </p:cNvPr>
          <p:cNvSpPr>
            <a:spLocks/>
          </p:cNvSpPr>
          <p:nvPr userDrawn="1"/>
        </p:nvSpPr>
        <p:spPr bwMode="auto">
          <a:xfrm>
            <a:off x="8565881" y="3947641"/>
            <a:ext cx="262585" cy="199421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2" name="AutoShape 39">
            <a:extLst>
              <a:ext uri="{FF2B5EF4-FFF2-40B4-BE49-F238E27FC236}">
                <a16:creationId xmlns:a16="http://schemas.microsoft.com/office/drawing/2014/main" id="{43C84168-62A0-E24F-A3FC-C457FDD1D0EA}"/>
              </a:ext>
            </a:extLst>
          </p:cNvPr>
          <p:cNvSpPr>
            <a:spLocks/>
          </p:cNvSpPr>
          <p:nvPr userDrawn="1"/>
        </p:nvSpPr>
        <p:spPr bwMode="auto">
          <a:xfrm>
            <a:off x="6628159" y="5207891"/>
            <a:ext cx="262585" cy="199421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3" name="AutoShape 39">
            <a:extLst>
              <a:ext uri="{FF2B5EF4-FFF2-40B4-BE49-F238E27FC236}">
                <a16:creationId xmlns:a16="http://schemas.microsoft.com/office/drawing/2014/main" id="{33E782C9-8886-4F4B-8EE0-FB5B2D2B0009}"/>
              </a:ext>
            </a:extLst>
          </p:cNvPr>
          <p:cNvSpPr>
            <a:spLocks/>
          </p:cNvSpPr>
          <p:nvPr userDrawn="1"/>
        </p:nvSpPr>
        <p:spPr bwMode="auto">
          <a:xfrm>
            <a:off x="4705787" y="4317573"/>
            <a:ext cx="262585" cy="199421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4" name="AutoShape 39">
            <a:extLst>
              <a:ext uri="{FF2B5EF4-FFF2-40B4-BE49-F238E27FC236}">
                <a16:creationId xmlns:a16="http://schemas.microsoft.com/office/drawing/2014/main" id="{90750939-B2C1-9546-B400-57232BB804E7}"/>
              </a:ext>
            </a:extLst>
          </p:cNvPr>
          <p:cNvSpPr>
            <a:spLocks/>
          </p:cNvSpPr>
          <p:nvPr userDrawn="1"/>
        </p:nvSpPr>
        <p:spPr bwMode="auto">
          <a:xfrm>
            <a:off x="10503961" y="4364446"/>
            <a:ext cx="262585" cy="199421"/>
          </a:xfrm>
          <a:custGeom>
            <a:avLst/>
            <a:gdLst>
              <a:gd name="T0" fmla="*/ 10797 w 21595"/>
              <a:gd name="T1" fmla="*/ 10800 h 21600"/>
              <a:gd name="T2" fmla="*/ 10797 w 21595"/>
              <a:gd name="T3" fmla="*/ 10800 h 21600"/>
              <a:gd name="T4" fmla="*/ 10797 w 21595"/>
              <a:gd name="T5" fmla="*/ 10800 h 21600"/>
              <a:gd name="T6" fmla="*/ 10797 w 21595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95" h="21600">
                <a:moveTo>
                  <a:pt x="8043" y="21599"/>
                </a:moveTo>
                <a:cubicBezTo>
                  <a:pt x="7769" y="21599"/>
                  <a:pt x="7477" y="21507"/>
                  <a:pt x="7164" y="21320"/>
                </a:cubicBezTo>
                <a:cubicBezTo>
                  <a:pt x="6850" y="21132"/>
                  <a:pt x="6608" y="20916"/>
                  <a:pt x="6436" y="20665"/>
                </a:cubicBezTo>
                <a:lnTo>
                  <a:pt x="266" y="11697"/>
                </a:lnTo>
                <a:cubicBezTo>
                  <a:pt x="88" y="11439"/>
                  <a:pt x="0" y="11120"/>
                  <a:pt x="0" y="10741"/>
                </a:cubicBezTo>
                <a:cubicBezTo>
                  <a:pt x="0" y="10362"/>
                  <a:pt x="88" y="10047"/>
                  <a:pt x="266" y="9799"/>
                </a:cubicBezTo>
                <a:lnTo>
                  <a:pt x="2307" y="6831"/>
                </a:lnTo>
                <a:cubicBezTo>
                  <a:pt x="2488" y="6573"/>
                  <a:pt x="2708" y="6445"/>
                  <a:pt x="2970" y="6452"/>
                </a:cubicBezTo>
                <a:cubicBezTo>
                  <a:pt x="3233" y="6459"/>
                  <a:pt x="3448" y="6583"/>
                  <a:pt x="3622" y="6831"/>
                </a:cubicBezTo>
                <a:lnTo>
                  <a:pt x="7903" y="13022"/>
                </a:lnTo>
                <a:cubicBezTo>
                  <a:pt x="8082" y="13280"/>
                  <a:pt x="8302" y="13408"/>
                  <a:pt x="8567" y="13408"/>
                </a:cubicBezTo>
                <a:cubicBezTo>
                  <a:pt x="8827" y="13408"/>
                  <a:pt x="9045" y="13280"/>
                  <a:pt x="9221" y="13022"/>
                </a:cubicBezTo>
                <a:lnTo>
                  <a:pt x="17965" y="393"/>
                </a:lnTo>
                <a:cubicBezTo>
                  <a:pt x="18144" y="127"/>
                  <a:pt x="18364" y="0"/>
                  <a:pt x="18629" y="0"/>
                </a:cubicBezTo>
                <a:cubicBezTo>
                  <a:pt x="18888" y="0"/>
                  <a:pt x="19109" y="127"/>
                  <a:pt x="19292" y="393"/>
                </a:cubicBezTo>
                <a:lnTo>
                  <a:pt x="21333" y="3339"/>
                </a:lnTo>
                <a:cubicBezTo>
                  <a:pt x="21511" y="3601"/>
                  <a:pt x="21600" y="3920"/>
                  <a:pt x="21595" y="4299"/>
                </a:cubicBezTo>
                <a:cubicBezTo>
                  <a:pt x="21590" y="4678"/>
                  <a:pt x="21502" y="4993"/>
                  <a:pt x="21333" y="5241"/>
                </a:cubicBezTo>
                <a:lnTo>
                  <a:pt x="10664" y="20665"/>
                </a:lnTo>
                <a:cubicBezTo>
                  <a:pt x="10482" y="20930"/>
                  <a:pt x="10237" y="21146"/>
                  <a:pt x="9929" y="21330"/>
                </a:cubicBezTo>
                <a:cubicBezTo>
                  <a:pt x="9620" y="21511"/>
                  <a:pt x="9339" y="21599"/>
                  <a:pt x="9079" y="21599"/>
                </a:cubicBezTo>
                <a:lnTo>
                  <a:pt x="8043" y="2159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101578" tIns="101578" rIns="101578" bIns="101578" anchor="ctr"/>
          <a:lstStyle/>
          <a:p>
            <a:pPr defTabSz="914195">
              <a:defRPr/>
            </a:pPr>
            <a:endParaRPr lang="es-ES" sz="5800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Source Sans Pro" charset="0"/>
              <a:ea typeface="Source Sans Pro" charset="0"/>
              <a:cs typeface="Source Sans Pro" charset="0"/>
              <a:sym typeface="Gill Sans" charset="0"/>
            </a:endParaRPr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C8560489-D7C3-6D43-8E67-E06AD01A398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4416" y="2988579"/>
            <a:ext cx="2546350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42F6998-36A2-534B-8079-8FB0AB76F9A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4418" y="3494435"/>
            <a:ext cx="2546348" cy="170708"/>
          </a:xfrm>
          <a:prstGeom prst="rect">
            <a:avLst/>
          </a:prstGeom>
        </p:spPr>
        <p:txBody>
          <a:bodyPr lIns="72000" tIns="0" rIns="0" bIns="0" anchor="ctr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F515E1B2-C3C6-814B-985E-413D9B97A50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99452" y="2988578"/>
            <a:ext cx="1828142" cy="274187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2" name="Textplatzhalter 5">
            <a:extLst>
              <a:ext uri="{FF2B5EF4-FFF2-40B4-BE49-F238E27FC236}">
                <a16:creationId xmlns:a16="http://schemas.microsoft.com/office/drawing/2014/main" id="{3FED1D25-2D64-A342-8F49-EBC10713A9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33444" y="2988577"/>
            <a:ext cx="1828142" cy="274187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E043024A-03B7-E344-A3DC-E39E61D80BA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787193" y="2988576"/>
            <a:ext cx="1828142" cy="274187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D5297B3C-842D-DB42-8EFF-6D2A97DA3A2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33117" y="2988576"/>
            <a:ext cx="1828142" cy="274187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5" name="Textplatzhalter 39">
            <a:extLst>
              <a:ext uri="{FF2B5EF4-FFF2-40B4-BE49-F238E27FC236}">
                <a16:creationId xmlns:a16="http://schemas.microsoft.com/office/drawing/2014/main" id="{F95CD07A-D69D-5F40-864D-BB6D8228BF1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84418" y="4355363"/>
            <a:ext cx="2546348" cy="170708"/>
          </a:xfrm>
          <a:prstGeom prst="rect">
            <a:avLst/>
          </a:prstGeom>
        </p:spPr>
        <p:txBody>
          <a:bodyPr lIns="72000" tIns="0" rIns="0" bIns="0" anchor="ctr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6" name="Textplatzhalter 39">
            <a:extLst>
              <a:ext uri="{FF2B5EF4-FFF2-40B4-BE49-F238E27FC236}">
                <a16:creationId xmlns:a16="http://schemas.microsoft.com/office/drawing/2014/main" id="{17D8D532-BEED-DB4E-B678-206805BDFD2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84418" y="5200854"/>
            <a:ext cx="2546348" cy="170708"/>
          </a:xfrm>
          <a:prstGeom prst="rect">
            <a:avLst/>
          </a:prstGeom>
        </p:spPr>
        <p:txBody>
          <a:bodyPr lIns="72000" tIns="0" rIns="0" bIns="0" anchor="ctr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7" name="Textplatzhalter 39">
            <a:extLst>
              <a:ext uri="{FF2B5EF4-FFF2-40B4-BE49-F238E27FC236}">
                <a16:creationId xmlns:a16="http://schemas.microsoft.com/office/drawing/2014/main" id="{E2FD67A1-FD2A-9049-87EE-A933D8E6B89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84418" y="4777010"/>
            <a:ext cx="2546348" cy="170708"/>
          </a:xfrm>
          <a:prstGeom prst="rect">
            <a:avLst/>
          </a:prstGeom>
        </p:spPr>
        <p:txBody>
          <a:bodyPr lIns="72000" tIns="0" rIns="0" bIns="0" anchor="ctr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8" name="Textplatzhalter 39">
            <a:extLst>
              <a:ext uri="{FF2B5EF4-FFF2-40B4-BE49-F238E27FC236}">
                <a16:creationId xmlns:a16="http://schemas.microsoft.com/office/drawing/2014/main" id="{75881FF8-E6E7-AD4B-B4AB-FC6D6BFCF8C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84418" y="3936485"/>
            <a:ext cx="2546348" cy="170708"/>
          </a:xfrm>
          <a:prstGeom prst="rect">
            <a:avLst/>
          </a:prstGeom>
        </p:spPr>
        <p:txBody>
          <a:bodyPr lIns="72000" tIns="0" rIns="0" bIns="0" anchor="ctr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41519413-9203-2840-8DEF-5945198CD8DB}"/>
              </a:ext>
            </a:extLst>
          </p:cNvPr>
          <p:cNvGrpSpPr/>
          <p:nvPr userDrawn="1"/>
        </p:nvGrpSpPr>
        <p:grpSpPr>
          <a:xfrm>
            <a:off x="10322700" y="2272810"/>
            <a:ext cx="648976" cy="243910"/>
            <a:chOff x="5406318" y="4972405"/>
            <a:chExt cx="709613" cy="266700"/>
          </a:xfrm>
          <a:solidFill>
            <a:schemeClr val="bg2"/>
          </a:solidFill>
        </p:grpSpPr>
        <p:sp>
          <p:nvSpPr>
            <p:cNvPr id="50" name="Rectangle 367">
              <a:extLst>
                <a:ext uri="{FF2B5EF4-FFF2-40B4-BE49-F238E27FC236}">
                  <a16:creationId xmlns:a16="http://schemas.microsoft.com/office/drawing/2014/main" id="{2A3E2F2F-B168-B144-B239-A605E315C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9680" y="5194655"/>
              <a:ext cx="22066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368">
              <a:extLst>
                <a:ext uri="{FF2B5EF4-FFF2-40B4-BE49-F238E27FC236}">
                  <a16:creationId xmlns:a16="http://schemas.microsoft.com/office/drawing/2014/main" id="{722B5469-45F5-DC43-B973-E1691045F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6318" y="4972405"/>
              <a:ext cx="709613" cy="244475"/>
            </a:xfrm>
            <a:custGeom>
              <a:avLst/>
              <a:gdLst>
                <a:gd name="T0" fmla="*/ 1622 w 1759"/>
                <a:gd name="T1" fmla="*/ 604 h 604"/>
                <a:gd name="T2" fmla="*/ 1567 w 1759"/>
                <a:gd name="T3" fmla="*/ 604 h 604"/>
                <a:gd name="T4" fmla="*/ 1567 w 1759"/>
                <a:gd name="T5" fmla="*/ 549 h 604"/>
                <a:gd name="T6" fmla="*/ 1615 w 1759"/>
                <a:gd name="T7" fmla="*/ 549 h 604"/>
                <a:gd name="T8" fmla="*/ 1704 w 1759"/>
                <a:gd name="T9" fmla="*/ 505 h 604"/>
                <a:gd name="T10" fmla="*/ 1704 w 1759"/>
                <a:gd name="T11" fmla="*/ 368 h 604"/>
                <a:gd name="T12" fmla="*/ 1664 w 1759"/>
                <a:gd name="T13" fmla="*/ 328 h 604"/>
                <a:gd name="T14" fmla="*/ 1178 w 1759"/>
                <a:gd name="T15" fmla="*/ 247 h 604"/>
                <a:gd name="T16" fmla="*/ 1167 w 1759"/>
                <a:gd name="T17" fmla="*/ 242 h 604"/>
                <a:gd name="T18" fmla="*/ 899 w 1759"/>
                <a:gd name="T19" fmla="*/ 55 h 604"/>
                <a:gd name="T20" fmla="*/ 584 w 1759"/>
                <a:gd name="T21" fmla="*/ 55 h 604"/>
                <a:gd name="T22" fmla="*/ 111 w 1759"/>
                <a:gd name="T23" fmla="*/ 265 h 604"/>
                <a:gd name="T24" fmla="*/ 111 w 1759"/>
                <a:gd name="T25" fmla="*/ 412 h 604"/>
                <a:gd name="T26" fmla="*/ 83 w 1759"/>
                <a:gd name="T27" fmla="*/ 439 h 604"/>
                <a:gd name="T28" fmla="*/ 67 w 1759"/>
                <a:gd name="T29" fmla="*/ 439 h 604"/>
                <a:gd name="T30" fmla="*/ 103 w 1759"/>
                <a:gd name="T31" fmla="*/ 549 h 604"/>
                <a:gd name="T32" fmla="*/ 138 w 1759"/>
                <a:gd name="T33" fmla="*/ 549 h 604"/>
                <a:gd name="T34" fmla="*/ 138 w 1759"/>
                <a:gd name="T35" fmla="*/ 604 h 604"/>
                <a:gd name="T36" fmla="*/ 83 w 1759"/>
                <a:gd name="T37" fmla="*/ 604 h 604"/>
                <a:gd name="T38" fmla="*/ 57 w 1759"/>
                <a:gd name="T39" fmla="*/ 586 h 604"/>
                <a:gd name="T40" fmla="*/ 2 w 1759"/>
                <a:gd name="T41" fmla="*/ 421 h 604"/>
                <a:gd name="T42" fmla="*/ 6 w 1759"/>
                <a:gd name="T43" fmla="*/ 396 h 604"/>
                <a:gd name="T44" fmla="*/ 29 w 1759"/>
                <a:gd name="T45" fmla="*/ 385 h 604"/>
                <a:gd name="T46" fmla="*/ 56 w 1759"/>
                <a:gd name="T47" fmla="*/ 385 h 604"/>
                <a:gd name="T48" fmla="*/ 56 w 1759"/>
                <a:gd name="T49" fmla="*/ 247 h 604"/>
                <a:gd name="T50" fmla="*/ 72 w 1759"/>
                <a:gd name="T51" fmla="*/ 222 h 604"/>
                <a:gd name="T52" fmla="*/ 567 w 1759"/>
                <a:gd name="T53" fmla="*/ 2 h 604"/>
                <a:gd name="T54" fmla="*/ 578 w 1759"/>
                <a:gd name="T55" fmla="*/ 0 h 604"/>
                <a:gd name="T56" fmla="*/ 908 w 1759"/>
                <a:gd name="T57" fmla="*/ 0 h 604"/>
                <a:gd name="T58" fmla="*/ 923 w 1759"/>
                <a:gd name="T59" fmla="*/ 5 h 604"/>
                <a:gd name="T60" fmla="*/ 1193 w 1759"/>
                <a:gd name="T61" fmla="*/ 194 h 604"/>
                <a:gd name="T62" fmla="*/ 1681 w 1759"/>
                <a:gd name="T63" fmla="*/ 275 h 604"/>
                <a:gd name="T64" fmla="*/ 1696 w 1759"/>
                <a:gd name="T65" fmla="*/ 283 h 604"/>
                <a:gd name="T66" fmla="*/ 1751 w 1759"/>
                <a:gd name="T67" fmla="*/ 338 h 604"/>
                <a:gd name="T68" fmla="*/ 1759 w 1759"/>
                <a:gd name="T69" fmla="*/ 357 h 604"/>
                <a:gd name="T70" fmla="*/ 1759 w 1759"/>
                <a:gd name="T71" fmla="*/ 522 h 604"/>
                <a:gd name="T72" fmla="*/ 1744 w 1759"/>
                <a:gd name="T73" fmla="*/ 546 h 604"/>
                <a:gd name="T74" fmla="*/ 1634 w 1759"/>
                <a:gd name="T75" fmla="*/ 601 h 604"/>
                <a:gd name="T76" fmla="*/ 1622 w 1759"/>
                <a:gd name="T77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59" h="604">
                  <a:moveTo>
                    <a:pt x="1622" y="604"/>
                  </a:moveTo>
                  <a:cubicBezTo>
                    <a:pt x="1567" y="604"/>
                    <a:pt x="1567" y="604"/>
                    <a:pt x="1567" y="604"/>
                  </a:cubicBezTo>
                  <a:cubicBezTo>
                    <a:pt x="1567" y="549"/>
                    <a:pt x="1567" y="549"/>
                    <a:pt x="1567" y="549"/>
                  </a:cubicBezTo>
                  <a:cubicBezTo>
                    <a:pt x="1615" y="549"/>
                    <a:pt x="1615" y="549"/>
                    <a:pt x="1615" y="549"/>
                  </a:cubicBezTo>
                  <a:cubicBezTo>
                    <a:pt x="1704" y="505"/>
                    <a:pt x="1704" y="505"/>
                    <a:pt x="1704" y="505"/>
                  </a:cubicBezTo>
                  <a:cubicBezTo>
                    <a:pt x="1704" y="368"/>
                    <a:pt x="1704" y="368"/>
                    <a:pt x="1704" y="368"/>
                  </a:cubicBezTo>
                  <a:cubicBezTo>
                    <a:pt x="1664" y="328"/>
                    <a:pt x="1664" y="328"/>
                    <a:pt x="1664" y="328"/>
                  </a:cubicBezTo>
                  <a:cubicBezTo>
                    <a:pt x="1178" y="247"/>
                    <a:pt x="1178" y="247"/>
                    <a:pt x="1178" y="247"/>
                  </a:cubicBezTo>
                  <a:cubicBezTo>
                    <a:pt x="1174" y="246"/>
                    <a:pt x="1170" y="245"/>
                    <a:pt x="1167" y="242"/>
                  </a:cubicBezTo>
                  <a:cubicBezTo>
                    <a:pt x="899" y="55"/>
                    <a:pt x="899" y="55"/>
                    <a:pt x="899" y="55"/>
                  </a:cubicBezTo>
                  <a:cubicBezTo>
                    <a:pt x="584" y="55"/>
                    <a:pt x="584" y="55"/>
                    <a:pt x="584" y="55"/>
                  </a:cubicBezTo>
                  <a:cubicBezTo>
                    <a:pt x="111" y="265"/>
                    <a:pt x="111" y="265"/>
                    <a:pt x="111" y="265"/>
                  </a:cubicBezTo>
                  <a:cubicBezTo>
                    <a:pt x="111" y="412"/>
                    <a:pt x="111" y="412"/>
                    <a:pt x="111" y="412"/>
                  </a:cubicBezTo>
                  <a:cubicBezTo>
                    <a:pt x="111" y="427"/>
                    <a:pt x="99" y="439"/>
                    <a:pt x="83" y="439"/>
                  </a:cubicBezTo>
                  <a:cubicBezTo>
                    <a:pt x="67" y="439"/>
                    <a:pt x="67" y="439"/>
                    <a:pt x="67" y="439"/>
                  </a:cubicBezTo>
                  <a:cubicBezTo>
                    <a:pt x="103" y="549"/>
                    <a:pt x="103" y="549"/>
                    <a:pt x="103" y="549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8" y="604"/>
                    <a:pt x="138" y="604"/>
                    <a:pt x="138" y="604"/>
                  </a:cubicBezTo>
                  <a:cubicBezTo>
                    <a:pt x="83" y="604"/>
                    <a:pt x="83" y="604"/>
                    <a:pt x="83" y="604"/>
                  </a:cubicBezTo>
                  <a:cubicBezTo>
                    <a:pt x="72" y="604"/>
                    <a:pt x="61" y="597"/>
                    <a:pt x="57" y="586"/>
                  </a:cubicBezTo>
                  <a:cubicBezTo>
                    <a:pt x="2" y="421"/>
                    <a:pt x="2" y="421"/>
                    <a:pt x="2" y="421"/>
                  </a:cubicBezTo>
                  <a:cubicBezTo>
                    <a:pt x="0" y="412"/>
                    <a:pt x="1" y="403"/>
                    <a:pt x="6" y="396"/>
                  </a:cubicBezTo>
                  <a:cubicBezTo>
                    <a:pt x="11" y="389"/>
                    <a:pt x="20" y="385"/>
                    <a:pt x="29" y="385"/>
                  </a:cubicBezTo>
                  <a:cubicBezTo>
                    <a:pt x="56" y="385"/>
                    <a:pt x="56" y="385"/>
                    <a:pt x="56" y="385"/>
                  </a:cubicBezTo>
                  <a:cubicBezTo>
                    <a:pt x="56" y="247"/>
                    <a:pt x="56" y="247"/>
                    <a:pt x="56" y="247"/>
                  </a:cubicBezTo>
                  <a:cubicBezTo>
                    <a:pt x="56" y="236"/>
                    <a:pt x="62" y="226"/>
                    <a:pt x="72" y="222"/>
                  </a:cubicBezTo>
                  <a:cubicBezTo>
                    <a:pt x="567" y="2"/>
                    <a:pt x="567" y="2"/>
                    <a:pt x="567" y="2"/>
                  </a:cubicBezTo>
                  <a:cubicBezTo>
                    <a:pt x="570" y="1"/>
                    <a:pt x="574" y="0"/>
                    <a:pt x="578" y="0"/>
                  </a:cubicBezTo>
                  <a:cubicBezTo>
                    <a:pt x="908" y="0"/>
                    <a:pt x="908" y="0"/>
                    <a:pt x="908" y="0"/>
                  </a:cubicBezTo>
                  <a:cubicBezTo>
                    <a:pt x="913" y="0"/>
                    <a:pt x="919" y="2"/>
                    <a:pt x="923" y="5"/>
                  </a:cubicBezTo>
                  <a:cubicBezTo>
                    <a:pt x="1193" y="194"/>
                    <a:pt x="1193" y="194"/>
                    <a:pt x="1193" y="194"/>
                  </a:cubicBezTo>
                  <a:cubicBezTo>
                    <a:pt x="1681" y="275"/>
                    <a:pt x="1681" y="275"/>
                    <a:pt x="1681" y="275"/>
                  </a:cubicBezTo>
                  <a:cubicBezTo>
                    <a:pt x="1687" y="276"/>
                    <a:pt x="1692" y="279"/>
                    <a:pt x="1696" y="283"/>
                  </a:cubicBezTo>
                  <a:cubicBezTo>
                    <a:pt x="1751" y="338"/>
                    <a:pt x="1751" y="338"/>
                    <a:pt x="1751" y="338"/>
                  </a:cubicBezTo>
                  <a:cubicBezTo>
                    <a:pt x="1756" y="343"/>
                    <a:pt x="1759" y="350"/>
                    <a:pt x="1759" y="357"/>
                  </a:cubicBezTo>
                  <a:cubicBezTo>
                    <a:pt x="1759" y="522"/>
                    <a:pt x="1759" y="522"/>
                    <a:pt x="1759" y="522"/>
                  </a:cubicBezTo>
                  <a:cubicBezTo>
                    <a:pt x="1759" y="532"/>
                    <a:pt x="1753" y="542"/>
                    <a:pt x="1744" y="546"/>
                  </a:cubicBezTo>
                  <a:cubicBezTo>
                    <a:pt x="1634" y="601"/>
                    <a:pt x="1634" y="601"/>
                    <a:pt x="1634" y="601"/>
                  </a:cubicBezTo>
                  <a:cubicBezTo>
                    <a:pt x="1630" y="603"/>
                    <a:pt x="1626" y="604"/>
                    <a:pt x="1622" y="60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369">
              <a:extLst>
                <a:ext uri="{FF2B5EF4-FFF2-40B4-BE49-F238E27FC236}">
                  <a16:creationId xmlns:a16="http://schemas.microsoft.com/office/drawing/2014/main" id="{4A56E142-5BC1-5744-8F0C-09FFD797F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4105" y="5172430"/>
              <a:ext cx="133350" cy="66675"/>
            </a:xfrm>
            <a:custGeom>
              <a:avLst/>
              <a:gdLst>
                <a:gd name="T0" fmla="*/ 275 w 330"/>
                <a:gd name="T1" fmla="*/ 165 h 165"/>
                <a:gd name="T2" fmla="*/ 55 w 330"/>
                <a:gd name="T3" fmla="*/ 165 h 165"/>
                <a:gd name="T4" fmla="*/ 0 w 330"/>
                <a:gd name="T5" fmla="*/ 110 h 165"/>
                <a:gd name="T6" fmla="*/ 0 w 330"/>
                <a:gd name="T7" fmla="*/ 55 h 165"/>
                <a:gd name="T8" fmla="*/ 55 w 330"/>
                <a:gd name="T9" fmla="*/ 0 h 165"/>
                <a:gd name="T10" fmla="*/ 275 w 330"/>
                <a:gd name="T11" fmla="*/ 0 h 165"/>
                <a:gd name="T12" fmla="*/ 330 w 330"/>
                <a:gd name="T13" fmla="*/ 55 h 165"/>
                <a:gd name="T14" fmla="*/ 330 w 330"/>
                <a:gd name="T15" fmla="*/ 110 h 165"/>
                <a:gd name="T16" fmla="*/ 275 w 330"/>
                <a:gd name="T17" fmla="*/ 165 h 165"/>
                <a:gd name="T18" fmla="*/ 55 w 330"/>
                <a:gd name="T19" fmla="*/ 55 h 165"/>
                <a:gd name="T20" fmla="*/ 55 w 330"/>
                <a:gd name="T21" fmla="*/ 110 h 165"/>
                <a:gd name="T22" fmla="*/ 275 w 330"/>
                <a:gd name="T23" fmla="*/ 110 h 165"/>
                <a:gd name="T24" fmla="*/ 275 w 330"/>
                <a:gd name="T25" fmla="*/ 55 h 165"/>
                <a:gd name="T26" fmla="*/ 55 w 330"/>
                <a:gd name="T27" fmla="*/ 5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0" h="165">
                  <a:moveTo>
                    <a:pt x="275" y="165"/>
                  </a:moveTo>
                  <a:cubicBezTo>
                    <a:pt x="55" y="165"/>
                    <a:pt x="55" y="165"/>
                    <a:pt x="55" y="165"/>
                  </a:cubicBezTo>
                  <a:cubicBezTo>
                    <a:pt x="25" y="165"/>
                    <a:pt x="0" y="141"/>
                    <a:pt x="0" y="11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5"/>
                    <a:pt x="25" y="0"/>
                    <a:pt x="55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305" y="0"/>
                    <a:pt x="330" y="25"/>
                    <a:pt x="330" y="55"/>
                  </a:cubicBezTo>
                  <a:cubicBezTo>
                    <a:pt x="330" y="110"/>
                    <a:pt x="330" y="110"/>
                    <a:pt x="330" y="110"/>
                  </a:cubicBezTo>
                  <a:cubicBezTo>
                    <a:pt x="330" y="141"/>
                    <a:pt x="305" y="165"/>
                    <a:pt x="275" y="165"/>
                  </a:cubicBezTo>
                  <a:moveTo>
                    <a:pt x="55" y="55"/>
                  </a:moveTo>
                  <a:cubicBezTo>
                    <a:pt x="55" y="110"/>
                    <a:pt x="55" y="110"/>
                    <a:pt x="55" y="110"/>
                  </a:cubicBezTo>
                  <a:cubicBezTo>
                    <a:pt x="275" y="110"/>
                    <a:pt x="275" y="110"/>
                    <a:pt x="275" y="110"/>
                  </a:cubicBezTo>
                  <a:cubicBezTo>
                    <a:pt x="275" y="55"/>
                    <a:pt x="275" y="55"/>
                    <a:pt x="275" y="55"/>
                  </a:cubicBezTo>
                  <a:lnTo>
                    <a:pt x="55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370">
              <a:extLst>
                <a:ext uri="{FF2B5EF4-FFF2-40B4-BE49-F238E27FC236}">
                  <a16:creationId xmlns:a16="http://schemas.microsoft.com/office/drawing/2014/main" id="{8D6768EE-F1A4-DE42-A75E-9B8A1EC5F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2568" y="5172430"/>
              <a:ext cx="133350" cy="66675"/>
            </a:xfrm>
            <a:custGeom>
              <a:avLst/>
              <a:gdLst>
                <a:gd name="T0" fmla="*/ 275 w 330"/>
                <a:gd name="T1" fmla="*/ 165 h 165"/>
                <a:gd name="T2" fmla="*/ 55 w 330"/>
                <a:gd name="T3" fmla="*/ 165 h 165"/>
                <a:gd name="T4" fmla="*/ 0 w 330"/>
                <a:gd name="T5" fmla="*/ 110 h 165"/>
                <a:gd name="T6" fmla="*/ 0 w 330"/>
                <a:gd name="T7" fmla="*/ 55 h 165"/>
                <a:gd name="T8" fmla="*/ 55 w 330"/>
                <a:gd name="T9" fmla="*/ 0 h 165"/>
                <a:gd name="T10" fmla="*/ 275 w 330"/>
                <a:gd name="T11" fmla="*/ 0 h 165"/>
                <a:gd name="T12" fmla="*/ 330 w 330"/>
                <a:gd name="T13" fmla="*/ 55 h 165"/>
                <a:gd name="T14" fmla="*/ 330 w 330"/>
                <a:gd name="T15" fmla="*/ 110 h 165"/>
                <a:gd name="T16" fmla="*/ 275 w 330"/>
                <a:gd name="T17" fmla="*/ 165 h 165"/>
                <a:gd name="T18" fmla="*/ 55 w 330"/>
                <a:gd name="T19" fmla="*/ 55 h 165"/>
                <a:gd name="T20" fmla="*/ 55 w 330"/>
                <a:gd name="T21" fmla="*/ 110 h 165"/>
                <a:gd name="T22" fmla="*/ 275 w 330"/>
                <a:gd name="T23" fmla="*/ 110 h 165"/>
                <a:gd name="T24" fmla="*/ 275 w 330"/>
                <a:gd name="T25" fmla="*/ 55 h 165"/>
                <a:gd name="T26" fmla="*/ 55 w 330"/>
                <a:gd name="T27" fmla="*/ 5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0" h="165">
                  <a:moveTo>
                    <a:pt x="275" y="165"/>
                  </a:moveTo>
                  <a:cubicBezTo>
                    <a:pt x="55" y="165"/>
                    <a:pt x="55" y="165"/>
                    <a:pt x="55" y="165"/>
                  </a:cubicBezTo>
                  <a:cubicBezTo>
                    <a:pt x="25" y="165"/>
                    <a:pt x="0" y="141"/>
                    <a:pt x="0" y="11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5"/>
                    <a:pt x="25" y="0"/>
                    <a:pt x="55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305" y="0"/>
                    <a:pt x="330" y="25"/>
                    <a:pt x="330" y="55"/>
                  </a:cubicBezTo>
                  <a:cubicBezTo>
                    <a:pt x="330" y="110"/>
                    <a:pt x="330" y="110"/>
                    <a:pt x="330" y="110"/>
                  </a:cubicBezTo>
                  <a:cubicBezTo>
                    <a:pt x="330" y="141"/>
                    <a:pt x="305" y="165"/>
                    <a:pt x="275" y="165"/>
                  </a:cubicBezTo>
                  <a:moveTo>
                    <a:pt x="55" y="55"/>
                  </a:moveTo>
                  <a:cubicBezTo>
                    <a:pt x="55" y="110"/>
                    <a:pt x="55" y="110"/>
                    <a:pt x="55" y="110"/>
                  </a:cubicBezTo>
                  <a:cubicBezTo>
                    <a:pt x="275" y="110"/>
                    <a:pt x="275" y="110"/>
                    <a:pt x="275" y="110"/>
                  </a:cubicBezTo>
                  <a:cubicBezTo>
                    <a:pt x="275" y="55"/>
                    <a:pt x="275" y="55"/>
                    <a:pt x="275" y="55"/>
                  </a:cubicBezTo>
                  <a:lnTo>
                    <a:pt x="55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371">
              <a:extLst>
                <a:ext uri="{FF2B5EF4-FFF2-40B4-BE49-F238E27FC236}">
                  <a16:creationId xmlns:a16="http://schemas.microsoft.com/office/drawing/2014/main" id="{C496900F-744C-224C-8A9C-AD433891B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568" y="4983517"/>
              <a:ext cx="263525" cy="166688"/>
            </a:xfrm>
            <a:custGeom>
              <a:avLst/>
              <a:gdLst>
                <a:gd name="T0" fmla="*/ 522 w 655"/>
                <a:gd name="T1" fmla="*/ 412 h 412"/>
                <a:gd name="T2" fmla="*/ 137 w 655"/>
                <a:gd name="T3" fmla="*/ 412 h 412"/>
                <a:gd name="T4" fmla="*/ 114 w 655"/>
                <a:gd name="T5" fmla="*/ 400 h 412"/>
                <a:gd name="T6" fmla="*/ 4 w 655"/>
                <a:gd name="T7" fmla="*/ 235 h 412"/>
                <a:gd name="T8" fmla="*/ 0 w 655"/>
                <a:gd name="T9" fmla="*/ 220 h 412"/>
                <a:gd name="T10" fmla="*/ 0 w 655"/>
                <a:gd name="T11" fmla="*/ 0 h 412"/>
                <a:gd name="T12" fmla="*/ 54 w 655"/>
                <a:gd name="T13" fmla="*/ 0 h 412"/>
                <a:gd name="T14" fmla="*/ 54 w 655"/>
                <a:gd name="T15" fmla="*/ 212 h 412"/>
                <a:gd name="T16" fmla="*/ 151 w 655"/>
                <a:gd name="T17" fmla="*/ 358 h 412"/>
                <a:gd name="T18" fmla="*/ 506 w 655"/>
                <a:gd name="T19" fmla="*/ 358 h 412"/>
                <a:gd name="T20" fmla="*/ 608 w 655"/>
                <a:gd name="T21" fmla="*/ 179 h 412"/>
                <a:gd name="T22" fmla="*/ 655 w 655"/>
                <a:gd name="T23" fmla="*/ 206 h 412"/>
                <a:gd name="T24" fmla="*/ 545 w 655"/>
                <a:gd name="T25" fmla="*/ 399 h 412"/>
                <a:gd name="T26" fmla="*/ 522 w 655"/>
                <a:gd name="T27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5" h="412">
                  <a:moveTo>
                    <a:pt x="522" y="412"/>
                  </a:moveTo>
                  <a:cubicBezTo>
                    <a:pt x="137" y="412"/>
                    <a:pt x="137" y="412"/>
                    <a:pt x="137" y="412"/>
                  </a:cubicBezTo>
                  <a:cubicBezTo>
                    <a:pt x="128" y="412"/>
                    <a:pt x="119" y="408"/>
                    <a:pt x="114" y="400"/>
                  </a:cubicBezTo>
                  <a:cubicBezTo>
                    <a:pt x="4" y="235"/>
                    <a:pt x="4" y="235"/>
                    <a:pt x="4" y="235"/>
                  </a:cubicBezTo>
                  <a:cubicBezTo>
                    <a:pt x="1" y="231"/>
                    <a:pt x="0" y="226"/>
                    <a:pt x="0" y="2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212"/>
                    <a:pt x="54" y="212"/>
                    <a:pt x="54" y="212"/>
                  </a:cubicBezTo>
                  <a:cubicBezTo>
                    <a:pt x="151" y="358"/>
                    <a:pt x="151" y="358"/>
                    <a:pt x="151" y="358"/>
                  </a:cubicBezTo>
                  <a:cubicBezTo>
                    <a:pt x="506" y="358"/>
                    <a:pt x="506" y="358"/>
                    <a:pt x="506" y="358"/>
                  </a:cubicBezTo>
                  <a:cubicBezTo>
                    <a:pt x="608" y="179"/>
                    <a:pt x="608" y="179"/>
                    <a:pt x="608" y="179"/>
                  </a:cubicBezTo>
                  <a:cubicBezTo>
                    <a:pt x="655" y="206"/>
                    <a:pt x="655" y="206"/>
                    <a:pt x="655" y="206"/>
                  </a:cubicBezTo>
                  <a:cubicBezTo>
                    <a:pt x="545" y="399"/>
                    <a:pt x="545" y="399"/>
                    <a:pt x="545" y="399"/>
                  </a:cubicBezTo>
                  <a:cubicBezTo>
                    <a:pt x="540" y="407"/>
                    <a:pt x="531" y="412"/>
                    <a:pt x="522" y="4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372">
              <a:extLst>
                <a:ext uri="{FF2B5EF4-FFF2-40B4-BE49-F238E27FC236}">
                  <a16:creationId xmlns:a16="http://schemas.microsoft.com/office/drawing/2014/main" id="{9DF3ED35-5613-594B-ADD3-988517780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4605" y="4978755"/>
              <a:ext cx="209550" cy="93663"/>
            </a:xfrm>
            <a:custGeom>
              <a:avLst/>
              <a:gdLst>
                <a:gd name="T0" fmla="*/ 515 w 522"/>
                <a:gd name="T1" fmla="*/ 234 h 234"/>
                <a:gd name="T2" fmla="*/ 103 w 522"/>
                <a:gd name="T3" fmla="*/ 179 h 234"/>
                <a:gd name="T4" fmla="*/ 83 w 522"/>
                <a:gd name="T5" fmla="*/ 166 h 234"/>
                <a:gd name="T6" fmla="*/ 0 w 522"/>
                <a:gd name="T7" fmla="*/ 29 h 234"/>
                <a:gd name="T8" fmla="*/ 47 w 522"/>
                <a:gd name="T9" fmla="*/ 0 h 234"/>
                <a:gd name="T10" fmla="*/ 123 w 522"/>
                <a:gd name="T11" fmla="*/ 126 h 234"/>
                <a:gd name="T12" fmla="*/ 522 w 522"/>
                <a:gd name="T13" fmla="*/ 179 h 234"/>
                <a:gd name="T14" fmla="*/ 515 w 522"/>
                <a:gd name="T15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2" h="234">
                  <a:moveTo>
                    <a:pt x="515" y="234"/>
                  </a:moveTo>
                  <a:cubicBezTo>
                    <a:pt x="103" y="179"/>
                    <a:pt x="103" y="179"/>
                    <a:pt x="103" y="179"/>
                  </a:cubicBezTo>
                  <a:cubicBezTo>
                    <a:pt x="94" y="178"/>
                    <a:pt x="87" y="173"/>
                    <a:pt x="83" y="16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522" y="179"/>
                    <a:pt x="522" y="179"/>
                    <a:pt x="522" y="179"/>
                  </a:cubicBezTo>
                  <a:lnTo>
                    <a:pt x="515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Rectangle 373">
              <a:extLst>
                <a:ext uri="{FF2B5EF4-FFF2-40B4-BE49-F238E27FC236}">
                  <a16:creationId xmlns:a16="http://schemas.microsoft.com/office/drawing/2014/main" id="{681AAD31-F81D-124C-8831-1C8F9961B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4793" y="5105755"/>
              <a:ext cx="2000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374">
              <a:extLst>
                <a:ext uri="{FF2B5EF4-FFF2-40B4-BE49-F238E27FC236}">
                  <a16:creationId xmlns:a16="http://schemas.microsoft.com/office/drawing/2014/main" id="{1F652CBE-C56E-D146-A61F-9198B8E86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9655" y="5127980"/>
              <a:ext cx="4445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375">
              <a:extLst>
                <a:ext uri="{FF2B5EF4-FFF2-40B4-BE49-F238E27FC236}">
                  <a16:creationId xmlns:a16="http://schemas.microsoft.com/office/drawing/2014/main" id="{8BC9007E-6EF6-4443-8E7A-20637F040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7468" y="5083530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95">
              <a:extLst>
                <a:ext uri="{FF2B5EF4-FFF2-40B4-BE49-F238E27FC236}">
                  <a16:creationId xmlns:a16="http://schemas.microsoft.com/office/drawing/2014/main" id="{7768E87C-3F20-7144-8551-FA3B8068F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0768" y="4972405"/>
              <a:ext cx="134938" cy="88900"/>
            </a:xfrm>
            <a:custGeom>
              <a:avLst/>
              <a:gdLst>
                <a:gd name="T0" fmla="*/ 55 w 334"/>
                <a:gd name="T1" fmla="*/ 221 h 221"/>
                <a:gd name="T2" fmla="*/ 0 w 334"/>
                <a:gd name="T3" fmla="*/ 221 h 221"/>
                <a:gd name="T4" fmla="*/ 0 w 334"/>
                <a:gd name="T5" fmla="*/ 28 h 221"/>
                <a:gd name="T6" fmla="*/ 10 w 334"/>
                <a:gd name="T7" fmla="*/ 7 h 221"/>
                <a:gd name="T8" fmla="*/ 32 w 334"/>
                <a:gd name="T9" fmla="*/ 1 h 221"/>
                <a:gd name="T10" fmla="*/ 334 w 334"/>
                <a:gd name="T11" fmla="*/ 56 h 221"/>
                <a:gd name="T12" fmla="*/ 325 w 334"/>
                <a:gd name="T13" fmla="*/ 110 h 221"/>
                <a:gd name="T14" fmla="*/ 55 w 334"/>
                <a:gd name="T15" fmla="*/ 61 h 221"/>
                <a:gd name="T16" fmla="*/ 55 w 334"/>
                <a:gd name="T1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221">
                  <a:moveTo>
                    <a:pt x="55" y="221"/>
                  </a:moveTo>
                  <a:cubicBezTo>
                    <a:pt x="0" y="221"/>
                    <a:pt x="0" y="221"/>
                    <a:pt x="0" y="2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4" y="13"/>
                    <a:pt x="10" y="7"/>
                  </a:cubicBezTo>
                  <a:cubicBezTo>
                    <a:pt x="16" y="2"/>
                    <a:pt x="24" y="0"/>
                    <a:pt x="32" y="1"/>
                  </a:cubicBezTo>
                  <a:cubicBezTo>
                    <a:pt x="334" y="56"/>
                    <a:pt x="334" y="56"/>
                    <a:pt x="334" y="56"/>
                  </a:cubicBezTo>
                  <a:cubicBezTo>
                    <a:pt x="325" y="110"/>
                    <a:pt x="325" y="110"/>
                    <a:pt x="325" y="110"/>
                  </a:cubicBezTo>
                  <a:cubicBezTo>
                    <a:pt x="55" y="61"/>
                    <a:pt x="55" y="61"/>
                    <a:pt x="55" y="61"/>
                  </a:cubicBezTo>
                  <a:lnTo>
                    <a:pt x="55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396">
              <a:extLst>
                <a:ext uri="{FF2B5EF4-FFF2-40B4-BE49-F238E27FC236}">
                  <a16:creationId xmlns:a16="http://schemas.microsoft.com/office/drawing/2014/main" id="{F0FE2FEA-B4DD-3C45-834E-E875594AA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655" y="5061305"/>
              <a:ext cx="155575" cy="44450"/>
            </a:xfrm>
            <a:custGeom>
              <a:avLst/>
              <a:gdLst>
                <a:gd name="T0" fmla="*/ 385 w 385"/>
                <a:gd name="T1" fmla="*/ 110 h 110"/>
                <a:gd name="T2" fmla="*/ 330 w 385"/>
                <a:gd name="T3" fmla="*/ 110 h 110"/>
                <a:gd name="T4" fmla="*/ 330 w 385"/>
                <a:gd name="T5" fmla="*/ 55 h 110"/>
                <a:gd name="T6" fmla="*/ 0 w 385"/>
                <a:gd name="T7" fmla="*/ 55 h 110"/>
                <a:gd name="T8" fmla="*/ 0 w 385"/>
                <a:gd name="T9" fmla="*/ 0 h 110"/>
                <a:gd name="T10" fmla="*/ 358 w 385"/>
                <a:gd name="T11" fmla="*/ 0 h 110"/>
                <a:gd name="T12" fmla="*/ 385 w 385"/>
                <a:gd name="T13" fmla="*/ 27 h 110"/>
                <a:gd name="T14" fmla="*/ 385 w 385"/>
                <a:gd name="T1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5" h="110">
                  <a:moveTo>
                    <a:pt x="385" y="110"/>
                  </a:moveTo>
                  <a:cubicBezTo>
                    <a:pt x="330" y="110"/>
                    <a:pt x="330" y="110"/>
                    <a:pt x="330" y="110"/>
                  </a:cubicBezTo>
                  <a:cubicBezTo>
                    <a:pt x="330" y="55"/>
                    <a:pt x="330" y="55"/>
                    <a:pt x="33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73" y="0"/>
                    <a:pt x="385" y="12"/>
                    <a:pt x="385" y="27"/>
                  </a:cubicBezTo>
                  <a:lnTo>
                    <a:pt x="38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397">
              <a:extLst>
                <a:ext uri="{FF2B5EF4-FFF2-40B4-BE49-F238E27FC236}">
                  <a16:creationId xmlns:a16="http://schemas.microsoft.com/office/drawing/2014/main" id="{31183C9E-0255-4A43-BA93-52FB45B14A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8555" y="5072417"/>
              <a:ext cx="222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2" name="Group 2939">
            <a:extLst>
              <a:ext uri="{FF2B5EF4-FFF2-40B4-BE49-F238E27FC236}">
                <a16:creationId xmlns:a16="http://schemas.microsoft.com/office/drawing/2014/main" id="{14AB5E5E-43E3-884E-B866-00F7FC58F3C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05010" y="2116587"/>
            <a:ext cx="610305" cy="552180"/>
            <a:chOff x="6559551" y="3549650"/>
            <a:chExt cx="533400" cy="482600"/>
          </a:xfrm>
          <a:solidFill>
            <a:schemeClr val="bg2"/>
          </a:solidFill>
        </p:grpSpPr>
        <p:sp>
          <p:nvSpPr>
            <p:cNvPr id="63" name="Freeform 1178">
              <a:extLst>
                <a:ext uri="{FF2B5EF4-FFF2-40B4-BE49-F238E27FC236}">
                  <a16:creationId xmlns:a16="http://schemas.microsoft.com/office/drawing/2014/main" id="{552BF996-03FE-F841-AE64-FE04BDCD79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9551" y="3549650"/>
              <a:ext cx="533400" cy="400050"/>
            </a:xfrm>
            <a:custGeom>
              <a:avLst/>
              <a:gdLst>
                <a:gd name="T0" fmla="*/ 1208 w 1288"/>
                <a:gd name="T1" fmla="*/ 966 h 966"/>
                <a:gd name="T2" fmla="*/ 81 w 1288"/>
                <a:gd name="T3" fmla="*/ 966 h 966"/>
                <a:gd name="T4" fmla="*/ 0 w 1288"/>
                <a:gd name="T5" fmla="*/ 885 h 966"/>
                <a:gd name="T6" fmla="*/ 0 w 1288"/>
                <a:gd name="T7" fmla="*/ 80 h 966"/>
                <a:gd name="T8" fmla="*/ 81 w 1288"/>
                <a:gd name="T9" fmla="*/ 0 h 966"/>
                <a:gd name="T10" fmla="*/ 1208 w 1288"/>
                <a:gd name="T11" fmla="*/ 0 h 966"/>
                <a:gd name="T12" fmla="*/ 1288 w 1288"/>
                <a:gd name="T13" fmla="*/ 80 h 966"/>
                <a:gd name="T14" fmla="*/ 1288 w 1288"/>
                <a:gd name="T15" fmla="*/ 885 h 966"/>
                <a:gd name="T16" fmla="*/ 1208 w 1288"/>
                <a:gd name="T17" fmla="*/ 966 h 966"/>
                <a:gd name="T18" fmla="*/ 81 w 1288"/>
                <a:gd name="T19" fmla="*/ 40 h 966"/>
                <a:gd name="T20" fmla="*/ 41 w 1288"/>
                <a:gd name="T21" fmla="*/ 80 h 966"/>
                <a:gd name="T22" fmla="*/ 41 w 1288"/>
                <a:gd name="T23" fmla="*/ 885 h 966"/>
                <a:gd name="T24" fmla="*/ 81 w 1288"/>
                <a:gd name="T25" fmla="*/ 925 h 966"/>
                <a:gd name="T26" fmla="*/ 1208 w 1288"/>
                <a:gd name="T27" fmla="*/ 925 h 966"/>
                <a:gd name="T28" fmla="*/ 1248 w 1288"/>
                <a:gd name="T29" fmla="*/ 885 h 966"/>
                <a:gd name="T30" fmla="*/ 1248 w 1288"/>
                <a:gd name="T31" fmla="*/ 80 h 966"/>
                <a:gd name="T32" fmla="*/ 1208 w 1288"/>
                <a:gd name="T33" fmla="*/ 40 h 966"/>
                <a:gd name="T34" fmla="*/ 81 w 1288"/>
                <a:gd name="T35" fmla="*/ 40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8" h="966">
                  <a:moveTo>
                    <a:pt x="1208" y="966"/>
                  </a:moveTo>
                  <a:cubicBezTo>
                    <a:pt x="81" y="966"/>
                    <a:pt x="81" y="966"/>
                    <a:pt x="81" y="966"/>
                  </a:cubicBezTo>
                  <a:cubicBezTo>
                    <a:pt x="36" y="966"/>
                    <a:pt x="0" y="930"/>
                    <a:pt x="0" y="88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08" y="0"/>
                    <a:pt x="1208" y="0"/>
                    <a:pt x="1208" y="0"/>
                  </a:cubicBezTo>
                  <a:cubicBezTo>
                    <a:pt x="1252" y="0"/>
                    <a:pt x="1288" y="36"/>
                    <a:pt x="1288" y="80"/>
                  </a:cubicBezTo>
                  <a:cubicBezTo>
                    <a:pt x="1288" y="885"/>
                    <a:pt x="1288" y="885"/>
                    <a:pt x="1288" y="885"/>
                  </a:cubicBezTo>
                  <a:cubicBezTo>
                    <a:pt x="1288" y="930"/>
                    <a:pt x="1252" y="966"/>
                    <a:pt x="1208" y="966"/>
                  </a:cubicBezTo>
                  <a:moveTo>
                    <a:pt x="81" y="40"/>
                  </a:moveTo>
                  <a:cubicBezTo>
                    <a:pt x="59" y="40"/>
                    <a:pt x="41" y="58"/>
                    <a:pt x="41" y="80"/>
                  </a:cubicBezTo>
                  <a:cubicBezTo>
                    <a:pt x="41" y="885"/>
                    <a:pt x="41" y="885"/>
                    <a:pt x="41" y="885"/>
                  </a:cubicBezTo>
                  <a:cubicBezTo>
                    <a:pt x="41" y="907"/>
                    <a:pt x="59" y="925"/>
                    <a:pt x="81" y="925"/>
                  </a:cubicBezTo>
                  <a:cubicBezTo>
                    <a:pt x="1208" y="925"/>
                    <a:pt x="1208" y="925"/>
                    <a:pt x="1208" y="925"/>
                  </a:cubicBezTo>
                  <a:cubicBezTo>
                    <a:pt x="1230" y="925"/>
                    <a:pt x="1248" y="907"/>
                    <a:pt x="1248" y="885"/>
                  </a:cubicBezTo>
                  <a:cubicBezTo>
                    <a:pt x="1248" y="80"/>
                    <a:pt x="1248" y="80"/>
                    <a:pt x="1248" y="80"/>
                  </a:cubicBezTo>
                  <a:cubicBezTo>
                    <a:pt x="1248" y="58"/>
                    <a:pt x="1230" y="40"/>
                    <a:pt x="1208" y="40"/>
                  </a:cubicBezTo>
                  <a:lnTo>
                    <a:pt x="81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" name="Freeform 1179">
              <a:extLst>
                <a:ext uri="{FF2B5EF4-FFF2-40B4-BE49-F238E27FC236}">
                  <a16:creationId xmlns:a16="http://schemas.microsoft.com/office/drawing/2014/main" id="{BC4209F7-7D87-4F42-8EB3-8D69D2A00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3938588"/>
              <a:ext cx="39688" cy="88900"/>
            </a:xfrm>
            <a:custGeom>
              <a:avLst/>
              <a:gdLst>
                <a:gd name="T0" fmla="*/ 15 w 25"/>
                <a:gd name="T1" fmla="*/ 56 h 56"/>
                <a:gd name="T2" fmla="*/ 0 w 25"/>
                <a:gd name="T3" fmla="*/ 3 h 56"/>
                <a:gd name="T4" fmla="*/ 9 w 25"/>
                <a:gd name="T5" fmla="*/ 0 h 56"/>
                <a:gd name="T6" fmla="*/ 25 w 25"/>
                <a:gd name="T7" fmla="*/ 53 h 56"/>
                <a:gd name="T8" fmla="*/ 15 w 25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6">
                  <a:moveTo>
                    <a:pt x="15" y="56"/>
                  </a:moveTo>
                  <a:lnTo>
                    <a:pt x="0" y="3"/>
                  </a:lnTo>
                  <a:lnTo>
                    <a:pt x="9" y="0"/>
                  </a:lnTo>
                  <a:lnTo>
                    <a:pt x="25" y="53"/>
                  </a:lnTo>
                  <a:lnTo>
                    <a:pt x="1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" name="Freeform 1180">
              <a:extLst>
                <a:ext uri="{FF2B5EF4-FFF2-40B4-BE49-F238E27FC236}">
                  <a16:creationId xmlns:a16="http://schemas.microsoft.com/office/drawing/2014/main" id="{681EFA99-9BBC-3B42-A774-4D9F60B9A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701" y="3938588"/>
              <a:ext cx="39688" cy="88900"/>
            </a:xfrm>
            <a:custGeom>
              <a:avLst/>
              <a:gdLst>
                <a:gd name="T0" fmla="*/ 10 w 25"/>
                <a:gd name="T1" fmla="*/ 56 h 56"/>
                <a:gd name="T2" fmla="*/ 0 w 25"/>
                <a:gd name="T3" fmla="*/ 53 h 56"/>
                <a:gd name="T4" fmla="*/ 15 w 25"/>
                <a:gd name="T5" fmla="*/ 0 h 56"/>
                <a:gd name="T6" fmla="*/ 25 w 25"/>
                <a:gd name="T7" fmla="*/ 3 h 56"/>
                <a:gd name="T8" fmla="*/ 10 w 25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6">
                  <a:moveTo>
                    <a:pt x="10" y="56"/>
                  </a:moveTo>
                  <a:lnTo>
                    <a:pt x="0" y="53"/>
                  </a:lnTo>
                  <a:lnTo>
                    <a:pt x="15" y="0"/>
                  </a:lnTo>
                  <a:lnTo>
                    <a:pt x="25" y="3"/>
                  </a:lnTo>
                  <a:lnTo>
                    <a:pt x="1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" name="Rectangle 1181">
              <a:extLst>
                <a:ext uri="{FF2B5EF4-FFF2-40B4-BE49-F238E27FC236}">
                  <a16:creationId xmlns:a16="http://schemas.microsoft.com/office/drawing/2014/main" id="{4F6FA5B8-1697-E949-8BD5-C784CEA90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8301" y="4016375"/>
              <a:ext cx="2159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Rectangle 1182">
              <a:extLst>
                <a:ext uri="{FF2B5EF4-FFF2-40B4-BE49-F238E27FC236}">
                  <a16:creationId xmlns:a16="http://schemas.microsoft.com/office/drawing/2014/main" id="{5B7F4323-01BA-F74C-B981-327A2BED02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8313" y="3898900"/>
              <a:ext cx="158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Freeform 1183">
              <a:extLst>
                <a:ext uri="{FF2B5EF4-FFF2-40B4-BE49-F238E27FC236}">
                  <a16:creationId xmlns:a16="http://schemas.microsoft.com/office/drawing/2014/main" id="{799F21C8-ACA1-8345-9690-E2A4424FFE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2888" y="3582988"/>
              <a:ext cx="466725" cy="300038"/>
            </a:xfrm>
            <a:custGeom>
              <a:avLst/>
              <a:gdLst>
                <a:gd name="T0" fmla="*/ 1107 w 1127"/>
                <a:gd name="T1" fmla="*/ 725 h 725"/>
                <a:gd name="T2" fmla="*/ 20 w 1127"/>
                <a:gd name="T3" fmla="*/ 725 h 725"/>
                <a:gd name="T4" fmla="*/ 0 w 1127"/>
                <a:gd name="T5" fmla="*/ 705 h 725"/>
                <a:gd name="T6" fmla="*/ 0 w 1127"/>
                <a:gd name="T7" fmla="*/ 20 h 725"/>
                <a:gd name="T8" fmla="*/ 20 w 1127"/>
                <a:gd name="T9" fmla="*/ 0 h 725"/>
                <a:gd name="T10" fmla="*/ 1107 w 1127"/>
                <a:gd name="T11" fmla="*/ 0 h 725"/>
                <a:gd name="T12" fmla="*/ 1127 w 1127"/>
                <a:gd name="T13" fmla="*/ 20 h 725"/>
                <a:gd name="T14" fmla="*/ 1127 w 1127"/>
                <a:gd name="T15" fmla="*/ 705 h 725"/>
                <a:gd name="T16" fmla="*/ 1107 w 1127"/>
                <a:gd name="T17" fmla="*/ 725 h 725"/>
                <a:gd name="T18" fmla="*/ 40 w 1127"/>
                <a:gd name="T19" fmla="*/ 684 h 725"/>
                <a:gd name="T20" fmla="*/ 1087 w 1127"/>
                <a:gd name="T21" fmla="*/ 684 h 725"/>
                <a:gd name="T22" fmla="*/ 1087 w 1127"/>
                <a:gd name="T23" fmla="*/ 40 h 725"/>
                <a:gd name="T24" fmla="*/ 40 w 1127"/>
                <a:gd name="T25" fmla="*/ 40 h 725"/>
                <a:gd name="T26" fmla="*/ 40 w 1127"/>
                <a:gd name="T27" fmla="*/ 684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7" h="725">
                  <a:moveTo>
                    <a:pt x="1107" y="725"/>
                  </a:moveTo>
                  <a:cubicBezTo>
                    <a:pt x="20" y="725"/>
                    <a:pt x="20" y="725"/>
                    <a:pt x="20" y="725"/>
                  </a:cubicBezTo>
                  <a:cubicBezTo>
                    <a:pt x="9" y="725"/>
                    <a:pt x="0" y="716"/>
                    <a:pt x="0" y="70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107" y="0"/>
                    <a:pt x="1107" y="0"/>
                    <a:pt x="1107" y="0"/>
                  </a:cubicBezTo>
                  <a:cubicBezTo>
                    <a:pt x="1118" y="0"/>
                    <a:pt x="1127" y="9"/>
                    <a:pt x="1127" y="20"/>
                  </a:cubicBezTo>
                  <a:cubicBezTo>
                    <a:pt x="1127" y="705"/>
                    <a:pt x="1127" y="705"/>
                    <a:pt x="1127" y="705"/>
                  </a:cubicBezTo>
                  <a:cubicBezTo>
                    <a:pt x="1127" y="716"/>
                    <a:pt x="1118" y="725"/>
                    <a:pt x="1107" y="725"/>
                  </a:cubicBezTo>
                  <a:moveTo>
                    <a:pt x="40" y="684"/>
                  </a:moveTo>
                  <a:cubicBezTo>
                    <a:pt x="1087" y="684"/>
                    <a:pt x="1087" y="684"/>
                    <a:pt x="1087" y="684"/>
                  </a:cubicBezTo>
                  <a:cubicBezTo>
                    <a:pt x="1087" y="40"/>
                    <a:pt x="1087" y="40"/>
                    <a:pt x="1087" y="40"/>
                  </a:cubicBezTo>
                  <a:cubicBezTo>
                    <a:pt x="40" y="40"/>
                    <a:pt x="40" y="40"/>
                    <a:pt x="40" y="40"/>
                  </a:cubicBezTo>
                  <a:lnTo>
                    <a:pt x="40" y="6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69" name="Grafik 68">
            <a:extLst>
              <a:ext uri="{FF2B5EF4-FFF2-40B4-BE49-F238E27FC236}">
                <a16:creationId xmlns:a16="http://schemas.microsoft.com/office/drawing/2014/main" id="{EE46270F-F50D-D14F-8190-A8B5AE07CE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83361" y="2116587"/>
            <a:ext cx="552180" cy="552180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DB765DEB-EDFD-4A41-ADEA-14667DC6BE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434424" y="2117917"/>
            <a:ext cx="539539" cy="539539"/>
          </a:xfrm>
          <a:prstGeom prst="rect">
            <a:avLst/>
          </a:prstGeom>
        </p:spPr>
      </p:pic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63370240-45FC-3F42-BEED-689C3F752D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0D488886-9A37-1A4D-AC85-EF17AFC55B9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765548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pic>
        <p:nvPicPr>
          <p:cNvPr id="71" name="Picture 29">
            <a:extLst>
              <a:ext uri="{FF2B5EF4-FFF2-40B4-BE49-F238E27FC236}">
                <a16:creationId xmlns:a16="http://schemas.microsoft.com/office/drawing/2014/main" id="{6AC1F004-DAED-CE4D-B9F3-545252340D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31" y="2275421"/>
            <a:ext cx="2446957" cy="3468640"/>
          </a:xfrm>
          <a:prstGeom prst="rect">
            <a:avLst/>
          </a:prstGeom>
        </p:spPr>
      </p:pic>
      <p:pic>
        <p:nvPicPr>
          <p:cNvPr id="72" name="Picture 30">
            <a:extLst>
              <a:ext uri="{FF2B5EF4-FFF2-40B4-BE49-F238E27FC236}">
                <a16:creationId xmlns:a16="http://schemas.microsoft.com/office/drawing/2014/main" id="{1967DFAC-BCCA-0C47-8E65-2B1BCFB3A4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4470" y="3096514"/>
            <a:ext cx="1260973" cy="2647547"/>
          </a:xfrm>
          <a:prstGeom prst="rect">
            <a:avLst/>
          </a:prstGeom>
        </p:spPr>
      </p:pic>
      <p:sp>
        <p:nvSpPr>
          <p:cNvPr id="73" name="Picture Placeholder 12">
            <a:extLst>
              <a:ext uri="{FF2B5EF4-FFF2-40B4-BE49-F238E27FC236}">
                <a16:creationId xmlns:a16="http://schemas.microsoft.com/office/drawing/2014/main" id="{4002F436-653A-E741-9A78-460AF6DF3A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86310" y="2581789"/>
            <a:ext cx="2128815" cy="2835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74" name="Picture Placeholder 14">
            <a:extLst>
              <a:ext uri="{FF2B5EF4-FFF2-40B4-BE49-F238E27FC236}">
                <a16:creationId xmlns:a16="http://schemas.microsoft.com/office/drawing/2014/main" id="{5A6FFAD5-5B04-6A42-BA8E-49D99FDE0F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71736" y="3487568"/>
            <a:ext cx="1057275" cy="187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8B35D48D-0E84-CC46-9230-D9C025847891}"/>
              </a:ext>
            </a:extLst>
          </p:cNvPr>
          <p:cNvSpPr>
            <a:spLocks noChangeAspect="1"/>
          </p:cNvSpPr>
          <p:nvPr userDrawn="1"/>
        </p:nvSpPr>
        <p:spPr>
          <a:xfrm>
            <a:off x="5283975" y="3251856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4BB6D5E9-A4AD-FC4E-BC57-64E623EC625E}"/>
              </a:ext>
            </a:extLst>
          </p:cNvPr>
          <p:cNvSpPr>
            <a:spLocks noChangeAspect="1"/>
          </p:cNvSpPr>
          <p:nvPr userDrawn="1"/>
        </p:nvSpPr>
        <p:spPr>
          <a:xfrm>
            <a:off x="5283975" y="4194973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D76DB26-ECB8-6044-B6A8-36B33FE84D38}"/>
              </a:ext>
            </a:extLst>
          </p:cNvPr>
          <p:cNvSpPr>
            <a:spLocks noChangeAspect="1"/>
          </p:cNvSpPr>
          <p:nvPr userDrawn="1"/>
        </p:nvSpPr>
        <p:spPr>
          <a:xfrm>
            <a:off x="8148473" y="3251856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E2C14973-F5E4-9E4F-9168-D0038BD16FE9}"/>
              </a:ext>
            </a:extLst>
          </p:cNvPr>
          <p:cNvSpPr>
            <a:spLocks noChangeAspect="1"/>
          </p:cNvSpPr>
          <p:nvPr userDrawn="1"/>
        </p:nvSpPr>
        <p:spPr>
          <a:xfrm>
            <a:off x="8148473" y="4194973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C9072C41-B8C4-334D-8A31-09646758E533}"/>
              </a:ext>
            </a:extLst>
          </p:cNvPr>
          <p:cNvSpPr>
            <a:spLocks noChangeAspect="1"/>
          </p:cNvSpPr>
          <p:nvPr userDrawn="1"/>
        </p:nvSpPr>
        <p:spPr>
          <a:xfrm>
            <a:off x="5283975" y="5147948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89657F1-29EC-CA4C-8CB0-D78FFE4F966F}"/>
              </a:ext>
            </a:extLst>
          </p:cNvPr>
          <p:cNvSpPr>
            <a:spLocks noChangeAspect="1"/>
          </p:cNvSpPr>
          <p:nvPr userDrawn="1"/>
        </p:nvSpPr>
        <p:spPr>
          <a:xfrm>
            <a:off x="8148473" y="5147948"/>
            <a:ext cx="551992" cy="5519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5" name="Freeform 322">
            <a:extLst>
              <a:ext uri="{FF2B5EF4-FFF2-40B4-BE49-F238E27FC236}">
                <a16:creationId xmlns:a16="http://schemas.microsoft.com/office/drawing/2014/main" id="{24D862E4-3EE1-C943-AABC-4B4FE5514B7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388862" y="5267287"/>
            <a:ext cx="342218" cy="313314"/>
          </a:xfrm>
          <a:custGeom>
            <a:avLst/>
            <a:gdLst>
              <a:gd name="T0" fmla="*/ 426 w 822"/>
              <a:gd name="T1" fmla="*/ 752 h 752"/>
              <a:gd name="T2" fmla="*/ 397 w 822"/>
              <a:gd name="T3" fmla="*/ 752 h 752"/>
              <a:gd name="T4" fmla="*/ 397 w 822"/>
              <a:gd name="T5" fmla="*/ 274 h 752"/>
              <a:gd name="T6" fmla="*/ 266 w 822"/>
              <a:gd name="T7" fmla="*/ 406 h 752"/>
              <a:gd name="T8" fmla="*/ 245 w 822"/>
              <a:gd name="T9" fmla="*/ 385 h 752"/>
              <a:gd name="T10" fmla="*/ 411 w 822"/>
              <a:gd name="T11" fmla="*/ 217 h 752"/>
              <a:gd name="T12" fmla="*/ 578 w 822"/>
              <a:gd name="T13" fmla="*/ 385 h 752"/>
              <a:gd name="T14" fmla="*/ 557 w 822"/>
              <a:gd name="T15" fmla="*/ 406 h 752"/>
              <a:gd name="T16" fmla="*/ 426 w 822"/>
              <a:gd name="T17" fmla="*/ 274 h 752"/>
              <a:gd name="T18" fmla="*/ 426 w 822"/>
              <a:gd name="T19" fmla="*/ 752 h 752"/>
              <a:gd name="T20" fmla="*/ 630 w 822"/>
              <a:gd name="T21" fmla="*/ 524 h 752"/>
              <a:gd name="T22" fmla="*/ 540 w 822"/>
              <a:gd name="T23" fmla="*/ 524 h 752"/>
              <a:gd name="T24" fmla="*/ 540 w 822"/>
              <a:gd name="T25" fmla="*/ 495 h 752"/>
              <a:gd name="T26" fmla="*/ 630 w 822"/>
              <a:gd name="T27" fmla="*/ 495 h 752"/>
              <a:gd name="T28" fmla="*/ 793 w 822"/>
              <a:gd name="T29" fmla="*/ 332 h 752"/>
              <a:gd name="T30" fmla="*/ 630 w 822"/>
              <a:gd name="T31" fmla="*/ 170 h 752"/>
              <a:gd name="T32" fmla="*/ 598 w 822"/>
              <a:gd name="T33" fmla="*/ 173 h 752"/>
              <a:gd name="T34" fmla="*/ 585 w 822"/>
              <a:gd name="T35" fmla="*/ 175 h 752"/>
              <a:gd name="T36" fmla="*/ 581 w 822"/>
              <a:gd name="T37" fmla="*/ 164 h 752"/>
              <a:gd name="T38" fmla="*/ 383 w 822"/>
              <a:gd name="T39" fmla="*/ 29 h 752"/>
              <a:gd name="T40" fmla="*/ 171 w 822"/>
              <a:gd name="T41" fmla="*/ 241 h 752"/>
              <a:gd name="T42" fmla="*/ 171 w 822"/>
              <a:gd name="T43" fmla="*/ 260 h 752"/>
              <a:gd name="T44" fmla="*/ 156 w 822"/>
              <a:gd name="T45" fmla="*/ 259 h 752"/>
              <a:gd name="T46" fmla="*/ 148 w 822"/>
              <a:gd name="T47" fmla="*/ 259 h 752"/>
              <a:gd name="T48" fmla="*/ 30 w 822"/>
              <a:gd name="T49" fmla="*/ 377 h 752"/>
              <a:gd name="T50" fmla="*/ 148 w 822"/>
              <a:gd name="T51" fmla="*/ 495 h 752"/>
              <a:gd name="T52" fmla="*/ 269 w 822"/>
              <a:gd name="T53" fmla="*/ 495 h 752"/>
              <a:gd name="T54" fmla="*/ 269 w 822"/>
              <a:gd name="T55" fmla="*/ 524 h 752"/>
              <a:gd name="T56" fmla="*/ 148 w 822"/>
              <a:gd name="T57" fmla="*/ 524 h 752"/>
              <a:gd name="T58" fmla="*/ 0 w 822"/>
              <a:gd name="T59" fmla="*/ 377 h 752"/>
              <a:gd name="T60" fmla="*/ 142 w 822"/>
              <a:gd name="T61" fmla="*/ 229 h 752"/>
              <a:gd name="T62" fmla="*/ 383 w 822"/>
              <a:gd name="T63" fmla="*/ 0 h 752"/>
              <a:gd name="T64" fmla="*/ 604 w 822"/>
              <a:gd name="T65" fmla="*/ 142 h 752"/>
              <a:gd name="T66" fmla="*/ 630 w 822"/>
              <a:gd name="T67" fmla="*/ 140 h 752"/>
              <a:gd name="T68" fmla="*/ 822 w 822"/>
              <a:gd name="T69" fmla="*/ 332 h 752"/>
              <a:gd name="T70" fmla="*/ 630 w 822"/>
              <a:gd name="T71" fmla="*/ 524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22" h="752">
                <a:moveTo>
                  <a:pt x="426" y="752"/>
                </a:moveTo>
                <a:cubicBezTo>
                  <a:pt x="397" y="752"/>
                  <a:pt x="397" y="752"/>
                  <a:pt x="397" y="752"/>
                </a:cubicBezTo>
                <a:cubicBezTo>
                  <a:pt x="397" y="274"/>
                  <a:pt x="397" y="274"/>
                  <a:pt x="397" y="274"/>
                </a:cubicBezTo>
                <a:cubicBezTo>
                  <a:pt x="266" y="406"/>
                  <a:pt x="266" y="406"/>
                  <a:pt x="266" y="406"/>
                </a:cubicBezTo>
                <a:cubicBezTo>
                  <a:pt x="245" y="385"/>
                  <a:pt x="245" y="385"/>
                  <a:pt x="245" y="385"/>
                </a:cubicBezTo>
                <a:cubicBezTo>
                  <a:pt x="411" y="217"/>
                  <a:pt x="411" y="217"/>
                  <a:pt x="411" y="217"/>
                </a:cubicBezTo>
                <a:cubicBezTo>
                  <a:pt x="578" y="385"/>
                  <a:pt x="578" y="385"/>
                  <a:pt x="578" y="385"/>
                </a:cubicBezTo>
                <a:cubicBezTo>
                  <a:pt x="557" y="406"/>
                  <a:pt x="557" y="406"/>
                  <a:pt x="557" y="406"/>
                </a:cubicBezTo>
                <a:cubicBezTo>
                  <a:pt x="426" y="274"/>
                  <a:pt x="426" y="274"/>
                  <a:pt x="426" y="274"/>
                </a:cubicBezTo>
                <a:cubicBezTo>
                  <a:pt x="426" y="752"/>
                  <a:pt x="426" y="752"/>
                  <a:pt x="426" y="752"/>
                </a:cubicBezTo>
                <a:close/>
                <a:moveTo>
                  <a:pt x="630" y="524"/>
                </a:moveTo>
                <a:cubicBezTo>
                  <a:pt x="540" y="524"/>
                  <a:pt x="540" y="524"/>
                  <a:pt x="540" y="524"/>
                </a:cubicBezTo>
                <a:cubicBezTo>
                  <a:pt x="540" y="495"/>
                  <a:pt x="540" y="495"/>
                  <a:pt x="540" y="495"/>
                </a:cubicBezTo>
                <a:cubicBezTo>
                  <a:pt x="630" y="495"/>
                  <a:pt x="630" y="495"/>
                  <a:pt x="630" y="495"/>
                </a:cubicBezTo>
                <a:cubicBezTo>
                  <a:pt x="720" y="495"/>
                  <a:pt x="793" y="422"/>
                  <a:pt x="793" y="332"/>
                </a:cubicBezTo>
                <a:cubicBezTo>
                  <a:pt x="793" y="243"/>
                  <a:pt x="720" y="170"/>
                  <a:pt x="630" y="170"/>
                </a:cubicBezTo>
                <a:cubicBezTo>
                  <a:pt x="619" y="170"/>
                  <a:pt x="608" y="171"/>
                  <a:pt x="598" y="173"/>
                </a:cubicBezTo>
                <a:cubicBezTo>
                  <a:pt x="585" y="175"/>
                  <a:pt x="585" y="175"/>
                  <a:pt x="585" y="175"/>
                </a:cubicBezTo>
                <a:cubicBezTo>
                  <a:pt x="581" y="164"/>
                  <a:pt x="581" y="164"/>
                  <a:pt x="581" y="164"/>
                </a:cubicBezTo>
                <a:cubicBezTo>
                  <a:pt x="549" y="82"/>
                  <a:pt x="471" y="29"/>
                  <a:pt x="383" y="29"/>
                </a:cubicBezTo>
                <a:cubicBezTo>
                  <a:pt x="266" y="29"/>
                  <a:pt x="171" y="124"/>
                  <a:pt x="171" y="241"/>
                </a:cubicBezTo>
                <a:cubicBezTo>
                  <a:pt x="171" y="260"/>
                  <a:pt x="171" y="260"/>
                  <a:pt x="171" y="260"/>
                </a:cubicBezTo>
                <a:cubicBezTo>
                  <a:pt x="156" y="259"/>
                  <a:pt x="156" y="259"/>
                  <a:pt x="156" y="259"/>
                </a:cubicBezTo>
                <a:cubicBezTo>
                  <a:pt x="153" y="259"/>
                  <a:pt x="150" y="259"/>
                  <a:pt x="148" y="259"/>
                </a:cubicBezTo>
                <a:cubicBezTo>
                  <a:pt x="83" y="259"/>
                  <a:pt x="30" y="312"/>
                  <a:pt x="30" y="377"/>
                </a:cubicBezTo>
                <a:cubicBezTo>
                  <a:pt x="30" y="442"/>
                  <a:pt x="83" y="495"/>
                  <a:pt x="148" y="495"/>
                </a:cubicBezTo>
                <a:cubicBezTo>
                  <a:pt x="269" y="495"/>
                  <a:pt x="269" y="495"/>
                  <a:pt x="269" y="495"/>
                </a:cubicBezTo>
                <a:cubicBezTo>
                  <a:pt x="269" y="524"/>
                  <a:pt x="269" y="524"/>
                  <a:pt x="269" y="524"/>
                </a:cubicBezTo>
                <a:cubicBezTo>
                  <a:pt x="148" y="524"/>
                  <a:pt x="148" y="524"/>
                  <a:pt x="148" y="524"/>
                </a:cubicBezTo>
                <a:cubicBezTo>
                  <a:pt x="66" y="524"/>
                  <a:pt x="0" y="458"/>
                  <a:pt x="0" y="377"/>
                </a:cubicBezTo>
                <a:cubicBezTo>
                  <a:pt x="0" y="297"/>
                  <a:pt x="63" y="232"/>
                  <a:pt x="142" y="229"/>
                </a:cubicBezTo>
                <a:cubicBezTo>
                  <a:pt x="148" y="102"/>
                  <a:pt x="254" y="0"/>
                  <a:pt x="383" y="0"/>
                </a:cubicBezTo>
                <a:cubicBezTo>
                  <a:pt x="479" y="0"/>
                  <a:pt x="565" y="55"/>
                  <a:pt x="604" y="142"/>
                </a:cubicBezTo>
                <a:cubicBezTo>
                  <a:pt x="612" y="141"/>
                  <a:pt x="621" y="140"/>
                  <a:pt x="630" y="140"/>
                </a:cubicBezTo>
                <a:cubicBezTo>
                  <a:pt x="736" y="140"/>
                  <a:pt x="822" y="226"/>
                  <a:pt x="822" y="332"/>
                </a:cubicBezTo>
                <a:cubicBezTo>
                  <a:pt x="822" y="438"/>
                  <a:pt x="736" y="524"/>
                  <a:pt x="630" y="52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6" name="Group 42">
            <a:extLst>
              <a:ext uri="{FF2B5EF4-FFF2-40B4-BE49-F238E27FC236}">
                <a16:creationId xmlns:a16="http://schemas.microsoft.com/office/drawing/2014/main" id="{48850F29-9174-D54B-9430-BB361B2AD9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53359" y="5259194"/>
            <a:ext cx="342220" cy="329500"/>
            <a:chOff x="3851275" y="4733925"/>
            <a:chExt cx="469900" cy="452437"/>
          </a:xfrm>
          <a:solidFill>
            <a:schemeClr val="bg2"/>
          </a:solidFill>
        </p:grpSpPr>
        <p:sp>
          <p:nvSpPr>
            <p:cNvPr id="97" name="Freeform 323">
              <a:extLst>
                <a:ext uri="{FF2B5EF4-FFF2-40B4-BE49-F238E27FC236}">
                  <a16:creationId xmlns:a16="http://schemas.microsoft.com/office/drawing/2014/main" id="{59065F1C-AA9C-2F49-A746-4710F3C7A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4733925"/>
              <a:ext cx="420687" cy="425450"/>
            </a:xfrm>
            <a:custGeom>
              <a:avLst/>
              <a:gdLst>
                <a:gd name="T0" fmla="*/ 673 w 736"/>
                <a:gd name="T1" fmla="*/ 745 h 745"/>
                <a:gd name="T2" fmla="*/ 666 w 736"/>
                <a:gd name="T3" fmla="*/ 745 h 745"/>
                <a:gd name="T4" fmla="*/ 603 w 736"/>
                <a:gd name="T5" fmla="*/ 694 h 745"/>
                <a:gd name="T6" fmla="*/ 298 w 736"/>
                <a:gd name="T7" fmla="*/ 502 h 745"/>
                <a:gd name="T8" fmla="*/ 79 w 736"/>
                <a:gd name="T9" fmla="*/ 502 h 745"/>
                <a:gd name="T10" fmla="*/ 0 w 736"/>
                <a:gd name="T11" fmla="*/ 422 h 745"/>
                <a:gd name="T12" fmla="*/ 0 w 736"/>
                <a:gd name="T13" fmla="*/ 322 h 745"/>
                <a:gd name="T14" fmla="*/ 79 w 736"/>
                <a:gd name="T15" fmla="*/ 243 h 745"/>
                <a:gd name="T16" fmla="*/ 298 w 736"/>
                <a:gd name="T17" fmla="*/ 243 h 745"/>
                <a:gd name="T18" fmla="*/ 603 w 736"/>
                <a:gd name="T19" fmla="*/ 51 h 745"/>
                <a:gd name="T20" fmla="*/ 666 w 736"/>
                <a:gd name="T21" fmla="*/ 0 h 745"/>
                <a:gd name="T22" fmla="*/ 673 w 736"/>
                <a:gd name="T23" fmla="*/ 0 h 745"/>
                <a:gd name="T24" fmla="*/ 736 w 736"/>
                <a:gd name="T25" fmla="*/ 62 h 745"/>
                <a:gd name="T26" fmla="*/ 736 w 736"/>
                <a:gd name="T27" fmla="*/ 682 h 745"/>
                <a:gd name="T28" fmla="*/ 673 w 736"/>
                <a:gd name="T29" fmla="*/ 745 h 745"/>
                <a:gd name="T30" fmla="*/ 667 w 736"/>
                <a:gd name="T31" fmla="*/ 716 h 745"/>
                <a:gd name="T32" fmla="*/ 673 w 736"/>
                <a:gd name="T33" fmla="*/ 716 h 745"/>
                <a:gd name="T34" fmla="*/ 706 w 736"/>
                <a:gd name="T35" fmla="*/ 682 h 745"/>
                <a:gd name="T36" fmla="*/ 706 w 736"/>
                <a:gd name="T37" fmla="*/ 62 h 745"/>
                <a:gd name="T38" fmla="*/ 673 w 736"/>
                <a:gd name="T39" fmla="*/ 29 h 745"/>
                <a:gd name="T40" fmla="*/ 667 w 736"/>
                <a:gd name="T41" fmla="*/ 29 h 745"/>
                <a:gd name="T42" fmla="*/ 624 w 736"/>
                <a:gd name="T43" fmla="*/ 71 h 745"/>
                <a:gd name="T44" fmla="*/ 298 w 736"/>
                <a:gd name="T45" fmla="*/ 272 h 745"/>
                <a:gd name="T46" fmla="*/ 79 w 736"/>
                <a:gd name="T47" fmla="*/ 272 h 745"/>
                <a:gd name="T48" fmla="*/ 29 w 736"/>
                <a:gd name="T49" fmla="*/ 322 h 745"/>
                <a:gd name="T50" fmla="*/ 29 w 736"/>
                <a:gd name="T51" fmla="*/ 422 h 745"/>
                <a:gd name="T52" fmla="*/ 79 w 736"/>
                <a:gd name="T53" fmla="*/ 472 h 745"/>
                <a:gd name="T54" fmla="*/ 298 w 736"/>
                <a:gd name="T55" fmla="*/ 472 h 745"/>
                <a:gd name="T56" fmla="*/ 624 w 736"/>
                <a:gd name="T57" fmla="*/ 674 h 745"/>
                <a:gd name="T58" fmla="*/ 667 w 736"/>
                <a:gd name="T59" fmla="*/ 716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36" h="745">
                  <a:moveTo>
                    <a:pt x="673" y="745"/>
                  </a:moveTo>
                  <a:cubicBezTo>
                    <a:pt x="666" y="745"/>
                    <a:pt x="666" y="745"/>
                    <a:pt x="666" y="745"/>
                  </a:cubicBezTo>
                  <a:cubicBezTo>
                    <a:pt x="653" y="745"/>
                    <a:pt x="640" y="733"/>
                    <a:pt x="603" y="694"/>
                  </a:cubicBezTo>
                  <a:cubicBezTo>
                    <a:pt x="539" y="627"/>
                    <a:pt x="419" y="502"/>
                    <a:pt x="298" y="502"/>
                  </a:cubicBezTo>
                  <a:cubicBezTo>
                    <a:pt x="79" y="502"/>
                    <a:pt x="79" y="502"/>
                    <a:pt x="79" y="502"/>
                  </a:cubicBezTo>
                  <a:cubicBezTo>
                    <a:pt x="35" y="502"/>
                    <a:pt x="0" y="466"/>
                    <a:pt x="0" y="4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278"/>
                    <a:pt x="35" y="243"/>
                    <a:pt x="79" y="243"/>
                  </a:cubicBezTo>
                  <a:cubicBezTo>
                    <a:pt x="298" y="243"/>
                    <a:pt x="298" y="243"/>
                    <a:pt x="298" y="243"/>
                  </a:cubicBezTo>
                  <a:cubicBezTo>
                    <a:pt x="419" y="243"/>
                    <a:pt x="539" y="118"/>
                    <a:pt x="603" y="51"/>
                  </a:cubicBezTo>
                  <a:cubicBezTo>
                    <a:pt x="640" y="12"/>
                    <a:pt x="653" y="0"/>
                    <a:pt x="666" y="0"/>
                  </a:cubicBezTo>
                  <a:cubicBezTo>
                    <a:pt x="673" y="0"/>
                    <a:pt x="673" y="0"/>
                    <a:pt x="673" y="0"/>
                  </a:cubicBezTo>
                  <a:cubicBezTo>
                    <a:pt x="708" y="0"/>
                    <a:pt x="736" y="28"/>
                    <a:pt x="736" y="62"/>
                  </a:cubicBezTo>
                  <a:cubicBezTo>
                    <a:pt x="736" y="682"/>
                    <a:pt x="736" y="682"/>
                    <a:pt x="736" y="682"/>
                  </a:cubicBezTo>
                  <a:cubicBezTo>
                    <a:pt x="736" y="717"/>
                    <a:pt x="708" y="745"/>
                    <a:pt x="673" y="745"/>
                  </a:cubicBezTo>
                  <a:close/>
                  <a:moveTo>
                    <a:pt x="667" y="716"/>
                  </a:moveTo>
                  <a:cubicBezTo>
                    <a:pt x="673" y="716"/>
                    <a:pt x="673" y="716"/>
                    <a:pt x="673" y="716"/>
                  </a:cubicBezTo>
                  <a:cubicBezTo>
                    <a:pt x="692" y="716"/>
                    <a:pt x="706" y="701"/>
                    <a:pt x="706" y="682"/>
                  </a:cubicBezTo>
                  <a:cubicBezTo>
                    <a:pt x="706" y="62"/>
                    <a:pt x="706" y="62"/>
                    <a:pt x="706" y="62"/>
                  </a:cubicBezTo>
                  <a:cubicBezTo>
                    <a:pt x="706" y="44"/>
                    <a:pt x="692" y="29"/>
                    <a:pt x="673" y="29"/>
                  </a:cubicBezTo>
                  <a:cubicBezTo>
                    <a:pt x="667" y="29"/>
                    <a:pt x="667" y="29"/>
                    <a:pt x="667" y="29"/>
                  </a:cubicBezTo>
                  <a:cubicBezTo>
                    <a:pt x="661" y="33"/>
                    <a:pt x="641" y="53"/>
                    <a:pt x="624" y="71"/>
                  </a:cubicBezTo>
                  <a:cubicBezTo>
                    <a:pt x="557" y="141"/>
                    <a:pt x="431" y="272"/>
                    <a:pt x="298" y="272"/>
                  </a:cubicBezTo>
                  <a:cubicBezTo>
                    <a:pt x="79" y="272"/>
                    <a:pt x="79" y="272"/>
                    <a:pt x="79" y="272"/>
                  </a:cubicBezTo>
                  <a:cubicBezTo>
                    <a:pt x="51" y="272"/>
                    <a:pt x="29" y="295"/>
                    <a:pt x="29" y="322"/>
                  </a:cubicBezTo>
                  <a:cubicBezTo>
                    <a:pt x="29" y="422"/>
                    <a:pt x="29" y="422"/>
                    <a:pt x="29" y="422"/>
                  </a:cubicBezTo>
                  <a:cubicBezTo>
                    <a:pt x="29" y="450"/>
                    <a:pt x="51" y="472"/>
                    <a:pt x="79" y="472"/>
                  </a:cubicBezTo>
                  <a:cubicBezTo>
                    <a:pt x="298" y="472"/>
                    <a:pt x="298" y="472"/>
                    <a:pt x="298" y="472"/>
                  </a:cubicBezTo>
                  <a:cubicBezTo>
                    <a:pt x="431" y="472"/>
                    <a:pt x="557" y="603"/>
                    <a:pt x="624" y="674"/>
                  </a:cubicBezTo>
                  <a:cubicBezTo>
                    <a:pt x="641" y="691"/>
                    <a:pt x="661" y="711"/>
                    <a:pt x="667" y="7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324">
              <a:extLst>
                <a:ext uri="{FF2B5EF4-FFF2-40B4-BE49-F238E27FC236}">
                  <a16:creationId xmlns:a16="http://schemas.microsoft.com/office/drawing/2014/main" id="{8B5D597A-EB51-3747-885C-A4C08ED5C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4872038"/>
              <a:ext cx="60325" cy="149225"/>
            </a:xfrm>
            <a:custGeom>
              <a:avLst/>
              <a:gdLst>
                <a:gd name="T0" fmla="*/ 8 w 106"/>
                <a:gd name="T1" fmla="*/ 260 h 260"/>
                <a:gd name="T2" fmla="*/ 0 w 106"/>
                <a:gd name="T3" fmla="*/ 232 h 260"/>
                <a:gd name="T4" fmla="*/ 77 w 106"/>
                <a:gd name="T5" fmla="*/ 130 h 260"/>
                <a:gd name="T6" fmla="*/ 0 w 106"/>
                <a:gd name="T7" fmla="*/ 28 h 260"/>
                <a:gd name="T8" fmla="*/ 8 w 106"/>
                <a:gd name="T9" fmla="*/ 0 h 260"/>
                <a:gd name="T10" fmla="*/ 106 w 106"/>
                <a:gd name="T11" fmla="*/ 130 h 260"/>
                <a:gd name="T12" fmla="*/ 8 w 106"/>
                <a:gd name="T13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60">
                  <a:moveTo>
                    <a:pt x="8" y="260"/>
                  </a:moveTo>
                  <a:cubicBezTo>
                    <a:pt x="0" y="232"/>
                    <a:pt x="0" y="232"/>
                    <a:pt x="0" y="232"/>
                  </a:cubicBezTo>
                  <a:cubicBezTo>
                    <a:pt x="45" y="219"/>
                    <a:pt x="77" y="177"/>
                    <a:pt x="77" y="130"/>
                  </a:cubicBezTo>
                  <a:cubicBezTo>
                    <a:pt x="77" y="83"/>
                    <a:pt x="45" y="41"/>
                    <a:pt x="0" y="2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6" y="17"/>
                    <a:pt x="106" y="70"/>
                    <a:pt x="106" y="130"/>
                  </a:cubicBezTo>
                  <a:cubicBezTo>
                    <a:pt x="106" y="190"/>
                    <a:pt x="66" y="244"/>
                    <a:pt x="8" y="2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325">
              <a:extLst>
                <a:ext uri="{FF2B5EF4-FFF2-40B4-BE49-F238E27FC236}">
                  <a16:creationId xmlns:a16="http://schemas.microsoft.com/office/drawing/2014/main" id="{1BF842D5-180B-6F45-ABE4-AE1F98142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6375" y="4881563"/>
              <a:ext cx="15875" cy="130175"/>
            </a:xfrm>
            <a:custGeom>
              <a:avLst/>
              <a:gdLst>
                <a:gd name="T0" fmla="*/ 10 w 10"/>
                <a:gd name="T1" fmla="*/ 82 h 82"/>
                <a:gd name="T2" fmla="*/ 0 w 10"/>
                <a:gd name="T3" fmla="*/ 82 h 82"/>
                <a:gd name="T4" fmla="*/ 0 w 10"/>
                <a:gd name="T5" fmla="*/ 0 h 82"/>
                <a:gd name="T6" fmla="*/ 10 w 10"/>
                <a:gd name="T7" fmla="*/ 0 h 82"/>
                <a:gd name="T8" fmla="*/ 10 w 10"/>
                <a:gd name="T9" fmla="*/ 82 h 82"/>
                <a:gd name="T10" fmla="*/ 10 w 10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2">
                  <a:moveTo>
                    <a:pt x="10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82"/>
                  </a:lnTo>
                  <a:lnTo>
                    <a:pt x="1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326">
              <a:extLst>
                <a:ext uri="{FF2B5EF4-FFF2-40B4-BE49-F238E27FC236}">
                  <a16:creationId xmlns:a16="http://schemas.microsoft.com/office/drawing/2014/main" id="{2D758062-00BB-DE4B-9D60-009F66FEE8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0488" y="5003800"/>
              <a:ext cx="150812" cy="182562"/>
            </a:xfrm>
            <a:custGeom>
              <a:avLst/>
              <a:gdLst>
                <a:gd name="T0" fmla="*/ 210 w 263"/>
                <a:gd name="T1" fmla="*/ 321 h 321"/>
                <a:gd name="T2" fmla="*/ 132 w 263"/>
                <a:gd name="T3" fmla="*/ 321 h 321"/>
                <a:gd name="T4" fmla="*/ 63 w 263"/>
                <a:gd name="T5" fmla="*/ 266 h 321"/>
                <a:gd name="T6" fmla="*/ 0 w 263"/>
                <a:gd name="T7" fmla="*/ 0 h 321"/>
                <a:gd name="T8" fmla="*/ 175 w 263"/>
                <a:gd name="T9" fmla="*/ 0 h 321"/>
                <a:gd name="T10" fmla="*/ 178 w 263"/>
                <a:gd name="T11" fmla="*/ 12 h 321"/>
                <a:gd name="T12" fmla="*/ 182 w 263"/>
                <a:gd name="T13" fmla="*/ 66 h 321"/>
                <a:gd name="T14" fmla="*/ 202 w 263"/>
                <a:gd name="T15" fmla="*/ 159 h 321"/>
                <a:gd name="T16" fmla="*/ 254 w 263"/>
                <a:gd name="T17" fmla="*/ 241 h 321"/>
                <a:gd name="T18" fmla="*/ 253 w 263"/>
                <a:gd name="T19" fmla="*/ 292 h 321"/>
                <a:gd name="T20" fmla="*/ 210 w 263"/>
                <a:gd name="T21" fmla="*/ 321 h 321"/>
                <a:gd name="T22" fmla="*/ 37 w 263"/>
                <a:gd name="T23" fmla="*/ 30 h 321"/>
                <a:gd name="T24" fmla="*/ 92 w 263"/>
                <a:gd name="T25" fmla="*/ 259 h 321"/>
                <a:gd name="T26" fmla="*/ 132 w 263"/>
                <a:gd name="T27" fmla="*/ 291 h 321"/>
                <a:gd name="T28" fmla="*/ 210 w 263"/>
                <a:gd name="T29" fmla="*/ 291 h 321"/>
                <a:gd name="T30" fmla="*/ 228 w 263"/>
                <a:gd name="T31" fmla="*/ 278 h 321"/>
                <a:gd name="T32" fmla="*/ 230 w 263"/>
                <a:gd name="T33" fmla="*/ 257 h 321"/>
                <a:gd name="T34" fmla="*/ 177 w 263"/>
                <a:gd name="T35" fmla="*/ 175 h 321"/>
                <a:gd name="T36" fmla="*/ 152 w 263"/>
                <a:gd name="T37" fmla="*/ 67 h 321"/>
                <a:gd name="T38" fmla="*/ 150 w 263"/>
                <a:gd name="T39" fmla="*/ 30 h 321"/>
                <a:gd name="T40" fmla="*/ 37 w 263"/>
                <a:gd name="T41" fmla="*/ 3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3" h="321">
                  <a:moveTo>
                    <a:pt x="210" y="321"/>
                  </a:moveTo>
                  <a:cubicBezTo>
                    <a:pt x="132" y="321"/>
                    <a:pt x="132" y="321"/>
                    <a:pt x="132" y="321"/>
                  </a:cubicBezTo>
                  <a:cubicBezTo>
                    <a:pt x="101" y="321"/>
                    <a:pt x="70" y="296"/>
                    <a:pt x="63" y="2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1" y="30"/>
                    <a:pt x="181" y="48"/>
                    <a:pt x="182" y="66"/>
                  </a:cubicBezTo>
                  <a:cubicBezTo>
                    <a:pt x="183" y="99"/>
                    <a:pt x="184" y="130"/>
                    <a:pt x="202" y="159"/>
                  </a:cubicBezTo>
                  <a:cubicBezTo>
                    <a:pt x="254" y="241"/>
                    <a:pt x="254" y="241"/>
                    <a:pt x="254" y="241"/>
                  </a:cubicBezTo>
                  <a:cubicBezTo>
                    <a:pt x="263" y="255"/>
                    <a:pt x="263" y="274"/>
                    <a:pt x="253" y="292"/>
                  </a:cubicBezTo>
                  <a:cubicBezTo>
                    <a:pt x="243" y="309"/>
                    <a:pt x="227" y="321"/>
                    <a:pt x="210" y="321"/>
                  </a:cubicBezTo>
                  <a:close/>
                  <a:moveTo>
                    <a:pt x="37" y="30"/>
                  </a:moveTo>
                  <a:cubicBezTo>
                    <a:pt x="92" y="259"/>
                    <a:pt x="92" y="259"/>
                    <a:pt x="92" y="259"/>
                  </a:cubicBezTo>
                  <a:cubicBezTo>
                    <a:pt x="96" y="276"/>
                    <a:pt x="115" y="291"/>
                    <a:pt x="132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6" y="291"/>
                    <a:pt x="223" y="286"/>
                    <a:pt x="228" y="278"/>
                  </a:cubicBezTo>
                  <a:cubicBezTo>
                    <a:pt x="232" y="270"/>
                    <a:pt x="233" y="262"/>
                    <a:pt x="230" y="257"/>
                  </a:cubicBezTo>
                  <a:cubicBezTo>
                    <a:pt x="177" y="175"/>
                    <a:pt x="177" y="175"/>
                    <a:pt x="177" y="175"/>
                  </a:cubicBezTo>
                  <a:cubicBezTo>
                    <a:pt x="155" y="139"/>
                    <a:pt x="154" y="102"/>
                    <a:pt x="152" y="67"/>
                  </a:cubicBezTo>
                  <a:cubicBezTo>
                    <a:pt x="152" y="54"/>
                    <a:pt x="152" y="42"/>
                    <a:pt x="150" y="30"/>
                  </a:cubicBezTo>
                  <a:cubicBezTo>
                    <a:pt x="37" y="30"/>
                    <a:pt x="37" y="30"/>
                    <a:pt x="3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1" name="Group 59">
            <a:extLst>
              <a:ext uri="{FF2B5EF4-FFF2-40B4-BE49-F238E27FC236}">
                <a16:creationId xmlns:a16="http://schemas.microsoft.com/office/drawing/2014/main" id="{A5B59487-3009-FD4F-BBAC-0AAD92E4FFB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388284" y="4295814"/>
            <a:ext cx="343374" cy="350310"/>
            <a:chOff x="2684463" y="4724400"/>
            <a:chExt cx="471487" cy="481012"/>
          </a:xfrm>
          <a:solidFill>
            <a:schemeClr val="bg2"/>
          </a:solidFill>
        </p:grpSpPr>
        <p:sp>
          <p:nvSpPr>
            <p:cNvPr id="102" name="Freeform 328">
              <a:extLst>
                <a:ext uri="{FF2B5EF4-FFF2-40B4-BE49-F238E27FC236}">
                  <a16:creationId xmlns:a16="http://schemas.microsoft.com/office/drawing/2014/main" id="{A47F9AA3-F61E-A441-A737-59AC81AA0F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4463" y="4797425"/>
              <a:ext cx="398462" cy="407987"/>
            </a:xfrm>
            <a:custGeom>
              <a:avLst/>
              <a:gdLst>
                <a:gd name="T0" fmla="*/ 46 w 251"/>
                <a:gd name="T1" fmla="*/ 257 h 257"/>
                <a:gd name="T2" fmla="*/ 46 w 251"/>
                <a:gd name="T3" fmla="*/ 188 h 257"/>
                <a:gd name="T4" fmla="*/ 0 w 251"/>
                <a:gd name="T5" fmla="*/ 188 h 257"/>
                <a:gd name="T6" fmla="*/ 0 w 251"/>
                <a:gd name="T7" fmla="*/ 0 h 257"/>
                <a:gd name="T8" fmla="*/ 251 w 251"/>
                <a:gd name="T9" fmla="*/ 0 h 257"/>
                <a:gd name="T10" fmla="*/ 251 w 251"/>
                <a:gd name="T11" fmla="*/ 188 h 257"/>
                <a:gd name="T12" fmla="*/ 128 w 251"/>
                <a:gd name="T13" fmla="*/ 188 h 257"/>
                <a:gd name="T14" fmla="*/ 46 w 251"/>
                <a:gd name="T15" fmla="*/ 257 h 257"/>
                <a:gd name="T16" fmla="*/ 46 w 251"/>
                <a:gd name="T17" fmla="*/ 257 h 257"/>
                <a:gd name="T18" fmla="*/ 11 w 251"/>
                <a:gd name="T19" fmla="*/ 178 h 257"/>
                <a:gd name="T20" fmla="*/ 57 w 251"/>
                <a:gd name="T21" fmla="*/ 178 h 257"/>
                <a:gd name="T22" fmla="*/ 57 w 251"/>
                <a:gd name="T23" fmla="*/ 234 h 257"/>
                <a:gd name="T24" fmla="*/ 125 w 251"/>
                <a:gd name="T25" fmla="*/ 178 h 257"/>
                <a:gd name="T26" fmla="*/ 241 w 251"/>
                <a:gd name="T27" fmla="*/ 178 h 257"/>
                <a:gd name="T28" fmla="*/ 241 w 251"/>
                <a:gd name="T29" fmla="*/ 10 h 257"/>
                <a:gd name="T30" fmla="*/ 11 w 251"/>
                <a:gd name="T31" fmla="*/ 10 h 257"/>
                <a:gd name="T32" fmla="*/ 11 w 251"/>
                <a:gd name="T33" fmla="*/ 178 h 257"/>
                <a:gd name="T34" fmla="*/ 11 w 251"/>
                <a:gd name="T35" fmla="*/ 17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1" h="257">
                  <a:moveTo>
                    <a:pt x="46" y="257"/>
                  </a:moveTo>
                  <a:lnTo>
                    <a:pt x="46" y="188"/>
                  </a:lnTo>
                  <a:lnTo>
                    <a:pt x="0" y="188"/>
                  </a:lnTo>
                  <a:lnTo>
                    <a:pt x="0" y="0"/>
                  </a:lnTo>
                  <a:lnTo>
                    <a:pt x="251" y="0"/>
                  </a:lnTo>
                  <a:lnTo>
                    <a:pt x="251" y="188"/>
                  </a:lnTo>
                  <a:lnTo>
                    <a:pt x="128" y="188"/>
                  </a:lnTo>
                  <a:lnTo>
                    <a:pt x="46" y="257"/>
                  </a:lnTo>
                  <a:lnTo>
                    <a:pt x="46" y="257"/>
                  </a:lnTo>
                  <a:close/>
                  <a:moveTo>
                    <a:pt x="11" y="178"/>
                  </a:moveTo>
                  <a:lnTo>
                    <a:pt x="57" y="178"/>
                  </a:lnTo>
                  <a:lnTo>
                    <a:pt x="57" y="234"/>
                  </a:lnTo>
                  <a:lnTo>
                    <a:pt x="125" y="178"/>
                  </a:lnTo>
                  <a:lnTo>
                    <a:pt x="241" y="178"/>
                  </a:lnTo>
                  <a:lnTo>
                    <a:pt x="241" y="10"/>
                  </a:lnTo>
                  <a:lnTo>
                    <a:pt x="11" y="10"/>
                  </a:lnTo>
                  <a:lnTo>
                    <a:pt x="11" y="178"/>
                  </a:lnTo>
                  <a:lnTo>
                    <a:pt x="11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329">
              <a:extLst>
                <a:ext uri="{FF2B5EF4-FFF2-40B4-BE49-F238E27FC236}">
                  <a16:creationId xmlns:a16="http://schemas.microsoft.com/office/drawing/2014/main" id="{443580C6-3D50-4C42-8992-41E5EDE8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488" y="4724400"/>
              <a:ext cx="398462" cy="298450"/>
            </a:xfrm>
            <a:custGeom>
              <a:avLst/>
              <a:gdLst>
                <a:gd name="T0" fmla="*/ 251 w 251"/>
                <a:gd name="T1" fmla="*/ 188 h 188"/>
                <a:gd name="T2" fmla="*/ 204 w 251"/>
                <a:gd name="T3" fmla="*/ 188 h 188"/>
                <a:gd name="T4" fmla="*/ 204 w 251"/>
                <a:gd name="T5" fmla="*/ 178 h 188"/>
                <a:gd name="T6" fmla="*/ 240 w 251"/>
                <a:gd name="T7" fmla="*/ 178 h 188"/>
                <a:gd name="T8" fmla="*/ 240 w 251"/>
                <a:gd name="T9" fmla="*/ 11 h 188"/>
                <a:gd name="T10" fmla="*/ 10 w 251"/>
                <a:gd name="T11" fmla="*/ 11 h 188"/>
                <a:gd name="T12" fmla="*/ 10 w 251"/>
                <a:gd name="T13" fmla="*/ 51 h 188"/>
                <a:gd name="T14" fmla="*/ 0 w 251"/>
                <a:gd name="T15" fmla="*/ 51 h 188"/>
                <a:gd name="T16" fmla="*/ 0 w 251"/>
                <a:gd name="T17" fmla="*/ 0 h 188"/>
                <a:gd name="T18" fmla="*/ 251 w 251"/>
                <a:gd name="T19" fmla="*/ 0 h 188"/>
                <a:gd name="T20" fmla="*/ 251 w 251"/>
                <a:gd name="T21" fmla="*/ 188 h 188"/>
                <a:gd name="T22" fmla="*/ 251 w 251"/>
                <a:gd name="T23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1" h="188">
                  <a:moveTo>
                    <a:pt x="251" y="188"/>
                  </a:moveTo>
                  <a:lnTo>
                    <a:pt x="204" y="188"/>
                  </a:lnTo>
                  <a:lnTo>
                    <a:pt x="204" y="178"/>
                  </a:lnTo>
                  <a:lnTo>
                    <a:pt x="240" y="178"/>
                  </a:lnTo>
                  <a:lnTo>
                    <a:pt x="240" y="11"/>
                  </a:lnTo>
                  <a:lnTo>
                    <a:pt x="10" y="11"/>
                  </a:lnTo>
                  <a:lnTo>
                    <a:pt x="10" y="51"/>
                  </a:lnTo>
                  <a:lnTo>
                    <a:pt x="0" y="51"/>
                  </a:lnTo>
                  <a:lnTo>
                    <a:pt x="0" y="0"/>
                  </a:lnTo>
                  <a:lnTo>
                    <a:pt x="251" y="0"/>
                  </a:lnTo>
                  <a:lnTo>
                    <a:pt x="251" y="188"/>
                  </a:lnTo>
                  <a:lnTo>
                    <a:pt x="251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Freeform 330">
            <a:extLst>
              <a:ext uri="{FF2B5EF4-FFF2-40B4-BE49-F238E27FC236}">
                <a16:creationId xmlns:a16="http://schemas.microsoft.com/office/drawing/2014/main" id="{972E637B-4718-CA4E-860D-50A15DDEB1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51626" y="3355009"/>
            <a:ext cx="345686" cy="345686"/>
          </a:xfrm>
          <a:custGeom>
            <a:avLst/>
            <a:gdLst>
              <a:gd name="T0" fmla="*/ 731 w 828"/>
              <a:gd name="T1" fmla="*/ 828 h 828"/>
              <a:gd name="T2" fmla="*/ 528 w 828"/>
              <a:gd name="T3" fmla="*/ 625 h 828"/>
              <a:gd name="T4" fmla="*/ 341 w 828"/>
              <a:gd name="T5" fmla="*/ 681 h 828"/>
              <a:gd name="T6" fmla="*/ 0 w 828"/>
              <a:gd name="T7" fmla="*/ 341 h 828"/>
              <a:gd name="T8" fmla="*/ 341 w 828"/>
              <a:gd name="T9" fmla="*/ 0 h 828"/>
              <a:gd name="T10" fmla="*/ 681 w 828"/>
              <a:gd name="T11" fmla="*/ 341 h 828"/>
              <a:gd name="T12" fmla="*/ 625 w 828"/>
              <a:gd name="T13" fmla="*/ 528 h 828"/>
              <a:gd name="T14" fmla="*/ 828 w 828"/>
              <a:gd name="T15" fmla="*/ 731 h 828"/>
              <a:gd name="T16" fmla="*/ 731 w 828"/>
              <a:gd name="T17" fmla="*/ 828 h 828"/>
              <a:gd name="T18" fmla="*/ 555 w 828"/>
              <a:gd name="T19" fmla="*/ 611 h 828"/>
              <a:gd name="T20" fmla="*/ 731 w 828"/>
              <a:gd name="T21" fmla="*/ 787 h 828"/>
              <a:gd name="T22" fmla="*/ 787 w 828"/>
              <a:gd name="T23" fmla="*/ 731 h 828"/>
              <a:gd name="T24" fmla="*/ 612 w 828"/>
              <a:gd name="T25" fmla="*/ 556 h 828"/>
              <a:gd name="T26" fmla="*/ 555 w 828"/>
              <a:gd name="T27" fmla="*/ 611 h 828"/>
              <a:gd name="T28" fmla="*/ 341 w 828"/>
              <a:gd name="T29" fmla="*/ 29 h 828"/>
              <a:gd name="T30" fmla="*/ 29 w 828"/>
              <a:gd name="T31" fmla="*/ 341 h 828"/>
              <a:gd name="T32" fmla="*/ 341 w 828"/>
              <a:gd name="T33" fmla="*/ 652 h 828"/>
              <a:gd name="T34" fmla="*/ 652 w 828"/>
              <a:gd name="T35" fmla="*/ 341 h 828"/>
              <a:gd name="T36" fmla="*/ 341 w 828"/>
              <a:gd name="T37" fmla="*/ 29 h 828"/>
              <a:gd name="T38" fmla="*/ 588 w 828"/>
              <a:gd name="T39" fmla="*/ 343 h 828"/>
              <a:gd name="T40" fmla="*/ 559 w 828"/>
              <a:gd name="T41" fmla="*/ 343 h 828"/>
              <a:gd name="T42" fmla="*/ 338 w 828"/>
              <a:gd name="T43" fmla="*/ 122 h 828"/>
              <a:gd name="T44" fmla="*/ 338 w 828"/>
              <a:gd name="T45" fmla="*/ 92 h 828"/>
              <a:gd name="T46" fmla="*/ 588 w 828"/>
              <a:gd name="T47" fmla="*/ 343 h 8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28" h="828">
                <a:moveTo>
                  <a:pt x="731" y="828"/>
                </a:moveTo>
                <a:cubicBezTo>
                  <a:pt x="528" y="625"/>
                  <a:pt x="528" y="625"/>
                  <a:pt x="528" y="625"/>
                </a:cubicBezTo>
                <a:cubicBezTo>
                  <a:pt x="474" y="660"/>
                  <a:pt x="410" y="681"/>
                  <a:pt x="341" y="681"/>
                </a:cubicBezTo>
                <a:cubicBezTo>
                  <a:pt x="153" y="681"/>
                  <a:pt x="0" y="528"/>
                  <a:pt x="0" y="341"/>
                </a:cubicBezTo>
                <a:cubicBezTo>
                  <a:pt x="0" y="153"/>
                  <a:pt x="153" y="0"/>
                  <a:pt x="341" y="0"/>
                </a:cubicBezTo>
                <a:cubicBezTo>
                  <a:pt x="528" y="0"/>
                  <a:pt x="681" y="153"/>
                  <a:pt x="681" y="341"/>
                </a:cubicBezTo>
                <a:cubicBezTo>
                  <a:pt x="681" y="410"/>
                  <a:pt x="660" y="474"/>
                  <a:pt x="625" y="528"/>
                </a:cubicBezTo>
                <a:cubicBezTo>
                  <a:pt x="828" y="731"/>
                  <a:pt x="828" y="731"/>
                  <a:pt x="828" y="731"/>
                </a:cubicBezTo>
                <a:cubicBezTo>
                  <a:pt x="731" y="828"/>
                  <a:pt x="731" y="828"/>
                  <a:pt x="731" y="828"/>
                </a:cubicBezTo>
                <a:close/>
                <a:moveTo>
                  <a:pt x="555" y="611"/>
                </a:moveTo>
                <a:cubicBezTo>
                  <a:pt x="731" y="787"/>
                  <a:pt x="731" y="787"/>
                  <a:pt x="731" y="787"/>
                </a:cubicBezTo>
                <a:cubicBezTo>
                  <a:pt x="787" y="731"/>
                  <a:pt x="787" y="731"/>
                  <a:pt x="787" y="731"/>
                </a:cubicBezTo>
                <a:cubicBezTo>
                  <a:pt x="612" y="556"/>
                  <a:pt x="612" y="556"/>
                  <a:pt x="612" y="556"/>
                </a:cubicBezTo>
                <a:cubicBezTo>
                  <a:pt x="555" y="611"/>
                  <a:pt x="555" y="611"/>
                  <a:pt x="555" y="611"/>
                </a:cubicBezTo>
                <a:close/>
                <a:moveTo>
                  <a:pt x="341" y="29"/>
                </a:moveTo>
                <a:cubicBezTo>
                  <a:pt x="169" y="29"/>
                  <a:pt x="29" y="169"/>
                  <a:pt x="29" y="341"/>
                </a:cubicBezTo>
                <a:cubicBezTo>
                  <a:pt x="29" y="512"/>
                  <a:pt x="169" y="652"/>
                  <a:pt x="341" y="652"/>
                </a:cubicBezTo>
                <a:cubicBezTo>
                  <a:pt x="512" y="652"/>
                  <a:pt x="652" y="512"/>
                  <a:pt x="652" y="341"/>
                </a:cubicBezTo>
                <a:cubicBezTo>
                  <a:pt x="652" y="169"/>
                  <a:pt x="512" y="29"/>
                  <a:pt x="341" y="29"/>
                </a:cubicBezTo>
                <a:close/>
                <a:moveTo>
                  <a:pt x="588" y="343"/>
                </a:moveTo>
                <a:cubicBezTo>
                  <a:pt x="559" y="343"/>
                  <a:pt x="559" y="343"/>
                  <a:pt x="559" y="343"/>
                </a:cubicBezTo>
                <a:cubicBezTo>
                  <a:pt x="559" y="221"/>
                  <a:pt x="460" y="122"/>
                  <a:pt x="338" y="122"/>
                </a:cubicBezTo>
                <a:cubicBezTo>
                  <a:pt x="338" y="92"/>
                  <a:pt x="338" y="92"/>
                  <a:pt x="338" y="92"/>
                </a:cubicBezTo>
                <a:cubicBezTo>
                  <a:pt x="476" y="92"/>
                  <a:pt x="588" y="205"/>
                  <a:pt x="588" y="34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" name="Freeform 331">
            <a:extLst>
              <a:ext uri="{FF2B5EF4-FFF2-40B4-BE49-F238E27FC236}">
                <a16:creationId xmlns:a16="http://schemas.microsoft.com/office/drawing/2014/main" id="{7D315196-BB48-0749-B415-CBDCAC3BB9B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52782" y="4357090"/>
            <a:ext cx="343374" cy="227758"/>
          </a:xfrm>
          <a:custGeom>
            <a:avLst/>
            <a:gdLst>
              <a:gd name="T0" fmla="*/ 297 w 297"/>
              <a:gd name="T1" fmla="*/ 197 h 197"/>
              <a:gd name="T2" fmla="*/ 0 w 297"/>
              <a:gd name="T3" fmla="*/ 197 h 197"/>
              <a:gd name="T4" fmla="*/ 0 w 297"/>
              <a:gd name="T5" fmla="*/ 0 h 197"/>
              <a:gd name="T6" fmla="*/ 297 w 297"/>
              <a:gd name="T7" fmla="*/ 0 h 197"/>
              <a:gd name="T8" fmla="*/ 297 w 297"/>
              <a:gd name="T9" fmla="*/ 197 h 197"/>
              <a:gd name="T10" fmla="*/ 297 w 297"/>
              <a:gd name="T11" fmla="*/ 197 h 197"/>
              <a:gd name="T12" fmla="*/ 11 w 297"/>
              <a:gd name="T13" fmla="*/ 187 h 197"/>
              <a:gd name="T14" fmla="*/ 286 w 297"/>
              <a:gd name="T15" fmla="*/ 187 h 197"/>
              <a:gd name="T16" fmla="*/ 286 w 297"/>
              <a:gd name="T17" fmla="*/ 16 h 197"/>
              <a:gd name="T18" fmla="*/ 148 w 297"/>
              <a:gd name="T19" fmla="*/ 129 h 197"/>
              <a:gd name="T20" fmla="*/ 11 w 297"/>
              <a:gd name="T21" fmla="*/ 16 h 197"/>
              <a:gd name="T22" fmla="*/ 11 w 297"/>
              <a:gd name="T23" fmla="*/ 187 h 197"/>
              <a:gd name="T24" fmla="*/ 11 w 297"/>
              <a:gd name="T25" fmla="*/ 187 h 197"/>
              <a:gd name="T26" fmla="*/ 20 w 297"/>
              <a:gd name="T27" fmla="*/ 10 h 197"/>
              <a:gd name="T28" fmla="*/ 148 w 297"/>
              <a:gd name="T29" fmla="*/ 115 h 197"/>
              <a:gd name="T30" fmla="*/ 277 w 297"/>
              <a:gd name="T31" fmla="*/ 10 h 197"/>
              <a:gd name="T32" fmla="*/ 20 w 297"/>
              <a:gd name="T33" fmla="*/ 10 h 197"/>
              <a:gd name="T34" fmla="*/ 20 w 297"/>
              <a:gd name="T35" fmla="*/ 10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97" h="197">
                <a:moveTo>
                  <a:pt x="297" y="197"/>
                </a:moveTo>
                <a:lnTo>
                  <a:pt x="0" y="197"/>
                </a:lnTo>
                <a:lnTo>
                  <a:pt x="0" y="0"/>
                </a:lnTo>
                <a:lnTo>
                  <a:pt x="297" y="0"/>
                </a:lnTo>
                <a:lnTo>
                  <a:pt x="297" y="197"/>
                </a:lnTo>
                <a:lnTo>
                  <a:pt x="297" y="197"/>
                </a:lnTo>
                <a:close/>
                <a:moveTo>
                  <a:pt x="11" y="187"/>
                </a:moveTo>
                <a:lnTo>
                  <a:pt x="286" y="187"/>
                </a:lnTo>
                <a:lnTo>
                  <a:pt x="286" y="16"/>
                </a:lnTo>
                <a:lnTo>
                  <a:pt x="148" y="129"/>
                </a:lnTo>
                <a:lnTo>
                  <a:pt x="11" y="16"/>
                </a:lnTo>
                <a:lnTo>
                  <a:pt x="11" y="187"/>
                </a:lnTo>
                <a:lnTo>
                  <a:pt x="11" y="187"/>
                </a:lnTo>
                <a:close/>
                <a:moveTo>
                  <a:pt x="20" y="10"/>
                </a:moveTo>
                <a:lnTo>
                  <a:pt x="148" y="115"/>
                </a:lnTo>
                <a:lnTo>
                  <a:pt x="277" y="10"/>
                </a:lnTo>
                <a:lnTo>
                  <a:pt x="20" y="10"/>
                </a:lnTo>
                <a:lnTo>
                  <a:pt x="20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" name="Freeform 332">
            <a:extLst>
              <a:ext uri="{FF2B5EF4-FFF2-40B4-BE49-F238E27FC236}">
                <a16:creationId xmlns:a16="http://schemas.microsoft.com/office/drawing/2014/main" id="{93F9CF5B-587F-0046-8B06-1EECE1DC8A4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06204" y="3354431"/>
            <a:ext cx="307534" cy="346842"/>
          </a:xfrm>
          <a:custGeom>
            <a:avLst/>
            <a:gdLst>
              <a:gd name="T0" fmla="*/ 297 w 738"/>
              <a:gd name="T1" fmla="*/ 798 h 832"/>
              <a:gd name="T2" fmla="*/ 277 w 738"/>
              <a:gd name="T3" fmla="*/ 793 h 832"/>
              <a:gd name="T4" fmla="*/ 474 w 738"/>
              <a:gd name="T5" fmla="*/ 712 h 832"/>
              <a:gd name="T6" fmla="*/ 321 w 738"/>
              <a:gd name="T7" fmla="*/ 782 h 832"/>
              <a:gd name="T8" fmla="*/ 427 w 738"/>
              <a:gd name="T9" fmla="*/ 754 h 832"/>
              <a:gd name="T10" fmla="*/ 369 w 738"/>
              <a:gd name="T11" fmla="*/ 832 h 832"/>
              <a:gd name="T12" fmla="*/ 269 w 738"/>
              <a:gd name="T13" fmla="*/ 688 h 832"/>
              <a:gd name="T14" fmla="*/ 481 w 738"/>
              <a:gd name="T15" fmla="*/ 663 h 832"/>
              <a:gd name="T16" fmla="*/ 277 w 738"/>
              <a:gd name="T17" fmla="*/ 639 h 832"/>
              <a:gd name="T18" fmla="*/ 255 w 738"/>
              <a:gd name="T19" fmla="*/ 617 h 832"/>
              <a:gd name="T20" fmla="*/ 128 w 738"/>
              <a:gd name="T21" fmla="*/ 363 h 832"/>
              <a:gd name="T22" fmla="*/ 369 w 738"/>
              <a:gd name="T23" fmla="*/ 135 h 832"/>
              <a:gd name="T24" fmla="*/ 610 w 738"/>
              <a:gd name="T25" fmla="*/ 363 h 832"/>
              <a:gd name="T26" fmla="*/ 491 w 738"/>
              <a:gd name="T27" fmla="*/ 577 h 832"/>
              <a:gd name="T28" fmla="*/ 481 w 738"/>
              <a:gd name="T29" fmla="*/ 586 h 832"/>
              <a:gd name="T30" fmla="*/ 369 w 738"/>
              <a:gd name="T31" fmla="*/ 164 h 832"/>
              <a:gd name="T32" fmla="*/ 157 w 738"/>
              <a:gd name="T33" fmla="*/ 361 h 832"/>
              <a:gd name="T34" fmla="*/ 284 w 738"/>
              <a:gd name="T35" fmla="*/ 607 h 832"/>
              <a:gd name="T36" fmla="*/ 517 w 738"/>
              <a:gd name="T37" fmla="*/ 498 h 832"/>
              <a:gd name="T38" fmla="*/ 534 w 738"/>
              <a:gd name="T39" fmla="*/ 234 h 832"/>
              <a:gd name="T40" fmla="*/ 605 w 738"/>
              <a:gd name="T41" fmla="*/ 629 h 832"/>
              <a:gd name="T42" fmla="*/ 577 w 738"/>
              <a:gd name="T43" fmla="*/ 560 h 832"/>
              <a:gd name="T44" fmla="*/ 605 w 738"/>
              <a:gd name="T45" fmla="*/ 629 h 832"/>
              <a:gd name="T46" fmla="*/ 103 w 738"/>
              <a:gd name="T47" fmla="*/ 608 h 832"/>
              <a:gd name="T48" fmla="*/ 172 w 738"/>
              <a:gd name="T49" fmla="*/ 581 h 832"/>
              <a:gd name="T50" fmla="*/ 363 w 738"/>
              <a:gd name="T51" fmla="*/ 528 h 832"/>
              <a:gd name="T52" fmla="*/ 299 w 738"/>
              <a:gd name="T53" fmla="*/ 390 h 832"/>
              <a:gd name="T54" fmla="*/ 461 w 738"/>
              <a:gd name="T55" fmla="*/ 296 h 832"/>
              <a:gd name="T56" fmla="*/ 363 w 738"/>
              <a:gd name="T57" fmla="*/ 528 h 832"/>
              <a:gd name="T58" fmla="*/ 670 w 738"/>
              <a:gd name="T59" fmla="*/ 377 h 832"/>
              <a:gd name="T60" fmla="*/ 738 w 738"/>
              <a:gd name="T61" fmla="*/ 348 h 832"/>
              <a:gd name="T62" fmla="*/ 68 w 738"/>
              <a:gd name="T63" fmla="*/ 363 h 832"/>
              <a:gd name="T64" fmla="*/ 0 w 738"/>
              <a:gd name="T65" fmla="*/ 334 h 832"/>
              <a:gd name="T66" fmla="*/ 68 w 738"/>
              <a:gd name="T67" fmla="*/ 363 h 832"/>
              <a:gd name="T68" fmla="*/ 112 w 738"/>
              <a:gd name="T69" fmla="*/ 106 h 832"/>
              <a:gd name="T70" fmla="*/ 182 w 738"/>
              <a:gd name="T71" fmla="*/ 133 h 832"/>
              <a:gd name="T72" fmla="*/ 587 w 738"/>
              <a:gd name="T73" fmla="*/ 154 h 832"/>
              <a:gd name="T74" fmla="*/ 615 w 738"/>
              <a:gd name="T75" fmla="*/ 85 h 832"/>
              <a:gd name="T76" fmla="*/ 587 w 738"/>
              <a:gd name="T77" fmla="*/ 154 h 832"/>
              <a:gd name="T78" fmla="*/ 361 w 738"/>
              <a:gd name="T79" fmla="*/ 69 h 832"/>
              <a:gd name="T80" fmla="*/ 391 w 738"/>
              <a:gd name="T81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38" h="832">
                <a:moveTo>
                  <a:pt x="369" y="832"/>
                </a:moveTo>
                <a:cubicBezTo>
                  <a:pt x="340" y="832"/>
                  <a:pt x="313" y="820"/>
                  <a:pt x="297" y="798"/>
                </a:cubicBezTo>
                <a:cubicBezTo>
                  <a:pt x="317" y="783"/>
                  <a:pt x="317" y="783"/>
                  <a:pt x="317" y="783"/>
                </a:cubicBezTo>
                <a:cubicBezTo>
                  <a:pt x="277" y="793"/>
                  <a:pt x="277" y="793"/>
                  <a:pt x="277" y="793"/>
                </a:cubicBezTo>
                <a:cubicBezTo>
                  <a:pt x="269" y="765"/>
                  <a:pt x="269" y="765"/>
                  <a:pt x="269" y="765"/>
                </a:cubicBezTo>
                <a:cubicBezTo>
                  <a:pt x="474" y="712"/>
                  <a:pt x="474" y="712"/>
                  <a:pt x="474" y="712"/>
                </a:cubicBezTo>
                <a:cubicBezTo>
                  <a:pt x="481" y="740"/>
                  <a:pt x="481" y="740"/>
                  <a:pt x="481" y="740"/>
                </a:cubicBezTo>
                <a:cubicBezTo>
                  <a:pt x="321" y="782"/>
                  <a:pt x="321" y="782"/>
                  <a:pt x="321" y="782"/>
                </a:cubicBezTo>
                <a:cubicBezTo>
                  <a:pt x="332" y="795"/>
                  <a:pt x="350" y="803"/>
                  <a:pt x="369" y="803"/>
                </a:cubicBezTo>
                <a:cubicBezTo>
                  <a:pt x="401" y="803"/>
                  <a:pt x="427" y="781"/>
                  <a:pt x="427" y="754"/>
                </a:cubicBezTo>
                <a:cubicBezTo>
                  <a:pt x="457" y="754"/>
                  <a:pt x="457" y="754"/>
                  <a:pt x="457" y="754"/>
                </a:cubicBezTo>
                <a:cubicBezTo>
                  <a:pt x="457" y="797"/>
                  <a:pt x="417" y="832"/>
                  <a:pt x="369" y="832"/>
                </a:cubicBezTo>
                <a:close/>
                <a:moveTo>
                  <a:pt x="277" y="716"/>
                </a:moveTo>
                <a:cubicBezTo>
                  <a:pt x="269" y="688"/>
                  <a:pt x="269" y="688"/>
                  <a:pt x="269" y="688"/>
                </a:cubicBezTo>
                <a:cubicBezTo>
                  <a:pt x="474" y="635"/>
                  <a:pt x="474" y="635"/>
                  <a:pt x="474" y="635"/>
                </a:cubicBezTo>
                <a:cubicBezTo>
                  <a:pt x="481" y="663"/>
                  <a:pt x="481" y="663"/>
                  <a:pt x="481" y="663"/>
                </a:cubicBezTo>
                <a:cubicBezTo>
                  <a:pt x="277" y="716"/>
                  <a:pt x="277" y="716"/>
                  <a:pt x="277" y="716"/>
                </a:cubicBezTo>
                <a:close/>
                <a:moveTo>
                  <a:pt x="277" y="639"/>
                </a:moveTo>
                <a:cubicBezTo>
                  <a:pt x="271" y="616"/>
                  <a:pt x="271" y="616"/>
                  <a:pt x="271" y="616"/>
                </a:cubicBezTo>
                <a:cubicBezTo>
                  <a:pt x="255" y="617"/>
                  <a:pt x="255" y="617"/>
                  <a:pt x="255" y="617"/>
                </a:cubicBezTo>
                <a:cubicBezTo>
                  <a:pt x="251" y="560"/>
                  <a:pt x="231" y="544"/>
                  <a:pt x="205" y="524"/>
                </a:cubicBezTo>
                <a:cubicBezTo>
                  <a:pt x="172" y="499"/>
                  <a:pt x="135" y="470"/>
                  <a:pt x="128" y="363"/>
                </a:cubicBezTo>
                <a:cubicBezTo>
                  <a:pt x="124" y="309"/>
                  <a:pt x="144" y="255"/>
                  <a:pt x="184" y="213"/>
                </a:cubicBezTo>
                <a:cubicBezTo>
                  <a:pt x="230" y="163"/>
                  <a:pt x="298" y="135"/>
                  <a:pt x="369" y="135"/>
                </a:cubicBezTo>
                <a:cubicBezTo>
                  <a:pt x="440" y="135"/>
                  <a:pt x="508" y="163"/>
                  <a:pt x="555" y="214"/>
                </a:cubicBezTo>
                <a:cubicBezTo>
                  <a:pt x="595" y="256"/>
                  <a:pt x="614" y="309"/>
                  <a:pt x="610" y="363"/>
                </a:cubicBezTo>
                <a:cubicBezTo>
                  <a:pt x="603" y="467"/>
                  <a:pt x="567" y="496"/>
                  <a:pt x="535" y="521"/>
                </a:cubicBezTo>
                <a:cubicBezTo>
                  <a:pt x="516" y="536"/>
                  <a:pt x="500" y="549"/>
                  <a:pt x="491" y="577"/>
                </a:cubicBezTo>
                <a:cubicBezTo>
                  <a:pt x="477" y="572"/>
                  <a:pt x="477" y="572"/>
                  <a:pt x="477" y="572"/>
                </a:cubicBezTo>
                <a:cubicBezTo>
                  <a:pt x="481" y="586"/>
                  <a:pt x="481" y="586"/>
                  <a:pt x="481" y="586"/>
                </a:cubicBezTo>
                <a:cubicBezTo>
                  <a:pt x="277" y="639"/>
                  <a:pt x="277" y="639"/>
                  <a:pt x="277" y="639"/>
                </a:cubicBezTo>
                <a:close/>
                <a:moveTo>
                  <a:pt x="369" y="164"/>
                </a:moveTo>
                <a:cubicBezTo>
                  <a:pt x="307" y="164"/>
                  <a:pt x="246" y="190"/>
                  <a:pt x="205" y="233"/>
                </a:cubicBezTo>
                <a:cubicBezTo>
                  <a:pt x="171" y="269"/>
                  <a:pt x="154" y="315"/>
                  <a:pt x="157" y="361"/>
                </a:cubicBezTo>
                <a:cubicBezTo>
                  <a:pt x="163" y="455"/>
                  <a:pt x="193" y="478"/>
                  <a:pt x="223" y="501"/>
                </a:cubicBezTo>
                <a:cubicBezTo>
                  <a:pt x="250" y="522"/>
                  <a:pt x="277" y="544"/>
                  <a:pt x="284" y="607"/>
                </a:cubicBezTo>
                <a:cubicBezTo>
                  <a:pt x="466" y="560"/>
                  <a:pt x="466" y="560"/>
                  <a:pt x="466" y="560"/>
                </a:cubicBezTo>
                <a:cubicBezTo>
                  <a:pt x="479" y="529"/>
                  <a:pt x="498" y="513"/>
                  <a:pt x="517" y="498"/>
                </a:cubicBezTo>
                <a:cubicBezTo>
                  <a:pt x="547" y="474"/>
                  <a:pt x="575" y="452"/>
                  <a:pt x="581" y="361"/>
                </a:cubicBezTo>
                <a:cubicBezTo>
                  <a:pt x="584" y="315"/>
                  <a:pt x="568" y="270"/>
                  <a:pt x="534" y="234"/>
                </a:cubicBezTo>
                <a:cubicBezTo>
                  <a:pt x="493" y="190"/>
                  <a:pt x="431" y="164"/>
                  <a:pt x="369" y="164"/>
                </a:cubicBezTo>
                <a:close/>
                <a:moveTo>
                  <a:pt x="605" y="629"/>
                </a:moveTo>
                <a:cubicBezTo>
                  <a:pt x="556" y="581"/>
                  <a:pt x="556" y="581"/>
                  <a:pt x="556" y="581"/>
                </a:cubicBezTo>
                <a:cubicBezTo>
                  <a:pt x="577" y="560"/>
                  <a:pt x="577" y="560"/>
                  <a:pt x="577" y="560"/>
                </a:cubicBezTo>
                <a:cubicBezTo>
                  <a:pt x="626" y="608"/>
                  <a:pt x="626" y="608"/>
                  <a:pt x="626" y="608"/>
                </a:cubicBezTo>
                <a:cubicBezTo>
                  <a:pt x="605" y="629"/>
                  <a:pt x="605" y="629"/>
                  <a:pt x="605" y="629"/>
                </a:cubicBezTo>
                <a:close/>
                <a:moveTo>
                  <a:pt x="123" y="629"/>
                </a:moveTo>
                <a:cubicBezTo>
                  <a:pt x="103" y="608"/>
                  <a:pt x="103" y="608"/>
                  <a:pt x="103" y="608"/>
                </a:cubicBezTo>
                <a:cubicBezTo>
                  <a:pt x="151" y="560"/>
                  <a:pt x="151" y="560"/>
                  <a:pt x="151" y="560"/>
                </a:cubicBezTo>
                <a:cubicBezTo>
                  <a:pt x="172" y="581"/>
                  <a:pt x="172" y="581"/>
                  <a:pt x="172" y="581"/>
                </a:cubicBezTo>
                <a:cubicBezTo>
                  <a:pt x="123" y="629"/>
                  <a:pt x="123" y="629"/>
                  <a:pt x="123" y="629"/>
                </a:cubicBezTo>
                <a:close/>
                <a:moveTo>
                  <a:pt x="363" y="528"/>
                </a:moveTo>
                <a:cubicBezTo>
                  <a:pt x="275" y="407"/>
                  <a:pt x="275" y="407"/>
                  <a:pt x="275" y="407"/>
                </a:cubicBezTo>
                <a:cubicBezTo>
                  <a:pt x="299" y="390"/>
                  <a:pt x="299" y="390"/>
                  <a:pt x="299" y="390"/>
                </a:cubicBezTo>
                <a:cubicBezTo>
                  <a:pt x="360" y="474"/>
                  <a:pt x="360" y="474"/>
                  <a:pt x="360" y="474"/>
                </a:cubicBezTo>
                <a:cubicBezTo>
                  <a:pt x="461" y="296"/>
                  <a:pt x="461" y="296"/>
                  <a:pt x="461" y="296"/>
                </a:cubicBezTo>
                <a:cubicBezTo>
                  <a:pt x="487" y="310"/>
                  <a:pt x="487" y="310"/>
                  <a:pt x="487" y="310"/>
                </a:cubicBezTo>
                <a:cubicBezTo>
                  <a:pt x="363" y="528"/>
                  <a:pt x="363" y="528"/>
                  <a:pt x="363" y="528"/>
                </a:cubicBezTo>
                <a:close/>
                <a:moveTo>
                  <a:pt x="738" y="377"/>
                </a:moveTo>
                <a:cubicBezTo>
                  <a:pt x="670" y="377"/>
                  <a:pt x="670" y="377"/>
                  <a:pt x="670" y="377"/>
                </a:cubicBezTo>
                <a:cubicBezTo>
                  <a:pt x="670" y="348"/>
                  <a:pt x="670" y="348"/>
                  <a:pt x="670" y="348"/>
                </a:cubicBezTo>
                <a:cubicBezTo>
                  <a:pt x="738" y="348"/>
                  <a:pt x="738" y="348"/>
                  <a:pt x="738" y="348"/>
                </a:cubicBezTo>
                <a:cubicBezTo>
                  <a:pt x="738" y="377"/>
                  <a:pt x="738" y="377"/>
                  <a:pt x="738" y="377"/>
                </a:cubicBezTo>
                <a:close/>
                <a:moveTo>
                  <a:pt x="68" y="363"/>
                </a:moveTo>
                <a:cubicBezTo>
                  <a:pt x="0" y="363"/>
                  <a:pt x="0" y="363"/>
                  <a:pt x="0" y="363"/>
                </a:cubicBezTo>
                <a:cubicBezTo>
                  <a:pt x="0" y="334"/>
                  <a:pt x="0" y="334"/>
                  <a:pt x="0" y="334"/>
                </a:cubicBezTo>
                <a:cubicBezTo>
                  <a:pt x="68" y="334"/>
                  <a:pt x="68" y="334"/>
                  <a:pt x="68" y="334"/>
                </a:cubicBezTo>
                <a:cubicBezTo>
                  <a:pt x="68" y="363"/>
                  <a:pt x="68" y="363"/>
                  <a:pt x="68" y="363"/>
                </a:cubicBezTo>
                <a:close/>
                <a:moveTo>
                  <a:pt x="161" y="154"/>
                </a:moveTo>
                <a:cubicBezTo>
                  <a:pt x="112" y="106"/>
                  <a:pt x="112" y="106"/>
                  <a:pt x="112" y="106"/>
                </a:cubicBezTo>
                <a:cubicBezTo>
                  <a:pt x="133" y="85"/>
                  <a:pt x="133" y="85"/>
                  <a:pt x="133" y="85"/>
                </a:cubicBezTo>
                <a:cubicBezTo>
                  <a:pt x="182" y="133"/>
                  <a:pt x="182" y="133"/>
                  <a:pt x="182" y="133"/>
                </a:cubicBezTo>
                <a:cubicBezTo>
                  <a:pt x="161" y="154"/>
                  <a:pt x="161" y="154"/>
                  <a:pt x="161" y="154"/>
                </a:cubicBezTo>
                <a:close/>
                <a:moveTo>
                  <a:pt x="587" y="154"/>
                </a:moveTo>
                <a:cubicBezTo>
                  <a:pt x="566" y="133"/>
                  <a:pt x="566" y="133"/>
                  <a:pt x="566" y="133"/>
                </a:cubicBezTo>
                <a:cubicBezTo>
                  <a:pt x="615" y="85"/>
                  <a:pt x="615" y="85"/>
                  <a:pt x="615" y="85"/>
                </a:cubicBezTo>
                <a:cubicBezTo>
                  <a:pt x="636" y="106"/>
                  <a:pt x="636" y="106"/>
                  <a:pt x="636" y="106"/>
                </a:cubicBezTo>
                <a:cubicBezTo>
                  <a:pt x="587" y="154"/>
                  <a:pt x="587" y="154"/>
                  <a:pt x="587" y="154"/>
                </a:cubicBezTo>
                <a:close/>
                <a:moveTo>
                  <a:pt x="391" y="69"/>
                </a:moveTo>
                <a:cubicBezTo>
                  <a:pt x="361" y="69"/>
                  <a:pt x="361" y="69"/>
                  <a:pt x="361" y="69"/>
                </a:cubicBezTo>
                <a:cubicBezTo>
                  <a:pt x="361" y="0"/>
                  <a:pt x="361" y="0"/>
                  <a:pt x="361" y="0"/>
                </a:cubicBezTo>
                <a:cubicBezTo>
                  <a:pt x="391" y="0"/>
                  <a:pt x="391" y="0"/>
                  <a:pt x="391" y="0"/>
                </a:cubicBezTo>
                <a:cubicBezTo>
                  <a:pt x="391" y="69"/>
                  <a:pt x="391" y="69"/>
                  <a:pt x="391" y="6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" name="Textplatzhalter 5">
            <a:extLst>
              <a:ext uri="{FF2B5EF4-FFF2-40B4-BE49-F238E27FC236}">
                <a16:creationId xmlns:a16="http://schemas.microsoft.com/office/drawing/2014/main" id="{7466990C-DB4D-BA49-96EE-359FC3FC63F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39120" y="3247489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03F787AD-5D54-9644-9AC0-FE30E38689C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939121" y="3510096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09" name="Textplatzhalter 5">
            <a:extLst>
              <a:ext uri="{FF2B5EF4-FFF2-40B4-BE49-F238E27FC236}">
                <a16:creationId xmlns:a16="http://schemas.microsoft.com/office/drawing/2014/main" id="{6391EB64-EAE3-894A-848F-D9FC77F0353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803618" y="3247489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F4A82D2D-1CDA-7645-A0B4-7122C9D960A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803619" y="3510096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1" name="Textplatzhalter 5">
            <a:extLst>
              <a:ext uri="{FF2B5EF4-FFF2-40B4-BE49-F238E27FC236}">
                <a16:creationId xmlns:a16="http://schemas.microsoft.com/office/drawing/2014/main" id="{8A436D07-B70E-3D47-9CBF-4D2B5151517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9120" y="4201111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7A6095B7-9E39-8043-A59D-9D0077B2982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9121" y="4463718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3" name="Textplatzhalter 5">
            <a:extLst>
              <a:ext uri="{FF2B5EF4-FFF2-40B4-BE49-F238E27FC236}">
                <a16:creationId xmlns:a16="http://schemas.microsoft.com/office/drawing/2014/main" id="{FE0DAE93-8060-CF42-B420-AEFEB7BCC2E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939120" y="5142865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47DB9467-03FA-0641-AF0B-DED09E07A1A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9121" y="5405472"/>
            <a:ext cx="2009076" cy="34798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5" name="Textplatzhalter 5">
            <a:extLst>
              <a:ext uri="{FF2B5EF4-FFF2-40B4-BE49-F238E27FC236}">
                <a16:creationId xmlns:a16="http://schemas.microsoft.com/office/drawing/2014/main" id="{8102B90F-D885-FE48-A0E2-CD32A0322DD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803617" y="4203373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6" name="Textplatzhalter 3">
            <a:extLst>
              <a:ext uri="{FF2B5EF4-FFF2-40B4-BE49-F238E27FC236}">
                <a16:creationId xmlns:a16="http://schemas.microsoft.com/office/drawing/2014/main" id="{36161028-0C89-3C47-B39A-1BFADA7ED6C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803618" y="4465980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17" name="Textplatzhalter 5">
            <a:extLst>
              <a:ext uri="{FF2B5EF4-FFF2-40B4-BE49-F238E27FC236}">
                <a16:creationId xmlns:a16="http://schemas.microsoft.com/office/drawing/2014/main" id="{DA149C95-C2CE-D743-9641-3A87FA743B1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803617" y="5144273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118" name="Textplatzhalter 3">
            <a:extLst>
              <a:ext uri="{FF2B5EF4-FFF2-40B4-BE49-F238E27FC236}">
                <a16:creationId xmlns:a16="http://schemas.microsoft.com/office/drawing/2014/main" id="{9C1DED1B-6615-7E46-833C-23AF0225E84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803618" y="5406880"/>
            <a:ext cx="2009076" cy="34798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21" name="Textplatzhalter 3">
            <a:extLst>
              <a:ext uri="{FF2B5EF4-FFF2-40B4-BE49-F238E27FC236}">
                <a16:creationId xmlns:a16="http://schemas.microsoft.com/office/drawing/2014/main" id="{E68D48D9-BD37-FC43-AED5-55462590BA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83975" y="2046008"/>
            <a:ext cx="5528717" cy="79528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122" name="Textplatzhalter 5">
            <a:extLst>
              <a:ext uri="{FF2B5EF4-FFF2-40B4-BE49-F238E27FC236}">
                <a16:creationId xmlns:a16="http://schemas.microsoft.com/office/drawing/2014/main" id="{4490FB32-E4E8-9C4C-9B78-71F58B7C3BC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283975" y="1684043"/>
            <a:ext cx="2546350" cy="190817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A68AAFF2-7BA5-3A4E-9AB8-F4B2CE32CC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DB2D11EB-FEC8-CF4B-A42E-A1668F40F8D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0422004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ounded Rectangle 111">
            <a:extLst>
              <a:ext uri="{FF2B5EF4-FFF2-40B4-BE49-F238E27FC236}">
                <a16:creationId xmlns:a16="http://schemas.microsoft.com/office/drawing/2014/main" id="{C4092A33-EFD8-F848-A590-347C9A5B0656}"/>
              </a:ext>
            </a:extLst>
          </p:cNvPr>
          <p:cNvSpPr/>
          <p:nvPr userDrawn="1"/>
        </p:nvSpPr>
        <p:spPr>
          <a:xfrm>
            <a:off x="498476" y="4864024"/>
            <a:ext cx="5525504" cy="921580"/>
          </a:xfrm>
          <a:prstGeom prst="roundRect">
            <a:avLst>
              <a:gd name="adj" fmla="val 0"/>
            </a:avLst>
          </a:prstGeom>
          <a:solidFill>
            <a:srgbClr val="595959">
              <a:alpha val="20000"/>
            </a:srgbClr>
          </a:solidFill>
          <a:ln w="25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endParaRPr lang="de-DE" sz="1200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grpSp>
        <p:nvGrpSpPr>
          <p:cNvPr id="6" name="Group 75">
            <a:extLst>
              <a:ext uri="{FF2B5EF4-FFF2-40B4-BE49-F238E27FC236}">
                <a16:creationId xmlns:a16="http://schemas.microsoft.com/office/drawing/2014/main" id="{8CBDFCB3-655D-3947-BA09-64F3109D9A62}"/>
              </a:ext>
            </a:extLst>
          </p:cNvPr>
          <p:cNvGrpSpPr/>
          <p:nvPr userDrawn="1"/>
        </p:nvGrpSpPr>
        <p:grpSpPr>
          <a:xfrm>
            <a:off x="7393782" y="1657349"/>
            <a:ext cx="2909868" cy="4132498"/>
            <a:chOff x="8099434" y="2121218"/>
            <a:chExt cx="1322388" cy="1878013"/>
          </a:xfrm>
        </p:grpSpPr>
        <p:sp>
          <p:nvSpPr>
            <p:cNvPr id="7" name="Freeform 33">
              <a:extLst>
                <a:ext uri="{FF2B5EF4-FFF2-40B4-BE49-F238E27FC236}">
                  <a16:creationId xmlns:a16="http://schemas.microsoft.com/office/drawing/2014/main" id="{F796C034-B62E-014E-B3C4-7557E3F15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9434" y="2121218"/>
              <a:ext cx="1322388" cy="1878013"/>
            </a:xfrm>
            <a:custGeom>
              <a:avLst/>
              <a:gdLst>
                <a:gd name="T0" fmla="*/ 834 w 834"/>
                <a:gd name="T1" fmla="*/ 1133 h 1183"/>
                <a:gd name="T2" fmla="*/ 785 w 834"/>
                <a:gd name="T3" fmla="*/ 1183 h 1183"/>
                <a:gd name="T4" fmla="*/ 50 w 834"/>
                <a:gd name="T5" fmla="*/ 1183 h 1183"/>
                <a:gd name="T6" fmla="*/ 0 w 834"/>
                <a:gd name="T7" fmla="*/ 1133 h 1183"/>
                <a:gd name="T8" fmla="*/ 0 w 834"/>
                <a:gd name="T9" fmla="*/ 49 h 1183"/>
                <a:gd name="T10" fmla="*/ 50 w 834"/>
                <a:gd name="T11" fmla="*/ 0 h 1183"/>
                <a:gd name="T12" fmla="*/ 785 w 834"/>
                <a:gd name="T13" fmla="*/ 0 h 1183"/>
                <a:gd name="T14" fmla="*/ 834 w 834"/>
                <a:gd name="T15" fmla="*/ 49 h 1183"/>
                <a:gd name="T16" fmla="*/ 834 w 834"/>
                <a:gd name="T17" fmla="*/ 1133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4" h="1183">
                  <a:moveTo>
                    <a:pt x="834" y="1133"/>
                  </a:moveTo>
                  <a:cubicBezTo>
                    <a:pt x="834" y="1160"/>
                    <a:pt x="812" y="1183"/>
                    <a:pt x="785" y="1183"/>
                  </a:cubicBezTo>
                  <a:cubicBezTo>
                    <a:pt x="50" y="1183"/>
                    <a:pt x="50" y="1183"/>
                    <a:pt x="50" y="1183"/>
                  </a:cubicBezTo>
                  <a:cubicBezTo>
                    <a:pt x="22" y="1183"/>
                    <a:pt x="0" y="1160"/>
                    <a:pt x="0" y="113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85" y="0"/>
                    <a:pt x="785" y="0"/>
                    <a:pt x="785" y="0"/>
                  </a:cubicBezTo>
                  <a:cubicBezTo>
                    <a:pt x="812" y="0"/>
                    <a:pt x="834" y="22"/>
                    <a:pt x="834" y="49"/>
                  </a:cubicBezTo>
                  <a:cubicBezTo>
                    <a:pt x="834" y="1133"/>
                    <a:pt x="834" y="1133"/>
                    <a:pt x="834" y="1133"/>
                  </a:cubicBezTo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34">
              <a:extLst>
                <a:ext uri="{FF2B5EF4-FFF2-40B4-BE49-F238E27FC236}">
                  <a16:creationId xmlns:a16="http://schemas.microsoft.com/office/drawing/2014/main" id="{76D91301-2388-A849-BE99-E17FD4FE6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7372" y="2127568"/>
              <a:ext cx="1308100" cy="1863725"/>
            </a:xfrm>
            <a:custGeom>
              <a:avLst/>
              <a:gdLst>
                <a:gd name="T0" fmla="*/ 45 w 825"/>
                <a:gd name="T1" fmla="*/ 1174 h 1174"/>
                <a:gd name="T2" fmla="*/ 0 w 825"/>
                <a:gd name="T3" fmla="*/ 1129 h 1174"/>
                <a:gd name="T4" fmla="*/ 0 w 825"/>
                <a:gd name="T5" fmla="*/ 45 h 1174"/>
                <a:gd name="T6" fmla="*/ 45 w 825"/>
                <a:gd name="T7" fmla="*/ 0 h 1174"/>
                <a:gd name="T8" fmla="*/ 780 w 825"/>
                <a:gd name="T9" fmla="*/ 0 h 1174"/>
                <a:gd name="T10" fmla="*/ 825 w 825"/>
                <a:gd name="T11" fmla="*/ 45 h 1174"/>
                <a:gd name="T12" fmla="*/ 825 w 825"/>
                <a:gd name="T13" fmla="*/ 1129 h 1174"/>
                <a:gd name="T14" fmla="*/ 780 w 825"/>
                <a:gd name="T15" fmla="*/ 1174 h 1174"/>
                <a:gd name="T16" fmla="*/ 45 w 825"/>
                <a:gd name="T17" fmla="*/ 1174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5" h="1174">
                  <a:moveTo>
                    <a:pt x="45" y="1174"/>
                  </a:moveTo>
                  <a:cubicBezTo>
                    <a:pt x="20" y="1174"/>
                    <a:pt x="0" y="1154"/>
                    <a:pt x="0" y="11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780" y="0"/>
                    <a:pt x="780" y="0"/>
                    <a:pt x="780" y="0"/>
                  </a:cubicBezTo>
                  <a:cubicBezTo>
                    <a:pt x="805" y="0"/>
                    <a:pt x="825" y="21"/>
                    <a:pt x="825" y="45"/>
                  </a:cubicBezTo>
                  <a:cubicBezTo>
                    <a:pt x="825" y="1129"/>
                    <a:pt x="825" y="1129"/>
                    <a:pt x="825" y="1129"/>
                  </a:cubicBezTo>
                  <a:cubicBezTo>
                    <a:pt x="825" y="1154"/>
                    <a:pt x="805" y="1174"/>
                    <a:pt x="780" y="1174"/>
                  </a:cubicBezTo>
                  <a:cubicBezTo>
                    <a:pt x="45" y="1174"/>
                    <a:pt x="45" y="1174"/>
                    <a:pt x="45" y="1174"/>
                  </a:cubicBezTo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Oval 35">
              <a:extLst>
                <a:ext uri="{FF2B5EF4-FFF2-40B4-BE49-F238E27FC236}">
                  <a16:creationId xmlns:a16="http://schemas.microsoft.com/office/drawing/2014/main" id="{8D5C7BF5-28B0-4B43-A1D2-A18B118920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8722" y="2197418"/>
              <a:ext cx="23813" cy="23813"/>
            </a:xfrm>
            <a:prstGeom prst="ellipse">
              <a:avLst/>
            </a:prstGeom>
            <a:solidFill>
              <a:srgbClr val="2C2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BAE561FD-25E3-8042-BDD9-127B1FC752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8722" y="2195831"/>
              <a:ext cx="23813" cy="23813"/>
            </a:xfrm>
            <a:prstGeom prst="ellipse">
              <a:avLst/>
            </a:prstGeom>
            <a:solidFill>
              <a:srgbClr val="0A0A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Oval 37">
              <a:extLst>
                <a:ext uri="{FF2B5EF4-FFF2-40B4-BE49-F238E27FC236}">
                  <a16:creationId xmlns:a16="http://schemas.microsoft.com/office/drawing/2014/main" id="{485D5588-796A-624F-82A0-73DD6F7B0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3484" y="2200593"/>
              <a:ext cx="14288" cy="142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Oval 38">
              <a:extLst>
                <a:ext uri="{FF2B5EF4-FFF2-40B4-BE49-F238E27FC236}">
                  <a16:creationId xmlns:a16="http://schemas.microsoft.com/office/drawing/2014/main" id="{D8DFEED7-B9D0-114D-B3E5-48C80519C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6659" y="2203768"/>
              <a:ext cx="7938" cy="7938"/>
            </a:xfrm>
            <a:prstGeom prst="ellipse">
              <a:avLst/>
            </a:prstGeom>
            <a:solidFill>
              <a:srgbClr val="2C99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D77B3150-17D8-D949-A351-4054C8B06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34" y="2206943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Rectangle 40">
              <a:extLst>
                <a:ext uri="{FF2B5EF4-FFF2-40B4-BE49-F238E27FC236}">
                  <a16:creationId xmlns:a16="http://schemas.microsoft.com/office/drawing/2014/main" id="{3B0D5E91-5C9C-8A41-A0EB-FF0EEB551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3322" y="2203768"/>
              <a:ext cx="11113" cy="1111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Rectangle 41">
              <a:extLst>
                <a:ext uri="{FF2B5EF4-FFF2-40B4-BE49-F238E27FC236}">
                  <a16:creationId xmlns:a16="http://schemas.microsoft.com/office/drawing/2014/main" id="{9BA85E0D-1890-924C-A6C4-96696FDE34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78809" y="2278381"/>
              <a:ext cx="1165225" cy="1554163"/>
            </a:xfrm>
            <a:prstGeom prst="rect">
              <a:avLst/>
            </a:prstGeom>
            <a:solidFill>
              <a:srgbClr val="0C0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Rectangle 42">
              <a:extLst>
                <a:ext uri="{FF2B5EF4-FFF2-40B4-BE49-F238E27FC236}">
                  <a16:creationId xmlns:a16="http://schemas.microsoft.com/office/drawing/2014/main" id="{158DEC27-EA9A-7E41-AC34-2AE6FBD96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5159" y="2284731"/>
              <a:ext cx="1152525" cy="1541463"/>
            </a:xfrm>
            <a:prstGeom prst="rect">
              <a:avLst/>
            </a:prstGeom>
            <a:solidFill>
              <a:srgbClr val="7E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Oval 43">
              <a:extLst>
                <a:ext uri="{FF2B5EF4-FFF2-40B4-BE49-F238E27FC236}">
                  <a16:creationId xmlns:a16="http://schemas.microsoft.com/office/drawing/2014/main" id="{627551A6-3CDE-6947-8098-2088C931D9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2209" y="3865881"/>
              <a:ext cx="98425" cy="100013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44">
              <a:extLst>
                <a:ext uri="{FF2B5EF4-FFF2-40B4-BE49-F238E27FC236}">
                  <a16:creationId xmlns:a16="http://schemas.microsoft.com/office/drawing/2014/main" id="{AB0DE9D2-60EA-764C-8CDD-D143BAF2E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22" y="3889693"/>
              <a:ext cx="50800" cy="50800"/>
            </a:xfrm>
            <a:custGeom>
              <a:avLst/>
              <a:gdLst>
                <a:gd name="T0" fmla="*/ 30 w 32"/>
                <a:gd name="T1" fmla="*/ 21 h 32"/>
                <a:gd name="T2" fmla="*/ 28 w 32"/>
                <a:gd name="T3" fmla="*/ 21 h 32"/>
                <a:gd name="T4" fmla="*/ 21 w 32"/>
                <a:gd name="T5" fmla="*/ 28 h 32"/>
                <a:gd name="T6" fmla="*/ 11 w 32"/>
                <a:gd name="T7" fmla="*/ 28 h 32"/>
                <a:gd name="T8" fmla="*/ 4 w 32"/>
                <a:gd name="T9" fmla="*/ 21 h 32"/>
                <a:gd name="T10" fmla="*/ 4 w 32"/>
                <a:gd name="T11" fmla="*/ 11 h 32"/>
                <a:gd name="T12" fmla="*/ 11 w 32"/>
                <a:gd name="T13" fmla="*/ 4 h 32"/>
                <a:gd name="T14" fmla="*/ 21 w 32"/>
                <a:gd name="T15" fmla="*/ 4 h 32"/>
                <a:gd name="T16" fmla="*/ 28 w 32"/>
                <a:gd name="T17" fmla="*/ 11 h 32"/>
                <a:gd name="T18" fmla="*/ 28 w 32"/>
                <a:gd name="T19" fmla="*/ 21 h 32"/>
                <a:gd name="T20" fmla="*/ 30 w 32"/>
                <a:gd name="T21" fmla="*/ 21 h 32"/>
                <a:gd name="T22" fmla="*/ 32 w 32"/>
                <a:gd name="T23" fmla="*/ 21 h 32"/>
                <a:gd name="T24" fmla="*/ 32 w 32"/>
                <a:gd name="T25" fmla="*/ 11 h 32"/>
                <a:gd name="T26" fmla="*/ 21 w 32"/>
                <a:gd name="T27" fmla="*/ 0 h 32"/>
                <a:gd name="T28" fmla="*/ 11 w 32"/>
                <a:gd name="T29" fmla="*/ 0 h 32"/>
                <a:gd name="T30" fmla="*/ 0 w 32"/>
                <a:gd name="T31" fmla="*/ 11 h 32"/>
                <a:gd name="T32" fmla="*/ 0 w 32"/>
                <a:gd name="T33" fmla="*/ 21 h 32"/>
                <a:gd name="T34" fmla="*/ 11 w 32"/>
                <a:gd name="T35" fmla="*/ 32 h 32"/>
                <a:gd name="T36" fmla="*/ 21 w 32"/>
                <a:gd name="T37" fmla="*/ 32 h 32"/>
                <a:gd name="T38" fmla="*/ 32 w 32"/>
                <a:gd name="T39" fmla="*/ 21 h 32"/>
                <a:gd name="T40" fmla="*/ 30 w 32"/>
                <a:gd name="T4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32">
                  <a:moveTo>
                    <a:pt x="30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28" y="25"/>
                    <a:pt x="25" y="28"/>
                    <a:pt x="2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7" y="28"/>
                    <a:pt x="4" y="25"/>
                    <a:pt x="4" y="2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7"/>
                    <a:pt x="7" y="4"/>
                    <a:pt x="1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5" y="4"/>
                    <a:pt x="28" y="7"/>
                    <a:pt x="28" y="1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8" y="0"/>
                    <a:pt x="2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8"/>
                    <a:pt x="5" y="32"/>
                    <a:pt x="1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8" y="32"/>
                    <a:pt x="32" y="28"/>
                    <a:pt x="32" y="21"/>
                  </a:cubicBezTo>
                  <a:lnTo>
                    <a:pt x="30" y="21"/>
                  </a:lnTo>
                  <a:close/>
                </a:path>
              </a:pathLst>
            </a:custGeom>
            <a:solidFill>
              <a:srgbClr val="1818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6270298F-CDD4-494F-8E4F-AA4E1A48D92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572088" y="2009990"/>
            <a:ext cx="2536090" cy="3391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0121674-DFD2-6241-8224-C81A91D70D8C}"/>
              </a:ext>
            </a:extLst>
          </p:cNvPr>
          <p:cNvSpPr/>
          <p:nvPr userDrawn="1"/>
        </p:nvSpPr>
        <p:spPr>
          <a:xfrm>
            <a:off x="970135" y="3723599"/>
            <a:ext cx="585787" cy="58578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30F1712-9C79-8F42-8759-AB9421F96CFD}"/>
              </a:ext>
            </a:extLst>
          </p:cNvPr>
          <p:cNvSpPr/>
          <p:nvPr userDrawn="1"/>
        </p:nvSpPr>
        <p:spPr>
          <a:xfrm>
            <a:off x="2302548" y="3729670"/>
            <a:ext cx="585787" cy="58578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F8D4C72-596A-D74F-9293-CD42FD12A74D}"/>
              </a:ext>
            </a:extLst>
          </p:cNvPr>
          <p:cNvSpPr/>
          <p:nvPr userDrawn="1"/>
        </p:nvSpPr>
        <p:spPr>
          <a:xfrm>
            <a:off x="3636595" y="3723598"/>
            <a:ext cx="585787" cy="58578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E5450B6-E58F-EA43-AC0B-6290BFB30502}"/>
              </a:ext>
            </a:extLst>
          </p:cNvPr>
          <p:cNvSpPr/>
          <p:nvPr userDrawn="1"/>
        </p:nvSpPr>
        <p:spPr>
          <a:xfrm>
            <a:off x="4969008" y="3723598"/>
            <a:ext cx="585787" cy="58578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1" name="Group 179">
            <a:extLst>
              <a:ext uri="{FF2B5EF4-FFF2-40B4-BE49-F238E27FC236}">
                <a16:creationId xmlns:a16="http://schemas.microsoft.com/office/drawing/2014/main" id="{2147F68A-3E58-E641-9F90-161DE9D0D6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735383" y="3853354"/>
            <a:ext cx="378644" cy="338974"/>
            <a:chOff x="6153150" y="3521075"/>
            <a:chExt cx="500063" cy="447675"/>
          </a:xfrm>
          <a:solidFill>
            <a:schemeClr val="bg2"/>
          </a:solidFill>
        </p:grpSpPr>
        <p:sp>
          <p:nvSpPr>
            <p:cNvPr id="32" name="Freeform 212">
              <a:extLst>
                <a:ext uri="{FF2B5EF4-FFF2-40B4-BE49-F238E27FC236}">
                  <a16:creationId xmlns:a16="http://schemas.microsoft.com/office/drawing/2014/main" id="{12CAC71A-8E31-934D-AD5A-6A66A2E32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3150" y="3521075"/>
              <a:ext cx="254000" cy="447675"/>
            </a:xfrm>
            <a:custGeom>
              <a:avLst/>
              <a:gdLst>
                <a:gd name="T0" fmla="*/ 359 w 443"/>
                <a:gd name="T1" fmla="*/ 782 h 782"/>
                <a:gd name="T2" fmla="*/ 359 w 443"/>
                <a:gd name="T3" fmla="*/ 782 h 782"/>
                <a:gd name="T4" fmla="*/ 184 w 443"/>
                <a:gd name="T5" fmla="*/ 678 h 782"/>
                <a:gd name="T6" fmla="*/ 73 w 443"/>
                <a:gd name="T7" fmla="*/ 631 h 782"/>
                <a:gd name="T8" fmla="*/ 41 w 443"/>
                <a:gd name="T9" fmla="*/ 494 h 782"/>
                <a:gd name="T10" fmla="*/ 0 w 443"/>
                <a:gd name="T11" fmla="*/ 384 h 782"/>
                <a:gd name="T12" fmla="*/ 65 w 443"/>
                <a:gd name="T13" fmla="*/ 248 h 782"/>
                <a:gd name="T14" fmla="*/ 65 w 443"/>
                <a:gd name="T15" fmla="*/ 242 h 782"/>
                <a:gd name="T16" fmla="*/ 169 w 443"/>
                <a:gd name="T17" fmla="*/ 105 h 782"/>
                <a:gd name="T18" fmla="*/ 345 w 443"/>
                <a:gd name="T19" fmla="*/ 0 h 782"/>
                <a:gd name="T20" fmla="*/ 443 w 443"/>
                <a:gd name="T21" fmla="*/ 0 h 782"/>
                <a:gd name="T22" fmla="*/ 443 w 443"/>
                <a:gd name="T23" fmla="*/ 773 h 782"/>
                <a:gd name="T24" fmla="*/ 431 w 443"/>
                <a:gd name="T25" fmla="*/ 775 h 782"/>
                <a:gd name="T26" fmla="*/ 359 w 443"/>
                <a:gd name="T27" fmla="*/ 782 h 782"/>
                <a:gd name="T28" fmla="*/ 202 w 443"/>
                <a:gd name="T29" fmla="*/ 647 h 782"/>
                <a:gd name="T30" fmla="*/ 206 w 443"/>
                <a:gd name="T31" fmla="*/ 656 h 782"/>
                <a:gd name="T32" fmla="*/ 359 w 443"/>
                <a:gd name="T33" fmla="*/ 753 h 782"/>
                <a:gd name="T34" fmla="*/ 359 w 443"/>
                <a:gd name="T35" fmla="*/ 753 h 782"/>
                <a:gd name="T36" fmla="*/ 414 w 443"/>
                <a:gd name="T37" fmla="*/ 748 h 782"/>
                <a:gd name="T38" fmla="*/ 414 w 443"/>
                <a:gd name="T39" fmla="*/ 29 h 782"/>
                <a:gd name="T40" fmla="*/ 345 w 443"/>
                <a:gd name="T41" fmla="*/ 29 h 782"/>
                <a:gd name="T42" fmla="*/ 194 w 443"/>
                <a:gd name="T43" fmla="*/ 122 h 782"/>
                <a:gd name="T44" fmla="*/ 192 w 443"/>
                <a:gd name="T45" fmla="*/ 131 h 782"/>
                <a:gd name="T46" fmla="*/ 182 w 443"/>
                <a:gd name="T47" fmla="*/ 132 h 782"/>
                <a:gd name="T48" fmla="*/ 95 w 443"/>
                <a:gd name="T49" fmla="*/ 242 h 782"/>
                <a:gd name="T50" fmla="*/ 95 w 443"/>
                <a:gd name="T51" fmla="*/ 255 h 782"/>
                <a:gd name="T52" fmla="*/ 96 w 443"/>
                <a:gd name="T53" fmla="*/ 265 h 782"/>
                <a:gd name="T54" fmla="*/ 87 w 443"/>
                <a:gd name="T55" fmla="*/ 270 h 782"/>
                <a:gd name="T56" fmla="*/ 30 w 443"/>
                <a:gd name="T57" fmla="*/ 384 h 782"/>
                <a:gd name="T58" fmla="*/ 66 w 443"/>
                <a:gd name="T59" fmla="*/ 479 h 782"/>
                <a:gd name="T60" fmla="*/ 72 w 443"/>
                <a:gd name="T61" fmla="*/ 484 h 782"/>
                <a:gd name="T62" fmla="*/ 71 w 443"/>
                <a:gd name="T63" fmla="*/ 492 h 782"/>
                <a:gd name="T64" fmla="*/ 96 w 443"/>
                <a:gd name="T65" fmla="*/ 612 h 782"/>
                <a:gd name="T66" fmla="*/ 192 w 443"/>
                <a:gd name="T67" fmla="*/ 648 h 782"/>
                <a:gd name="T68" fmla="*/ 202 w 443"/>
                <a:gd name="T69" fmla="*/ 647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782">
                  <a:moveTo>
                    <a:pt x="359" y="782"/>
                  </a:moveTo>
                  <a:cubicBezTo>
                    <a:pt x="359" y="782"/>
                    <a:pt x="359" y="782"/>
                    <a:pt x="359" y="782"/>
                  </a:cubicBezTo>
                  <a:cubicBezTo>
                    <a:pt x="276" y="782"/>
                    <a:pt x="218" y="748"/>
                    <a:pt x="184" y="678"/>
                  </a:cubicBezTo>
                  <a:cubicBezTo>
                    <a:pt x="137" y="679"/>
                    <a:pt x="99" y="663"/>
                    <a:pt x="73" y="631"/>
                  </a:cubicBezTo>
                  <a:cubicBezTo>
                    <a:pt x="41" y="591"/>
                    <a:pt x="34" y="534"/>
                    <a:pt x="41" y="494"/>
                  </a:cubicBezTo>
                  <a:cubicBezTo>
                    <a:pt x="16" y="467"/>
                    <a:pt x="0" y="425"/>
                    <a:pt x="0" y="384"/>
                  </a:cubicBezTo>
                  <a:cubicBezTo>
                    <a:pt x="0" y="325"/>
                    <a:pt x="26" y="273"/>
                    <a:pt x="65" y="248"/>
                  </a:cubicBezTo>
                  <a:cubicBezTo>
                    <a:pt x="65" y="246"/>
                    <a:pt x="65" y="244"/>
                    <a:pt x="65" y="242"/>
                  </a:cubicBezTo>
                  <a:cubicBezTo>
                    <a:pt x="65" y="172"/>
                    <a:pt x="108" y="117"/>
                    <a:pt x="169" y="105"/>
                  </a:cubicBezTo>
                  <a:cubicBezTo>
                    <a:pt x="191" y="52"/>
                    <a:pt x="263" y="0"/>
                    <a:pt x="345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773"/>
                    <a:pt x="443" y="773"/>
                    <a:pt x="443" y="773"/>
                  </a:cubicBezTo>
                  <a:cubicBezTo>
                    <a:pt x="431" y="775"/>
                    <a:pt x="431" y="775"/>
                    <a:pt x="431" y="775"/>
                  </a:cubicBezTo>
                  <a:cubicBezTo>
                    <a:pt x="405" y="780"/>
                    <a:pt x="381" y="782"/>
                    <a:pt x="359" y="782"/>
                  </a:cubicBezTo>
                  <a:close/>
                  <a:moveTo>
                    <a:pt x="202" y="647"/>
                  </a:moveTo>
                  <a:cubicBezTo>
                    <a:pt x="206" y="656"/>
                    <a:pt x="206" y="656"/>
                    <a:pt x="206" y="656"/>
                  </a:cubicBezTo>
                  <a:cubicBezTo>
                    <a:pt x="235" y="722"/>
                    <a:pt x="284" y="753"/>
                    <a:pt x="359" y="753"/>
                  </a:cubicBezTo>
                  <a:cubicBezTo>
                    <a:pt x="359" y="753"/>
                    <a:pt x="359" y="753"/>
                    <a:pt x="359" y="753"/>
                  </a:cubicBezTo>
                  <a:cubicBezTo>
                    <a:pt x="376" y="753"/>
                    <a:pt x="394" y="751"/>
                    <a:pt x="414" y="748"/>
                  </a:cubicBezTo>
                  <a:cubicBezTo>
                    <a:pt x="414" y="29"/>
                    <a:pt x="414" y="29"/>
                    <a:pt x="414" y="29"/>
                  </a:cubicBezTo>
                  <a:cubicBezTo>
                    <a:pt x="345" y="29"/>
                    <a:pt x="345" y="29"/>
                    <a:pt x="345" y="29"/>
                  </a:cubicBezTo>
                  <a:cubicBezTo>
                    <a:pt x="266" y="29"/>
                    <a:pt x="206" y="84"/>
                    <a:pt x="194" y="122"/>
                  </a:cubicBezTo>
                  <a:cubicBezTo>
                    <a:pt x="192" y="131"/>
                    <a:pt x="192" y="131"/>
                    <a:pt x="192" y="131"/>
                  </a:cubicBezTo>
                  <a:cubicBezTo>
                    <a:pt x="182" y="132"/>
                    <a:pt x="182" y="132"/>
                    <a:pt x="182" y="132"/>
                  </a:cubicBezTo>
                  <a:cubicBezTo>
                    <a:pt x="131" y="139"/>
                    <a:pt x="95" y="184"/>
                    <a:pt x="95" y="242"/>
                  </a:cubicBezTo>
                  <a:cubicBezTo>
                    <a:pt x="95" y="246"/>
                    <a:pt x="95" y="251"/>
                    <a:pt x="95" y="255"/>
                  </a:cubicBezTo>
                  <a:cubicBezTo>
                    <a:pt x="96" y="265"/>
                    <a:pt x="96" y="265"/>
                    <a:pt x="96" y="265"/>
                  </a:cubicBezTo>
                  <a:cubicBezTo>
                    <a:pt x="87" y="270"/>
                    <a:pt x="87" y="270"/>
                    <a:pt x="87" y="270"/>
                  </a:cubicBezTo>
                  <a:cubicBezTo>
                    <a:pt x="53" y="287"/>
                    <a:pt x="30" y="332"/>
                    <a:pt x="30" y="384"/>
                  </a:cubicBezTo>
                  <a:cubicBezTo>
                    <a:pt x="30" y="420"/>
                    <a:pt x="44" y="458"/>
                    <a:pt x="66" y="479"/>
                  </a:cubicBezTo>
                  <a:cubicBezTo>
                    <a:pt x="72" y="484"/>
                    <a:pt x="72" y="484"/>
                    <a:pt x="72" y="484"/>
                  </a:cubicBezTo>
                  <a:cubicBezTo>
                    <a:pt x="71" y="492"/>
                    <a:pt x="71" y="492"/>
                    <a:pt x="71" y="492"/>
                  </a:cubicBezTo>
                  <a:cubicBezTo>
                    <a:pt x="63" y="526"/>
                    <a:pt x="68" y="578"/>
                    <a:pt x="96" y="612"/>
                  </a:cubicBezTo>
                  <a:cubicBezTo>
                    <a:pt x="117" y="639"/>
                    <a:pt x="149" y="651"/>
                    <a:pt x="192" y="648"/>
                  </a:cubicBezTo>
                  <a:cubicBezTo>
                    <a:pt x="202" y="647"/>
                    <a:pt x="202" y="647"/>
                    <a:pt x="202" y="6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13">
              <a:extLst>
                <a:ext uri="{FF2B5EF4-FFF2-40B4-BE49-F238E27FC236}">
                  <a16:creationId xmlns:a16="http://schemas.microsoft.com/office/drawing/2014/main" id="{13AE02B3-7A45-2548-836F-ED5BDB76B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3587750"/>
              <a:ext cx="77787" cy="79375"/>
            </a:xfrm>
            <a:custGeom>
              <a:avLst/>
              <a:gdLst>
                <a:gd name="T0" fmla="*/ 138 w 138"/>
                <a:gd name="T1" fmla="*/ 138 h 138"/>
                <a:gd name="T2" fmla="*/ 0 w 138"/>
                <a:gd name="T3" fmla="*/ 0 h 138"/>
                <a:gd name="T4" fmla="*/ 29 w 138"/>
                <a:gd name="T5" fmla="*/ 0 h 138"/>
                <a:gd name="T6" fmla="*/ 138 w 138"/>
                <a:gd name="T7" fmla="*/ 109 h 138"/>
                <a:gd name="T8" fmla="*/ 138 w 138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38">
                  <a:moveTo>
                    <a:pt x="138" y="138"/>
                  </a:moveTo>
                  <a:cubicBezTo>
                    <a:pt x="66" y="138"/>
                    <a:pt x="0" y="121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1"/>
                    <a:pt x="67" y="109"/>
                    <a:pt x="138" y="109"/>
                  </a:cubicBezTo>
                  <a:cubicBezTo>
                    <a:pt x="138" y="138"/>
                    <a:pt x="138" y="138"/>
                    <a:pt x="138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14">
              <a:extLst>
                <a:ext uri="{FF2B5EF4-FFF2-40B4-BE49-F238E27FC236}">
                  <a16:creationId xmlns:a16="http://schemas.microsoft.com/office/drawing/2014/main" id="{1AEA43F9-B36E-904C-BBB7-68D5FD4E4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575" y="3692525"/>
              <a:ext cx="152400" cy="52387"/>
            </a:xfrm>
            <a:custGeom>
              <a:avLst/>
              <a:gdLst>
                <a:gd name="T0" fmla="*/ 52 w 267"/>
                <a:gd name="T1" fmla="*/ 92 h 92"/>
                <a:gd name="T2" fmla="*/ 0 w 267"/>
                <a:gd name="T3" fmla="*/ 78 h 92"/>
                <a:gd name="T4" fmla="*/ 16 w 267"/>
                <a:gd name="T5" fmla="*/ 53 h 92"/>
                <a:gd name="T6" fmla="*/ 117 w 267"/>
                <a:gd name="T7" fmla="*/ 37 h 92"/>
                <a:gd name="T8" fmla="*/ 191 w 267"/>
                <a:gd name="T9" fmla="*/ 0 h 92"/>
                <a:gd name="T10" fmla="*/ 191 w 267"/>
                <a:gd name="T11" fmla="*/ 0 h 92"/>
                <a:gd name="T12" fmla="*/ 267 w 267"/>
                <a:gd name="T13" fmla="*/ 38 h 92"/>
                <a:gd name="T14" fmla="*/ 245 w 267"/>
                <a:gd name="T15" fmla="*/ 58 h 92"/>
                <a:gd name="T16" fmla="*/ 191 w 267"/>
                <a:gd name="T17" fmla="*/ 29 h 92"/>
                <a:gd name="T18" fmla="*/ 191 w 267"/>
                <a:gd name="T19" fmla="*/ 29 h 92"/>
                <a:gd name="T20" fmla="*/ 138 w 267"/>
                <a:gd name="T21" fmla="*/ 57 h 92"/>
                <a:gd name="T22" fmla="*/ 52 w 267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7" h="92">
                  <a:moveTo>
                    <a:pt x="52" y="92"/>
                  </a:moveTo>
                  <a:cubicBezTo>
                    <a:pt x="33" y="92"/>
                    <a:pt x="15" y="87"/>
                    <a:pt x="0" y="78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44" y="71"/>
                    <a:pt x="92" y="63"/>
                    <a:pt x="117" y="37"/>
                  </a:cubicBezTo>
                  <a:cubicBezTo>
                    <a:pt x="140" y="12"/>
                    <a:pt x="165" y="0"/>
                    <a:pt x="191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17" y="0"/>
                    <a:pt x="242" y="13"/>
                    <a:pt x="267" y="38"/>
                  </a:cubicBezTo>
                  <a:cubicBezTo>
                    <a:pt x="245" y="58"/>
                    <a:pt x="245" y="58"/>
                    <a:pt x="245" y="58"/>
                  </a:cubicBezTo>
                  <a:cubicBezTo>
                    <a:pt x="227" y="39"/>
                    <a:pt x="208" y="29"/>
                    <a:pt x="191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73" y="29"/>
                    <a:pt x="156" y="38"/>
                    <a:pt x="138" y="57"/>
                  </a:cubicBezTo>
                  <a:cubicBezTo>
                    <a:pt x="116" y="80"/>
                    <a:pt x="84" y="92"/>
                    <a:pt x="52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15">
              <a:extLst>
                <a:ext uri="{FF2B5EF4-FFF2-40B4-BE49-F238E27FC236}">
                  <a16:creationId xmlns:a16="http://schemas.microsoft.com/office/drawing/2014/main" id="{7E9630BA-FCB2-D047-B3CA-C611DB3F0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9838" y="3584575"/>
              <a:ext cx="80962" cy="39687"/>
            </a:xfrm>
            <a:custGeom>
              <a:avLst/>
              <a:gdLst>
                <a:gd name="T0" fmla="*/ 93 w 142"/>
                <a:gd name="T1" fmla="*/ 70 h 70"/>
                <a:gd name="T2" fmla="*/ 0 w 142"/>
                <a:gd name="T3" fmla="*/ 11 h 70"/>
                <a:gd name="T4" fmla="*/ 27 w 142"/>
                <a:gd name="T5" fmla="*/ 0 h 70"/>
                <a:gd name="T6" fmla="*/ 132 w 142"/>
                <a:gd name="T7" fmla="*/ 33 h 70"/>
                <a:gd name="T8" fmla="*/ 142 w 142"/>
                <a:gd name="T9" fmla="*/ 61 h 70"/>
                <a:gd name="T10" fmla="*/ 93 w 142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2" h="70">
                  <a:moveTo>
                    <a:pt x="93" y="70"/>
                  </a:moveTo>
                  <a:cubicBezTo>
                    <a:pt x="51" y="70"/>
                    <a:pt x="15" y="48"/>
                    <a:pt x="0" y="1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1" y="36"/>
                    <a:pt x="86" y="50"/>
                    <a:pt x="132" y="33"/>
                  </a:cubicBezTo>
                  <a:cubicBezTo>
                    <a:pt x="142" y="61"/>
                    <a:pt x="142" y="61"/>
                    <a:pt x="142" y="61"/>
                  </a:cubicBezTo>
                  <a:cubicBezTo>
                    <a:pt x="126" y="67"/>
                    <a:pt x="109" y="70"/>
                    <a:pt x="93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16">
              <a:extLst>
                <a:ext uri="{FF2B5EF4-FFF2-40B4-BE49-F238E27FC236}">
                  <a16:creationId xmlns:a16="http://schemas.microsoft.com/office/drawing/2014/main" id="{BF9679E9-41FE-E744-8C52-7C0F40E1E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125" y="3836988"/>
              <a:ext cx="66675" cy="46037"/>
            </a:xfrm>
            <a:custGeom>
              <a:avLst/>
              <a:gdLst>
                <a:gd name="T0" fmla="*/ 27 w 117"/>
                <a:gd name="T1" fmla="*/ 80 h 80"/>
                <a:gd name="T2" fmla="*/ 0 w 117"/>
                <a:gd name="T3" fmla="*/ 69 h 80"/>
                <a:gd name="T4" fmla="*/ 117 w 117"/>
                <a:gd name="T5" fmla="*/ 21 h 80"/>
                <a:gd name="T6" fmla="*/ 106 w 117"/>
                <a:gd name="T7" fmla="*/ 49 h 80"/>
                <a:gd name="T8" fmla="*/ 27 w 117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80">
                  <a:moveTo>
                    <a:pt x="27" y="8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16" y="31"/>
                    <a:pt x="60" y="0"/>
                    <a:pt x="117" y="21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64" y="33"/>
                    <a:pt x="37" y="56"/>
                    <a:pt x="27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17">
              <a:extLst>
                <a:ext uri="{FF2B5EF4-FFF2-40B4-BE49-F238E27FC236}">
                  <a16:creationId xmlns:a16="http://schemas.microsoft.com/office/drawing/2014/main" id="{3636506B-66BB-1543-8EFF-77BA681DC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3800475"/>
              <a:ext cx="46037" cy="44450"/>
            </a:xfrm>
            <a:custGeom>
              <a:avLst/>
              <a:gdLst>
                <a:gd name="T0" fmla="*/ 74 w 79"/>
                <a:gd name="T1" fmla="*/ 77 h 77"/>
                <a:gd name="T2" fmla="*/ 0 w 79"/>
                <a:gd name="T3" fmla="*/ 0 h 77"/>
                <a:gd name="T4" fmla="*/ 29 w 79"/>
                <a:gd name="T5" fmla="*/ 0 h 77"/>
                <a:gd name="T6" fmla="*/ 79 w 79"/>
                <a:gd name="T7" fmla="*/ 48 h 77"/>
                <a:gd name="T8" fmla="*/ 74 w 79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7">
                  <a:moveTo>
                    <a:pt x="74" y="77"/>
                  </a:moveTo>
                  <a:cubicBezTo>
                    <a:pt x="35" y="71"/>
                    <a:pt x="0" y="34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18"/>
                    <a:pt x="52" y="44"/>
                    <a:pt x="79" y="48"/>
                  </a:cubicBezTo>
                  <a:cubicBezTo>
                    <a:pt x="74" y="77"/>
                    <a:pt x="74" y="77"/>
                    <a:pt x="7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218">
              <a:extLst>
                <a:ext uri="{FF2B5EF4-FFF2-40B4-BE49-F238E27FC236}">
                  <a16:creationId xmlns:a16="http://schemas.microsoft.com/office/drawing/2014/main" id="{56F07933-8E82-9A4C-90C4-DF88D2B93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750" y="3792538"/>
              <a:ext cx="95250" cy="106362"/>
            </a:xfrm>
            <a:custGeom>
              <a:avLst/>
              <a:gdLst>
                <a:gd name="T0" fmla="*/ 30 w 167"/>
                <a:gd name="T1" fmla="*/ 187 h 187"/>
                <a:gd name="T2" fmla="*/ 0 w 167"/>
                <a:gd name="T3" fmla="*/ 187 h 187"/>
                <a:gd name="T4" fmla="*/ 167 w 167"/>
                <a:gd name="T5" fmla="*/ 0 h 187"/>
                <a:gd name="T6" fmla="*/ 167 w 167"/>
                <a:gd name="T7" fmla="*/ 29 h 187"/>
                <a:gd name="T8" fmla="*/ 30 w 167"/>
                <a:gd name="T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87">
                  <a:moveTo>
                    <a:pt x="30" y="187"/>
                  </a:moveTo>
                  <a:cubicBezTo>
                    <a:pt x="0" y="187"/>
                    <a:pt x="0" y="187"/>
                    <a:pt x="0" y="187"/>
                  </a:cubicBezTo>
                  <a:cubicBezTo>
                    <a:pt x="0" y="94"/>
                    <a:pt x="58" y="0"/>
                    <a:pt x="167" y="0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58" y="29"/>
                    <a:pt x="30" y="132"/>
                    <a:pt x="30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219">
              <a:extLst>
                <a:ext uri="{FF2B5EF4-FFF2-40B4-BE49-F238E27FC236}">
                  <a16:creationId xmlns:a16="http://schemas.microsoft.com/office/drawing/2014/main" id="{74D13B44-0D10-6C42-AFF0-442DC1F0E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3521075"/>
              <a:ext cx="222250" cy="442912"/>
            </a:xfrm>
            <a:custGeom>
              <a:avLst/>
              <a:gdLst>
                <a:gd name="T0" fmla="*/ 74 w 388"/>
                <a:gd name="T1" fmla="*/ 775 h 775"/>
                <a:gd name="T2" fmla="*/ 0 w 388"/>
                <a:gd name="T3" fmla="*/ 775 h 775"/>
                <a:gd name="T4" fmla="*/ 0 w 388"/>
                <a:gd name="T5" fmla="*/ 746 h 775"/>
                <a:gd name="T6" fmla="*/ 45 w 388"/>
                <a:gd name="T7" fmla="*/ 746 h 775"/>
                <a:gd name="T8" fmla="*/ 45 w 388"/>
                <a:gd name="T9" fmla="*/ 656 h 775"/>
                <a:gd name="T10" fmla="*/ 57 w 388"/>
                <a:gd name="T11" fmla="*/ 654 h 775"/>
                <a:gd name="T12" fmla="*/ 148 w 388"/>
                <a:gd name="T13" fmla="*/ 617 h 775"/>
                <a:gd name="T14" fmla="*/ 158 w 388"/>
                <a:gd name="T15" fmla="*/ 611 h 775"/>
                <a:gd name="T16" fmla="*/ 222 w 388"/>
                <a:gd name="T17" fmla="*/ 672 h 775"/>
                <a:gd name="T18" fmla="*/ 289 w 388"/>
                <a:gd name="T19" fmla="*/ 605 h 775"/>
                <a:gd name="T20" fmla="*/ 228 w 388"/>
                <a:gd name="T21" fmla="*/ 543 h 775"/>
                <a:gd name="T22" fmla="*/ 234 w 388"/>
                <a:gd name="T23" fmla="*/ 533 h 775"/>
                <a:gd name="T24" fmla="*/ 271 w 388"/>
                <a:gd name="T25" fmla="*/ 444 h 775"/>
                <a:gd name="T26" fmla="*/ 273 w 388"/>
                <a:gd name="T27" fmla="*/ 432 h 775"/>
                <a:gd name="T28" fmla="*/ 359 w 388"/>
                <a:gd name="T29" fmla="*/ 432 h 775"/>
                <a:gd name="T30" fmla="*/ 359 w 388"/>
                <a:gd name="T31" fmla="*/ 343 h 775"/>
                <a:gd name="T32" fmla="*/ 273 w 388"/>
                <a:gd name="T33" fmla="*/ 343 h 775"/>
                <a:gd name="T34" fmla="*/ 271 w 388"/>
                <a:gd name="T35" fmla="*/ 331 h 775"/>
                <a:gd name="T36" fmla="*/ 234 w 388"/>
                <a:gd name="T37" fmla="*/ 240 h 775"/>
                <a:gd name="T38" fmla="*/ 227 w 388"/>
                <a:gd name="T39" fmla="*/ 231 h 775"/>
                <a:gd name="T40" fmla="*/ 288 w 388"/>
                <a:gd name="T41" fmla="*/ 167 h 775"/>
                <a:gd name="T42" fmla="*/ 221 w 388"/>
                <a:gd name="T43" fmla="*/ 100 h 775"/>
                <a:gd name="T44" fmla="*/ 158 w 388"/>
                <a:gd name="T45" fmla="*/ 161 h 775"/>
                <a:gd name="T46" fmla="*/ 148 w 388"/>
                <a:gd name="T47" fmla="*/ 155 h 775"/>
                <a:gd name="T48" fmla="*/ 57 w 388"/>
                <a:gd name="T49" fmla="*/ 118 h 775"/>
                <a:gd name="T50" fmla="*/ 45 w 388"/>
                <a:gd name="T51" fmla="*/ 116 h 775"/>
                <a:gd name="T52" fmla="*/ 45 w 388"/>
                <a:gd name="T53" fmla="*/ 29 h 775"/>
                <a:gd name="T54" fmla="*/ 0 w 388"/>
                <a:gd name="T55" fmla="*/ 29 h 775"/>
                <a:gd name="T56" fmla="*/ 0 w 388"/>
                <a:gd name="T57" fmla="*/ 0 h 775"/>
                <a:gd name="T58" fmla="*/ 74 w 388"/>
                <a:gd name="T59" fmla="*/ 0 h 775"/>
                <a:gd name="T60" fmla="*/ 74 w 388"/>
                <a:gd name="T61" fmla="*/ 92 h 775"/>
                <a:gd name="T62" fmla="*/ 154 w 388"/>
                <a:gd name="T63" fmla="*/ 124 h 775"/>
                <a:gd name="T64" fmla="*/ 221 w 388"/>
                <a:gd name="T65" fmla="*/ 59 h 775"/>
                <a:gd name="T66" fmla="*/ 329 w 388"/>
                <a:gd name="T67" fmla="*/ 167 h 775"/>
                <a:gd name="T68" fmla="*/ 264 w 388"/>
                <a:gd name="T69" fmla="*/ 234 h 775"/>
                <a:gd name="T70" fmla="*/ 297 w 388"/>
                <a:gd name="T71" fmla="*/ 314 h 775"/>
                <a:gd name="T72" fmla="*/ 388 w 388"/>
                <a:gd name="T73" fmla="*/ 314 h 775"/>
                <a:gd name="T74" fmla="*/ 388 w 388"/>
                <a:gd name="T75" fmla="*/ 461 h 775"/>
                <a:gd name="T76" fmla="*/ 297 w 388"/>
                <a:gd name="T77" fmla="*/ 461 h 775"/>
                <a:gd name="T78" fmla="*/ 265 w 388"/>
                <a:gd name="T79" fmla="*/ 539 h 775"/>
                <a:gd name="T80" fmla="*/ 330 w 388"/>
                <a:gd name="T81" fmla="*/ 605 h 775"/>
                <a:gd name="T82" fmla="*/ 222 w 388"/>
                <a:gd name="T83" fmla="*/ 713 h 775"/>
                <a:gd name="T84" fmla="*/ 154 w 388"/>
                <a:gd name="T85" fmla="*/ 648 h 775"/>
                <a:gd name="T86" fmla="*/ 74 w 388"/>
                <a:gd name="T87" fmla="*/ 680 h 775"/>
                <a:gd name="T88" fmla="*/ 74 w 388"/>
                <a:gd name="T89" fmla="*/ 77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88" h="775">
                  <a:moveTo>
                    <a:pt x="74" y="775"/>
                  </a:moveTo>
                  <a:cubicBezTo>
                    <a:pt x="0" y="775"/>
                    <a:pt x="0" y="775"/>
                    <a:pt x="0" y="775"/>
                  </a:cubicBezTo>
                  <a:cubicBezTo>
                    <a:pt x="0" y="746"/>
                    <a:pt x="0" y="746"/>
                    <a:pt x="0" y="746"/>
                  </a:cubicBezTo>
                  <a:cubicBezTo>
                    <a:pt x="45" y="746"/>
                    <a:pt x="45" y="746"/>
                    <a:pt x="45" y="746"/>
                  </a:cubicBezTo>
                  <a:cubicBezTo>
                    <a:pt x="45" y="656"/>
                    <a:pt x="45" y="656"/>
                    <a:pt x="45" y="656"/>
                  </a:cubicBezTo>
                  <a:cubicBezTo>
                    <a:pt x="57" y="654"/>
                    <a:pt x="57" y="654"/>
                    <a:pt x="57" y="654"/>
                  </a:cubicBezTo>
                  <a:cubicBezTo>
                    <a:pt x="90" y="648"/>
                    <a:pt x="117" y="637"/>
                    <a:pt x="148" y="617"/>
                  </a:cubicBezTo>
                  <a:cubicBezTo>
                    <a:pt x="158" y="611"/>
                    <a:pt x="158" y="611"/>
                    <a:pt x="158" y="611"/>
                  </a:cubicBezTo>
                  <a:cubicBezTo>
                    <a:pt x="222" y="672"/>
                    <a:pt x="222" y="672"/>
                    <a:pt x="222" y="672"/>
                  </a:cubicBezTo>
                  <a:cubicBezTo>
                    <a:pt x="289" y="605"/>
                    <a:pt x="289" y="605"/>
                    <a:pt x="289" y="605"/>
                  </a:cubicBezTo>
                  <a:cubicBezTo>
                    <a:pt x="228" y="543"/>
                    <a:pt x="228" y="543"/>
                    <a:pt x="228" y="543"/>
                  </a:cubicBezTo>
                  <a:cubicBezTo>
                    <a:pt x="234" y="533"/>
                    <a:pt x="234" y="533"/>
                    <a:pt x="234" y="533"/>
                  </a:cubicBezTo>
                  <a:cubicBezTo>
                    <a:pt x="251" y="506"/>
                    <a:pt x="264" y="481"/>
                    <a:pt x="271" y="444"/>
                  </a:cubicBezTo>
                  <a:cubicBezTo>
                    <a:pt x="273" y="432"/>
                    <a:pt x="273" y="432"/>
                    <a:pt x="273" y="432"/>
                  </a:cubicBezTo>
                  <a:cubicBezTo>
                    <a:pt x="359" y="432"/>
                    <a:pt x="359" y="432"/>
                    <a:pt x="359" y="432"/>
                  </a:cubicBezTo>
                  <a:cubicBezTo>
                    <a:pt x="359" y="343"/>
                    <a:pt x="359" y="343"/>
                    <a:pt x="359" y="343"/>
                  </a:cubicBezTo>
                  <a:cubicBezTo>
                    <a:pt x="273" y="343"/>
                    <a:pt x="273" y="343"/>
                    <a:pt x="273" y="343"/>
                  </a:cubicBezTo>
                  <a:cubicBezTo>
                    <a:pt x="271" y="331"/>
                    <a:pt x="271" y="331"/>
                    <a:pt x="271" y="331"/>
                  </a:cubicBezTo>
                  <a:cubicBezTo>
                    <a:pt x="265" y="298"/>
                    <a:pt x="254" y="272"/>
                    <a:pt x="234" y="240"/>
                  </a:cubicBezTo>
                  <a:cubicBezTo>
                    <a:pt x="227" y="231"/>
                    <a:pt x="227" y="231"/>
                    <a:pt x="227" y="231"/>
                  </a:cubicBezTo>
                  <a:cubicBezTo>
                    <a:pt x="288" y="167"/>
                    <a:pt x="288" y="167"/>
                    <a:pt x="288" y="167"/>
                  </a:cubicBezTo>
                  <a:cubicBezTo>
                    <a:pt x="221" y="100"/>
                    <a:pt x="221" y="100"/>
                    <a:pt x="221" y="100"/>
                  </a:cubicBezTo>
                  <a:cubicBezTo>
                    <a:pt x="158" y="161"/>
                    <a:pt x="158" y="161"/>
                    <a:pt x="158" y="161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18" y="136"/>
                    <a:pt x="90" y="125"/>
                    <a:pt x="57" y="118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103" y="98"/>
                    <a:pt x="127" y="109"/>
                    <a:pt x="154" y="124"/>
                  </a:cubicBezTo>
                  <a:cubicBezTo>
                    <a:pt x="221" y="59"/>
                    <a:pt x="221" y="59"/>
                    <a:pt x="221" y="59"/>
                  </a:cubicBezTo>
                  <a:cubicBezTo>
                    <a:pt x="329" y="167"/>
                    <a:pt x="329" y="167"/>
                    <a:pt x="329" y="16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77" y="255"/>
                    <a:pt x="289" y="280"/>
                    <a:pt x="297" y="314"/>
                  </a:cubicBezTo>
                  <a:cubicBezTo>
                    <a:pt x="388" y="314"/>
                    <a:pt x="388" y="314"/>
                    <a:pt x="388" y="314"/>
                  </a:cubicBezTo>
                  <a:cubicBezTo>
                    <a:pt x="388" y="461"/>
                    <a:pt x="388" y="461"/>
                    <a:pt x="388" y="461"/>
                  </a:cubicBezTo>
                  <a:cubicBezTo>
                    <a:pt x="297" y="461"/>
                    <a:pt x="297" y="461"/>
                    <a:pt x="297" y="461"/>
                  </a:cubicBezTo>
                  <a:cubicBezTo>
                    <a:pt x="289" y="494"/>
                    <a:pt x="277" y="518"/>
                    <a:pt x="265" y="539"/>
                  </a:cubicBezTo>
                  <a:cubicBezTo>
                    <a:pt x="330" y="605"/>
                    <a:pt x="330" y="605"/>
                    <a:pt x="330" y="605"/>
                  </a:cubicBezTo>
                  <a:cubicBezTo>
                    <a:pt x="222" y="713"/>
                    <a:pt x="222" y="713"/>
                    <a:pt x="222" y="713"/>
                  </a:cubicBezTo>
                  <a:cubicBezTo>
                    <a:pt x="154" y="648"/>
                    <a:pt x="154" y="648"/>
                    <a:pt x="154" y="648"/>
                  </a:cubicBezTo>
                  <a:cubicBezTo>
                    <a:pt x="127" y="663"/>
                    <a:pt x="103" y="674"/>
                    <a:pt x="74" y="680"/>
                  </a:cubicBezTo>
                  <a:cubicBezTo>
                    <a:pt x="74" y="775"/>
                    <a:pt x="74" y="775"/>
                    <a:pt x="74" y="7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220">
              <a:extLst>
                <a:ext uri="{FF2B5EF4-FFF2-40B4-BE49-F238E27FC236}">
                  <a16:creationId xmlns:a16="http://schemas.microsoft.com/office/drawing/2014/main" id="{A9C07BF9-C82F-B342-A791-4298B4CB4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3644900"/>
              <a:ext cx="100012" cy="193675"/>
            </a:xfrm>
            <a:custGeom>
              <a:avLst/>
              <a:gdLst>
                <a:gd name="T0" fmla="*/ 0 w 172"/>
                <a:gd name="T1" fmla="*/ 340 h 340"/>
                <a:gd name="T2" fmla="*/ 0 w 172"/>
                <a:gd name="T3" fmla="*/ 311 h 340"/>
                <a:gd name="T4" fmla="*/ 143 w 172"/>
                <a:gd name="T5" fmla="*/ 170 h 340"/>
                <a:gd name="T6" fmla="*/ 0 w 172"/>
                <a:gd name="T7" fmla="*/ 29 h 340"/>
                <a:gd name="T8" fmla="*/ 0 w 172"/>
                <a:gd name="T9" fmla="*/ 0 h 340"/>
                <a:gd name="T10" fmla="*/ 172 w 172"/>
                <a:gd name="T11" fmla="*/ 170 h 340"/>
                <a:gd name="T12" fmla="*/ 0 w 172"/>
                <a:gd name="T13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340">
                  <a:moveTo>
                    <a:pt x="0" y="340"/>
                  </a:moveTo>
                  <a:cubicBezTo>
                    <a:pt x="0" y="311"/>
                    <a:pt x="0" y="311"/>
                    <a:pt x="0" y="311"/>
                  </a:cubicBezTo>
                  <a:cubicBezTo>
                    <a:pt x="79" y="311"/>
                    <a:pt x="143" y="248"/>
                    <a:pt x="143" y="170"/>
                  </a:cubicBezTo>
                  <a:cubicBezTo>
                    <a:pt x="143" y="92"/>
                    <a:pt x="79" y="29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5" y="0"/>
                    <a:pt x="172" y="76"/>
                    <a:pt x="172" y="170"/>
                  </a:cubicBezTo>
                  <a:cubicBezTo>
                    <a:pt x="172" y="264"/>
                    <a:pt x="95" y="340"/>
                    <a:pt x="0" y="3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221">
              <a:extLst>
                <a:ext uri="{FF2B5EF4-FFF2-40B4-BE49-F238E27FC236}">
                  <a16:creationId xmlns:a16="http://schemas.microsoft.com/office/drawing/2014/main" id="{4F716EA7-A781-1345-A2A3-421888605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5" y="3687763"/>
              <a:ext cx="44450" cy="85725"/>
            </a:xfrm>
            <a:custGeom>
              <a:avLst/>
              <a:gdLst>
                <a:gd name="T0" fmla="*/ 26 w 77"/>
                <a:gd name="T1" fmla="*/ 149 h 149"/>
                <a:gd name="T2" fmla="*/ 16 w 77"/>
                <a:gd name="T3" fmla="*/ 122 h 149"/>
                <a:gd name="T4" fmla="*/ 48 w 77"/>
                <a:gd name="T5" fmla="*/ 73 h 149"/>
                <a:gd name="T6" fmla="*/ 0 w 77"/>
                <a:gd name="T7" fmla="*/ 30 h 149"/>
                <a:gd name="T8" fmla="*/ 0 w 77"/>
                <a:gd name="T9" fmla="*/ 0 h 149"/>
                <a:gd name="T10" fmla="*/ 77 w 77"/>
                <a:gd name="T11" fmla="*/ 73 h 149"/>
                <a:gd name="T12" fmla="*/ 26 w 77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49">
                  <a:moveTo>
                    <a:pt x="26" y="149"/>
                  </a:moveTo>
                  <a:cubicBezTo>
                    <a:pt x="16" y="122"/>
                    <a:pt x="16" y="122"/>
                    <a:pt x="16" y="122"/>
                  </a:cubicBezTo>
                  <a:cubicBezTo>
                    <a:pt x="34" y="115"/>
                    <a:pt x="48" y="94"/>
                    <a:pt x="48" y="73"/>
                  </a:cubicBezTo>
                  <a:cubicBezTo>
                    <a:pt x="48" y="48"/>
                    <a:pt x="27" y="30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" y="0"/>
                    <a:pt x="77" y="32"/>
                    <a:pt x="77" y="73"/>
                  </a:cubicBezTo>
                  <a:cubicBezTo>
                    <a:pt x="77" y="107"/>
                    <a:pt x="55" y="139"/>
                    <a:pt x="26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2" name="Group 230">
            <a:extLst>
              <a:ext uri="{FF2B5EF4-FFF2-40B4-BE49-F238E27FC236}">
                <a16:creationId xmlns:a16="http://schemas.microsoft.com/office/drawing/2014/main" id="{6FF4A7A0-31AA-9F44-A570-E164EB68B2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0103" y="3822102"/>
            <a:ext cx="364218" cy="401480"/>
            <a:chOff x="7294563" y="3482975"/>
            <a:chExt cx="481012" cy="530225"/>
          </a:xfrm>
          <a:solidFill>
            <a:schemeClr val="bg2"/>
          </a:solidFill>
        </p:grpSpPr>
        <p:sp>
          <p:nvSpPr>
            <p:cNvPr id="43" name="Freeform 259">
              <a:extLst>
                <a:ext uri="{FF2B5EF4-FFF2-40B4-BE49-F238E27FC236}">
                  <a16:creationId xmlns:a16="http://schemas.microsoft.com/office/drawing/2014/main" id="{F252D095-5B4F-6D47-95FA-BDC41018D2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3625" y="3614738"/>
              <a:ext cx="230187" cy="228600"/>
            </a:xfrm>
            <a:custGeom>
              <a:avLst/>
              <a:gdLst>
                <a:gd name="T0" fmla="*/ 157 w 402"/>
                <a:gd name="T1" fmla="*/ 402 h 402"/>
                <a:gd name="T2" fmla="*/ 141 w 402"/>
                <a:gd name="T3" fmla="*/ 332 h 402"/>
                <a:gd name="T4" fmla="*/ 31 w 402"/>
                <a:gd name="T5" fmla="*/ 296 h 402"/>
                <a:gd name="T6" fmla="*/ 61 w 402"/>
                <a:gd name="T7" fmla="*/ 245 h 402"/>
                <a:gd name="T8" fmla="*/ 0 w 402"/>
                <a:gd name="T9" fmla="*/ 137 h 402"/>
                <a:gd name="T10" fmla="*/ 68 w 402"/>
                <a:gd name="T11" fmla="*/ 122 h 402"/>
                <a:gd name="T12" fmla="*/ 104 w 402"/>
                <a:gd name="T13" fmla="*/ 11 h 402"/>
                <a:gd name="T14" fmla="*/ 157 w 402"/>
                <a:gd name="T15" fmla="*/ 42 h 402"/>
                <a:gd name="T16" fmla="*/ 265 w 402"/>
                <a:gd name="T17" fmla="*/ 0 h 402"/>
                <a:gd name="T18" fmla="*/ 279 w 402"/>
                <a:gd name="T19" fmla="*/ 48 h 402"/>
                <a:gd name="T20" fmla="*/ 389 w 402"/>
                <a:gd name="T21" fmla="*/ 84 h 402"/>
                <a:gd name="T22" fmla="*/ 358 w 402"/>
                <a:gd name="T23" fmla="*/ 137 h 402"/>
                <a:gd name="T24" fmla="*/ 402 w 402"/>
                <a:gd name="T25" fmla="*/ 245 h 402"/>
                <a:gd name="T26" fmla="*/ 352 w 402"/>
                <a:gd name="T27" fmla="*/ 260 h 402"/>
                <a:gd name="T28" fmla="*/ 316 w 402"/>
                <a:gd name="T29" fmla="*/ 369 h 402"/>
                <a:gd name="T30" fmla="*/ 265 w 402"/>
                <a:gd name="T31" fmla="*/ 339 h 402"/>
                <a:gd name="T32" fmla="*/ 186 w 402"/>
                <a:gd name="T33" fmla="*/ 373 h 402"/>
                <a:gd name="T34" fmla="*/ 236 w 402"/>
                <a:gd name="T35" fmla="*/ 314 h 402"/>
                <a:gd name="T36" fmla="*/ 267 w 402"/>
                <a:gd name="T37" fmla="*/ 305 h 402"/>
                <a:gd name="T38" fmla="*/ 284 w 402"/>
                <a:gd name="T39" fmla="*/ 295 h 402"/>
                <a:gd name="T40" fmla="*/ 347 w 402"/>
                <a:gd name="T41" fmla="*/ 296 h 402"/>
                <a:gd name="T42" fmla="*/ 320 w 402"/>
                <a:gd name="T43" fmla="*/ 255 h 402"/>
                <a:gd name="T44" fmla="*/ 332 w 402"/>
                <a:gd name="T45" fmla="*/ 228 h 402"/>
                <a:gd name="T46" fmla="*/ 373 w 402"/>
                <a:gd name="T47" fmla="*/ 216 h 402"/>
                <a:gd name="T48" fmla="*/ 334 w 402"/>
                <a:gd name="T49" fmla="*/ 166 h 402"/>
                <a:gd name="T50" fmla="*/ 324 w 402"/>
                <a:gd name="T51" fmla="*/ 134 h 402"/>
                <a:gd name="T52" fmla="*/ 314 w 402"/>
                <a:gd name="T53" fmla="*/ 117 h 402"/>
                <a:gd name="T54" fmla="*/ 315 w 402"/>
                <a:gd name="T55" fmla="*/ 53 h 402"/>
                <a:gd name="T56" fmla="*/ 274 w 402"/>
                <a:gd name="T57" fmla="*/ 80 h 402"/>
                <a:gd name="T58" fmla="*/ 248 w 402"/>
                <a:gd name="T59" fmla="*/ 68 h 402"/>
                <a:gd name="T60" fmla="*/ 236 w 402"/>
                <a:gd name="T61" fmla="*/ 29 h 402"/>
                <a:gd name="T62" fmla="*/ 186 w 402"/>
                <a:gd name="T63" fmla="*/ 66 h 402"/>
                <a:gd name="T64" fmla="*/ 153 w 402"/>
                <a:gd name="T65" fmla="*/ 76 h 402"/>
                <a:gd name="T66" fmla="*/ 137 w 402"/>
                <a:gd name="T67" fmla="*/ 85 h 402"/>
                <a:gd name="T68" fmla="*/ 72 w 402"/>
                <a:gd name="T69" fmla="*/ 85 h 402"/>
                <a:gd name="T70" fmla="*/ 99 w 402"/>
                <a:gd name="T71" fmla="*/ 127 h 402"/>
                <a:gd name="T72" fmla="*/ 87 w 402"/>
                <a:gd name="T73" fmla="*/ 154 h 402"/>
                <a:gd name="T74" fmla="*/ 29 w 402"/>
                <a:gd name="T75" fmla="*/ 166 h 402"/>
                <a:gd name="T76" fmla="*/ 85 w 402"/>
                <a:gd name="T77" fmla="*/ 216 h 402"/>
                <a:gd name="T78" fmla="*/ 95 w 402"/>
                <a:gd name="T79" fmla="*/ 247 h 402"/>
                <a:gd name="T80" fmla="*/ 105 w 402"/>
                <a:gd name="T81" fmla="*/ 264 h 402"/>
                <a:gd name="T82" fmla="*/ 104 w 402"/>
                <a:gd name="T83" fmla="*/ 328 h 402"/>
                <a:gd name="T84" fmla="*/ 146 w 402"/>
                <a:gd name="T85" fmla="*/ 301 h 402"/>
                <a:gd name="T86" fmla="*/ 174 w 402"/>
                <a:gd name="T87" fmla="*/ 312 h 402"/>
                <a:gd name="T88" fmla="*/ 186 w 402"/>
                <a:gd name="T89" fmla="*/ 373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2" h="402">
                  <a:moveTo>
                    <a:pt x="265" y="402"/>
                  </a:moveTo>
                  <a:cubicBezTo>
                    <a:pt x="157" y="402"/>
                    <a:pt x="157" y="402"/>
                    <a:pt x="157" y="402"/>
                  </a:cubicBezTo>
                  <a:cubicBezTo>
                    <a:pt x="157" y="339"/>
                    <a:pt x="157" y="339"/>
                    <a:pt x="157" y="339"/>
                  </a:cubicBezTo>
                  <a:cubicBezTo>
                    <a:pt x="150" y="337"/>
                    <a:pt x="146" y="335"/>
                    <a:pt x="141" y="332"/>
                  </a:cubicBezTo>
                  <a:cubicBezTo>
                    <a:pt x="104" y="370"/>
                    <a:pt x="104" y="370"/>
                    <a:pt x="104" y="370"/>
                  </a:cubicBezTo>
                  <a:cubicBezTo>
                    <a:pt x="31" y="296"/>
                    <a:pt x="31" y="296"/>
                    <a:pt x="31" y="296"/>
                  </a:cubicBezTo>
                  <a:cubicBezTo>
                    <a:pt x="68" y="260"/>
                    <a:pt x="68" y="260"/>
                    <a:pt x="68" y="260"/>
                  </a:cubicBezTo>
                  <a:cubicBezTo>
                    <a:pt x="65" y="256"/>
                    <a:pt x="63" y="251"/>
                    <a:pt x="61" y="245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3" y="131"/>
                    <a:pt x="65" y="126"/>
                    <a:pt x="68" y="122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41" y="49"/>
                    <a:pt x="141" y="49"/>
                    <a:pt x="141" y="49"/>
                  </a:cubicBezTo>
                  <a:cubicBezTo>
                    <a:pt x="146" y="46"/>
                    <a:pt x="150" y="44"/>
                    <a:pt x="157" y="42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71" y="44"/>
                    <a:pt x="275" y="46"/>
                    <a:pt x="279" y="48"/>
                  </a:cubicBezTo>
                  <a:cubicBezTo>
                    <a:pt x="315" y="11"/>
                    <a:pt x="315" y="11"/>
                    <a:pt x="315" y="11"/>
                  </a:cubicBezTo>
                  <a:cubicBezTo>
                    <a:pt x="389" y="84"/>
                    <a:pt x="389" y="84"/>
                    <a:pt x="389" y="84"/>
                  </a:cubicBezTo>
                  <a:cubicBezTo>
                    <a:pt x="351" y="122"/>
                    <a:pt x="351" y="122"/>
                    <a:pt x="351" y="122"/>
                  </a:cubicBezTo>
                  <a:cubicBezTo>
                    <a:pt x="354" y="126"/>
                    <a:pt x="356" y="131"/>
                    <a:pt x="358" y="137"/>
                  </a:cubicBezTo>
                  <a:cubicBezTo>
                    <a:pt x="402" y="137"/>
                    <a:pt x="402" y="137"/>
                    <a:pt x="402" y="137"/>
                  </a:cubicBezTo>
                  <a:cubicBezTo>
                    <a:pt x="402" y="245"/>
                    <a:pt x="402" y="245"/>
                    <a:pt x="402" y="245"/>
                  </a:cubicBezTo>
                  <a:cubicBezTo>
                    <a:pt x="358" y="245"/>
                    <a:pt x="358" y="245"/>
                    <a:pt x="358" y="245"/>
                  </a:cubicBezTo>
                  <a:cubicBezTo>
                    <a:pt x="356" y="251"/>
                    <a:pt x="354" y="256"/>
                    <a:pt x="352" y="260"/>
                  </a:cubicBezTo>
                  <a:cubicBezTo>
                    <a:pt x="389" y="295"/>
                    <a:pt x="389" y="295"/>
                    <a:pt x="389" y="295"/>
                  </a:cubicBezTo>
                  <a:cubicBezTo>
                    <a:pt x="316" y="369"/>
                    <a:pt x="316" y="369"/>
                    <a:pt x="316" y="369"/>
                  </a:cubicBezTo>
                  <a:cubicBezTo>
                    <a:pt x="280" y="332"/>
                    <a:pt x="280" y="332"/>
                    <a:pt x="280" y="332"/>
                  </a:cubicBezTo>
                  <a:cubicBezTo>
                    <a:pt x="275" y="335"/>
                    <a:pt x="271" y="337"/>
                    <a:pt x="265" y="339"/>
                  </a:cubicBezTo>
                  <a:cubicBezTo>
                    <a:pt x="265" y="402"/>
                    <a:pt x="265" y="402"/>
                    <a:pt x="265" y="402"/>
                  </a:cubicBezTo>
                  <a:close/>
                  <a:moveTo>
                    <a:pt x="186" y="373"/>
                  </a:moveTo>
                  <a:cubicBezTo>
                    <a:pt x="236" y="373"/>
                    <a:pt x="236" y="373"/>
                    <a:pt x="236" y="373"/>
                  </a:cubicBezTo>
                  <a:cubicBezTo>
                    <a:pt x="236" y="314"/>
                    <a:pt x="236" y="314"/>
                    <a:pt x="236" y="314"/>
                  </a:cubicBezTo>
                  <a:cubicBezTo>
                    <a:pt x="248" y="312"/>
                    <a:pt x="248" y="312"/>
                    <a:pt x="248" y="312"/>
                  </a:cubicBezTo>
                  <a:cubicBezTo>
                    <a:pt x="259" y="311"/>
                    <a:pt x="262" y="309"/>
                    <a:pt x="267" y="305"/>
                  </a:cubicBezTo>
                  <a:cubicBezTo>
                    <a:pt x="269" y="304"/>
                    <a:pt x="271" y="302"/>
                    <a:pt x="274" y="300"/>
                  </a:cubicBezTo>
                  <a:cubicBezTo>
                    <a:pt x="284" y="295"/>
                    <a:pt x="284" y="295"/>
                    <a:pt x="284" y="295"/>
                  </a:cubicBezTo>
                  <a:cubicBezTo>
                    <a:pt x="316" y="328"/>
                    <a:pt x="316" y="328"/>
                    <a:pt x="316" y="328"/>
                  </a:cubicBezTo>
                  <a:cubicBezTo>
                    <a:pt x="347" y="296"/>
                    <a:pt x="347" y="296"/>
                    <a:pt x="347" y="296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20" y="255"/>
                    <a:pt x="320" y="255"/>
                    <a:pt x="320" y="255"/>
                  </a:cubicBezTo>
                  <a:cubicBezTo>
                    <a:pt x="322" y="252"/>
                    <a:pt x="323" y="249"/>
                    <a:pt x="325" y="247"/>
                  </a:cubicBezTo>
                  <a:cubicBezTo>
                    <a:pt x="328" y="242"/>
                    <a:pt x="330" y="240"/>
                    <a:pt x="332" y="228"/>
                  </a:cubicBezTo>
                  <a:cubicBezTo>
                    <a:pt x="334" y="216"/>
                    <a:pt x="334" y="216"/>
                    <a:pt x="334" y="216"/>
                  </a:cubicBezTo>
                  <a:cubicBezTo>
                    <a:pt x="373" y="216"/>
                    <a:pt x="373" y="216"/>
                    <a:pt x="373" y="216"/>
                  </a:cubicBezTo>
                  <a:cubicBezTo>
                    <a:pt x="373" y="166"/>
                    <a:pt x="373" y="166"/>
                    <a:pt x="373" y="166"/>
                  </a:cubicBezTo>
                  <a:cubicBezTo>
                    <a:pt x="334" y="166"/>
                    <a:pt x="334" y="166"/>
                    <a:pt x="334" y="166"/>
                  </a:cubicBezTo>
                  <a:cubicBezTo>
                    <a:pt x="332" y="154"/>
                    <a:pt x="332" y="154"/>
                    <a:pt x="332" y="154"/>
                  </a:cubicBezTo>
                  <a:cubicBezTo>
                    <a:pt x="330" y="142"/>
                    <a:pt x="328" y="139"/>
                    <a:pt x="324" y="134"/>
                  </a:cubicBezTo>
                  <a:cubicBezTo>
                    <a:pt x="323" y="132"/>
                    <a:pt x="321" y="129"/>
                    <a:pt x="320" y="127"/>
                  </a:cubicBezTo>
                  <a:cubicBezTo>
                    <a:pt x="314" y="117"/>
                    <a:pt x="314" y="117"/>
                    <a:pt x="314" y="117"/>
                  </a:cubicBezTo>
                  <a:cubicBezTo>
                    <a:pt x="347" y="84"/>
                    <a:pt x="347" y="84"/>
                    <a:pt x="347" y="84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284" y="86"/>
                    <a:pt x="284" y="86"/>
                    <a:pt x="284" y="86"/>
                  </a:cubicBezTo>
                  <a:cubicBezTo>
                    <a:pt x="274" y="80"/>
                    <a:pt x="274" y="80"/>
                    <a:pt x="274" y="80"/>
                  </a:cubicBezTo>
                  <a:cubicBezTo>
                    <a:pt x="271" y="78"/>
                    <a:pt x="269" y="77"/>
                    <a:pt x="267" y="75"/>
                  </a:cubicBezTo>
                  <a:cubicBezTo>
                    <a:pt x="262" y="72"/>
                    <a:pt x="259" y="70"/>
                    <a:pt x="248" y="68"/>
                  </a:cubicBezTo>
                  <a:cubicBezTo>
                    <a:pt x="236" y="66"/>
                    <a:pt x="236" y="66"/>
                    <a:pt x="236" y="66"/>
                  </a:cubicBezTo>
                  <a:cubicBezTo>
                    <a:pt x="236" y="29"/>
                    <a:pt x="236" y="29"/>
                    <a:pt x="236" y="29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86" y="66"/>
                    <a:pt x="186" y="66"/>
                    <a:pt x="186" y="66"/>
                  </a:cubicBezTo>
                  <a:cubicBezTo>
                    <a:pt x="174" y="68"/>
                    <a:pt x="174" y="68"/>
                    <a:pt x="174" y="68"/>
                  </a:cubicBezTo>
                  <a:cubicBezTo>
                    <a:pt x="162" y="70"/>
                    <a:pt x="159" y="72"/>
                    <a:pt x="153" y="76"/>
                  </a:cubicBezTo>
                  <a:cubicBezTo>
                    <a:pt x="151" y="77"/>
                    <a:pt x="149" y="78"/>
                    <a:pt x="146" y="80"/>
                  </a:cubicBezTo>
                  <a:cubicBezTo>
                    <a:pt x="137" y="85"/>
                    <a:pt x="137" y="85"/>
                    <a:pt x="137" y="85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105" y="117"/>
                    <a:pt x="105" y="117"/>
                    <a:pt x="105" y="117"/>
                  </a:cubicBezTo>
                  <a:cubicBezTo>
                    <a:pt x="99" y="127"/>
                    <a:pt x="99" y="127"/>
                    <a:pt x="99" y="127"/>
                  </a:cubicBezTo>
                  <a:cubicBezTo>
                    <a:pt x="98" y="129"/>
                    <a:pt x="96" y="131"/>
                    <a:pt x="95" y="134"/>
                  </a:cubicBezTo>
                  <a:cubicBezTo>
                    <a:pt x="91" y="139"/>
                    <a:pt x="89" y="142"/>
                    <a:pt x="87" y="154"/>
                  </a:cubicBezTo>
                  <a:cubicBezTo>
                    <a:pt x="85" y="166"/>
                    <a:pt x="85" y="166"/>
                    <a:pt x="85" y="166"/>
                  </a:cubicBezTo>
                  <a:cubicBezTo>
                    <a:pt x="29" y="166"/>
                    <a:pt x="29" y="166"/>
                    <a:pt x="29" y="166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8"/>
                    <a:pt x="87" y="228"/>
                    <a:pt x="87" y="228"/>
                  </a:cubicBezTo>
                  <a:cubicBezTo>
                    <a:pt x="89" y="239"/>
                    <a:pt x="91" y="242"/>
                    <a:pt x="95" y="247"/>
                  </a:cubicBezTo>
                  <a:cubicBezTo>
                    <a:pt x="96" y="249"/>
                    <a:pt x="98" y="252"/>
                    <a:pt x="99" y="255"/>
                  </a:cubicBezTo>
                  <a:cubicBezTo>
                    <a:pt x="105" y="264"/>
                    <a:pt x="105" y="264"/>
                    <a:pt x="105" y="264"/>
                  </a:cubicBezTo>
                  <a:cubicBezTo>
                    <a:pt x="72" y="297"/>
                    <a:pt x="72" y="297"/>
                    <a:pt x="72" y="297"/>
                  </a:cubicBezTo>
                  <a:cubicBezTo>
                    <a:pt x="104" y="328"/>
                    <a:pt x="104" y="328"/>
                    <a:pt x="104" y="328"/>
                  </a:cubicBezTo>
                  <a:cubicBezTo>
                    <a:pt x="137" y="295"/>
                    <a:pt x="137" y="295"/>
                    <a:pt x="137" y="295"/>
                  </a:cubicBezTo>
                  <a:cubicBezTo>
                    <a:pt x="146" y="301"/>
                    <a:pt x="146" y="301"/>
                    <a:pt x="146" y="301"/>
                  </a:cubicBezTo>
                  <a:cubicBezTo>
                    <a:pt x="149" y="302"/>
                    <a:pt x="151" y="303"/>
                    <a:pt x="153" y="305"/>
                  </a:cubicBezTo>
                  <a:cubicBezTo>
                    <a:pt x="159" y="308"/>
                    <a:pt x="162" y="310"/>
                    <a:pt x="174" y="312"/>
                  </a:cubicBezTo>
                  <a:cubicBezTo>
                    <a:pt x="186" y="314"/>
                    <a:pt x="186" y="314"/>
                    <a:pt x="186" y="314"/>
                  </a:cubicBezTo>
                  <a:cubicBezTo>
                    <a:pt x="186" y="373"/>
                    <a:pt x="186" y="373"/>
                    <a:pt x="186" y="3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260">
              <a:extLst>
                <a:ext uri="{FF2B5EF4-FFF2-40B4-BE49-F238E27FC236}">
                  <a16:creationId xmlns:a16="http://schemas.microsoft.com/office/drawing/2014/main" id="{540797B2-3160-EE4B-A5DC-99A15633CF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1413" y="3681413"/>
              <a:ext cx="85725" cy="84137"/>
            </a:xfrm>
            <a:custGeom>
              <a:avLst/>
              <a:gdLst>
                <a:gd name="T0" fmla="*/ 74 w 148"/>
                <a:gd name="T1" fmla="*/ 148 h 148"/>
                <a:gd name="T2" fmla="*/ 0 w 148"/>
                <a:gd name="T3" fmla="*/ 74 h 148"/>
                <a:gd name="T4" fmla="*/ 74 w 148"/>
                <a:gd name="T5" fmla="*/ 0 h 148"/>
                <a:gd name="T6" fmla="*/ 148 w 148"/>
                <a:gd name="T7" fmla="*/ 74 h 148"/>
                <a:gd name="T8" fmla="*/ 74 w 148"/>
                <a:gd name="T9" fmla="*/ 148 h 148"/>
                <a:gd name="T10" fmla="*/ 74 w 148"/>
                <a:gd name="T11" fmla="*/ 30 h 148"/>
                <a:gd name="T12" fmla="*/ 29 w 148"/>
                <a:gd name="T13" fmla="*/ 74 h 148"/>
                <a:gd name="T14" fmla="*/ 74 w 148"/>
                <a:gd name="T15" fmla="*/ 119 h 148"/>
                <a:gd name="T16" fmla="*/ 118 w 148"/>
                <a:gd name="T17" fmla="*/ 74 h 148"/>
                <a:gd name="T18" fmla="*/ 74 w 148"/>
                <a:gd name="T19" fmla="*/ 3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48">
                  <a:moveTo>
                    <a:pt x="74" y="148"/>
                  </a:moveTo>
                  <a:cubicBezTo>
                    <a:pt x="33" y="148"/>
                    <a:pt x="0" y="115"/>
                    <a:pt x="0" y="74"/>
                  </a:cubicBezTo>
                  <a:cubicBezTo>
                    <a:pt x="0" y="34"/>
                    <a:pt x="33" y="0"/>
                    <a:pt x="74" y="0"/>
                  </a:cubicBezTo>
                  <a:cubicBezTo>
                    <a:pt x="114" y="0"/>
                    <a:pt x="148" y="34"/>
                    <a:pt x="148" y="74"/>
                  </a:cubicBezTo>
                  <a:cubicBezTo>
                    <a:pt x="148" y="115"/>
                    <a:pt x="114" y="148"/>
                    <a:pt x="74" y="148"/>
                  </a:cubicBezTo>
                  <a:close/>
                  <a:moveTo>
                    <a:pt x="74" y="30"/>
                  </a:moveTo>
                  <a:cubicBezTo>
                    <a:pt x="49" y="30"/>
                    <a:pt x="29" y="50"/>
                    <a:pt x="29" y="74"/>
                  </a:cubicBezTo>
                  <a:cubicBezTo>
                    <a:pt x="29" y="99"/>
                    <a:pt x="49" y="119"/>
                    <a:pt x="74" y="119"/>
                  </a:cubicBezTo>
                  <a:cubicBezTo>
                    <a:pt x="98" y="119"/>
                    <a:pt x="118" y="99"/>
                    <a:pt x="118" y="74"/>
                  </a:cubicBezTo>
                  <a:cubicBezTo>
                    <a:pt x="118" y="50"/>
                    <a:pt x="98" y="30"/>
                    <a:pt x="7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61">
              <a:extLst>
                <a:ext uri="{FF2B5EF4-FFF2-40B4-BE49-F238E27FC236}">
                  <a16:creationId xmlns:a16="http://schemas.microsoft.com/office/drawing/2014/main" id="{B6D82E07-314A-B549-9359-9B38971AD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3559175"/>
              <a:ext cx="334962" cy="377825"/>
            </a:xfrm>
            <a:custGeom>
              <a:avLst/>
              <a:gdLst>
                <a:gd name="T0" fmla="*/ 405 w 584"/>
                <a:gd name="T1" fmla="*/ 661 h 661"/>
                <a:gd name="T2" fmla="*/ 376 w 584"/>
                <a:gd name="T3" fmla="*/ 661 h 661"/>
                <a:gd name="T4" fmla="*/ 376 w 584"/>
                <a:gd name="T5" fmla="*/ 621 h 661"/>
                <a:gd name="T6" fmla="*/ 443 w 584"/>
                <a:gd name="T7" fmla="*/ 499 h 661"/>
                <a:gd name="T8" fmla="*/ 472 w 584"/>
                <a:gd name="T9" fmla="*/ 472 h 661"/>
                <a:gd name="T10" fmla="*/ 554 w 584"/>
                <a:gd name="T11" fmla="*/ 275 h 661"/>
                <a:gd name="T12" fmla="*/ 292 w 584"/>
                <a:gd name="T13" fmla="*/ 30 h 661"/>
                <a:gd name="T14" fmla="*/ 30 w 584"/>
                <a:gd name="T15" fmla="*/ 275 h 661"/>
                <a:gd name="T16" fmla="*/ 112 w 584"/>
                <a:gd name="T17" fmla="*/ 472 h 661"/>
                <a:gd name="T18" fmla="*/ 141 w 584"/>
                <a:gd name="T19" fmla="*/ 499 h 661"/>
                <a:gd name="T20" fmla="*/ 208 w 584"/>
                <a:gd name="T21" fmla="*/ 621 h 661"/>
                <a:gd name="T22" fmla="*/ 208 w 584"/>
                <a:gd name="T23" fmla="*/ 661 h 661"/>
                <a:gd name="T24" fmla="*/ 179 w 584"/>
                <a:gd name="T25" fmla="*/ 661 h 661"/>
                <a:gd name="T26" fmla="*/ 179 w 584"/>
                <a:gd name="T27" fmla="*/ 621 h 661"/>
                <a:gd name="T28" fmla="*/ 121 w 584"/>
                <a:gd name="T29" fmla="*/ 521 h 661"/>
                <a:gd name="T30" fmla="*/ 91 w 584"/>
                <a:gd name="T31" fmla="*/ 493 h 661"/>
                <a:gd name="T32" fmla="*/ 0 w 584"/>
                <a:gd name="T33" fmla="*/ 275 h 661"/>
                <a:gd name="T34" fmla="*/ 292 w 584"/>
                <a:gd name="T35" fmla="*/ 0 h 661"/>
                <a:gd name="T36" fmla="*/ 584 w 584"/>
                <a:gd name="T37" fmla="*/ 275 h 661"/>
                <a:gd name="T38" fmla="*/ 493 w 584"/>
                <a:gd name="T39" fmla="*/ 493 h 661"/>
                <a:gd name="T40" fmla="*/ 463 w 584"/>
                <a:gd name="T41" fmla="*/ 521 h 661"/>
                <a:gd name="T42" fmla="*/ 405 w 584"/>
                <a:gd name="T43" fmla="*/ 621 h 661"/>
                <a:gd name="T44" fmla="*/ 405 w 584"/>
                <a:gd name="T45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4" h="661">
                  <a:moveTo>
                    <a:pt x="405" y="661"/>
                  </a:moveTo>
                  <a:cubicBezTo>
                    <a:pt x="376" y="661"/>
                    <a:pt x="376" y="661"/>
                    <a:pt x="376" y="661"/>
                  </a:cubicBezTo>
                  <a:cubicBezTo>
                    <a:pt x="376" y="621"/>
                    <a:pt x="376" y="621"/>
                    <a:pt x="376" y="621"/>
                  </a:cubicBezTo>
                  <a:cubicBezTo>
                    <a:pt x="376" y="559"/>
                    <a:pt x="406" y="533"/>
                    <a:pt x="443" y="499"/>
                  </a:cubicBezTo>
                  <a:cubicBezTo>
                    <a:pt x="452" y="491"/>
                    <a:pt x="462" y="482"/>
                    <a:pt x="472" y="472"/>
                  </a:cubicBezTo>
                  <a:cubicBezTo>
                    <a:pt x="503" y="442"/>
                    <a:pt x="554" y="377"/>
                    <a:pt x="554" y="275"/>
                  </a:cubicBezTo>
                  <a:cubicBezTo>
                    <a:pt x="554" y="142"/>
                    <a:pt x="434" y="30"/>
                    <a:pt x="292" y="30"/>
                  </a:cubicBezTo>
                  <a:cubicBezTo>
                    <a:pt x="150" y="30"/>
                    <a:pt x="30" y="142"/>
                    <a:pt x="30" y="275"/>
                  </a:cubicBezTo>
                  <a:cubicBezTo>
                    <a:pt x="30" y="377"/>
                    <a:pt x="81" y="442"/>
                    <a:pt x="112" y="472"/>
                  </a:cubicBezTo>
                  <a:cubicBezTo>
                    <a:pt x="122" y="482"/>
                    <a:pt x="132" y="491"/>
                    <a:pt x="141" y="499"/>
                  </a:cubicBezTo>
                  <a:cubicBezTo>
                    <a:pt x="179" y="533"/>
                    <a:pt x="208" y="559"/>
                    <a:pt x="208" y="621"/>
                  </a:cubicBezTo>
                  <a:cubicBezTo>
                    <a:pt x="208" y="661"/>
                    <a:pt x="208" y="661"/>
                    <a:pt x="208" y="661"/>
                  </a:cubicBezTo>
                  <a:cubicBezTo>
                    <a:pt x="179" y="661"/>
                    <a:pt x="179" y="661"/>
                    <a:pt x="179" y="661"/>
                  </a:cubicBezTo>
                  <a:cubicBezTo>
                    <a:pt x="179" y="621"/>
                    <a:pt x="179" y="621"/>
                    <a:pt x="179" y="621"/>
                  </a:cubicBezTo>
                  <a:cubicBezTo>
                    <a:pt x="179" y="572"/>
                    <a:pt x="157" y="553"/>
                    <a:pt x="121" y="521"/>
                  </a:cubicBezTo>
                  <a:cubicBezTo>
                    <a:pt x="112" y="512"/>
                    <a:pt x="102" y="503"/>
                    <a:pt x="91" y="493"/>
                  </a:cubicBezTo>
                  <a:cubicBezTo>
                    <a:pt x="57" y="460"/>
                    <a:pt x="0" y="388"/>
                    <a:pt x="0" y="275"/>
                  </a:cubicBezTo>
                  <a:cubicBezTo>
                    <a:pt x="0" y="126"/>
                    <a:pt x="134" y="0"/>
                    <a:pt x="292" y="0"/>
                  </a:cubicBezTo>
                  <a:cubicBezTo>
                    <a:pt x="450" y="0"/>
                    <a:pt x="584" y="126"/>
                    <a:pt x="584" y="275"/>
                  </a:cubicBezTo>
                  <a:cubicBezTo>
                    <a:pt x="584" y="388"/>
                    <a:pt x="527" y="460"/>
                    <a:pt x="493" y="493"/>
                  </a:cubicBezTo>
                  <a:cubicBezTo>
                    <a:pt x="482" y="503"/>
                    <a:pt x="472" y="512"/>
                    <a:pt x="463" y="521"/>
                  </a:cubicBezTo>
                  <a:cubicBezTo>
                    <a:pt x="427" y="553"/>
                    <a:pt x="405" y="572"/>
                    <a:pt x="405" y="621"/>
                  </a:cubicBezTo>
                  <a:cubicBezTo>
                    <a:pt x="405" y="661"/>
                    <a:pt x="405" y="661"/>
                    <a:pt x="405" y="6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62">
              <a:extLst>
                <a:ext uri="{FF2B5EF4-FFF2-40B4-BE49-F238E27FC236}">
                  <a16:creationId xmlns:a16="http://schemas.microsoft.com/office/drawing/2014/main" id="{0CD50D95-CFF1-A64A-8FC1-8D5F8A25A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7600" y="3951288"/>
              <a:ext cx="134937" cy="15875"/>
            </a:xfrm>
            <a:custGeom>
              <a:avLst/>
              <a:gdLst>
                <a:gd name="T0" fmla="*/ 85 w 85"/>
                <a:gd name="T1" fmla="*/ 10 h 10"/>
                <a:gd name="T2" fmla="*/ 0 w 85"/>
                <a:gd name="T3" fmla="*/ 10 h 10"/>
                <a:gd name="T4" fmla="*/ 0 w 85"/>
                <a:gd name="T5" fmla="*/ 0 h 10"/>
                <a:gd name="T6" fmla="*/ 85 w 85"/>
                <a:gd name="T7" fmla="*/ 0 h 10"/>
                <a:gd name="T8" fmla="*/ 85 w 85"/>
                <a:gd name="T9" fmla="*/ 10 h 10"/>
                <a:gd name="T10" fmla="*/ 85 w 85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0">
                  <a:moveTo>
                    <a:pt x="85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85" y="0"/>
                  </a:lnTo>
                  <a:lnTo>
                    <a:pt x="85" y="10"/>
                  </a:lnTo>
                  <a:lnTo>
                    <a:pt x="8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63">
              <a:extLst>
                <a:ext uri="{FF2B5EF4-FFF2-40B4-BE49-F238E27FC236}">
                  <a16:creationId xmlns:a16="http://schemas.microsoft.com/office/drawing/2014/main" id="{991CF19B-5056-D746-8844-D6573915A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8713" y="3984625"/>
              <a:ext cx="112712" cy="28575"/>
            </a:xfrm>
            <a:custGeom>
              <a:avLst/>
              <a:gdLst>
                <a:gd name="T0" fmla="*/ 52 w 71"/>
                <a:gd name="T1" fmla="*/ 18 h 18"/>
                <a:gd name="T2" fmla="*/ 19 w 71"/>
                <a:gd name="T3" fmla="*/ 18 h 18"/>
                <a:gd name="T4" fmla="*/ 12 w 71"/>
                <a:gd name="T5" fmla="*/ 11 h 18"/>
                <a:gd name="T6" fmla="*/ 0 w 71"/>
                <a:gd name="T7" fmla="*/ 11 h 18"/>
                <a:gd name="T8" fmla="*/ 0 w 71"/>
                <a:gd name="T9" fmla="*/ 0 h 18"/>
                <a:gd name="T10" fmla="*/ 16 w 71"/>
                <a:gd name="T11" fmla="*/ 0 h 18"/>
                <a:gd name="T12" fmla="*/ 23 w 71"/>
                <a:gd name="T13" fmla="*/ 7 h 18"/>
                <a:gd name="T14" fmla="*/ 47 w 71"/>
                <a:gd name="T15" fmla="*/ 7 h 18"/>
                <a:gd name="T16" fmla="*/ 54 w 71"/>
                <a:gd name="T17" fmla="*/ 0 h 18"/>
                <a:gd name="T18" fmla="*/ 71 w 71"/>
                <a:gd name="T19" fmla="*/ 0 h 18"/>
                <a:gd name="T20" fmla="*/ 71 w 71"/>
                <a:gd name="T21" fmla="*/ 11 h 18"/>
                <a:gd name="T22" fmla="*/ 59 w 71"/>
                <a:gd name="T23" fmla="*/ 11 h 18"/>
                <a:gd name="T24" fmla="*/ 52 w 71"/>
                <a:gd name="T25" fmla="*/ 18 h 18"/>
                <a:gd name="T26" fmla="*/ 52 w 71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18">
                  <a:moveTo>
                    <a:pt x="52" y="18"/>
                  </a:moveTo>
                  <a:lnTo>
                    <a:pt x="19" y="18"/>
                  </a:ln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47" y="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71" y="11"/>
                  </a:lnTo>
                  <a:lnTo>
                    <a:pt x="59" y="11"/>
                  </a:lnTo>
                  <a:lnTo>
                    <a:pt x="52" y="18"/>
                  </a:lnTo>
                  <a:lnTo>
                    <a:pt x="5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64">
              <a:extLst>
                <a:ext uri="{FF2B5EF4-FFF2-40B4-BE49-F238E27FC236}">
                  <a16:creationId xmlns:a16="http://schemas.microsoft.com/office/drawing/2014/main" id="{93AA6DC5-4384-0149-A049-235031835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0938" y="3917950"/>
              <a:ext cx="68262" cy="15875"/>
            </a:xfrm>
            <a:custGeom>
              <a:avLst/>
              <a:gdLst>
                <a:gd name="T0" fmla="*/ 43 w 43"/>
                <a:gd name="T1" fmla="*/ 10 h 10"/>
                <a:gd name="T2" fmla="*/ 0 w 43"/>
                <a:gd name="T3" fmla="*/ 10 h 10"/>
                <a:gd name="T4" fmla="*/ 0 w 43"/>
                <a:gd name="T5" fmla="*/ 0 h 10"/>
                <a:gd name="T6" fmla="*/ 43 w 43"/>
                <a:gd name="T7" fmla="*/ 0 h 10"/>
                <a:gd name="T8" fmla="*/ 43 w 43"/>
                <a:gd name="T9" fmla="*/ 10 h 10"/>
                <a:gd name="T10" fmla="*/ 43 w 43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0">
                  <a:moveTo>
                    <a:pt x="43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10"/>
                  </a:lnTo>
                  <a:lnTo>
                    <a:pt x="4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65">
              <a:extLst>
                <a:ext uri="{FF2B5EF4-FFF2-40B4-BE49-F238E27FC236}">
                  <a16:creationId xmlns:a16="http://schemas.microsoft.com/office/drawing/2014/main" id="{990EE096-E745-4F4E-9A79-C1CDA6CB4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3482975"/>
              <a:ext cx="28575" cy="46037"/>
            </a:xfrm>
            <a:custGeom>
              <a:avLst/>
              <a:gdLst>
                <a:gd name="T0" fmla="*/ 7 w 18"/>
                <a:gd name="T1" fmla="*/ 29 h 29"/>
                <a:gd name="T2" fmla="*/ 0 w 18"/>
                <a:gd name="T3" fmla="*/ 2 h 29"/>
                <a:gd name="T4" fmla="*/ 10 w 18"/>
                <a:gd name="T5" fmla="*/ 0 h 29"/>
                <a:gd name="T6" fmla="*/ 18 w 18"/>
                <a:gd name="T7" fmla="*/ 27 h 29"/>
                <a:gd name="T8" fmla="*/ 7 w 18"/>
                <a:gd name="T9" fmla="*/ 29 h 29"/>
                <a:gd name="T10" fmla="*/ 7 w 1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7" y="29"/>
                  </a:moveTo>
                  <a:lnTo>
                    <a:pt x="0" y="2"/>
                  </a:lnTo>
                  <a:lnTo>
                    <a:pt x="10" y="0"/>
                  </a:lnTo>
                  <a:lnTo>
                    <a:pt x="18" y="27"/>
                  </a:lnTo>
                  <a:lnTo>
                    <a:pt x="7" y="29"/>
                  </a:lnTo>
                  <a:lnTo>
                    <a:pt x="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66">
              <a:extLst>
                <a:ext uri="{FF2B5EF4-FFF2-40B4-BE49-F238E27FC236}">
                  <a16:creationId xmlns:a16="http://schemas.microsoft.com/office/drawing/2014/main" id="{46E943A4-A8CE-7041-B819-849D66DED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3300" y="3541713"/>
              <a:ext cx="44450" cy="44450"/>
            </a:xfrm>
            <a:custGeom>
              <a:avLst/>
              <a:gdLst>
                <a:gd name="T0" fmla="*/ 21 w 28"/>
                <a:gd name="T1" fmla="*/ 28 h 28"/>
                <a:gd name="T2" fmla="*/ 0 w 28"/>
                <a:gd name="T3" fmla="*/ 8 h 28"/>
                <a:gd name="T4" fmla="*/ 8 w 28"/>
                <a:gd name="T5" fmla="*/ 0 h 28"/>
                <a:gd name="T6" fmla="*/ 28 w 28"/>
                <a:gd name="T7" fmla="*/ 21 h 28"/>
                <a:gd name="T8" fmla="*/ 21 w 28"/>
                <a:gd name="T9" fmla="*/ 28 h 28"/>
                <a:gd name="T10" fmla="*/ 21 w 28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21" y="28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28" y="21"/>
                  </a:lnTo>
                  <a:lnTo>
                    <a:pt x="21" y="28"/>
                  </a:lnTo>
                  <a:lnTo>
                    <a:pt x="2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67">
              <a:extLst>
                <a:ext uri="{FF2B5EF4-FFF2-40B4-BE49-F238E27FC236}">
                  <a16:creationId xmlns:a16="http://schemas.microsoft.com/office/drawing/2014/main" id="{130B69FB-7469-4F43-A836-E449EA4DE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651250"/>
              <a:ext cx="46037" cy="28575"/>
            </a:xfrm>
            <a:custGeom>
              <a:avLst/>
              <a:gdLst>
                <a:gd name="T0" fmla="*/ 27 w 29"/>
                <a:gd name="T1" fmla="*/ 18 h 18"/>
                <a:gd name="T2" fmla="*/ 0 w 29"/>
                <a:gd name="T3" fmla="*/ 10 h 18"/>
                <a:gd name="T4" fmla="*/ 2 w 29"/>
                <a:gd name="T5" fmla="*/ 0 h 18"/>
                <a:gd name="T6" fmla="*/ 29 w 29"/>
                <a:gd name="T7" fmla="*/ 7 h 18"/>
                <a:gd name="T8" fmla="*/ 27 w 29"/>
                <a:gd name="T9" fmla="*/ 18 h 18"/>
                <a:gd name="T10" fmla="*/ 27 w 2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8">
                  <a:moveTo>
                    <a:pt x="27" y="18"/>
                  </a:moveTo>
                  <a:lnTo>
                    <a:pt x="0" y="10"/>
                  </a:lnTo>
                  <a:lnTo>
                    <a:pt x="2" y="0"/>
                  </a:lnTo>
                  <a:lnTo>
                    <a:pt x="29" y="7"/>
                  </a:lnTo>
                  <a:lnTo>
                    <a:pt x="27" y="18"/>
                  </a:lnTo>
                  <a:lnTo>
                    <a:pt x="2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68">
              <a:extLst>
                <a:ext uri="{FF2B5EF4-FFF2-40B4-BE49-F238E27FC236}">
                  <a16:creationId xmlns:a16="http://schemas.microsoft.com/office/drawing/2014/main" id="{8E19F8AA-8586-0E40-B534-607426AF4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563" y="3767138"/>
              <a:ext cx="46037" cy="28575"/>
            </a:xfrm>
            <a:custGeom>
              <a:avLst/>
              <a:gdLst>
                <a:gd name="T0" fmla="*/ 2 w 29"/>
                <a:gd name="T1" fmla="*/ 18 h 18"/>
                <a:gd name="T2" fmla="*/ 0 w 29"/>
                <a:gd name="T3" fmla="*/ 8 h 18"/>
                <a:gd name="T4" fmla="*/ 27 w 29"/>
                <a:gd name="T5" fmla="*/ 0 h 18"/>
                <a:gd name="T6" fmla="*/ 29 w 29"/>
                <a:gd name="T7" fmla="*/ 11 h 18"/>
                <a:gd name="T8" fmla="*/ 2 w 29"/>
                <a:gd name="T9" fmla="*/ 18 h 18"/>
                <a:gd name="T10" fmla="*/ 2 w 2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8">
                  <a:moveTo>
                    <a:pt x="2" y="18"/>
                  </a:moveTo>
                  <a:lnTo>
                    <a:pt x="0" y="8"/>
                  </a:lnTo>
                  <a:lnTo>
                    <a:pt x="27" y="0"/>
                  </a:lnTo>
                  <a:lnTo>
                    <a:pt x="29" y="11"/>
                  </a:lnTo>
                  <a:lnTo>
                    <a:pt x="2" y="18"/>
                  </a:lnTo>
                  <a:lnTo>
                    <a:pt x="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69">
              <a:extLst>
                <a:ext uri="{FF2B5EF4-FFF2-40B4-BE49-F238E27FC236}">
                  <a16:creationId xmlns:a16="http://schemas.microsoft.com/office/drawing/2014/main" id="{A374F1A9-9A4D-7043-B500-07952C7B4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3300" y="3860800"/>
              <a:ext cx="44450" cy="42862"/>
            </a:xfrm>
            <a:custGeom>
              <a:avLst/>
              <a:gdLst>
                <a:gd name="T0" fmla="*/ 8 w 28"/>
                <a:gd name="T1" fmla="*/ 27 h 27"/>
                <a:gd name="T2" fmla="*/ 0 w 28"/>
                <a:gd name="T3" fmla="*/ 20 h 27"/>
                <a:gd name="T4" fmla="*/ 21 w 28"/>
                <a:gd name="T5" fmla="*/ 0 h 27"/>
                <a:gd name="T6" fmla="*/ 28 w 28"/>
                <a:gd name="T7" fmla="*/ 7 h 27"/>
                <a:gd name="T8" fmla="*/ 8 w 28"/>
                <a:gd name="T9" fmla="*/ 27 h 27"/>
                <a:gd name="T10" fmla="*/ 8 w 28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7">
                  <a:moveTo>
                    <a:pt x="8" y="27"/>
                  </a:moveTo>
                  <a:lnTo>
                    <a:pt x="0" y="20"/>
                  </a:lnTo>
                  <a:lnTo>
                    <a:pt x="21" y="0"/>
                  </a:lnTo>
                  <a:lnTo>
                    <a:pt x="28" y="7"/>
                  </a:lnTo>
                  <a:lnTo>
                    <a:pt x="8" y="27"/>
                  </a:ln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70">
              <a:extLst>
                <a:ext uri="{FF2B5EF4-FFF2-40B4-BE49-F238E27FC236}">
                  <a16:creationId xmlns:a16="http://schemas.microsoft.com/office/drawing/2014/main" id="{DD6EF5DD-6C9E-2647-9AE6-5DED660EE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388" y="3860800"/>
              <a:ext cx="42862" cy="42862"/>
            </a:xfrm>
            <a:custGeom>
              <a:avLst/>
              <a:gdLst>
                <a:gd name="T0" fmla="*/ 20 w 27"/>
                <a:gd name="T1" fmla="*/ 27 h 27"/>
                <a:gd name="T2" fmla="*/ 0 w 27"/>
                <a:gd name="T3" fmla="*/ 7 h 27"/>
                <a:gd name="T4" fmla="*/ 7 w 27"/>
                <a:gd name="T5" fmla="*/ 0 h 27"/>
                <a:gd name="T6" fmla="*/ 27 w 27"/>
                <a:gd name="T7" fmla="*/ 20 h 27"/>
                <a:gd name="T8" fmla="*/ 20 w 27"/>
                <a:gd name="T9" fmla="*/ 27 h 27"/>
                <a:gd name="T10" fmla="*/ 20 w 27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7">
                  <a:moveTo>
                    <a:pt x="20" y="27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27" y="20"/>
                  </a:lnTo>
                  <a:lnTo>
                    <a:pt x="20" y="27"/>
                  </a:lnTo>
                  <a:lnTo>
                    <a:pt x="2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271">
              <a:extLst>
                <a:ext uri="{FF2B5EF4-FFF2-40B4-BE49-F238E27FC236}">
                  <a16:creationId xmlns:a16="http://schemas.microsoft.com/office/drawing/2014/main" id="{90204E3E-09C0-CD45-B1E0-A5B64C53A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7950" y="3767138"/>
              <a:ext cx="47625" cy="28575"/>
            </a:xfrm>
            <a:custGeom>
              <a:avLst/>
              <a:gdLst>
                <a:gd name="T0" fmla="*/ 27 w 30"/>
                <a:gd name="T1" fmla="*/ 18 h 18"/>
                <a:gd name="T2" fmla="*/ 0 w 30"/>
                <a:gd name="T3" fmla="*/ 11 h 18"/>
                <a:gd name="T4" fmla="*/ 3 w 30"/>
                <a:gd name="T5" fmla="*/ 0 h 18"/>
                <a:gd name="T6" fmla="*/ 30 w 30"/>
                <a:gd name="T7" fmla="*/ 8 h 18"/>
                <a:gd name="T8" fmla="*/ 27 w 30"/>
                <a:gd name="T9" fmla="*/ 18 h 18"/>
                <a:gd name="T10" fmla="*/ 27 w 30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8">
                  <a:moveTo>
                    <a:pt x="27" y="18"/>
                  </a:moveTo>
                  <a:lnTo>
                    <a:pt x="0" y="11"/>
                  </a:lnTo>
                  <a:lnTo>
                    <a:pt x="3" y="0"/>
                  </a:lnTo>
                  <a:lnTo>
                    <a:pt x="30" y="8"/>
                  </a:lnTo>
                  <a:lnTo>
                    <a:pt x="27" y="18"/>
                  </a:lnTo>
                  <a:lnTo>
                    <a:pt x="2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72">
              <a:extLst>
                <a:ext uri="{FF2B5EF4-FFF2-40B4-BE49-F238E27FC236}">
                  <a16:creationId xmlns:a16="http://schemas.microsoft.com/office/drawing/2014/main" id="{F0808F81-A327-C642-BD9C-D6189DEC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7950" y="3651250"/>
              <a:ext cx="47625" cy="28575"/>
            </a:xfrm>
            <a:custGeom>
              <a:avLst/>
              <a:gdLst>
                <a:gd name="T0" fmla="*/ 3 w 30"/>
                <a:gd name="T1" fmla="*/ 18 h 18"/>
                <a:gd name="T2" fmla="*/ 0 w 30"/>
                <a:gd name="T3" fmla="*/ 7 h 18"/>
                <a:gd name="T4" fmla="*/ 27 w 30"/>
                <a:gd name="T5" fmla="*/ 0 h 18"/>
                <a:gd name="T6" fmla="*/ 30 w 30"/>
                <a:gd name="T7" fmla="*/ 10 h 18"/>
                <a:gd name="T8" fmla="*/ 3 w 30"/>
                <a:gd name="T9" fmla="*/ 18 h 18"/>
                <a:gd name="T10" fmla="*/ 3 w 30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8">
                  <a:moveTo>
                    <a:pt x="3" y="18"/>
                  </a:moveTo>
                  <a:lnTo>
                    <a:pt x="0" y="7"/>
                  </a:lnTo>
                  <a:lnTo>
                    <a:pt x="27" y="0"/>
                  </a:lnTo>
                  <a:lnTo>
                    <a:pt x="30" y="10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73">
              <a:extLst>
                <a:ext uri="{FF2B5EF4-FFF2-40B4-BE49-F238E27FC236}">
                  <a16:creationId xmlns:a16="http://schemas.microsoft.com/office/drawing/2014/main" id="{E7D9CE6C-C1E0-A046-8AF9-6A47E721B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388" y="3541713"/>
              <a:ext cx="42862" cy="44450"/>
            </a:xfrm>
            <a:custGeom>
              <a:avLst/>
              <a:gdLst>
                <a:gd name="T0" fmla="*/ 7 w 27"/>
                <a:gd name="T1" fmla="*/ 28 h 28"/>
                <a:gd name="T2" fmla="*/ 0 w 27"/>
                <a:gd name="T3" fmla="*/ 21 h 28"/>
                <a:gd name="T4" fmla="*/ 20 w 27"/>
                <a:gd name="T5" fmla="*/ 0 h 28"/>
                <a:gd name="T6" fmla="*/ 27 w 27"/>
                <a:gd name="T7" fmla="*/ 8 h 28"/>
                <a:gd name="T8" fmla="*/ 7 w 27"/>
                <a:gd name="T9" fmla="*/ 28 h 28"/>
                <a:gd name="T10" fmla="*/ 7 w 27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8">
                  <a:moveTo>
                    <a:pt x="7" y="28"/>
                  </a:moveTo>
                  <a:lnTo>
                    <a:pt x="0" y="21"/>
                  </a:lnTo>
                  <a:lnTo>
                    <a:pt x="20" y="0"/>
                  </a:lnTo>
                  <a:lnTo>
                    <a:pt x="27" y="8"/>
                  </a:lnTo>
                  <a:lnTo>
                    <a:pt x="7" y="28"/>
                  </a:lnTo>
                  <a:lnTo>
                    <a:pt x="7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74">
              <a:extLst>
                <a:ext uri="{FF2B5EF4-FFF2-40B4-BE49-F238E27FC236}">
                  <a16:creationId xmlns:a16="http://schemas.microsoft.com/office/drawing/2014/main" id="{22917B0E-9B47-054B-BDAA-92AA385FF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5" y="3482975"/>
              <a:ext cx="28575" cy="46037"/>
            </a:xfrm>
            <a:custGeom>
              <a:avLst/>
              <a:gdLst>
                <a:gd name="T0" fmla="*/ 11 w 18"/>
                <a:gd name="T1" fmla="*/ 29 h 29"/>
                <a:gd name="T2" fmla="*/ 0 w 18"/>
                <a:gd name="T3" fmla="*/ 27 h 29"/>
                <a:gd name="T4" fmla="*/ 8 w 18"/>
                <a:gd name="T5" fmla="*/ 0 h 29"/>
                <a:gd name="T6" fmla="*/ 18 w 18"/>
                <a:gd name="T7" fmla="*/ 2 h 29"/>
                <a:gd name="T8" fmla="*/ 11 w 18"/>
                <a:gd name="T9" fmla="*/ 29 h 29"/>
                <a:gd name="T10" fmla="*/ 11 w 1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9">
                  <a:moveTo>
                    <a:pt x="11" y="29"/>
                  </a:moveTo>
                  <a:lnTo>
                    <a:pt x="0" y="27"/>
                  </a:lnTo>
                  <a:lnTo>
                    <a:pt x="8" y="0"/>
                  </a:lnTo>
                  <a:lnTo>
                    <a:pt x="18" y="2"/>
                  </a:lnTo>
                  <a:lnTo>
                    <a:pt x="11" y="29"/>
                  </a:lnTo>
                  <a:lnTo>
                    <a:pt x="1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9" name="Group 303">
            <a:extLst>
              <a:ext uri="{FF2B5EF4-FFF2-40B4-BE49-F238E27FC236}">
                <a16:creationId xmlns:a16="http://schemas.microsoft.com/office/drawing/2014/main" id="{458B2B24-4E2B-F74E-9076-E67BFFE6FE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80727" y="3839862"/>
            <a:ext cx="355804" cy="342580"/>
            <a:chOff x="3851275" y="4733925"/>
            <a:chExt cx="469900" cy="452437"/>
          </a:xfrm>
          <a:solidFill>
            <a:schemeClr val="bg2"/>
          </a:solidFill>
        </p:grpSpPr>
        <p:sp>
          <p:nvSpPr>
            <p:cNvPr id="60" name="Freeform 323">
              <a:extLst>
                <a:ext uri="{FF2B5EF4-FFF2-40B4-BE49-F238E27FC236}">
                  <a16:creationId xmlns:a16="http://schemas.microsoft.com/office/drawing/2014/main" id="{AD818579-B33C-5D4C-9ADD-7988EAFE6D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4733925"/>
              <a:ext cx="420687" cy="425450"/>
            </a:xfrm>
            <a:custGeom>
              <a:avLst/>
              <a:gdLst>
                <a:gd name="T0" fmla="*/ 673 w 736"/>
                <a:gd name="T1" fmla="*/ 745 h 745"/>
                <a:gd name="T2" fmla="*/ 666 w 736"/>
                <a:gd name="T3" fmla="*/ 745 h 745"/>
                <a:gd name="T4" fmla="*/ 603 w 736"/>
                <a:gd name="T5" fmla="*/ 694 h 745"/>
                <a:gd name="T6" fmla="*/ 298 w 736"/>
                <a:gd name="T7" fmla="*/ 502 h 745"/>
                <a:gd name="T8" fmla="*/ 79 w 736"/>
                <a:gd name="T9" fmla="*/ 502 h 745"/>
                <a:gd name="T10" fmla="*/ 0 w 736"/>
                <a:gd name="T11" fmla="*/ 422 h 745"/>
                <a:gd name="T12" fmla="*/ 0 w 736"/>
                <a:gd name="T13" fmla="*/ 322 h 745"/>
                <a:gd name="T14" fmla="*/ 79 w 736"/>
                <a:gd name="T15" fmla="*/ 243 h 745"/>
                <a:gd name="T16" fmla="*/ 298 w 736"/>
                <a:gd name="T17" fmla="*/ 243 h 745"/>
                <a:gd name="T18" fmla="*/ 603 w 736"/>
                <a:gd name="T19" fmla="*/ 51 h 745"/>
                <a:gd name="T20" fmla="*/ 666 w 736"/>
                <a:gd name="T21" fmla="*/ 0 h 745"/>
                <a:gd name="T22" fmla="*/ 673 w 736"/>
                <a:gd name="T23" fmla="*/ 0 h 745"/>
                <a:gd name="T24" fmla="*/ 736 w 736"/>
                <a:gd name="T25" fmla="*/ 62 h 745"/>
                <a:gd name="T26" fmla="*/ 736 w 736"/>
                <a:gd name="T27" fmla="*/ 682 h 745"/>
                <a:gd name="T28" fmla="*/ 673 w 736"/>
                <a:gd name="T29" fmla="*/ 745 h 745"/>
                <a:gd name="T30" fmla="*/ 667 w 736"/>
                <a:gd name="T31" fmla="*/ 716 h 745"/>
                <a:gd name="T32" fmla="*/ 673 w 736"/>
                <a:gd name="T33" fmla="*/ 716 h 745"/>
                <a:gd name="T34" fmla="*/ 706 w 736"/>
                <a:gd name="T35" fmla="*/ 682 h 745"/>
                <a:gd name="T36" fmla="*/ 706 w 736"/>
                <a:gd name="T37" fmla="*/ 62 h 745"/>
                <a:gd name="T38" fmla="*/ 673 w 736"/>
                <a:gd name="T39" fmla="*/ 29 h 745"/>
                <a:gd name="T40" fmla="*/ 667 w 736"/>
                <a:gd name="T41" fmla="*/ 29 h 745"/>
                <a:gd name="T42" fmla="*/ 624 w 736"/>
                <a:gd name="T43" fmla="*/ 71 h 745"/>
                <a:gd name="T44" fmla="*/ 298 w 736"/>
                <a:gd name="T45" fmla="*/ 272 h 745"/>
                <a:gd name="T46" fmla="*/ 79 w 736"/>
                <a:gd name="T47" fmla="*/ 272 h 745"/>
                <a:gd name="T48" fmla="*/ 29 w 736"/>
                <a:gd name="T49" fmla="*/ 322 h 745"/>
                <a:gd name="T50" fmla="*/ 29 w 736"/>
                <a:gd name="T51" fmla="*/ 422 h 745"/>
                <a:gd name="T52" fmla="*/ 79 w 736"/>
                <a:gd name="T53" fmla="*/ 472 h 745"/>
                <a:gd name="T54" fmla="*/ 298 w 736"/>
                <a:gd name="T55" fmla="*/ 472 h 745"/>
                <a:gd name="T56" fmla="*/ 624 w 736"/>
                <a:gd name="T57" fmla="*/ 674 h 745"/>
                <a:gd name="T58" fmla="*/ 667 w 736"/>
                <a:gd name="T59" fmla="*/ 716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36" h="745">
                  <a:moveTo>
                    <a:pt x="673" y="745"/>
                  </a:moveTo>
                  <a:cubicBezTo>
                    <a:pt x="666" y="745"/>
                    <a:pt x="666" y="745"/>
                    <a:pt x="666" y="745"/>
                  </a:cubicBezTo>
                  <a:cubicBezTo>
                    <a:pt x="653" y="745"/>
                    <a:pt x="640" y="733"/>
                    <a:pt x="603" y="694"/>
                  </a:cubicBezTo>
                  <a:cubicBezTo>
                    <a:pt x="539" y="627"/>
                    <a:pt x="419" y="502"/>
                    <a:pt x="298" y="502"/>
                  </a:cubicBezTo>
                  <a:cubicBezTo>
                    <a:pt x="79" y="502"/>
                    <a:pt x="79" y="502"/>
                    <a:pt x="79" y="502"/>
                  </a:cubicBezTo>
                  <a:cubicBezTo>
                    <a:pt x="35" y="502"/>
                    <a:pt x="0" y="466"/>
                    <a:pt x="0" y="4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278"/>
                    <a:pt x="35" y="243"/>
                    <a:pt x="79" y="243"/>
                  </a:cubicBezTo>
                  <a:cubicBezTo>
                    <a:pt x="298" y="243"/>
                    <a:pt x="298" y="243"/>
                    <a:pt x="298" y="243"/>
                  </a:cubicBezTo>
                  <a:cubicBezTo>
                    <a:pt x="419" y="243"/>
                    <a:pt x="539" y="118"/>
                    <a:pt x="603" y="51"/>
                  </a:cubicBezTo>
                  <a:cubicBezTo>
                    <a:pt x="640" y="12"/>
                    <a:pt x="653" y="0"/>
                    <a:pt x="666" y="0"/>
                  </a:cubicBezTo>
                  <a:cubicBezTo>
                    <a:pt x="673" y="0"/>
                    <a:pt x="673" y="0"/>
                    <a:pt x="673" y="0"/>
                  </a:cubicBezTo>
                  <a:cubicBezTo>
                    <a:pt x="708" y="0"/>
                    <a:pt x="736" y="28"/>
                    <a:pt x="736" y="62"/>
                  </a:cubicBezTo>
                  <a:cubicBezTo>
                    <a:pt x="736" y="682"/>
                    <a:pt x="736" y="682"/>
                    <a:pt x="736" y="682"/>
                  </a:cubicBezTo>
                  <a:cubicBezTo>
                    <a:pt x="736" y="717"/>
                    <a:pt x="708" y="745"/>
                    <a:pt x="673" y="745"/>
                  </a:cubicBezTo>
                  <a:close/>
                  <a:moveTo>
                    <a:pt x="667" y="716"/>
                  </a:moveTo>
                  <a:cubicBezTo>
                    <a:pt x="673" y="716"/>
                    <a:pt x="673" y="716"/>
                    <a:pt x="673" y="716"/>
                  </a:cubicBezTo>
                  <a:cubicBezTo>
                    <a:pt x="692" y="716"/>
                    <a:pt x="706" y="701"/>
                    <a:pt x="706" y="682"/>
                  </a:cubicBezTo>
                  <a:cubicBezTo>
                    <a:pt x="706" y="62"/>
                    <a:pt x="706" y="62"/>
                    <a:pt x="706" y="62"/>
                  </a:cubicBezTo>
                  <a:cubicBezTo>
                    <a:pt x="706" y="44"/>
                    <a:pt x="692" y="29"/>
                    <a:pt x="673" y="29"/>
                  </a:cubicBezTo>
                  <a:cubicBezTo>
                    <a:pt x="667" y="29"/>
                    <a:pt x="667" y="29"/>
                    <a:pt x="667" y="29"/>
                  </a:cubicBezTo>
                  <a:cubicBezTo>
                    <a:pt x="661" y="33"/>
                    <a:pt x="641" y="53"/>
                    <a:pt x="624" y="71"/>
                  </a:cubicBezTo>
                  <a:cubicBezTo>
                    <a:pt x="557" y="141"/>
                    <a:pt x="431" y="272"/>
                    <a:pt x="298" y="272"/>
                  </a:cubicBezTo>
                  <a:cubicBezTo>
                    <a:pt x="79" y="272"/>
                    <a:pt x="79" y="272"/>
                    <a:pt x="79" y="272"/>
                  </a:cubicBezTo>
                  <a:cubicBezTo>
                    <a:pt x="51" y="272"/>
                    <a:pt x="29" y="295"/>
                    <a:pt x="29" y="322"/>
                  </a:cubicBezTo>
                  <a:cubicBezTo>
                    <a:pt x="29" y="422"/>
                    <a:pt x="29" y="422"/>
                    <a:pt x="29" y="422"/>
                  </a:cubicBezTo>
                  <a:cubicBezTo>
                    <a:pt x="29" y="450"/>
                    <a:pt x="51" y="472"/>
                    <a:pt x="79" y="472"/>
                  </a:cubicBezTo>
                  <a:cubicBezTo>
                    <a:pt x="298" y="472"/>
                    <a:pt x="298" y="472"/>
                    <a:pt x="298" y="472"/>
                  </a:cubicBezTo>
                  <a:cubicBezTo>
                    <a:pt x="431" y="472"/>
                    <a:pt x="557" y="603"/>
                    <a:pt x="624" y="674"/>
                  </a:cubicBezTo>
                  <a:cubicBezTo>
                    <a:pt x="641" y="691"/>
                    <a:pt x="661" y="711"/>
                    <a:pt x="667" y="7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24">
              <a:extLst>
                <a:ext uri="{FF2B5EF4-FFF2-40B4-BE49-F238E27FC236}">
                  <a16:creationId xmlns:a16="http://schemas.microsoft.com/office/drawing/2014/main" id="{2C97CAFC-FCD6-3546-8466-D0884BA0F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4872038"/>
              <a:ext cx="60325" cy="149225"/>
            </a:xfrm>
            <a:custGeom>
              <a:avLst/>
              <a:gdLst>
                <a:gd name="T0" fmla="*/ 8 w 106"/>
                <a:gd name="T1" fmla="*/ 260 h 260"/>
                <a:gd name="T2" fmla="*/ 0 w 106"/>
                <a:gd name="T3" fmla="*/ 232 h 260"/>
                <a:gd name="T4" fmla="*/ 77 w 106"/>
                <a:gd name="T5" fmla="*/ 130 h 260"/>
                <a:gd name="T6" fmla="*/ 0 w 106"/>
                <a:gd name="T7" fmla="*/ 28 h 260"/>
                <a:gd name="T8" fmla="*/ 8 w 106"/>
                <a:gd name="T9" fmla="*/ 0 h 260"/>
                <a:gd name="T10" fmla="*/ 106 w 106"/>
                <a:gd name="T11" fmla="*/ 130 h 260"/>
                <a:gd name="T12" fmla="*/ 8 w 106"/>
                <a:gd name="T13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60">
                  <a:moveTo>
                    <a:pt x="8" y="260"/>
                  </a:moveTo>
                  <a:cubicBezTo>
                    <a:pt x="0" y="232"/>
                    <a:pt x="0" y="232"/>
                    <a:pt x="0" y="232"/>
                  </a:cubicBezTo>
                  <a:cubicBezTo>
                    <a:pt x="45" y="219"/>
                    <a:pt x="77" y="177"/>
                    <a:pt x="77" y="130"/>
                  </a:cubicBezTo>
                  <a:cubicBezTo>
                    <a:pt x="77" y="83"/>
                    <a:pt x="45" y="41"/>
                    <a:pt x="0" y="2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6" y="17"/>
                    <a:pt x="106" y="70"/>
                    <a:pt x="106" y="130"/>
                  </a:cubicBezTo>
                  <a:cubicBezTo>
                    <a:pt x="106" y="190"/>
                    <a:pt x="66" y="244"/>
                    <a:pt x="8" y="2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325">
              <a:extLst>
                <a:ext uri="{FF2B5EF4-FFF2-40B4-BE49-F238E27FC236}">
                  <a16:creationId xmlns:a16="http://schemas.microsoft.com/office/drawing/2014/main" id="{538FB3D4-8307-A045-823C-EE3F768F0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6375" y="4881563"/>
              <a:ext cx="15875" cy="130175"/>
            </a:xfrm>
            <a:custGeom>
              <a:avLst/>
              <a:gdLst>
                <a:gd name="T0" fmla="*/ 10 w 10"/>
                <a:gd name="T1" fmla="*/ 82 h 82"/>
                <a:gd name="T2" fmla="*/ 0 w 10"/>
                <a:gd name="T3" fmla="*/ 82 h 82"/>
                <a:gd name="T4" fmla="*/ 0 w 10"/>
                <a:gd name="T5" fmla="*/ 0 h 82"/>
                <a:gd name="T6" fmla="*/ 10 w 10"/>
                <a:gd name="T7" fmla="*/ 0 h 82"/>
                <a:gd name="T8" fmla="*/ 10 w 10"/>
                <a:gd name="T9" fmla="*/ 82 h 82"/>
                <a:gd name="T10" fmla="*/ 10 w 10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2">
                  <a:moveTo>
                    <a:pt x="10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82"/>
                  </a:lnTo>
                  <a:lnTo>
                    <a:pt x="10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326">
              <a:extLst>
                <a:ext uri="{FF2B5EF4-FFF2-40B4-BE49-F238E27FC236}">
                  <a16:creationId xmlns:a16="http://schemas.microsoft.com/office/drawing/2014/main" id="{D433A8B3-21E3-C84E-9057-EA8D38F5C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0488" y="5003800"/>
              <a:ext cx="150812" cy="182562"/>
            </a:xfrm>
            <a:custGeom>
              <a:avLst/>
              <a:gdLst>
                <a:gd name="T0" fmla="*/ 210 w 263"/>
                <a:gd name="T1" fmla="*/ 321 h 321"/>
                <a:gd name="T2" fmla="*/ 132 w 263"/>
                <a:gd name="T3" fmla="*/ 321 h 321"/>
                <a:gd name="T4" fmla="*/ 63 w 263"/>
                <a:gd name="T5" fmla="*/ 266 h 321"/>
                <a:gd name="T6" fmla="*/ 0 w 263"/>
                <a:gd name="T7" fmla="*/ 0 h 321"/>
                <a:gd name="T8" fmla="*/ 175 w 263"/>
                <a:gd name="T9" fmla="*/ 0 h 321"/>
                <a:gd name="T10" fmla="*/ 178 w 263"/>
                <a:gd name="T11" fmla="*/ 12 h 321"/>
                <a:gd name="T12" fmla="*/ 182 w 263"/>
                <a:gd name="T13" fmla="*/ 66 h 321"/>
                <a:gd name="T14" fmla="*/ 202 w 263"/>
                <a:gd name="T15" fmla="*/ 159 h 321"/>
                <a:gd name="T16" fmla="*/ 254 w 263"/>
                <a:gd name="T17" fmla="*/ 241 h 321"/>
                <a:gd name="T18" fmla="*/ 253 w 263"/>
                <a:gd name="T19" fmla="*/ 292 h 321"/>
                <a:gd name="T20" fmla="*/ 210 w 263"/>
                <a:gd name="T21" fmla="*/ 321 h 321"/>
                <a:gd name="T22" fmla="*/ 37 w 263"/>
                <a:gd name="T23" fmla="*/ 30 h 321"/>
                <a:gd name="T24" fmla="*/ 92 w 263"/>
                <a:gd name="T25" fmla="*/ 259 h 321"/>
                <a:gd name="T26" fmla="*/ 132 w 263"/>
                <a:gd name="T27" fmla="*/ 291 h 321"/>
                <a:gd name="T28" fmla="*/ 210 w 263"/>
                <a:gd name="T29" fmla="*/ 291 h 321"/>
                <a:gd name="T30" fmla="*/ 228 w 263"/>
                <a:gd name="T31" fmla="*/ 278 h 321"/>
                <a:gd name="T32" fmla="*/ 230 w 263"/>
                <a:gd name="T33" fmla="*/ 257 h 321"/>
                <a:gd name="T34" fmla="*/ 177 w 263"/>
                <a:gd name="T35" fmla="*/ 175 h 321"/>
                <a:gd name="T36" fmla="*/ 152 w 263"/>
                <a:gd name="T37" fmla="*/ 67 h 321"/>
                <a:gd name="T38" fmla="*/ 150 w 263"/>
                <a:gd name="T39" fmla="*/ 30 h 321"/>
                <a:gd name="T40" fmla="*/ 37 w 263"/>
                <a:gd name="T41" fmla="*/ 3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3" h="321">
                  <a:moveTo>
                    <a:pt x="210" y="321"/>
                  </a:moveTo>
                  <a:cubicBezTo>
                    <a:pt x="132" y="321"/>
                    <a:pt x="132" y="321"/>
                    <a:pt x="132" y="321"/>
                  </a:cubicBezTo>
                  <a:cubicBezTo>
                    <a:pt x="101" y="321"/>
                    <a:pt x="70" y="296"/>
                    <a:pt x="63" y="2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81" y="30"/>
                    <a:pt x="181" y="48"/>
                    <a:pt x="182" y="66"/>
                  </a:cubicBezTo>
                  <a:cubicBezTo>
                    <a:pt x="183" y="99"/>
                    <a:pt x="184" y="130"/>
                    <a:pt x="202" y="159"/>
                  </a:cubicBezTo>
                  <a:cubicBezTo>
                    <a:pt x="254" y="241"/>
                    <a:pt x="254" y="241"/>
                    <a:pt x="254" y="241"/>
                  </a:cubicBezTo>
                  <a:cubicBezTo>
                    <a:pt x="263" y="255"/>
                    <a:pt x="263" y="274"/>
                    <a:pt x="253" y="292"/>
                  </a:cubicBezTo>
                  <a:cubicBezTo>
                    <a:pt x="243" y="309"/>
                    <a:pt x="227" y="321"/>
                    <a:pt x="210" y="321"/>
                  </a:cubicBezTo>
                  <a:close/>
                  <a:moveTo>
                    <a:pt x="37" y="30"/>
                  </a:moveTo>
                  <a:cubicBezTo>
                    <a:pt x="92" y="259"/>
                    <a:pt x="92" y="259"/>
                    <a:pt x="92" y="259"/>
                  </a:cubicBezTo>
                  <a:cubicBezTo>
                    <a:pt x="96" y="276"/>
                    <a:pt x="115" y="291"/>
                    <a:pt x="132" y="291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6" y="291"/>
                    <a:pt x="223" y="286"/>
                    <a:pt x="228" y="278"/>
                  </a:cubicBezTo>
                  <a:cubicBezTo>
                    <a:pt x="232" y="270"/>
                    <a:pt x="233" y="262"/>
                    <a:pt x="230" y="257"/>
                  </a:cubicBezTo>
                  <a:cubicBezTo>
                    <a:pt x="177" y="175"/>
                    <a:pt x="177" y="175"/>
                    <a:pt x="177" y="175"/>
                  </a:cubicBezTo>
                  <a:cubicBezTo>
                    <a:pt x="155" y="139"/>
                    <a:pt x="154" y="102"/>
                    <a:pt x="152" y="67"/>
                  </a:cubicBezTo>
                  <a:cubicBezTo>
                    <a:pt x="152" y="54"/>
                    <a:pt x="152" y="42"/>
                    <a:pt x="150" y="30"/>
                  </a:cubicBezTo>
                  <a:cubicBezTo>
                    <a:pt x="37" y="30"/>
                    <a:pt x="37" y="30"/>
                    <a:pt x="3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4" name="Freeform 331">
            <a:extLst>
              <a:ext uri="{FF2B5EF4-FFF2-40B4-BE49-F238E27FC236}">
                <a16:creationId xmlns:a16="http://schemas.microsoft.com/office/drawing/2014/main" id="{95259FD0-83FC-4E4D-B9E6-391A2542DD5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416938" y="3909623"/>
            <a:ext cx="357006" cy="236800"/>
          </a:xfrm>
          <a:custGeom>
            <a:avLst/>
            <a:gdLst>
              <a:gd name="T0" fmla="*/ 297 w 297"/>
              <a:gd name="T1" fmla="*/ 197 h 197"/>
              <a:gd name="T2" fmla="*/ 0 w 297"/>
              <a:gd name="T3" fmla="*/ 197 h 197"/>
              <a:gd name="T4" fmla="*/ 0 w 297"/>
              <a:gd name="T5" fmla="*/ 0 h 197"/>
              <a:gd name="T6" fmla="*/ 297 w 297"/>
              <a:gd name="T7" fmla="*/ 0 h 197"/>
              <a:gd name="T8" fmla="*/ 297 w 297"/>
              <a:gd name="T9" fmla="*/ 197 h 197"/>
              <a:gd name="T10" fmla="*/ 297 w 297"/>
              <a:gd name="T11" fmla="*/ 197 h 197"/>
              <a:gd name="T12" fmla="*/ 11 w 297"/>
              <a:gd name="T13" fmla="*/ 187 h 197"/>
              <a:gd name="T14" fmla="*/ 286 w 297"/>
              <a:gd name="T15" fmla="*/ 187 h 197"/>
              <a:gd name="T16" fmla="*/ 286 w 297"/>
              <a:gd name="T17" fmla="*/ 16 h 197"/>
              <a:gd name="T18" fmla="*/ 148 w 297"/>
              <a:gd name="T19" fmla="*/ 129 h 197"/>
              <a:gd name="T20" fmla="*/ 11 w 297"/>
              <a:gd name="T21" fmla="*/ 16 h 197"/>
              <a:gd name="T22" fmla="*/ 11 w 297"/>
              <a:gd name="T23" fmla="*/ 187 h 197"/>
              <a:gd name="T24" fmla="*/ 11 w 297"/>
              <a:gd name="T25" fmla="*/ 187 h 197"/>
              <a:gd name="T26" fmla="*/ 20 w 297"/>
              <a:gd name="T27" fmla="*/ 10 h 197"/>
              <a:gd name="T28" fmla="*/ 148 w 297"/>
              <a:gd name="T29" fmla="*/ 115 h 197"/>
              <a:gd name="T30" fmla="*/ 277 w 297"/>
              <a:gd name="T31" fmla="*/ 10 h 197"/>
              <a:gd name="T32" fmla="*/ 20 w 297"/>
              <a:gd name="T33" fmla="*/ 10 h 197"/>
              <a:gd name="T34" fmla="*/ 20 w 297"/>
              <a:gd name="T35" fmla="*/ 10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97" h="197">
                <a:moveTo>
                  <a:pt x="297" y="197"/>
                </a:moveTo>
                <a:lnTo>
                  <a:pt x="0" y="197"/>
                </a:lnTo>
                <a:lnTo>
                  <a:pt x="0" y="0"/>
                </a:lnTo>
                <a:lnTo>
                  <a:pt x="297" y="0"/>
                </a:lnTo>
                <a:lnTo>
                  <a:pt x="297" y="197"/>
                </a:lnTo>
                <a:lnTo>
                  <a:pt x="297" y="197"/>
                </a:lnTo>
                <a:close/>
                <a:moveTo>
                  <a:pt x="11" y="187"/>
                </a:moveTo>
                <a:lnTo>
                  <a:pt x="286" y="187"/>
                </a:lnTo>
                <a:lnTo>
                  <a:pt x="286" y="16"/>
                </a:lnTo>
                <a:lnTo>
                  <a:pt x="148" y="129"/>
                </a:lnTo>
                <a:lnTo>
                  <a:pt x="11" y="16"/>
                </a:lnTo>
                <a:lnTo>
                  <a:pt x="11" y="187"/>
                </a:lnTo>
                <a:lnTo>
                  <a:pt x="11" y="187"/>
                </a:lnTo>
                <a:close/>
                <a:moveTo>
                  <a:pt x="20" y="10"/>
                </a:moveTo>
                <a:lnTo>
                  <a:pt x="148" y="115"/>
                </a:lnTo>
                <a:lnTo>
                  <a:pt x="277" y="10"/>
                </a:lnTo>
                <a:lnTo>
                  <a:pt x="20" y="10"/>
                </a:lnTo>
                <a:lnTo>
                  <a:pt x="20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" name="Textplatzhalter 5">
            <a:extLst>
              <a:ext uri="{FF2B5EF4-FFF2-40B4-BE49-F238E27FC236}">
                <a16:creationId xmlns:a16="http://schemas.microsoft.com/office/drawing/2014/main" id="{EA3D0EF1-25B8-9147-BA5C-04352041B169}"/>
              </a:ext>
            </a:extLst>
          </p:cNvPr>
          <p:cNvSpPr>
            <a:spLocks noGrp="1"/>
          </p:cNvSpPr>
          <p:nvPr userDrawn="1">
            <p:ph type="body" sz="quarter" idx="38" hasCustomPrompt="1"/>
          </p:nvPr>
        </p:nvSpPr>
        <p:spPr>
          <a:xfrm>
            <a:off x="495263" y="1896982"/>
            <a:ext cx="2549562" cy="21471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9821BCEE-C9CC-864A-848C-C8DB765FB674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495263" y="2339973"/>
            <a:ext cx="5528717" cy="795280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</a:p>
        </p:txBody>
      </p:sp>
      <p:sp>
        <p:nvSpPr>
          <p:cNvPr id="71" name="Textplatzhalter 5">
            <a:extLst>
              <a:ext uri="{FF2B5EF4-FFF2-40B4-BE49-F238E27FC236}">
                <a16:creationId xmlns:a16="http://schemas.microsoft.com/office/drawing/2014/main" id="{63BABFE5-F466-3249-BB28-32F53626D28A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759694" y="4455392"/>
            <a:ext cx="995419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Creative</a:t>
            </a:r>
          </a:p>
        </p:txBody>
      </p:sp>
      <p:sp>
        <p:nvSpPr>
          <p:cNvPr id="72" name="Textplatzhalter 39">
            <a:extLst>
              <a:ext uri="{FF2B5EF4-FFF2-40B4-BE49-F238E27FC236}">
                <a16:creationId xmlns:a16="http://schemas.microsoft.com/office/drawing/2014/main" id="{0732F400-B756-2A47-9F1F-532BDB2B717A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495263" y="5025581"/>
            <a:ext cx="5410862" cy="598466"/>
          </a:xfrm>
          <a:prstGeom prst="rect">
            <a:avLst/>
          </a:prstGeom>
        </p:spPr>
        <p:txBody>
          <a:bodyPr lIns="72000" tIns="0" rIns="0" bIns="0" anchor="t"/>
          <a:lstStyle>
            <a:lvl1pPr marL="0" indent="0" defTabSz="57600">
              <a:spcBef>
                <a:spcPts val="0"/>
              </a:spcBef>
              <a:buNone/>
              <a:defRPr sz="14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/>
              <a:t>pretium</a:t>
            </a:r>
            <a:r>
              <a:rPr lang="de-DE" dirty="0"/>
              <a:t>. Integer </a:t>
            </a:r>
            <a:r>
              <a:rPr lang="de-DE" dirty="0" err="1"/>
              <a:t>tincidunt</a:t>
            </a:r>
            <a:r>
              <a:rPr lang="de-DE" dirty="0"/>
              <a:t>. </a:t>
            </a:r>
            <a:r>
              <a:rPr lang="de-DE" dirty="0" err="1"/>
              <a:t>Cras</a:t>
            </a:r>
            <a:r>
              <a:rPr lang="de-DE" dirty="0"/>
              <a:t> </a:t>
            </a:r>
            <a:r>
              <a:rPr lang="de-DE" dirty="0" err="1"/>
              <a:t>dapibus</a:t>
            </a:r>
            <a:r>
              <a:rPr lang="de-DE" dirty="0"/>
              <a:t>. </a:t>
            </a:r>
            <a:r>
              <a:rPr lang="de-DE" dirty="0" err="1"/>
              <a:t>Vivamus</a:t>
            </a:r>
            <a:r>
              <a:rPr lang="de-DE" dirty="0"/>
              <a:t> </a:t>
            </a:r>
            <a:r>
              <a:rPr lang="de-DE" dirty="0" err="1"/>
              <a:t>elementu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tellus</a:t>
            </a:r>
            <a:r>
              <a:rPr lang="de-DE" dirty="0"/>
              <a:t>.</a:t>
            </a:r>
          </a:p>
        </p:txBody>
      </p:sp>
      <p:sp>
        <p:nvSpPr>
          <p:cNvPr id="74" name="Textplatzhalter 5">
            <a:extLst>
              <a:ext uri="{FF2B5EF4-FFF2-40B4-BE49-F238E27FC236}">
                <a16:creationId xmlns:a16="http://schemas.microsoft.com/office/drawing/2014/main" id="{8FD4B970-561F-2B4E-9E79-F82BA202D63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097731" y="4455392"/>
            <a:ext cx="995419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essage</a:t>
            </a:r>
          </a:p>
        </p:txBody>
      </p:sp>
      <p:sp>
        <p:nvSpPr>
          <p:cNvPr id="75" name="Textplatzhalter 5">
            <a:extLst>
              <a:ext uri="{FF2B5EF4-FFF2-40B4-BE49-F238E27FC236}">
                <a16:creationId xmlns:a16="http://schemas.microsoft.com/office/drawing/2014/main" id="{1361A1D0-B5F3-2240-AB25-C8BA32D04F5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431778" y="4455391"/>
            <a:ext cx="995419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anagement</a:t>
            </a:r>
          </a:p>
        </p:txBody>
      </p:sp>
      <p:sp>
        <p:nvSpPr>
          <p:cNvPr id="76" name="Textplatzhalter 5">
            <a:extLst>
              <a:ext uri="{FF2B5EF4-FFF2-40B4-BE49-F238E27FC236}">
                <a16:creationId xmlns:a16="http://schemas.microsoft.com/office/drawing/2014/main" id="{A15D9080-57E8-C44A-9C89-C9A41239C35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743355" y="4455391"/>
            <a:ext cx="995419" cy="214719"/>
          </a:xfrm>
          <a:prstGeom prst="rect">
            <a:avLst/>
          </a:prstGeom>
        </p:spPr>
        <p:txBody>
          <a:bodyPr lIns="72000" tIns="0" rIns="0" bIns="0"/>
          <a:lstStyle>
            <a:lvl1pPr marL="0" indent="0" algn="ctr" defTabSz="57600"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arketing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11E4A216-93DC-1547-9B01-D071B6C3BB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2793A3E1-CB3F-7244-949F-E146F682C53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14713752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pic>
        <p:nvPicPr>
          <p:cNvPr id="6" name="Picture 25">
            <a:extLst>
              <a:ext uri="{FF2B5EF4-FFF2-40B4-BE49-F238E27FC236}">
                <a16:creationId xmlns:a16="http://schemas.microsoft.com/office/drawing/2014/main" id="{0BEF04C9-61CB-8940-A32C-0921253A40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595" y="2190417"/>
            <a:ext cx="4342809" cy="3505267"/>
          </a:xfrm>
          <a:prstGeom prst="rect">
            <a:avLst/>
          </a:prstGeom>
        </p:spPr>
      </p:pic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E0F55B0-632A-354F-9701-096FA1B025C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105562" y="2414535"/>
            <a:ext cx="3971925" cy="22336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i="0">
                <a:latin typeface="Reso Light" panose="02000000000000000000" pitchFamily="2" charset="0"/>
              </a:defRPr>
            </a:lvl1pPr>
          </a:lstStyle>
          <a:p>
            <a:endParaRPr lang="de-DE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ECA76F-AEA5-9B4A-B2DC-F257DE7CDB7B}"/>
              </a:ext>
            </a:extLst>
          </p:cNvPr>
          <p:cNvSpPr>
            <a:spLocks noChangeAspect="1"/>
          </p:cNvSpPr>
          <p:nvPr userDrawn="1"/>
        </p:nvSpPr>
        <p:spPr>
          <a:xfrm>
            <a:off x="8828607" y="2148286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F65ADBA-83DD-E445-8421-56A08B42644A}"/>
              </a:ext>
            </a:extLst>
          </p:cNvPr>
          <p:cNvSpPr>
            <a:spLocks noChangeAspect="1"/>
          </p:cNvSpPr>
          <p:nvPr userDrawn="1"/>
        </p:nvSpPr>
        <p:spPr>
          <a:xfrm>
            <a:off x="8828607" y="3375757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DBA1401-EFE9-564F-8250-0996F5588AA9}"/>
              </a:ext>
            </a:extLst>
          </p:cNvPr>
          <p:cNvSpPr>
            <a:spLocks noChangeAspect="1"/>
          </p:cNvSpPr>
          <p:nvPr userDrawn="1"/>
        </p:nvSpPr>
        <p:spPr>
          <a:xfrm>
            <a:off x="8828607" y="4588880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5A36831-0341-F541-9C1C-7A30C7691A6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783984" y="2148286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08C82CD-2E8C-3E47-9596-0668EAF4E2DE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783984" y="3375757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CDF9224-42EE-C648-AAF4-1D6951D0173E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2783984" y="4588880"/>
            <a:ext cx="610224" cy="61022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6" name="Group 26">
            <a:extLst>
              <a:ext uri="{FF2B5EF4-FFF2-40B4-BE49-F238E27FC236}">
                <a16:creationId xmlns:a16="http://schemas.microsoft.com/office/drawing/2014/main" id="{81854C64-FE1F-1A47-9380-29EB28D600F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19582" y="2256025"/>
            <a:ext cx="351070" cy="400384"/>
            <a:chOff x="363538" y="3471863"/>
            <a:chExt cx="474662" cy="541337"/>
          </a:xfrm>
          <a:solidFill>
            <a:schemeClr val="bg2"/>
          </a:solidFill>
        </p:grpSpPr>
        <p:sp>
          <p:nvSpPr>
            <p:cNvPr id="27" name="Freeform 248">
              <a:extLst>
                <a:ext uri="{FF2B5EF4-FFF2-40B4-BE49-F238E27FC236}">
                  <a16:creationId xmlns:a16="http://schemas.microsoft.com/office/drawing/2014/main" id="{E4B91D43-D6B3-894E-884D-A0D7A00A2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" y="3779838"/>
              <a:ext cx="238125" cy="174625"/>
            </a:xfrm>
            <a:custGeom>
              <a:avLst/>
              <a:gdLst>
                <a:gd name="T0" fmla="*/ 310 w 416"/>
                <a:gd name="T1" fmla="*/ 303 h 303"/>
                <a:gd name="T2" fmla="*/ 263 w 416"/>
                <a:gd name="T3" fmla="*/ 285 h 303"/>
                <a:gd name="T4" fmla="*/ 0 w 416"/>
                <a:gd name="T5" fmla="*/ 21 h 303"/>
                <a:gd name="T6" fmla="*/ 20 w 416"/>
                <a:gd name="T7" fmla="*/ 0 h 303"/>
                <a:gd name="T8" fmla="*/ 284 w 416"/>
                <a:gd name="T9" fmla="*/ 264 h 303"/>
                <a:gd name="T10" fmla="*/ 317 w 416"/>
                <a:gd name="T11" fmla="*/ 273 h 303"/>
                <a:gd name="T12" fmla="*/ 361 w 416"/>
                <a:gd name="T13" fmla="*/ 250 h 303"/>
                <a:gd name="T14" fmla="*/ 385 w 416"/>
                <a:gd name="T15" fmla="*/ 206 h 303"/>
                <a:gd name="T16" fmla="*/ 374 w 416"/>
                <a:gd name="T17" fmla="*/ 174 h 303"/>
                <a:gd name="T18" fmla="*/ 263 w 416"/>
                <a:gd name="T19" fmla="*/ 62 h 303"/>
                <a:gd name="T20" fmla="*/ 284 w 416"/>
                <a:gd name="T21" fmla="*/ 42 h 303"/>
                <a:gd name="T22" fmla="*/ 395 w 416"/>
                <a:gd name="T23" fmla="*/ 153 h 303"/>
                <a:gd name="T24" fmla="*/ 414 w 416"/>
                <a:gd name="T25" fmla="*/ 210 h 303"/>
                <a:gd name="T26" fmla="*/ 383 w 416"/>
                <a:gd name="T27" fmla="*/ 269 h 303"/>
                <a:gd name="T28" fmla="*/ 321 w 416"/>
                <a:gd name="T29" fmla="*/ 302 h 303"/>
                <a:gd name="T30" fmla="*/ 310 w 416"/>
                <a:gd name="T31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6" h="303">
                  <a:moveTo>
                    <a:pt x="310" y="303"/>
                  </a:moveTo>
                  <a:cubicBezTo>
                    <a:pt x="292" y="303"/>
                    <a:pt x="276" y="297"/>
                    <a:pt x="263" y="28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84" y="264"/>
                    <a:pt x="284" y="264"/>
                    <a:pt x="284" y="264"/>
                  </a:cubicBezTo>
                  <a:cubicBezTo>
                    <a:pt x="292" y="272"/>
                    <a:pt x="304" y="275"/>
                    <a:pt x="317" y="273"/>
                  </a:cubicBezTo>
                  <a:cubicBezTo>
                    <a:pt x="332" y="271"/>
                    <a:pt x="348" y="263"/>
                    <a:pt x="361" y="250"/>
                  </a:cubicBezTo>
                  <a:cubicBezTo>
                    <a:pt x="375" y="236"/>
                    <a:pt x="383" y="221"/>
                    <a:pt x="385" y="206"/>
                  </a:cubicBezTo>
                  <a:cubicBezTo>
                    <a:pt x="386" y="193"/>
                    <a:pt x="383" y="182"/>
                    <a:pt x="374" y="174"/>
                  </a:cubicBezTo>
                  <a:cubicBezTo>
                    <a:pt x="263" y="62"/>
                    <a:pt x="263" y="62"/>
                    <a:pt x="263" y="62"/>
                  </a:cubicBezTo>
                  <a:cubicBezTo>
                    <a:pt x="284" y="42"/>
                    <a:pt x="284" y="42"/>
                    <a:pt x="284" y="42"/>
                  </a:cubicBezTo>
                  <a:cubicBezTo>
                    <a:pt x="395" y="153"/>
                    <a:pt x="395" y="153"/>
                    <a:pt x="395" y="153"/>
                  </a:cubicBezTo>
                  <a:cubicBezTo>
                    <a:pt x="410" y="167"/>
                    <a:pt x="416" y="188"/>
                    <a:pt x="414" y="210"/>
                  </a:cubicBezTo>
                  <a:cubicBezTo>
                    <a:pt x="411" y="231"/>
                    <a:pt x="400" y="252"/>
                    <a:pt x="383" y="269"/>
                  </a:cubicBezTo>
                  <a:cubicBezTo>
                    <a:pt x="364" y="288"/>
                    <a:pt x="343" y="299"/>
                    <a:pt x="321" y="302"/>
                  </a:cubicBezTo>
                  <a:cubicBezTo>
                    <a:pt x="318" y="303"/>
                    <a:pt x="314" y="303"/>
                    <a:pt x="310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49">
              <a:extLst>
                <a:ext uri="{FF2B5EF4-FFF2-40B4-BE49-F238E27FC236}">
                  <a16:creationId xmlns:a16="http://schemas.microsoft.com/office/drawing/2014/main" id="{D7BFA9B2-8A75-3944-ADD9-3EA00F1FC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5" y="3632200"/>
              <a:ext cx="73025" cy="65087"/>
            </a:xfrm>
            <a:custGeom>
              <a:avLst/>
              <a:gdLst>
                <a:gd name="T0" fmla="*/ 104 w 128"/>
                <a:gd name="T1" fmla="*/ 114 h 114"/>
                <a:gd name="T2" fmla="*/ 83 w 128"/>
                <a:gd name="T3" fmla="*/ 94 h 114"/>
                <a:gd name="T4" fmla="*/ 97 w 128"/>
                <a:gd name="T5" fmla="*/ 80 h 114"/>
                <a:gd name="T6" fmla="*/ 98 w 128"/>
                <a:gd name="T7" fmla="*/ 76 h 114"/>
                <a:gd name="T8" fmla="*/ 97 w 128"/>
                <a:gd name="T9" fmla="*/ 73 h 114"/>
                <a:gd name="T10" fmla="*/ 55 w 128"/>
                <a:gd name="T11" fmla="*/ 31 h 114"/>
                <a:gd name="T12" fmla="*/ 48 w 128"/>
                <a:gd name="T13" fmla="*/ 31 h 114"/>
                <a:gd name="T14" fmla="*/ 20 w 128"/>
                <a:gd name="T15" fmla="*/ 59 h 114"/>
                <a:gd name="T16" fmla="*/ 0 w 128"/>
                <a:gd name="T17" fmla="*/ 38 h 114"/>
                <a:gd name="T18" fmla="*/ 27 w 128"/>
                <a:gd name="T19" fmla="*/ 10 h 114"/>
                <a:gd name="T20" fmla="*/ 52 w 128"/>
                <a:gd name="T21" fmla="*/ 0 h 114"/>
                <a:gd name="T22" fmla="*/ 52 w 128"/>
                <a:gd name="T23" fmla="*/ 0 h 114"/>
                <a:gd name="T24" fmla="*/ 76 w 128"/>
                <a:gd name="T25" fmla="*/ 10 h 114"/>
                <a:gd name="T26" fmla="*/ 118 w 128"/>
                <a:gd name="T27" fmla="*/ 52 h 114"/>
                <a:gd name="T28" fmla="*/ 128 w 128"/>
                <a:gd name="T29" fmla="*/ 76 h 114"/>
                <a:gd name="T30" fmla="*/ 118 w 128"/>
                <a:gd name="T31" fmla="*/ 100 h 114"/>
                <a:gd name="T32" fmla="*/ 104 w 128"/>
                <a:gd name="T3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8" h="114">
                  <a:moveTo>
                    <a:pt x="104" y="114"/>
                  </a:moveTo>
                  <a:cubicBezTo>
                    <a:pt x="83" y="94"/>
                    <a:pt x="83" y="94"/>
                    <a:pt x="83" y="94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8"/>
                    <a:pt x="98" y="77"/>
                    <a:pt x="98" y="76"/>
                  </a:cubicBezTo>
                  <a:cubicBezTo>
                    <a:pt x="98" y="75"/>
                    <a:pt x="98" y="74"/>
                    <a:pt x="97" y="73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3" y="28"/>
                    <a:pt x="51" y="28"/>
                    <a:pt x="48" y="31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4" y="4"/>
                    <a:pt x="4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1" y="0"/>
                    <a:pt x="69" y="4"/>
                    <a:pt x="76" y="10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24" y="58"/>
                    <a:pt x="128" y="67"/>
                    <a:pt x="128" y="76"/>
                  </a:cubicBezTo>
                  <a:cubicBezTo>
                    <a:pt x="128" y="85"/>
                    <a:pt x="124" y="94"/>
                    <a:pt x="118" y="100"/>
                  </a:cubicBezTo>
                  <a:cubicBezTo>
                    <a:pt x="104" y="114"/>
                    <a:pt x="104" y="114"/>
                    <a:pt x="104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50">
              <a:extLst>
                <a:ext uri="{FF2B5EF4-FFF2-40B4-BE49-F238E27FC236}">
                  <a16:creationId xmlns:a16="http://schemas.microsoft.com/office/drawing/2014/main" id="{5913DD3B-5DAA-6148-9FBD-1C36F47F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" y="3606800"/>
              <a:ext cx="84137" cy="82550"/>
            </a:xfrm>
            <a:custGeom>
              <a:avLst/>
              <a:gdLst>
                <a:gd name="T0" fmla="*/ 90 w 145"/>
                <a:gd name="T1" fmla="*/ 144 h 144"/>
                <a:gd name="T2" fmla="*/ 69 w 145"/>
                <a:gd name="T3" fmla="*/ 124 h 144"/>
                <a:gd name="T4" fmla="*/ 111 w 145"/>
                <a:gd name="T5" fmla="*/ 82 h 144"/>
                <a:gd name="T6" fmla="*/ 111 w 145"/>
                <a:gd name="T7" fmla="*/ 75 h 144"/>
                <a:gd name="T8" fmla="*/ 69 w 145"/>
                <a:gd name="T9" fmla="*/ 33 h 144"/>
                <a:gd name="T10" fmla="*/ 62 w 145"/>
                <a:gd name="T11" fmla="*/ 33 h 144"/>
                <a:gd name="T12" fmla="*/ 20 w 145"/>
                <a:gd name="T13" fmla="*/ 75 h 144"/>
                <a:gd name="T14" fmla="*/ 0 w 145"/>
                <a:gd name="T15" fmla="*/ 54 h 144"/>
                <a:gd name="T16" fmla="*/ 41 w 145"/>
                <a:gd name="T17" fmla="*/ 13 h 144"/>
                <a:gd name="T18" fmla="*/ 90 w 145"/>
                <a:gd name="T19" fmla="*/ 13 h 144"/>
                <a:gd name="T20" fmla="*/ 131 w 145"/>
                <a:gd name="T21" fmla="*/ 54 h 144"/>
                <a:gd name="T22" fmla="*/ 131 w 145"/>
                <a:gd name="T23" fmla="*/ 103 h 144"/>
                <a:gd name="T24" fmla="*/ 90 w 145"/>
                <a:gd name="T2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144">
                  <a:moveTo>
                    <a:pt x="90" y="144"/>
                  </a:moveTo>
                  <a:cubicBezTo>
                    <a:pt x="69" y="124"/>
                    <a:pt x="69" y="124"/>
                    <a:pt x="69" y="124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3" y="80"/>
                    <a:pt x="113" y="77"/>
                    <a:pt x="111" y="75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1"/>
                    <a:pt x="65" y="31"/>
                    <a:pt x="62" y="33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4" y="0"/>
                    <a:pt x="77" y="0"/>
                    <a:pt x="90" y="13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45" y="68"/>
                    <a:pt x="145" y="89"/>
                    <a:pt x="131" y="103"/>
                  </a:cubicBezTo>
                  <a:cubicBezTo>
                    <a:pt x="90" y="144"/>
                    <a:pt x="90" y="144"/>
                    <a:pt x="90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51">
              <a:extLst>
                <a:ext uri="{FF2B5EF4-FFF2-40B4-BE49-F238E27FC236}">
                  <a16:creationId xmlns:a16="http://schemas.microsoft.com/office/drawing/2014/main" id="{19B7E606-F034-F541-AF17-9471AFD6F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3" y="3678238"/>
              <a:ext cx="109537" cy="120650"/>
            </a:xfrm>
            <a:custGeom>
              <a:avLst/>
              <a:gdLst>
                <a:gd name="T0" fmla="*/ 61 w 192"/>
                <a:gd name="T1" fmla="*/ 211 h 211"/>
                <a:gd name="T2" fmla="*/ 37 w 192"/>
                <a:gd name="T3" fmla="*/ 201 h 211"/>
                <a:gd name="T4" fmla="*/ 0 w 192"/>
                <a:gd name="T5" fmla="*/ 166 h 211"/>
                <a:gd name="T6" fmla="*/ 21 w 192"/>
                <a:gd name="T7" fmla="*/ 145 h 211"/>
                <a:gd name="T8" fmla="*/ 57 w 192"/>
                <a:gd name="T9" fmla="*/ 180 h 211"/>
                <a:gd name="T10" fmla="*/ 64 w 192"/>
                <a:gd name="T11" fmla="*/ 180 h 211"/>
                <a:gd name="T12" fmla="*/ 161 w 192"/>
                <a:gd name="T13" fmla="*/ 83 h 211"/>
                <a:gd name="T14" fmla="*/ 161 w 192"/>
                <a:gd name="T15" fmla="*/ 76 h 211"/>
                <a:gd name="T16" fmla="*/ 120 w 192"/>
                <a:gd name="T17" fmla="*/ 34 h 211"/>
                <a:gd name="T18" fmla="*/ 113 w 192"/>
                <a:gd name="T19" fmla="*/ 34 h 211"/>
                <a:gd name="T20" fmla="*/ 57 w 192"/>
                <a:gd name="T21" fmla="*/ 90 h 211"/>
                <a:gd name="T22" fmla="*/ 36 w 192"/>
                <a:gd name="T23" fmla="*/ 69 h 211"/>
                <a:gd name="T24" fmla="*/ 92 w 192"/>
                <a:gd name="T25" fmla="*/ 13 h 211"/>
                <a:gd name="T26" fmla="*/ 140 w 192"/>
                <a:gd name="T27" fmla="*/ 13 h 211"/>
                <a:gd name="T28" fmla="*/ 182 w 192"/>
                <a:gd name="T29" fmla="*/ 55 h 211"/>
                <a:gd name="T30" fmla="*/ 192 w 192"/>
                <a:gd name="T31" fmla="*/ 79 h 211"/>
                <a:gd name="T32" fmla="*/ 182 w 192"/>
                <a:gd name="T33" fmla="*/ 104 h 211"/>
                <a:gd name="T34" fmla="*/ 85 w 192"/>
                <a:gd name="T35" fmla="*/ 201 h 211"/>
                <a:gd name="T36" fmla="*/ 61 w 192"/>
                <a:gd name="T3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11">
                  <a:moveTo>
                    <a:pt x="61" y="211"/>
                  </a:moveTo>
                  <a:cubicBezTo>
                    <a:pt x="52" y="211"/>
                    <a:pt x="43" y="208"/>
                    <a:pt x="37" y="201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57" y="180"/>
                    <a:pt x="57" y="180"/>
                    <a:pt x="57" y="180"/>
                  </a:cubicBezTo>
                  <a:cubicBezTo>
                    <a:pt x="59" y="182"/>
                    <a:pt x="62" y="182"/>
                    <a:pt x="64" y="180"/>
                  </a:cubicBezTo>
                  <a:cubicBezTo>
                    <a:pt x="161" y="83"/>
                    <a:pt x="161" y="83"/>
                    <a:pt x="161" y="83"/>
                  </a:cubicBezTo>
                  <a:cubicBezTo>
                    <a:pt x="163" y="81"/>
                    <a:pt x="163" y="78"/>
                    <a:pt x="161" y="76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8" y="32"/>
                    <a:pt x="115" y="32"/>
                    <a:pt x="113" y="34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105" y="0"/>
                    <a:pt x="127" y="0"/>
                    <a:pt x="140" y="13"/>
                  </a:cubicBezTo>
                  <a:cubicBezTo>
                    <a:pt x="182" y="55"/>
                    <a:pt x="182" y="55"/>
                    <a:pt x="182" y="55"/>
                  </a:cubicBezTo>
                  <a:cubicBezTo>
                    <a:pt x="189" y="62"/>
                    <a:pt x="192" y="70"/>
                    <a:pt x="192" y="79"/>
                  </a:cubicBezTo>
                  <a:cubicBezTo>
                    <a:pt x="192" y="89"/>
                    <a:pt x="189" y="97"/>
                    <a:pt x="182" y="104"/>
                  </a:cubicBezTo>
                  <a:cubicBezTo>
                    <a:pt x="85" y="201"/>
                    <a:pt x="85" y="201"/>
                    <a:pt x="85" y="201"/>
                  </a:cubicBezTo>
                  <a:cubicBezTo>
                    <a:pt x="78" y="208"/>
                    <a:pt x="69" y="211"/>
                    <a:pt x="6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52">
              <a:extLst>
                <a:ext uri="{FF2B5EF4-FFF2-40B4-BE49-F238E27FC236}">
                  <a16:creationId xmlns:a16="http://schemas.microsoft.com/office/drawing/2014/main" id="{79AC1170-EA85-744B-8C37-42ED0471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860800"/>
              <a:ext cx="115887" cy="66675"/>
            </a:xfrm>
            <a:custGeom>
              <a:avLst/>
              <a:gdLst>
                <a:gd name="T0" fmla="*/ 20 w 201"/>
                <a:gd name="T1" fmla="*/ 118 h 118"/>
                <a:gd name="T2" fmla="*/ 0 w 201"/>
                <a:gd name="T3" fmla="*/ 97 h 118"/>
                <a:gd name="T4" fmla="*/ 28 w 201"/>
                <a:gd name="T5" fmla="*/ 69 h 118"/>
                <a:gd name="T6" fmla="*/ 85 w 201"/>
                <a:gd name="T7" fmla="*/ 55 h 118"/>
                <a:gd name="T8" fmla="*/ 139 w 201"/>
                <a:gd name="T9" fmla="*/ 42 h 118"/>
                <a:gd name="T10" fmla="*/ 180 w 201"/>
                <a:gd name="T11" fmla="*/ 0 h 118"/>
                <a:gd name="T12" fmla="*/ 201 w 201"/>
                <a:gd name="T13" fmla="*/ 21 h 118"/>
                <a:gd name="T14" fmla="*/ 159 w 201"/>
                <a:gd name="T15" fmla="*/ 62 h 118"/>
                <a:gd name="T16" fmla="*/ 84 w 201"/>
                <a:gd name="T17" fmla="*/ 84 h 118"/>
                <a:gd name="T18" fmla="*/ 48 w 201"/>
                <a:gd name="T19" fmla="*/ 90 h 118"/>
                <a:gd name="T20" fmla="*/ 20 w 201"/>
                <a:gd name="T2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1" h="118">
                  <a:moveTo>
                    <a:pt x="20" y="118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43" y="54"/>
                    <a:pt x="64" y="54"/>
                    <a:pt x="85" y="55"/>
                  </a:cubicBezTo>
                  <a:cubicBezTo>
                    <a:pt x="105" y="55"/>
                    <a:pt x="125" y="55"/>
                    <a:pt x="139" y="42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159" y="62"/>
                    <a:pt x="159" y="62"/>
                    <a:pt x="159" y="62"/>
                  </a:cubicBezTo>
                  <a:cubicBezTo>
                    <a:pt x="137" y="85"/>
                    <a:pt x="108" y="84"/>
                    <a:pt x="84" y="84"/>
                  </a:cubicBezTo>
                  <a:cubicBezTo>
                    <a:pt x="68" y="84"/>
                    <a:pt x="55" y="84"/>
                    <a:pt x="48" y="90"/>
                  </a:cubicBezTo>
                  <a:cubicBezTo>
                    <a:pt x="20" y="118"/>
                    <a:pt x="20" y="118"/>
                    <a:pt x="20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53">
              <a:extLst>
                <a:ext uri="{FF2B5EF4-FFF2-40B4-BE49-F238E27FC236}">
                  <a16:creationId xmlns:a16="http://schemas.microsoft.com/office/drawing/2014/main" id="{80C619EE-2249-9842-9099-6647A29D2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8" y="3622675"/>
              <a:ext cx="238125" cy="209550"/>
            </a:xfrm>
            <a:custGeom>
              <a:avLst/>
              <a:gdLst>
                <a:gd name="T0" fmla="*/ 215 w 416"/>
                <a:gd name="T1" fmla="*/ 365 h 365"/>
                <a:gd name="T2" fmla="*/ 194 w 416"/>
                <a:gd name="T3" fmla="*/ 344 h 365"/>
                <a:gd name="T4" fmla="*/ 237 w 416"/>
                <a:gd name="T5" fmla="*/ 246 h 365"/>
                <a:gd name="T6" fmla="*/ 208 w 416"/>
                <a:gd name="T7" fmla="*/ 157 h 365"/>
                <a:gd name="T8" fmla="*/ 229 w 416"/>
                <a:gd name="T9" fmla="*/ 136 h 365"/>
                <a:gd name="T10" fmla="*/ 284 w 416"/>
                <a:gd name="T11" fmla="*/ 192 h 365"/>
                <a:gd name="T12" fmla="*/ 345 w 416"/>
                <a:gd name="T13" fmla="*/ 211 h 365"/>
                <a:gd name="T14" fmla="*/ 380 w 416"/>
                <a:gd name="T15" fmla="*/ 191 h 365"/>
                <a:gd name="T16" fmla="*/ 236 w 416"/>
                <a:gd name="T17" fmla="*/ 46 h 365"/>
                <a:gd name="T18" fmla="*/ 183 w 416"/>
                <a:gd name="T19" fmla="*/ 33 h 365"/>
                <a:gd name="T20" fmla="*/ 167 w 416"/>
                <a:gd name="T21" fmla="*/ 35 h 365"/>
                <a:gd name="T22" fmla="*/ 97 w 416"/>
                <a:gd name="T23" fmla="*/ 52 h 365"/>
                <a:gd name="T24" fmla="*/ 72 w 416"/>
                <a:gd name="T25" fmla="*/ 158 h 365"/>
                <a:gd name="T26" fmla="*/ 48 w 416"/>
                <a:gd name="T27" fmla="*/ 282 h 365"/>
                <a:gd name="T28" fmla="*/ 20 w 416"/>
                <a:gd name="T29" fmla="*/ 310 h 365"/>
                <a:gd name="T30" fmla="*/ 0 w 416"/>
                <a:gd name="T31" fmla="*/ 289 h 365"/>
                <a:gd name="T32" fmla="*/ 27 w 416"/>
                <a:gd name="T33" fmla="*/ 261 h 365"/>
                <a:gd name="T34" fmla="*/ 43 w 416"/>
                <a:gd name="T35" fmla="*/ 158 h 365"/>
                <a:gd name="T36" fmla="*/ 79 w 416"/>
                <a:gd name="T37" fmla="*/ 28 h 365"/>
                <a:gd name="T38" fmla="*/ 163 w 416"/>
                <a:gd name="T39" fmla="*/ 6 h 365"/>
                <a:gd name="T40" fmla="*/ 178 w 416"/>
                <a:gd name="T41" fmla="*/ 4 h 365"/>
                <a:gd name="T42" fmla="*/ 256 w 416"/>
                <a:gd name="T43" fmla="*/ 25 h 365"/>
                <a:gd name="T44" fmla="*/ 409 w 416"/>
                <a:gd name="T45" fmla="*/ 178 h 365"/>
                <a:gd name="T46" fmla="*/ 416 w 416"/>
                <a:gd name="T47" fmla="*/ 185 h 365"/>
                <a:gd name="T48" fmla="*/ 412 w 416"/>
                <a:gd name="T49" fmla="*/ 194 h 365"/>
                <a:gd name="T50" fmla="*/ 351 w 416"/>
                <a:gd name="T51" fmla="*/ 240 h 365"/>
                <a:gd name="T52" fmla="*/ 265 w 416"/>
                <a:gd name="T53" fmla="*/ 214 h 365"/>
                <a:gd name="T54" fmla="*/ 267 w 416"/>
                <a:gd name="T55" fmla="*/ 247 h 365"/>
                <a:gd name="T56" fmla="*/ 215 w 416"/>
                <a:gd name="T57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6" h="365">
                  <a:moveTo>
                    <a:pt x="215" y="365"/>
                  </a:moveTo>
                  <a:cubicBezTo>
                    <a:pt x="194" y="344"/>
                    <a:pt x="194" y="344"/>
                    <a:pt x="194" y="344"/>
                  </a:cubicBezTo>
                  <a:cubicBezTo>
                    <a:pt x="220" y="319"/>
                    <a:pt x="235" y="283"/>
                    <a:pt x="237" y="246"/>
                  </a:cubicBezTo>
                  <a:cubicBezTo>
                    <a:pt x="239" y="210"/>
                    <a:pt x="228" y="178"/>
                    <a:pt x="208" y="157"/>
                  </a:cubicBezTo>
                  <a:cubicBezTo>
                    <a:pt x="229" y="136"/>
                    <a:pt x="229" y="136"/>
                    <a:pt x="229" y="136"/>
                  </a:cubicBezTo>
                  <a:cubicBezTo>
                    <a:pt x="284" y="192"/>
                    <a:pt x="284" y="192"/>
                    <a:pt x="284" y="192"/>
                  </a:cubicBezTo>
                  <a:cubicBezTo>
                    <a:pt x="306" y="214"/>
                    <a:pt x="329" y="214"/>
                    <a:pt x="345" y="211"/>
                  </a:cubicBezTo>
                  <a:cubicBezTo>
                    <a:pt x="361" y="208"/>
                    <a:pt x="374" y="199"/>
                    <a:pt x="380" y="191"/>
                  </a:cubicBezTo>
                  <a:cubicBezTo>
                    <a:pt x="347" y="157"/>
                    <a:pt x="236" y="46"/>
                    <a:pt x="236" y="46"/>
                  </a:cubicBezTo>
                  <a:cubicBezTo>
                    <a:pt x="222" y="32"/>
                    <a:pt x="209" y="29"/>
                    <a:pt x="183" y="33"/>
                  </a:cubicBezTo>
                  <a:cubicBezTo>
                    <a:pt x="167" y="35"/>
                    <a:pt x="167" y="35"/>
                    <a:pt x="167" y="35"/>
                  </a:cubicBezTo>
                  <a:cubicBezTo>
                    <a:pt x="143" y="39"/>
                    <a:pt x="107" y="44"/>
                    <a:pt x="97" y="52"/>
                  </a:cubicBezTo>
                  <a:cubicBezTo>
                    <a:pt x="87" y="59"/>
                    <a:pt x="72" y="110"/>
                    <a:pt x="72" y="158"/>
                  </a:cubicBezTo>
                  <a:cubicBezTo>
                    <a:pt x="72" y="181"/>
                    <a:pt x="70" y="260"/>
                    <a:pt x="48" y="282"/>
                  </a:cubicBezTo>
                  <a:cubicBezTo>
                    <a:pt x="20" y="310"/>
                    <a:pt x="20" y="310"/>
                    <a:pt x="20" y="310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27" y="261"/>
                    <a:pt x="27" y="261"/>
                    <a:pt x="27" y="261"/>
                  </a:cubicBezTo>
                  <a:cubicBezTo>
                    <a:pt x="32" y="256"/>
                    <a:pt x="43" y="224"/>
                    <a:pt x="43" y="158"/>
                  </a:cubicBezTo>
                  <a:cubicBezTo>
                    <a:pt x="43" y="115"/>
                    <a:pt x="55" y="46"/>
                    <a:pt x="79" y="28"/>
                  </a:cubicBezTo>
                  <a:cubicBezTo>
                    <a:pt x="95" y="17"/>
                    <a:pt x="125" y="12"/>
                    <a:pt x="163" y="6"/>
                  </a:cubicBezTo>
                  <a:cubicBezTo>
                    <a:pt x="178" y="4"/>
                    <a:pt x="178" y="4"/>
                    <a:pt x="178" y="4"/>
                  </a:cubicBezTo>
                  <a:cubicBezTo>
                    <a:pt x="209" y="0"/>
                    <a:pt x="233" y="1"/>
                    <a:pt x="256" y="25"/>
                  </a:cubicBezTo>
                  <a:cubicBezTo>
                    <a:pt x="256" y="25"/>
                    <a:pt x="394" y="163"/>
                    <a:pt x="409" y="178"/>
                  </a:cubicBezTo>
                  <a:cubicBezTo>
                    <a:pt x="416" y="185"/>
                    <a:pt x="416" y="185"/>
                    <a:pt x="416" y="185"/>
                  </a:cubicBezTo>
                  <a:cubicBezTo>
                    <a:pt x="412" y="194"/>
                    <a:pt x="412" y="194"/>
                    <a:pt x="412" y="194"/>
                  </a:cubicBezTo>
                  <a:cubicBezTo>
                    <a:pt x="404" y="215"/>
                    <a:pt x="380" y="233"/>
                    <a:pt x="351" y="240"/>
                  </a:cubicBezTo>
                  <a:cubicBezTo>
                    <a:pt x="320" y="246"/>
                    <a:pt x="289" y="237"/>
                    <a:pt x="265" y="214"/>
                  </a:cubicBezTo>
                  <a:cubicBezTo>
                    <a:pt x="267" y="225"/>
                    <a:pt x="267" y="236"/>
                    <a:pt x="267" y="247"/>
                  </a:cubicBezTo>
                  <a:cubicBezTo>
                    <a:pt x="264" y="292"/>
                    <a:pt x="245" y="335"/>
                    <a:pt x="215" y="3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254">
              <a:extLst>
                <a:ext uri="{FF2B5EF4-FFF2-40B4-BE49-F238E27FC236}">
                  <a16:creationId xmlns:a16="http://schemas.microsoft.com/office/drawing/2014/main" id="{289163CB-8C12-854A-A44F-CE71F6EA9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" y="3724275"/>
              <a:ext cx="120650" cy="122237"/>
            </a:xfrm>
            <a:custGeom>
              <a:avLst/>
              <a:gdLst>
                <a:gd name="T0" fmla="*/ 79 w 211"/>
                <a:gd name="T1" fmla="*/ 211 h 211"/>
                <a:gd name="T2" fmla="*/ 55 w 211"/>
                <a:gd name="T3" fmla="*/ 201 h 211"/>
                <a:gd name="T4" fmla="*/ 13 w 211"/>
                <a:gd name="T5" fmla="*/ 159 h 211"/>
                <a:gd name="T6" fmla="*/ 13 w 211"/>
                <a:gd name="T7" fmla="*/ 111 h 211"/>
                <a:gd name="T8" fmla="*/ 27 w 211"/>
                <a:gd name="T9" fmla="*/ 97 h 211"/>
                <a:gd name="T10" fmla="*/ 48 w 211"/>
                <a:gd name="T11" fmla="*/ 118 h 211"/>
                <a:gd name="T12" fmla="*/ 34 w 211"/>
                <a:gd name="T13" fmla="*/ 132 h 211"/>
                <a:gd name="T14" fmla="*/ 34 w 211"/>
                <a:gd name="T15" fmla="*/ 139 h 211"/>
                <a:gd name="T16" fmla="*/ 76 w 211"/>
                <a:gd name="T17" fmla="*/ 180 h 211"/>
                <a:gd name="T18" fmla="*/ 83 w 211"/>
                <a:gd name="T19" fmla="*/ 180 h 211"/>
                <a:gd name="T20" fmla="*/ 180 w 211"/>
                <a:gd name="T21" fmla="*/ 83 h 211"/>
                <a:gd name="T22" fmla="*/ 180 w 211"/>
                <a:gd name="T23" fmla="*/ 76 h 211"/>
                <a:gd name="T24" fmla="*/ 124 w 211"/>
                <a:gd name="T25" fmla="*/ 21 h 211"/>
                <a:gd name="T26" fmla="*/ 145 w 211"/>
                <a:gd name="T27" fmla="*/ 0 h 211"/>
                <a:gd name="T28" fmla="*/ 201 w 211"/>
                <a:gd name="T29" fmla="*/ 55 h 211"/>
                <a:gd name="T30" fmla="*/ 211 w 211"/>
                <a:gd name="T31" fmla="*/ 80 h 211"/>
                <a:gd name="T32" fmla="*/ 201 w 211"/>
                <a:gd name="T33" fmla="*/ 104 h 211"/>
                <a:gd name="T34" fmla="*/ 103 w 211"/>
                <a:gd name="T35" fmla="*/ 201 h 211"/>
                <a:gd name="T36" fmla="*/ 79 w 211"/>
                <a:gd name="T3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11">
                  <a:moveTo>
                    <a:pt x="79" y="211"/>
                  </a:moveTo>
                  <a:cubicBezTo>
                    <a:pt x="70" y="211"/>
                    <a:pt x="62" y="208"/>
                    <a:pt x="55" y="201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0" y="146"/>
                    <a:pt x="0" y="124"/>
                    <a:pt x="13" y="111"/>
                  </a:cubicBezTo>
                  <a:cubicBezTo>
                    <a:pt x="27" y="97"/>
                    <a:pt x="27" y="97"/>
                    <a:pt x="27" y="97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2" y="133"/>
                    <a:pt x="32" y="137"/>
                    <a:pt x="34" y="139"/>
                  </a:cubicBezTo>
                  <a:cubicBezTo>
                    <a:pt x="76" y="180"/>
                    <a:pt x="76" y="180"/>
                    <a:pt x="76" y="180"/>
                  </a:cubicBezTo>
                  <a:cubicBezTo>
                    <a:pt x="78" y="182"/>
                    <a:pt x="81" y="182"/>
                    <a:pt x="83" y="180"/>
                  </a:cubicBezTo>
                  <a:cubicBezTo>
                    <a:pt x="180" y="83"/>
                    <a:pt x="180" y="83"/>
                    <a:pt x="180" y="83"/>
                  </a:cubicBezTo>
                  <a:cubicBezTo>
                    <a:pt x="182" y="82"/>
                    <a:pt x="182" y="78"/>
                    <a:pt x="180" y="76"/>
                  </a:cubicBezTo>
                  <a:cubicBezTo>
                    <a:pt x="124" y="21"/>
                    <a:pt x="124" y="21"/>
                    <a:pt x="124" y="21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01" y="55"/>
                    <a:pt x="201" y="55"/>
                    <a:pt x="201" y="55"/>
                  </a:cubicBezTo>
                  <a:cubicBezTo>
                    <a:pt x="207" y="62"/>
                    <a:pt x="211" y="71"/>
                    <a:pt x="211" y="80"/>
                  </a:cubicBezTo>
                  <a:cubicBezTo>
                    <a:pt x="211" y="89"/>
                    <a:pt x="207" y="97"/>
                    <a:pt x="201" y="104"/>
                  </a:cubicBezTo>
                  <a:cubicBezTo>
                    <a:pt x="103" y="201"/>
                    <a:pt x="103" y="201"/>
                    <a:pt x="103" y="201"/>
                  </a:cubicBezTo>
                  <a:cubicBezTo>
                    <a:pt x="97" y="208"/>
                    <a:pt x="88" y="211"/>
                    <a:pt x="79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255">
              <a:extLst>
                <a:ext uri="{FF2B5EF4-FFF2-40B4-BE49-F238E27FC236}">
                  <a16:creationId xmlns:a16="http://schemas.microsoft.com/office/drawing/2014/main" id="{B3D4121D-AF36-C547-BD08-CFD56050E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413" y="3767138"/>
              <a:ext cx="246062" cy="246062"/>
            </a:xfrm>
            <a:custGeom>
              <a:avLst/>
              <a:gdLst>
                <a:gd name="T0" fmla="*/ 108 w 155"/>
                <a:gd name="T1" fmla="*/ 155 h 155"/>
                <a:gd name="T2" fmla="*/ 0 w 155"/>
                <a:gd name="T3" fmla="*/ 47 h 155"/>
                <a:gd name="T4" fmla="*/ 48 w 155"/>
                <a:gd name="T5" fmla="*/ 0 h 155"/>
                <a:gd name="T6" fmla="*/ 155 w 155"/>
                <a:gd name="T7" fmla="*/ 107 h 155"/>
                <a:gd name="T8" fmla="*/ 108 w 155"/>
                <a:gd name="T9" fmla="*/ 155 h 155"/>
                <a:gd name="T10" fmla="*/ 108 w 155"/>
                <a:gd name="T11" fmla="*/ 155 h 155"/>
                <a:gd name="T12" fmla="*/ 15 w 155"/>
                <a:gd name="T13" fmla="*/ 47 h 155"/>
                <a:gd name="T14" fmla="*/ 108 w 155"/>
                <a:gd name="T15" fmla="*/ 140 h 155"/>
                <a:gd name="T16" fmla="*/ 140 w 155"/>
                <a:gd name="T17" fmla="*/ 107 h 155"/>
                <a:gd name="T18" fmla="*/ 48 w 155"/>
                <a:gd name="T19" fmla="*/ 15 h 155"/>
                <a:gd name="T20" fmla="*/ 15 w 155"/>
                <a:gd name="T21" fmla="*/ 47 h 155"/>
                <a:gd name="T22" fmla="*/ 15 w 155"/>
                <a:gd name="T23" fmla="*/ 4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155">
                  <a:moveTo>
                    <a:pt x="108" y="155"/>
                  </a:moveTo>
                  <a:lnTo>
                    <a:pt x="0" y="47"/>
                  </a:lnTo>
                  <a:lnTo>
                    <a:pt x="48" y="0"/>
                  </a:lnTo>
                  <a:lnTo>
                    <a:pt x="155" y="107"/>
                  </a:lnTo>
                  <a:lnTo>
                    <a:pt x="108" y="155"/>
                  </a:lnTo>
                  <a:lnTo>
                    <a:pt x="108" y="155"/>
                  </a:lnTo>
                  <a:close/>
                  <a:moveTo>
                    <a:pt x="15" y="47"/>
                  </a:moveTo>
                  <a:lnTo>
                    <a:pt x="108" y="140"/>
                  </a:lnTo>
                  <a:lnTo>
                    <a:pt x="140" y="107"/>
                  </a:lnTo>
                  <a:lnTo>
                    <a:pt x="48" y="15"/>
                  </a:lnTo>
                  <a:lnTo>
                    <a:pt x="15" y="47"/>
                  </a:lnTo>
                  <a:lnTo>
                    <a:pt x="15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56">
              <a:extLst>
                <a:ext uri="{FF2B5EF4-FFF2-40B4-BE49-F238E27FC236}">
                  <a16:creationId xmlns:a16="http://schemas.microsoft.com/office/drawing/2014/main" id="{F8F19D94-C429-9945-B1BC-A012009C0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3876675"/>
              <a:ext cx="36512" cy="34925"/>
            </a:xfrm>
            <a:custGeom>
              <a:avLst/>
              <a:gdLst>
                <a:gd name="T0" fmla="*/ 15 w 23"/>
                <a:gd name="T1" fmla="*/ 22 h 22"/>
                <a:gd name="T2" fmla="*/ 0 w 23"/>
                <a:gd name="T3" fmla="*/ 7 h 22"/>
                <a:gd name="T4" fmla="*/ 8 w 23"/>
                <a:gd name="T5" fmla="*/ 0 h 22"/>
                <a:gd name="T6" fmla="*/ 23 w 23"/>
                <a:gd name="T7" fmla="*/ 14 h 22"/>
                <a:gd name="T8" fmla="*/ 15 w 23"/>
                <a:gd name="T9" fmla="*/ 22 h 22"/>
                <a:gd name="T10" fmla="*/ 15 w 23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15" y="22"/>
                  </a:moveTo>
                  <a:lnTo>
                    <a:pt x="0" y="7"/>
                  </a:lnTo>
                  <a:lnTo>
                    <a:pt x="8" y="0"/>
                  </a:lnTo>
                  <a:lnTo>
                    <a:pt x="23" y="14"/>
                  </a:lnTo>
                  <a:lnTo>
                    <a:pt x="15" y="22"/>
                  </a:lnTo>
                  <a:lnTo>
                    <a:pt x="15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57">
              <a:extLst>
                <a:ext uri="{FF2B5EF4-FFF2-40B4-BE49-F238E27FC236}">
                  <a16:creationId xmlns:a16="http://schemas.microsoft.com/office/drawing/2014/main" id="{AF8A1029-A373-A248-9945-B4C6486F1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" y="3827463"/>
              <a:ext cx="26987" cy="28575"/>
            </a:xfrm>
            <a:custGeom>
              <a:avLst/>
              <a:gdLst>
                <a:gd name="T0" fmla="*/ 10 w 17"/>
                <a:gd name="T1" fmla="*/ 18 h 18"/>
                <a:gd name="T2" fmla="*/ 0 w 17"/>
                <a:gd name="T3" fmla="*/ 8 h 18"/>
                <a:gd name="T4" fmla="*/ 8 w 17"/>
                <a:gd name="T5" fmla="*/ 0 h 18"/>
                <a:gd name="T6" fmla="*/ 17 w 17"/>
                <a:gd name="T7" fmla="*/ 10 h 18"/>
                <a:gd name="T8" fmla="*/ 10 w 17"/>
                <a:gd name="T9" fmla="*/ 18 h 18"/>
                <a:gd name="T10" fmla="*/ 10 w 17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0" y="18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17" y="10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58">
              <a:extLst>
                <a:ext uri="{FF2B5EF4-FFF2-40B4-BE49-F238E27FC236}">
                  <a16:creationId xmlns:a16="http://schemas.microsoft.com/office/drawing/2014/main" id="{0403CCC9-FF8F-864C-B500-84A355A4C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" y="3471863"/>
              <a:ext cx="225425" cy="217487"/>
            </a:xfrm>
            <a:custGeom>
              <a:avLst/>
              <a:gdLst>
                <a:gd name="T0" fmla="*/ 234 w 394"/>
                <a:gd name="T1" fmla="*/ 380 h 380"/>
                <a:gd name="T2" fmla="*/ 190 w 394"/>
                <a:gd name="T3" fmla="*/ 337 h 380"/>
                <a:gd name="T4" fmla="*/ 61 w 394"/>
                <a:gd name="T5" fmla="*/ 290 h 380"/>
                <a:gd name="T6" fmla="*/ 29 w 394"/>
                <a:gd name="T7" fmla="*/ 106 h 380"/>
                <a:gd name="T8" fmla="*/ 38 w 394"/>
                <a:gd name="T9" fmla="*/ 87 h 380"/>
                <a:gd name="T10" fmla="*/ 147 w 394"/>
                <a:gd name="T11" fmla="*/ 197 h 380"/>
                <a:gd name="T12" fmla="*/ 196 w 394"/>
                <a:gd name="T13" fmla="*/ 148 h 380"/>
                <a:gd name="T14" fmla="*/ 87 w 394"/>
                <a:gd name="T15" fmla="*/ 39 h 380"/>
                <a:gd name="T16" fmla="*/ 105 w 394"/>
                <a:gd name="T17" fmla="*/ 30 h 380"/>
                <a:gd name="T18" fmla="*/ 290 w 394"/>
                <a:gd name="T19" fmla="*/ 61 h 380"/>
                <a:gd name="T20" fmla="*/ 332 w 394"/>
                <a:gd name="T21" fmla="*/ 215 h 380"/>
                <a:gd name="T22" fmla="*/ 394 w 394"/>
                <a:gd name="T23" fmla="*/ 276 h 380"/>
                <a:gd name="T24" fmla="*/ 373 w 394"/>
                <a:gd name="T25" fmla="*/ 297 h 380"/>
                <a:gd name="T26" fmla="*/ 299 w 394"/>
                <a:gd name="T27" fmla="*/ 223 h 380"/>
                <a:gd name="T28" fmla="*/ 302 w 394"/>
                <a:gd name="T29" fmla="*/ 215 h 380"/>
                <a:gd name="T30" fmla="*/ 269 w 394"/>
                <a:gd name="T31" fmla="*/ 82 h 380"/>
                <a:gd name="T32" fmla="*/ 138 w 394"/>
                <a:gd name="T33" fmla="*/ 48 h 380"/>
                <a:gd name="T34" fmla="*/ 237 w 394"/>
                <a:gd name="T35" fmla="*/ 148 h 380"/>
                <a:gd name="T36" fmla="*/ 147 w 394"/>
                <a:gd name="T37" fmla="*/ 238 h 380"/>
                <a:gd name="T38" fmla="*/ 48 w 394"/>
                <a:gd name="T39" fmla="*/ 139 h 380"/>
                <a:gd name="T40" fmla="*/ 81 w 394"/>
                <a:gd name="T41" fmla="*/ 269 h 380"/>
                <a:gd name="T42" fmla="*/ 194 w 394"/>
                <a:gd name="T43" fmla="*/ 307 h 380"/>
                <a:gd name="T44" fmla="*/ 201 w 394"/>
                <a:gd name="T45" fmla="*/ 306 h 380"/>
                <a:gd name="T46" fmla="*/ 255 w 394"/>
                <a:gd name="T47" fmla="*/ 360 h 380"/>
                <a:gd name="T48" fmla="*/ 234 w 394"/>
                <a:gd name="T49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4" h="380">
                  <a:moveTo>
                    <a:pt x="234" y="380"/>
                  </a:moveTo>
                  <a:cubicBezTo>
                    <a:pt x="190" y="337"/>
                    <a:pt x="190" y="337"/>
                    <a:pt x="190" y="337"/>
                  </a:cubicBezTo>
                  <a:cubicBezTo>
                    <a:pt x="142" y="341"/>
                    <a:pt x="95" y="325"/>
                    <a:pt x="61" y="290"/>
                  </a:cubicBezTo>
                  <a:cubicBezTo>
                    <a:pt x="12" y="242"/>
                    <a:pt x="0" y="168"/>
                    <a:pt x="29" y="106"/>
                  </a:cubicBezTo>
                  <a:cubicBezTo>
                    <a:pt x="38" y="87"/>
                    <a:pt x="38" y="87"/>
                    <a:pt x="38" y="87"/>
                  </a:cubicBezTo>
                  <a:cubicBezTo>
                    <a:pt x="147" y="197"/>
                    <a:pt x="147" y="197"/>
                    <a:pt x="147" y="197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67" y="0"/>
                    <a:pt x="241" y="13"/>
                    <a:pt x="290" y="61"/>
                  </a:cubicBezTo>
                  <a:cubicBezTo>
                    <a:pt x="330" y="102"/>
                    <a:pt x="346" y="160"/>
                    <a:pt x="332" y="215"/>
                  </a:cubicBezTo>
                  <a:cubicBezTo>
                    <a:pt x="394" y="276"/>
                    <a:pt x="394" y="276"/>
                    <a:pt x="394" y="276"/>
                  </a:cubicBezTo>
                  <a:cubicBezTo>
                    <a:pt x="373" y="297"/>
                    <a:pt x="373" y="297"/>
                    <a:pt x="373" y="297"/>
                  </a:cubicBezTo>
                  <a:cubicBezTo>
                    <a:pt x="299" y="223"/>
                    <a:pt x="299" y="223"/>
                    <a:pt x="299" y="223"/>
                  </a:cubicBezTo>
                  <a:cubicBezTo>
                    <a:pt x="302" y="215"/>
                    <a:pt x="302" y="215"/>
                    <a:pt x="302" y="215"/>
                  </a:cubicBezTo>
                  <a:cubicBezTo>
                    <a:pt x="316" y="168"/>
                    <a:pt x="304" y="117"/>
                    <a:pt x="269" y="82"/>
                  </a:cubicBezTo>
                  <a:cubicBezTo>
                    <a:pt x="234" y="47"/>
                    <a:pt x="184" y="35"/>
                    <a:pt x="138" y="48"/>
                  </a:cubicBezTo>
                  <a:cubicBezTo>
                    <a:pt x="237" y="148"/>
                    <a:pt x="237" y="148"/>
                    <a:pt x="237" y="148"/>
                  </a:cubicBezTo>
                  <a:cubicBezTo>
                    <a:pt x="147" y="238"/>
                    <a:pt x="147" y="238"/>
                    <a:pt x="147" y="238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34" y="184"/>
                    <a:pt x="47" y="235"/>
                    <a:pt x="81" y="269"/>
                  </a:cubicBezTo>
                  <a:cubicBezTo>
                    <a:pt x="111" y="299"/>
                    <a:pt x="152" y="313"/>
                    <a:pt x="194" y="307"/>
                  </a:cubicBezTo>
                  <a:cubicBezTo>
                    <a:pt x="201" y="306"/>
                    <a:pt x="201" y="306"/>
                    <a:pt x="201" y="306"/>
                  </a:cubicBezTo>
                  <a:cubicBezTo>
                    <a:pt x="255" y="360"/>
                    <a:pt x="255" y="360"/>
                    <a:pt x="255" y="360"/>
                  </a:cubicBezTo>
                  <a:cubicBezTo>
                    <a:pt x="234" y="380"/>
                    <a:pt x="234" y="380"/>
                    <a:pt x="234" y="3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" name="Group 46">
            <a:extLst>
              <a:ext uri="{FF2B5EF4-FFF2-40B4-BE49-F238E27FC236}">
                <a16:creationId xmlns:a16="http://schemas.microsoft.com/office/drawing/2014/main" id="{7FFD65E2-F8AC-B547-98F5-AC1C7575E5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10189" y="4716298"/>
            <a:ext cx="352244" cy="334630"/>
            <a:chOff x="8447088" y="5483225"/>
            <a:chExt cx="476249" cy="452437"/>
          </a:xfrm>
          <a:solidFill>
            <a:schemeClr val="bg2"/>
          </a:solidFill>
        </p:grpSpPr>
        <p:sp>
          <p:nvSpPr>
            <p:cNvPr id="39" name="Freeform 319">
              <a:extLst>
                <a:ext uri="{FF2B5EF4-FFF2-40B4-BE49-F238E27FC236}">
                  <a16:creationId xmlns:a16="http://schemas.microsoft.com/office/drawing/2014/main" id="{42BD9313-43D6-D945-AA8E-2C5D43CD68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2500" y="5610225"/>
              <a:ext cx="350837" cy="325437"/>
            </a:xfrm>
            <a:custGeom>
              <a:avLst/>
              <a:gdLst>
                <a:gd name="T0" fmla="*/ 403 w 614"/>
                <a:gd name="T1" fmla="*/ 567 h 567"/>
                <a:gd name="T2" fmla="*/ 324 w 614"/>
                <a:gd name="T3" fmla="*/ 548 h 567"/>
                <a:gd name="T4" fmla="*/ 47 w 614"/>
                <a:gd name="T5" fmla="*/ 418 h 567"/>
                <a:gd name="T6" fmla="*/ 12 w 614"/>
                <a:gd name="T7" fmla="*/ 380 h 567"/>
                <a:gd name="T8" fmla="*/ 15 w 614"/>
                <a:gd name="T9" fmla="*/ 329 h 567"/>
                <a:gd name="T10" fmla="*/ 17 w 614"/>
                <a:gd name="T11" fmla="*/ 325 h 567"/>
                <a:gd name="T12" fmla="*/ 20 w 614"/>
                <a:gd name="T13" fmla="*/ 322 h 567"/>
                <a:gd name="T14" fmla="*/ 95 w 614"/>
                <a:gd name="T15" fmla="*/ 305 h 567"/>
                <a:gd name="T16" fmla="*/ 137 w 614"/>
                <a:gd name="T17" fmla="*/ 312 h 567"/>
                <a:gd name="T18" fmla="*/ 145 w 614"/>
                <a:gd name="T19" fmla="*/ 316 h 567"/>
                <a:gd name="T20" fmla="*/ 12 w 614"/>
                <a:gd name="T21" fmla="*/ 102 h 567"/>
                <a:gd name="T22" fmla="*/ 4 w 614"/>
                <a:gd name="T23" fmla="*/ 52 h 567"/>
                <a:gd name="T24" fmla="*/ 34 w 614"/>
                <a:gd name="T25" fmla="*/ 10 h 567"/>
                <a:gd name="T26" fmla="*/ 69 w 614"/>
                <a:gd name="T27" fmla="*/ 0 h 567"/>
                <a:gd name="T28" fmla="*/ 126 w 614"/>
                <a:gd name="T29" fmla="*/ 32 h 567"/>
                <a:gd name="T30" fmla="*/ 185 w 614"/>
                <a:gd name="T31" fmla="*/ 127 h 567"/>
                <a:gd name="T32" fmla="*/ 202 w 614"/>
                <a:gd name="T33" fmla="*/ 112 h 567"/>
                <a:gd name="T34" fmla="*/ 269 w 614"/>
                <a:gd name="T35" fmla="*/ 110 h 567"/>
                <a:gd name="T36" fmla="*/ 294 w 614"/>
                <a:gd name="T37" fmla="*/ 82 h 567"/>
                <a:gd name="T38" fmla="*/ 361 w 614"/>
                <a:gd name="T39" fmla="*/ 80 h 567"/>
                <a:gd name="T40" fmla="*/ 386 w 614"/>
                <a:gd name="T41" fmla="*/ 52 h 567"/>
                <a:gd name="T42" fmla="*/ 422 w 614"/>
                <a:gd name="T43" fmla="*/ 42 h 567"/>
                <a:gd name="T44" fmla="*/ 479 w 614"/>
                <a:gd name="T45" fmla="*/ 75 h 567"/>
                <a:gd name="T46" fmla="*/ 580 w 614"/>
                <a:gd name="T47" fmla="*/ 260 h 567"/>
                <a:gd name="T48" fmla="*/ 574 w 614"/>
                <a:gd name="T49" fmla="*/ 463 h 567"/>
                <a:gd name="T50" fmla="*/ 403 w 614"/>
                <a:gd name="T51" fmla="*/ 567 h 567"/>
                <a:gd name="T52" fmla="*/ 40 w 614"/>
                <a:gd name="T53" fmla="*/ 345 h 567"/>
                <a:gd name="T54" fmla="*/ 40 w 614"/>
                <a:gd name="T55" fmla="*/ 370 h 567"/>
                <a:gd name="T56" fmla="*/ 59 w 614"/>
                <a:gd name="T57" fmla="*/ 391 h 567"/>
                <a:gd name="T58" fmla="*/ 337 w 614"/>
                <a:gd name="T59" fmla="*/ 522 h 567"/>
                <a:gd name="T60" fmla="*/ 403 w 614"/>
                <a:gd name="T61" fmla="*/ 537 h 567"/>
                <a:gd name="T62" fmla="*/ 548 w 614"/>
                <a:gd name="T63" fmla="*/ 448 h 567"/>
                <a:gd name="T64" fmla="*/ 554 w 614"/>
                <a:gd name="T65" fmla="*/ 274 h 567"/>
                <a:gd name="T66" fmla="*/ 453 w 614"/>
                <a:gd name="T67" fmla="*/ 89 h 567"/>
                <a:gd name="T68" fmla="*/ 402 w 614"/>
                <a:gd name="T69" fmla="*/ 77 h 567"/>
                <a:gd name="T70" fmla="*/ 384 w 614"/>
                <a:gd name="T71" fmla="*/ 106 h 567"/>
                <a:gd name="T72" fmla="*/ 381 w 614"/>
                <a:gd name="T73" fmla="*/ 142 h 567"/>
                <a:gd name="T74" fmla="*/ 358 w 614"/>
                <a:gd name="T75" fmla="*/ 115 h 567"/>
                <a:gd name="T76" fmla="*/ 310 w 614"/>
                <a:gd name="T77" fmla="*/ 107 h 567"/>
                <a:gd name="T78" fmla="*/ 292 w 614"/>
                <a:gd name="T79" fmla="*/ 136 h 567"/>
                <a:gd name="T80" fmla="*/ 289 w 614"/>
                <a:gd name="T81" fmla="*/ 172 h 567"/>
                <a:gd name="T82" fmla="*/ 266 w 614"/>
                <a:gd name="T83" fmla="*/ 145 h 567"/>
                <a:gd name="T84" fmla="*/ 218 w 614"/>
                <a:gd name="T85" fmla="*/ 137 h 567"/>
                <a:gd name="T86" fmla="*/ 201 w 614"/>
                <a:gd name="T87" fmla="*/ 161 h 567"/>
                <a:gd name="T88" fmla="*/ 193 w 614"/>
                <a:gd name="T89" fmla="*/ 197 h 567"/>
                <a:gd name="T90" fmla="*/ 101 w 614"/>
                <a:gd name="T91" fmla="*/ 47 h 567"/>
                <a:gd name="T92" fmla="*/ 49 w 614"/>
                <a:gd name="T93" fmla="*/ 35 h 567"/>
                <a:gd name="T94" fmla="*/ 33 w 614"/>
                <a:gd name="T95" fmla="*/ 58 h 567"/>
                <a:gd name="T96" fmla="*/ 37 w 614"/>
                <a:gd name="T97" fmla="*/ 87 h 567"/>
                <a:gd name="T98" fmla="*/ 222 w 614"/>
                <a:gd name="T99" fmla="*/ 385 h 567"/>
                <a:gd name="T100" fmla="*/ 124 w 614"/>
                <a:gd name="T101" fmla="*/ 339 h 567"/>
                <a:gd name="T102" fmla="*/ 40 w 614"/>
                <a:gd name="T103" fmla="*/ 345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14" h="567">
                  <a:moveTo>
                    <a:pt x="403" y="567"/>
                  </a:moveTo>
                  <a:cubicBezTo>
                    <a:pt x="377" y="567"/>
                    <a:pt x="350" y="561"/>
                    <a:pt x="324" y="548"/>
                  </a:cubicBezTo>
                  <a:cubicBezTo>
                    <a:pt x="47" y="418"/>
                    <a:pt x="47" y="418"/>
                    <a:pt x="47" y="418"/>
                  </a:cubicBezTo>
                  <a:cubicBezTo>
                    <a:pt x="31" y="410"/>
                    <a:pt x="19" y="397"/>
                    <a:pt x="12" y="380"/>
                  </a:cubicBezTo>
                  <a:cubicBezTo>
                    <a:pt x="6" y="363"/>
                    <a:pt x="7" y="345"/>
                    <a:pt x="15" y="329"/>
                  </a:cubicBezTo>
                  <a:cubicBezTo>
                    <a:pt x="17" y="325"/>
                    <a:pt x="17" y="325"/>
                    <a:pt x="17" y="325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38" y="312"/>
                    <a:pt x="67" y="305"/>
                    <a:pt x="95" y="305"/>
                  </a:cubicBezTo>
                  <a:cubicBezTo>
                    <a:pt x="106" y="305"/>
                    <a:pt x="123" y="306"/>
                    <a:pt x="137" y="312"/>
                  </a:cubicBezTo>
                  <a:cubicBezTo>
                    <a:pt x="145" y="316"/>
                    <a:pt x="145" y="316"/>
                    <a:pt x="145" y="31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3" y="87"/>
                    <a:pt x="0" y="69"/>
                    <a:pt x="4" y="52"/>
                  </a:cubicBezTo>
                  <a:cubicBezTo>
                    <a:pt x="8" y="34"/>
                    <a:pt x="19" y="19"/>
                    <a:pt x="34" y="10"/>
                  </a:cubicBezTo>
                  <a:cubicBezTo>
                    <a:pt x="44" y="4"/>
                    <a:pt x="57" y="0"/>
                    <a:pt x="69" y="0"/>
                  </a:cubicBezTo>
                  <a:cubicBezTo>
                    <a:pt x="92" y="0"/>
                    <a:pt x="114" y="12"/>
                    <a:pt x="126" y="32"/>
                  </a:cubicBezTo>
                  <a:cubicBezTo>
                    <a:pt x="185" y="127"/>
                    <a:pt x="185" y="127"/>
                    <a:pt x="185" y="127"/>
                  </a:cubicBezTo>
                  <a:cubicBezTo>
                    <a:pt x="190" y="121"/>
                    <a:pt x="196" y="116"/>
                    <a:pt x="202" y="112"/>
                  </a:cubicBezTo>
                  <a:cubicBezTo>
                    <a:pt x="223" y="99"/>
                    <a:pt x="249" y="99"/>
                    <a:pt x="269" y="110"/>
                  </a:cubicBezTo>
                  <a:cubicBezTo>
                    <a:pt x="275" y="99"/>
                    <a:pt x="283" y="89"/>
                    <a:pt x="294" y="82"/>
                  </a:cubicBezTo>
                  <a:cubicBezTo>
                    <a:pt x="314" y="70"/>
                    <a:pt x="341" y="69"/>
                    <a:pt x="361" y="80"/>
                  </a:cubicBezTo>
                  <a:cubicBezTo>
                    <a:pt x="367" y="69"/>
                    <a:pt x="375" y="59"/>
                    <a:pt x="386" y="52"/>
                  </a:cubicBezTo>
                  <a:cubicBezTo>
                    <a:pt x="397" y="46"/>
                    <a:pt x="409" y="42"/>
                    <a:pt x="422" y="42"/>
                  </a:cubicBezTo>
                  <a:cubicBezTo>
                    <a:pt x="446" y="42"/>
                    <a:pt x="468" y="54"/>
                    <a:pt x="479" y="75"/>
                  </a:cubicBezTo>
                  <a:cubicBezTo>
                    <a:pt x="580" y="260"/>
                    <a:pt x="580" y="260"/>
                    <a:pt x="580" y="260"/>
                  </a:cubicBezTo>
                  <a:cubicBezTo>
                    <a:pt x="614" y="322"/>
                    <a:pt x="612" y="399"/>
                    <a:pt x="574" y="463"/>
                  </a:cubicBezTo>
                  <a:cubicBezTo>
                    <a:pt x="536" y="527"/>
                    <a:pt x="471" y="567"/>
                    <a:pt x="403" y="567"/>
                  </a:cubicBezTo>
                  <a:close/>
                  <a:moveTo>
                    <a:pt x="40" y="345"/>
                  </a:moveTo>
                  <a:cubicBezTo>
                    <a:pt x="37" y="353"/>
                    <a:pt x="37" y="362"/>
                    <a:pt x="40" y="370"/>
                  </a:cubicBezTo>
                  <a:cubicBezTo>
                    <a:pt x="43" y="379"/>
                    <a:pt x="50" y="387"/>
                    <a:pt x="59" y="391"/>
                  </a:cubicBezTo>
                  <a:cubicBezTo>
                    <a:pt x="337" y="522"/>
                    <a:pt x="337" y="522"/>
                    <a:pt x="337" y="522"/>
                  </a:cubicBezTo>
                  <a:cubicBezTo>
                    <a:pt x="358" y="532"/>
                    <a:pt x="381" y="537"/>
                    <a:pt x="403" y="537"/>
                  </a:cubicBezTo>
                  <a:cubicBezTo>
                    <a:pt x="460" y="537"/>
                    <a:pt x="516" y="503"/>
                    <a:pt x="548" y="448"/>
                  </a:cubicBezTo>
                  <a:cubicBezTo>
                    <a:pt x="581" y="393"/>
                    <a:pt x="584" y="327"/>
                    <a:pt x="554" y="274"/>
                  </a:cubicBezTo>
                  <a:cubicBezTo>
                    <a:pt x="453" y="89"/>
                    <a:pt x="453" y="89"/>
                    <a:pt x="453" y="89"/>
                  </a:cubicBezTo>
                  <a:cubicBezTo>
                    <a:pt x="444" y="72"/>
                    <a:pt x="419" y="67"/>
                    <a:pt x="402" y="77"/>
                  </a:cubicBezTo>
                  <a:cubicBezTo>
                    <a:pt x="392" y="83"/>
                    <a:pt x="385" y="94"/>
                    <a:pt x="384" y="106"/>
                  </a:cubicBezTo>
                  <a:cubicBezTo>
                    <a:pt x="381" y="142"/>
                    <a:pt x="381" y="142"/>
                    <a:pt x="381" y="142"/>
                  </a:cubicBezTo>
                  <a:cubicBezTo>
                    <a:pt x="358" y="115"/>
                    <a:pt x="358" y="115"/>
                    <a:pt x="358" y="115"/>
                  </a:cubicBezTo>
                  <a:cubicBezTo>
                    <a:pt x="347" y="101"/>
                    <a:pt x="325" y="97"/>
                    <a:pt x="310" y="107"/>
                  </a:cubicBezTo>
                  <a:cubicBezTo>
                    <a:pt x="300" y="113"/>
                    <a:pt x="293" y="124"/>
                    <a:pt x="292" y="136"/>
                  </a:cubicBezTo>
                  <a:cubicBezTo>
                    <a:pt x="289" y="172"/>
                    <a:pt x="289" y="172"/>
                    <a:pt x="289" y="172"/>
                  </a:cubicBezTo>
                  <a:cubicBezTo>
                    <a:pt x="266" y="145"/>
                    <a:pt x="266" y="145"/>
                    <a:pt x="266" y="145"/>
                  </a:cubicBezTo>
                  <a:cubicBezTo>
                    <a:pt x="255" y="131"/>
                    <a:pt x="233" y="127"/>
                    <a:pt x="218" y="137"/>
                  </a:cubicBezTo>
                  <a:cubicBezTo>
                    <a:pt x="209" y="142"/>
                    <a:pt x="203" y="151"/>
                    <a:pt x="201" y="161"/>
                  </a:cubicBezTo>
                  <a:cubicBezTo>
                    <a:pt x="193" y="197"/>
                    <a:pt x="193" y="197"/>
                    <a:pt x="193" y="197"/>
                  </a:cubicBezTo>
                  <a:cubicBezTo>
                    <a:pt x="101" y="47"/>
                    <a:pt x="101" y="47"/>
                    <a:pt x="101" y="47"/>
                  </a:cubicBezTo>
                  <a:cubicBezTo>
                    <a:pt x="91" y="30"/>
                    <a:pt x="66" y="24"/>
                    <a:pt x="49" y="35"/>
                  </a:cubicBezTo>
                  <a:cubicBezTo>
                    <a:pt x="41" y="40"/>
                    <a:pt x="35" y="49"/>
                    <a:pt x="33" y="58"/>
                  </a:cubicBezTo>
                  <a:cubicBezTo>
                    <a:pt x="30" y="68"/>
                    <a:pt x="32" y="78"/>
                    <a:pt x="37" y="87"/>
                  </a:cubicBezTo>
                  <a:cubicBezTo>
                    <a:pt x="222" y="385"/>
                    <a:pt x="222" y="385"/>
                    <a:pt x="222" y="385"/>
                  </a:cubicBezTo>
                  <a:cubicBezTo>
                    <a:pt x="124" y="339"/>
                    <a:pt x="124" y="339"/>
                    <a:pt x="124" y="339"/>
                  </a:cubicBezTo>
                  <a:cubicBezTo>
                    <a:pt x="106" y="330"/>
                    <a:pt x="62" y="334"/>
                    <a:pt x="40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20">
              <a:extLst>
                <a:ext uri="{FF2B5EF4-FFF2-40B4-BE49-F238E27FC236}">
                  <a16:creationId xmlns:a16="http://schemas.microsoft.com/office/drawing/2014/main" id="{038FFEF5-8F91-0C46-AC2F-158147929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5548313"/>
              <a:ext cx="188912" cy="185737"/>
            </a:xfrm>
            <a:custGeom>
              <a:avLst/>
              <a:gdLst>
                <a:gd name="T0" fmla="*/ 111 w 330"/>
                <a:gd name="T1" fmla="*/ 323 h 323"/>
                <a:gd name="T2" fmla="*/ 0 w 330"/>
                <a:gd name="T3" fmla="*/ 166 h 323"/>
                <a:gd name="T4" fmla="*/ 166 w 330"/>
                <a:gd name="T5" fmla="*/ 0 h 323"/>
                <a:gd name="T6" fmla="*/ 330 w 330"/>
                <a:gd name="T7" fmla="*/ 141 h 323"/>
                <a:gd name="T8" fmla="*/ 301 w 330"/>
                <a:gd name="T9" fmla="*/ 145 h 323"/>
                <a:gd name="T10" fmla="*/ 166 w 330"/>
                <a:gd name="T11" fmla="*/ 29 h 323"/>
                <a:gd name="T12" fmla="*/ 29 w 330"/>
                <a:gd name="T13" fmla="*/ 166 h 323"/>
                <a:gd name="T14" fmla="*/ 120 w 330"/>
                <a:gd name="T15" fmla="*/ 295 h 323"/>
                <a:gd name="T16" fmla="*/ 111 w 33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0" h="323">
                  <a:moveTo>
                    <a:pt x="111" y="323"/>
                  </a:moveTo>
                  <a:cubicBezTo>
                    <a:pt x="44" y="299"/>
                    <a:pt x="0" y="236"/>
                    <a:pt x="0" y="166"/>
                  </a:cubicBezTo>
                  <a:cubicBezTo>
                    <a:pt x="0" y="74"/>
                    <a:pt x="74" y="0"/>
                    <a:pt x="166" y="0"/>
                  </a:cubicBezTo>
                  <a:cubicBezTo>
                    <a:pt x="247" y="0"/>
                    <a:pt x="318" y="60"/>
                    <a:pt x="330" y="141"/>
                  </a:cubicBezTo>
                  <a:cubicBezTo>
                    <a:pt x="301" y="145"/>
                    <a:pt x="301" y="145"/>
                    <a:pt x="301" y="145"/>
                  </a:cubicBezTo>
                  <a:cubicBezTo>
                    <a:pt x="291" y="79"/>
                    <a:pt x="233" y="29"/>
                    <a:pt x="166" y="29"/>
                  </a:cubicBezTo>
                  <a:cubicBezTo>
                    <a:pt x="91" y="29"/>
                    <a:pt x="29" y="90"/>
                    <a:pt x="29" y="166"/>
                  </a:cubicBezTo>
                  <a:cubicBezTo>
                    <a:pt x="29" y="224"/>
                    <a:pt x="66" y="276"/>
                    <a:pt x="120" y="295"/>
                  </a:cubicBezTo>
                  <a:cubicBezTo>
                    <a:pt x="111" y="323"/>
                    <a:pt x="111" y="323"/>
                    <a:pt x="111" y="3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321">
              <a:extLst>
                <a:ext uri="{FF2B5EF4-FFF2-40B4-BE49-F238E27FC236}">
                  <a16:creationId xmlns:a16="http://schemas.microsoft.com/office/drawing/2014/main" id="{15124FF1-9E95-B84C-BE8E-1D612AB17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483225"/>
              <a:ext cx="314325" cy="304800"/>
            </a:xfrm>
            <a:custGeom>
              <a:avLst/>
              <a:gdLst>
                <a:gd name="T0" fmla="*/ 162 w 550"/>
                <a:gd name="T1" fmla="*/ 534 h 534"/>
                <a:gd name="T2" fmla="*/ 0 w 550"/>
                <a:gd name="T3" fmla="*/ 280 h 534"/>
                <a:gd name="T4" fmla="*/ 280 w 550"/>
                <a:gd name="T5" fmla="*/ 0 h 534"/>
                <a:gd name="T6" fmla="*/ 550 w 550"/>
                <a:gd name="T7" fmla="*/ 209 h 534"/>
                <a:gd name="T8" fmla="*/ 522 w 550"/>
                <a:gd name="T9" fmla="*/ 216 h 534"/>
                <a:gd name="T10" fmla="*/ 280 w 550"/>
                <a:gd name="T11" fmla="*/ 30 h 534"/>
                <a:gd name="T12" fmla="*/ 29 w 550"/>
                <a:gd name="T13" fmla="*/ 280 h 534"/>
                <a:gd name="T14" fmla="*/ 175 w 550"/>
                <a:gd name="T15" fmla="*/ 507 h 534"/>
                <a:gd name="T16" fmla="*/ 162 w 550"/>
                <a:gd name="T17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534">
                  <a:moveTo>
                    <a:pt x="162" y="534"/>
                  </a:moveTo>
                  <a:cubicBezTo>
                    <a:pt x="64" y="488"/>
                    <a:pt x="0" y="389"/>
                    <a:pt x="0" y="280"/>
                  </a:cubicBezTo>
                  <a:cubicBezTo>
                    <a:pt x="0" y="126"/>
                    <a:pt x="125" y="0"/>
                    <a:pt x="280" y="0"/>
                  </a:cubicBezTo>
                  <a:cubicBezTo>
                    <a:pt x="406" y="0"/>
                    <a:pt x="518" y="86"/>
                    <a:pt x="550" y="209"/>
                  </a:cubicBezTo>
                  <a:cubicBezTo>
                    <a:pt x="522" y="216"/>
                    <a:pt x="522" y="216"/>
                    <a:pt x="522" y="216"/>
                  </a:cubicBezTo>
                  <a:cubicBezTo>
                    <a:pt x="493" y="106"/>
                    <a:pt x="393" y="30"/>
                    <a:pt x="280" y="30"/>
                  </a:cubicBezTo>
                  <a:cubicBezTo>
                    <a:pt x="142" y="30"/>
                    <a:pt x="29" y="142"/>
                    <a:pt x="29" y="280"/>
                  </a:cubicBezTo>
                  <a:cubicBezTo>
                    <a:pt x="29" y="377"/>
                    <a:pt x="86" y="466"/>
                    <a:pt x="175" y="507"/>
                  </a:cubicBezTo>
                  <a:cubicBezTo>
                    <a:pt x="162" y="534"/>
                    <a:pt x="162" y="534"/>
                    <a:pt x="162" y="5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2" name="Freeform 322">
            <a:extLst>
              <a:ext uri="{FF2B5EF4-FFF2-40B4-BE49-F238E27FC236}">
                <a16:creationId xmlns:a16="http://schemas.microsoft.com/office/drawing/2014/main" id="{EB91FB71-0869-0E4A-AE74-831D8D1A04C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912273" y="3519535"/>
            <a:ext cx="347548" cy="318194"/>
          </a:xfrm>
          <a:custGeom>
            <a:avLst/>
            <a:gdLst>
              <a:gd name="T0" fmla="*/ 426 w 822"/>
              <a:gd name="T1" fmla="*/ 752 h 752"/>
              <a:gd name="T2" fmla="*/ 397 w 822"/>
              <a:gd name="T3" fmla="*/ 752 h 752"/>
              <a:gd name="T4" fmla="*/ 397 w 822"/>
              <a:gd name="T5" fmla="*/ 274 h 752"/>
              <a:gd name="T6" fmla="*/ 266 w 822"/>
              <a:gd name="T7" fmla="*/ 406 h 752"/>
              <a:gd name="T8" fmla="*/ 245 w 822"/>
              <a:gd name="T9" fmla="*/ 385 h 752"/>
              <a:gd name="T10" fmla="*/ 411 w 822"/>
              <a:gd name="T11" fmla="*/ 217 h 752"/>
              <a:gd name="T12" fmla="*/ 578 w 822"/>
              <a:gd name="T13" fmla="*/ 385 h 752"/>
              <a:gd name="T14" fmla="*/ 557 w 822"/>
              <a:gd name="T15" fmla="*/ 406 h 752"/>
              <a:gd name="T16" fmla="*/ 426 w 822"/>
              <a:gd name="T17" fmla="*/ 274 h 752"/>
              <a:gd name="T18" fmla="*/ 426 w 822"/>
              <a:gd name="T19" fmla="*/ 752 h 752"/>
              <a:gd name="T20" fmla="*/ 630 w 822"/>
              <a:gd name="T21" fmla="*/ 524 h 752"/>
              <a:gd name="T22" fmla="*/ 540 w 822"/>
              <a:gd name="T23" fmla="*/ 524 h 752"/>
              <a:gd name="T24" fmla="*/ 540 w 822"/>
              <a:gd name="T25" fmla="*/ 495 h 752"/>
              <a:gd name="T26" fmla="*/ 630 w 822"/>
              <a:gd name="T27" fmla="*/ 495 h 752"/>
              <a:gd name="T28" fmla="*/ 793 w 822"/>
              <a:gd name="T29" fmla="*/ 332 h 752"/>
              <a:gd name="T30" fmla="*/ 630 w 822"/>
              <a:gd name="T31" fmla="*/ 170 h 752"/>
              <a:gd name="T32" fmla="*/ 598 w 822"/>
              <a:gd name="T33" fmla="*/ 173 h 752"/>
              <a:gd name="T34" fmla="*/ 585 w 822"/>
              <a:gd name="T35" fmla="*/ 175 h 752"/>
              <a:gd name="T36" fmla="*/ 581 w 822"/>
              <a:gd name="T37" fmla="*/ 164 h 752"/>
              <a:gd name="T38" fmla="*/ 383 w 822"/>
              <a:gd name="T39" fmla="*/ 29 h 752"/>
              <a:gd name="T40" fmla="*/ 171 w 822"/>
              <a:gd name="T41" fmla="*/ 241 h 752"/>
              <a:gd name="T42" fmla="*/ 171 w 822"/>
              <a:gd name="T43" fmla="*/ 260 h 752"/>
              <a:gd name="T44" fmla="*/ 156 w 822"/>
              <a:gd name="T45" fmla="*/ 259 h 752"/>
              <a:gd name="T46" fmla="*/ 148 w 822"/>
              <a:gd name="T47" fmla="*/ 259 h 752"/>
              <a:gd name="T48" fmla="*/ 30 w 822"/>
              <a:gd name="T49" fmla="*/ 377 h 752"/>
              <a:gd name="T50" fmla="*/ 148 w 822"/>
              <a:gd name="T51" fmla="*/ 495 h 752"/>
              <a:gd name="T52" fmla="*/ 269 w 822"/>
              <a:gd name="T53" fmla="*/ 495 h 752"/>
              <a:gd name="T54" fmla="*/ 269 w 822"/>
              <a:gd name="T55" fmla="*/ 524 h 752"/>
              <a:gd name="T56" fmla="*/ 148 w 822"/>
              <a:gd name="T57" fmla="*/ 524 h 752"/>
              <a:gd name="T58" fmla="*/ 0 w 822"/>
              <a:gd name="T59" fmla="*/ 377 h 752"/>
              <a:gd name="T60" fmla="*/ 142 w 822"/>
              <a:gd name="T61" fmla="*/ 229 h 752"/>
              <a:gd name="T62" fmla="*/ 383 w 822"/>
              <a:gd name="T63" fmla="*/ 0 h 752"/>
              <a:gd name="T64" fmla="*/ 604 w 822"/>
              <a:gd name="T65" fmla="*/ 142 h 752"/>
              <a:gd name="T66" fmla="*/ 630 w 822"/>
              <a:gd name="T67" fmla="*/ 140 h 752"/>
              <a:gd name="T68" fmla="*/ 822 w 822"/>
              <a:gd name="T69" fmla="*/ 332 h 752"/>
              <a:gd name="T70" fmla="*/ 630 w 822"/>
              <a:gd name="T71" fmla="*/ 524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22" h="752">
                <a:moveTo>
                  <a:pt x="426" y="752"/>
                </a:moveTo>
                <a:cubicBezTo>
                  <a:pt x="397" y="752"/>
                  <a:pt x="397" y="752"/>
                  <a:pt x="397" y="752"/>
                </a:cubicBezTo>
                <a:cubicBezTo>
                  <a:pt x="397" y="274"/>
                  <a:pt x="397" y="274"/>
                  <a:pt x="397" y="274"/>
                </a:cubicBezTo>
                <a:cubicBezTo>
                  <a:pt x="266" y="406"/>
                  <a:pt x="266" y="406"/>
                  <a:pt x="266" y="406"/>
                </a:cubicBezTo>
                <a:cubicBezTo>
                  <a:pt x="245" y="385"/>
                  <a:pt x="245" y="385"/>
                  <a:pt x="245" y="385"/>
                </a:cubicBezTo>
                <a:cubicBezTo>
                  <a:pt x="411" y="217"/>
                  <a:pt x="411" y="217"/>
                  <a:pt x="411" y="217"/>
                </a:cubicBezTo>
                <a:cubicBezTo>
                  <a:pt x="578" y="385"/>
                  <a:pt x="578" y="385"/>
                  <a:pt x="578" y="385"/>
                </a:cubicBezTo>
                <a:cubicBezTo>
                  <a:pt x="557" y="406"/>
                  <a:pt x="557" y="406"/>
                  <a:pt x="557" y="406"/>
                </a:cubicBezTo>
                <a:cubicBezTo>
                  <a:pt x="426" y="274"/>
                  <a:pt x="426" y="274"/>
                  <a:pt x="426" y="274"/>
                </a:cubicBezTo>
                <a:cubicBezTo>
                  <a:pt x="426" y="752"/>
                  <a:pt x="426" y="752"/>
                  <a:pt x="426" y="752"/>
                </a:cubicBezTo>
                <a:close/>
                <a:moveTo>
                  <a:pt x="630" y="524"/>
                </a:moveTo>
                <a:cubicBezTo>
                  <a:pt x="540" y="524"/>
                  <a:pt x="540" y="524"/>
                  <a:pt x="540" y="524"/>
                </a:cubicBezTo>
                <a:cubicBezTo>
                  <a:pt x="540" y="495"/>
                  <a:pt x="540" y="495"/>
                  <a:pt x="540" y="495"/>
                </a:cubicBezTo>
                <a:cubicBezTo>
                  <a:pt x="630" y="495"/>
                  <a:pt x="630" y="495"/>
                  <a:pt x="630" y="495"/>
                </a:cubicBezTo>
                <a:cubicBezTo>
                  <a:pt x="720" y="495"/>
                  <a:pt x="793" y="422"/>
                  <a:pt x="793" y="332"/>
                </a:cubicBezTo>
                <a:cubicBezTo>
                  <a:pt x="793" y="243"/>
                  <a:pt x="720" y="170"/>
                  <a:pt x="630" y="170"/>
                </a:cubicBezTo>
                <a:cubicBezTo>
                  <a:pt x="619" y="170"/>
                  <a:pt x="608" y="171"/>
                  <a:pt x="598" y="173"/>
                </a:cubicBezTo>
                <a:cubicBezTo>
                  <a:pt x="585" y="175"/>
                  <a:pt x="585" y="175"/>
                  <a:pt x="585" y="175"/>
                </a:cubicBezTo>
                <a:cubicBezTo>
                  <a:pt x="581" y="164"/>
                  <a:pt x="581" y="164"/>
                  <a:pt x="581" y="164"/>
                </a:cubicBezTo>
                <a:cubicBezTo>
                  <a:pt x="549" y="82"/>
                  <a:pt x="471" y="29"/>
                  <a:pt x="383" y="29"/>
                </a:cubicBezTo>
                <a:cubicBezTo>
                  <a:pt x="266" y="29"/>
                  <a:pt x="171" y="124"/>
                  <a:pt x="171" y="241"/>
                </a:cubicBezTo>
                <a:cubicBezTo>
                  <a:pt x="171" y="260"/>
                  <a:pt x="171" y="260"/>
                  <a:pt x="171" y="260"/>
                </a:cubicBezTo>
                <a:cubicBezTo>
                  <a:pt x="156" y="259"/>
                  <a:pt x="156" y="259"/>
                  <a:pt x="156" y="259"/>
                </a:cubicBezTo>
                <a:cubicBezTo>
                  <a:pt x="153" y="259"/>
                  <a:pt x="150" y="259"/>
                  <a:pt x="148" y="259"/>
                </a:cubicBezTo>
                <a:cubicBezTo>
                  <a:pt x="83" y="259"/>
                  <a:pt x="30" y="312"/>
                  <a:pt x="30" y="377"/>
                </a:cubicBezTo>
                <a:cubicBezTo>
                  <a:pt x="30" y="442"/>
                  <a:pt x="83" y="495"/>
                  <a:pt x="148" y="495"/>
                </a:cubicBezTo>
                <a:cubicBezTo>
                  <a:pt x="269" y="495"/>
                  <a:pt x="269" y="495"/>
                  <a:pt x="269" y="495"/>
                </a:cubicBezTo>
                <a:cubicBezTo>
                  <a:pt x="269" y="524"/>
                  <a:pt x="269" y="524"/>
                  <a:pt x="269" y="524"/>
                </a:cubicBezTo>
                <a:cubicBezTo>
                  <a:pt x="148" y="524"/>
                  <a:pt x="148" y="524"/>
                  <a:pt x="148" y="524"/>
                </a:cubicBezTo>
                <a:cubicBezTo>
                  <a:pt x="66" y="524"/>
                  <a:pt x="0" y="458"/>
                  <a:pt x="0" y="377"/>
                </a:cubicBezTo>
                <a:cubicBezTo>
                  <a:pt x="0" y="297"/>
                  <a:pt x="63" y="232"/>
                  <a:pt x="142" y="229"/>
                </a:cubicBezTo>
                <a:cubicBezTo>
                  <a:pt x="148" y="102"/>
                  <a:pt x="254" y="0"/>
                  <a:pt x="383" y="0"/>
                </a:cubicBezTo>
                <a:cubicBezTo>
                  <a:pt x="479" y="0"/>
                  <a:pt x="565" y="55"/>
                  <a:pt x="604" y="142"/>
                </a:cubicBezTo>
                <a:cubicBezTo>
                  <a:pt x="612" y="141"/>
                  <a:pt x="621" y="140"/>
                  <a:pt x="630" y="140"/>
                </a:cubicBezTo>
                <a:cubicBezTo>
                  <a:pt x="736" y="140"/>
                  <a:pt x="822" y="226"/>
                  <a:pt x="822" y="332"/>
                </a:cubicBezTo>
                <a:cubicBezTo>
                  <a:pt x="822" y="438"/>
                  <a:pt x="736" y="524"/>
                  <a:pt x="630" y="52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3" name="Group 55">
            <a:extLst>
              <a:ext uri="{FF2B5EF4-FFF2-40B4-BE49-F238E27FC236}">
                <a16:creationId xmlns:a16="http://schemas.microsoft.com/office/drawing/2014/main" id="{AD9E6139-4FFB-884A-A483-97B9B7C1700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54622" y="2256025"/>
            <a:ext cx="351070" cy="400384"/>
            <a:chOff x="363538" y="3471863"/>
            <a:chExt cx="474662" cy="541337"/>
          </a:xfrm>
          <a:solidFill>
            <a:schemeClr val="bg2"/>
          </a:solidFill>
        </p:grpSpPr>
        <p:sp>
          <p:nvSpPr>
            <p:cNvPr id="44" name="Freeform 248">
              <a:extLst>
                <a:ext uri="{FF2B5EF4-FFF2-40B4-BE49-F238E27FC236}">
                  <a16:creationId xmlns:a16="http://schemas.microsoft.com/office/drawing/2014/main" id="{51250E5C-6A25-FD49-A2E4-176E9A9F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" y="3779838"/>
              <a:ext cx="238125" cy="174625"/>
            </a:xfrm>
            <a:custGeom>
              <a:avLst/>
              <a:gdLst>
                <a:gd name="T0" fmla="*/ 310 w 416"/>
                <a:gd name="T1" fmla="*/ 303 h 303"/>
                <a:gd name="T2" fmla="*/ 263 w 416"/>
                <a:gd name="T3" fmla="*/ 285 h 303"/>
                <a:gd name="T4" fmla="*/ 0 w 416"/>
                <a:gd name="T5" fmla="*/ 21 h 303"/>
                <a:gd name="T6" fmla="*/ 20 w 416"/>
                <a:gd name="T7" fmla="*/ 0 h 303"/>
                <a:gd name="T8" fmla="*/ 284 w 416"/>
                <a:gd name="T9" fmla="*/ 264 h 303"/>
                <a:gd name="T10" fmla="*/ 317 w 416"/>
                <a:gd name="T11" fmla="*/ 273 h 303"/>
                <a:gd name="T12" fmla="*/ 361 w 416"/>
                <a:gd name="T13" fmla="*/ 250 h 303"/>
                <a:gd name="T14" fmla="*/ 385 w 416"/>
                <a:gd name="T15" fmla="*/ 206 h 303"/>
                <a:gd name="T16" fmla="*/ 374 w 416"/>
                <a:gd name="T17" fmla="*/ 174 h 303"/>
                <a:gd name="T18" fmla="*/ 263 w 416"/>
                <a:gd name="T19" fmla="*/ 62 h 303"/>
                <a:gd name="T20" fmla="*/ 284 w 416"/>
                <a:gd name="T21" fmla="*/ 42 h 303"/>
                <a:gd name="T22" fmla="*/ 395 w 416"/>
                <a:gd name="T23" fmla="*/ 153 h 303"/>
                <a:gd name="T24" fmla="*/ 414 w 416"/>
                <a:gd name="T25" fmla="*/ 210 h 303"/>
                <a:gd name="T26" fmla="*/ 383 w 416"/>
                <a:gd name="T27" fmla="*/ 269 h 303"/>
                <a:gd name="T28" fmla="*/ 321 w 416"/>
                <a:gd name="T29" fmla="*/ 302 h 303"/>
                <a:gd name="T30" fmla="*/ 310 w 416"/>
                <a:gd name="T31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6" h="303">
                  <a:moveTo>
                    <a:pt x="310" y="303"/>
                  </a:moveTo>
                  <a:cubicBezTo>
                    <a:pt x="292" y="303"/>
                    <a:pt x="276" y="297"/>
                    <a:pt x="263" y="28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84" y="264"/>
                    <a:pt x="284" y="264"/>
                    <a:pt x="284" y="264"/>
                  </a:cubicBezTo>
                  <a:cubicBezTo>
                    <a:pt x="292" y="272"/>
                    <a:pt x="304" y="275"/>
                    <a:pt x="317" y="273"/>
                  </a:cubicBezTo>
                  <a:cubicBezTo>
                    <a:pt x="332" y="271"/>
                    <a:pt x="348" y="263"/>
                    <a:pt x="361" y="250"/>
                  </a:cubicBezTo>
                  <a:cubicBezTo>
                    <a:pt x="375" y="236"/>
                    <a:pt x="383" y="221"/>
                    <a:pt x="385" y="206"/>
                  </a:cubicBezTo>
                  <a:cubicBezTo>
                    <a:pt x="386" y="193"/>
                    <a:pt x="383" y="182"/>
                    <a:pt x="374" y="174"/>
                  </a:cubicBezTo>
                  <a:cubicBezTo>
                    <a:pt x="263" y="62"/>
                    <a:pt x="263" y="62"/>
                    <a:pt x="263" y="62"/>
                  </a:cubicBezTo>
                  <a:cubicBezTo>
                    <a:pt x="284" y="42"/>
                    <a:pt x="284" y="42"/>
                    <a:pt x="284" y="42"/>
                  </a:cubicBezTo>
                  <a:cubicBezTo>
                    <a:pt x="395" y="153"/>
                    <a:pt x="395" y="153"/>
                    <a:pt x="395" y="153"/>
                  </a:cubicBezTo>
                  <a:cubicBezTo>
                    <a:pt x="410" y="167"/>
                    <a:pt x="416" y="188"/>
                    <a:pt x="414" y="210"/>
                  </a:cubicBezTo>
                  <a:cubicBezTo>
                    <a:pt x="411" y="231"/>
                    <a:pt x="400" y="252"/>
                    <a:pt x="383" y="269"/>
                  </a:cubicBezTo>
                  <a:cubicBezTo>
                    <a:pt x="364" y="288"/>
                    <a:pt x="343" y="299"/>
                    <a:pt x="321" y="302"/>
                  </a:cubicBezTo>
                  <a:cubicBezTo>
                    <a:pt x="318" y="303"/>
                    <a:pt x="314" y="303"/>
                    <a:pt x="310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49">
              <a:extLst>
                <a:ext uri="{FF2B5EF4-FFF2-40B4-BE49-F238E27FC236}">
                  <a16:creationId xmlns:a16="http://schemas.microsoft.com/office/drawing/2014/main" id="{E9CE4410-B741-EA48-BF9D-9FD9359D6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5" y="3632200"/>
              <a:ext cx="73025" cy="65087"/>
            </a:xfrm>
            <a:custGeom>
              <a:avLst/>
              <a:gdLst>
                <a:gd name="T0" fmla="*/ 104 w 128"/>
                <a:gd name="T1" fmla="*/ 114 h 114"/>
                <a:gd name="T2" fmla="*/ 83 w 128"/>
                <a:gd name="T3" fmla="*/ 94 h 114"/>
                <a:gd name="T4" fmla="*/ 97 w 128"/>
                <a:gd name="T5" fmla="*/ 80 h 114"/>
                <a:gd name="T6" fmla="*/ 98 w 128"/>
                <a:gd name="T7" fmla="*/ 76 h 114"/>
                <a:gd name="T8" fmla="*/ 97 w 128"/>
                <a:gd name="T9" fmla="*/ 73 h 114"/>
                <a:gd name="T10" fmla="*/ 55 w 128"/>
                <a:gd name="T11" fmla="*/ 31 h 114"/>
                <a:gd name="T12" fmla="*/ 48 w 128"/>
                <a:gd name="T13" fmla="*/ 31 h 114"/>
                <a:gd name="T14" fmla="*/ 20 w 128"/>
                <a:gd name="T15" fmla="*/ 59 h 114"/>
                <a:gd name="T16" fmla="*/ 0 w 128"/>
                <a:gd name="T17" fmla="*/ 38 h 114"/>
                <a:gd name="T18" fmla="*/ 27 w 128"/>
                <a:gd name="T19" fmla="*/ 10 h 114"/>
                <a:gd name="T20" fmla="*/ 52 w 128"/>
                <a:gd name="T21" fmla="*/ 0 h 114"/>
                <a:gd name="T22" fmla="*/ 52 w 128"/>
                <a:gd name="T23" fmla="*/ 0 h 114"/>
                <a:gd name="T24" fmla="*/ 76 w 128"/>
                <a:gd name="T25" fmla="*/ 10 h 114"/>
                <a:gd name="T26" fmla="*/ 118 w 128"/>
                <a:gd name="T27" fmla="*/ 52 h 114"/>
                <a:gd name="T28" fmla="*/ 128 w 128"/>
                <a:gd name="T29" fmla="*/ 76 h 114"/>
                <a:gd name="T30" fmla="*/ 118 w 128"/>
                <a:gd name="T31" fmla="*/ 100 h 114"/>
                <a:gd name="T32" fmla="*/ 104 w 128"/>
                <a:gd name="T3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8" h="114">
                  <a:moveTo>
                    <a:pt x="104" y="114"/>
                  </a:moveTo>
                  <a:cubicBezTo>
                    <a:pt x="83" y="94"/>
                    <a:pt x="83" y="94"/>
                    <a:pt x="83" y="94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8" y="78"/>
                    <a:pt x="98" y="77"/>
                    <a:pt x="98" y="76"/>
                  </a:cubicBezTo>
                  <a:cubicBezTo>
                    <a:pt x="98" y="75"/>
                    <a:pt x="98" y="74"/>
                    <a:pt x="97" y="73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3" y="28"/>
                    <a:pt x="51" y="28"/>
                    <a:pt x="48" y="31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4" y="4"/>
                    <a:pt x="4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1" y="0"/>
                    <a:pt x="69" y="4"/>
                    <a:pt x="76" y="10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24" y="58"/>
                    <a:pt x="128" y="67"/>
                    <a:pt x="128" y="76"/>
                  </a:cubicBezTo>
                  <a:cubicBezTo>
                    <a:pt x="128" y="85"/>
                    <a:pt x="124" y="94"/>
                    <a:pt x="118" y="100"/>
                  </a:cubicBezTo>
                  <a:cubicBezTo>
                    <a:pt x="104" y="114"/>
                    <a:pt x="104" y="114"/>
                    <a:pt x="104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50">
              <a:extLst>
                <a:ext uri="{FF2B5EF4-FFF2-40B4-BE49-F238E27FC236}">
                  <a16:creationId xmlns:a16="http://schemas.microsoft.com/office/drawing/2014/main" id="{776344B7-B987-0D44-A631-2316CE5D8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" y="3606800"/>
              <a:ext cx="84137" cy="82550"/>
            </a:xfrm>
            <a:custGeom>
              <a:avLst/>
              <a:gdLst>
                <a:gd name="T0" fmla="*/ 90 w 145"/>
                <a:gd name="T1" fmla="*/ 144 h 144"/>
                <a:gd name="T2" fmla="*/ 69 w 145"/>
                <a:gd name="T3" fmla="*/ 124 h 144"/>
                <a:gd name="T4" fmla="*/ 111 w 145"/>
                <a:gd name="T5" fmla="*/ 82 h 144"/>
                <a:gd name="T6" fmla="*/ 111 w 145"/>
                <a:gd name="T7" fmla="*/ 75 h 144"/>
                <a:gd name="T8" fmla="*/ 69 w 145"/>
                <a:gd name="T9" fmla="*/ 33 h 144"/>
                <a:gd name="T10" fmla="*/ 62 w 145"/>
                <a:gd name="T11" fmla="*/ 33 h 144"/>
                <a:gd name="T12" fmla="*/ 20 w 145"/>
                <a:gd name="T13" fmla="*/ 75 h 144"/>
                <a:gd name="T14" fmla="*/ 0 w 145"/>
                <a:gd name="T15" fmla="*/ 54 h 144"/>
                <a:gd name="T16" fmla="*/ 41 w 145"/>
                <a:gd name="T17" fmla="*/ 13 h 144"/>
                <a:gd name="T18" fmla="*/ 90 w 145"/>
                <a:gd name="T19" fmla="*/ 13 h 144"/>
                <a:gd name="T20" fmla="*/ 131 w 145"/>
                <a:gd name="T21" fmla="*/ 54 h 144"/>
                <a:gd name="T22" fmla="*/ 131 w 145"/>
                <a:gd name="T23" fmla="*/ 103 h 144"/>
                <a:gd name="T24" fmla="*/ 90 w 145"/>
                <a:gd name="T2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144">
                  <a:moveTo>
                    <a:pt x="90" y="144"/>
                  </a:moveTo>
                  <a:cubicBezTo>
                    <a:pt x="69" y="124"/>
                    <a:pt x="69" y="124"/>
                    <a:pt x="69" y="124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3" y="80"/>
                    <a:pt x="113" y="77"/>
                    <a:pt x="111" y="75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1"/>
                    <a:pt x="65" y="31"/>
                    <a:pt x="62" y="33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54" y="0"/>
                    <a:pt x="77" y="0"/>
                    <a:pt x="90" y="13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145" y="68"/>
                    <a:pt x="145" y="89"/>
                    <a:pt x="131" y="103"/>
                  </a:cubicBezTo>
                  <a:cubicBezTo>
                    <a:pt x="90" y="144"/>
                    <a:pt x="90" y="144"/>
                    <a:pt x="90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51">
              <a:extLst>
                <a:ext uri="{FF2B5EF4-FFF2-40B4-BE49-F238E27FC236}">
                  <a16:creationId xmlns:a16="http://schemas.microsoft.com/office/drawing/2014/main" id="{CBF1EF73-45B0-9D47-A639-842F25113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813" y="3678238"/>
              <a:ext cx="109537" cy="120650"/>
            </a:xfrm>
            <a:custGeom>
              <a:avLst/>
              <a:gdLst>
                <a:gd name="T0" fmla="*/ 61 w 192"/>
                <a:gd name="T1" fmla="*/ 211 h 211"/>
                <a:gd name="T2" fmla="*/ 37 w 192"/>
                <a:gd name="T3" fmla="*/ 201 h 211"/>
                <a:gd name="T4" fmla="*/ 0 w 192"/>
                <a:gd name="T5" fmla="*/ 166 h 211"/>
                <a:gd name="T6" fmla="*/ 21 w 192"/>
                <a:gd name="T7" fmla="*/ 145 h 211"/>
                <a:gd name="T8" fmla="*/ 57 w 192"/>
                <a:gd name="T9" fmla="*/ 180 h 211"/>
                <a:gd name="T10" fmla="*/ 64 w 192"/>
                <a:gd name="T11" fmla="*/ 180 h 211"/>
                <a:gd name="T12" fmla="*/ 161 w 192"/>
                <a:gd name="T13" fmla="*/ 83 h 211"/>
                <a:gd name="T14" fmla="*/ 161 w 192"/>
                <a:gd name="T15" fmla="*/ 76 h 211"/>
                <a:gd name="T16" fmla="*/ 120 w 192"/>
                <a:gd name="T17" fmla="*/ 34 h 211"/>
                <a:gd name="T18" fmla="*/ 113 w 192"/>
                <a:gd name="T19" fmla="*/ 34 h 211"/>
                <a:gd name="T20" fmla="*/ 57 w 192"/>
                <a:gd name="T21" fmla="*/ 90 h 211"/>
                <a:gd name="T22" fmla="*/ 36 w 192"/>
                <a:gd name="T23" fmla="*/ 69 h 211"/>
                <a:gd name="T24" fmla="*/ 92 w 192"/>
                <a:gd name="T25" fmla="*/ 13 h 211"/>
                <a:gd name="T26" fmla="*/ 140 w 192"/>
                <a:gd name="T27" fmla="*/ 13 h 211"/>
                <a:gd name="T28" fmla="*/ 182 w 192"/>
                <a:gd name="T29" fmla="*/ 55 h 211"/>
                <a:gd name="T30" fmla="*/ 192 w 192"/>
                <a:gd name="T31" fmla="*/ 79 h 211"/>
                <a:gd name="T32" fmla="*/ 182 w 192"/>
                <a:gd name="T33" fmla="*/ 104 h 211"/>
                <a:gd name="T34" fmla="*/ 85 w 192"/>
                <a:gd name="T35" fmla="*/ 201 h 211"/>
                <a:gd name="T36" fmla="*/ 61 w 192"/>
                <a:gd name="T3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11">
                  <a:moveTo>
                    <a:pt x="61" y="211"/>
                  </a:moveTo>
                  <a:cubicBezTo>
                    <a:pt x="52" y="211"/>
                    <a:pt x="43" y="208"/>
                    <a:pt x="37" y="201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57" y="180"/>
                    <a:pt x="57" y="180"/>
                    <a:pt x="57" y="180"/>
                  </a:cubicBezTo>
                  <a:cubicBezTo>
                    <a:pt x="59" y="182"/>
                    <a:pt x="62" y="182"/>
                    <a:pt x="64" y="180"/>
                  </a:cubicBezTo>
                  <a:cubicBezTo>
                    <a:pt x="161" y="83"/>
                    <a:pt x="161" y="83"/>
                    <a:pt x="161" y="83"/>
                  </a:cubicBezTo>
                  <a:cubicBezTo>
                    <a:pt x="163" y="81"/>
                    <a:pt x="163" y="78"/>
                    <a:pt x="161" y="76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8" y="32"/>
                    <a:pt x="115" y="32"/>
                    <a:pt x="113" y="34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36" y="69"/>
                    <a:pt x="36" y="69"/>
                    <a:pt x="36" y="69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105" y="0"/>
                    <a:pt x="127" y="0"/>
                    <a:pt x="140" y="13"/>
                  </a:cubicBezTo>
                  <a:cubicBezTo>
                    <a:pt x="182" y="55"/>
                    <a:pt x="182" y="55"/>
                    <a:pt x="182" y="55"/>
                  </a:cubicBezTo>
                  <a:cubicBezTo>
                    <a:pt x="189" y="62"/>
                    <a:pt x="192" y="70"/>
                    <a:pt x="192" y="79"/>
                  </a:cubicBezTo>
                  <a:cubicBezTo>
                    <a:pt x="192" y="89"/>
                    <a:pt x="189" y="97"/>
                    <a:pt x="182" y="104"/>
                  </a:cubicBezTo>
                  <a:cubicBezTo>
                    <a:pt x="85" y="201"/>
                    <a:pt x="85" y="201"/>
                    <a:pt x="85" y="201"/>
                  </a:cubicBezTo>
                  <a:cubicBezTo>
                    <a:pt x="78" y="208"/>
                    <a:pt x="69" y="211"/>
                    <a:pt x="61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52">
              <a:extLst>
                <a:ext uri="{FF2B5EF4-FFF2-40B4-BE49-F238E27FC236}">
                  <a16:creationId xmlns:a16="http://schemas.microsoft.com/office/drawing/2014/main" id="{22F4A7A1-84D4-974B-9BC1-F079669AB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8" y="3860800"/>
              <a:ext cx="115887" cy="66675"/>
            </a:xfrm>
            <a:custGeom>
              <a:avLst/>
              <a:gdLst>
                <a:gd name="T0" fmla="*/ 20 w 201"/>
                <a:gd name="T1" fmla="*/ 118 h 118"/>
                <a:gd name="T2" fmla="*/ 0 w 201"/>
                <a:gd name="T3" fmla="*/ 97 h 118"/>
                <a:gd name="T4" fmla="*/ 28 w 201"/>
                <a:gd name="T5" fmla="*/ 69 h 118"/>
                <a:gd name="T6" fmla="*/ 85 w 201"/>
                <a:gd name="T7" fmla="*/ 55 h 118"/>
                <a:gd name="T8" fmla="*/ 139 w 201"/>
                <a:gd name="T9" fmla="*/ 42 h 118"/>
                <a:gd name="T10" fmla="*/ 180 w 201"/>
                <a:gd name="T11" fmla="*/ 0 h 118"/>
                <a:gd name="T12" fmla="*/ 201 w 201"/>
                <a:gd name="T13" fmla="*/ 21 h 118"/>
                <a:gd name="T14" fmla="*/ 159 w 201"/>
                <a:gd name="T15" fmla="*/ 62 h 118"/>
                <a:gd name="T16" fmla="*/ 84 w 201"/>
                <a:gd name="T17" fmla="*/ 84 h 118"/>
                <a:gd name="T18" fmla="*/ 48 w 201"/>
                <a:gd name="T19" fmla="*/ 90 h 118"/>
                <a:gd name="T20" fmla="*/ 20 w 201"/>
                <a:gd name="T21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1" h="118">
                  <a:moveTo>
                    <a:pt x="20" y="118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43" y="54"/>
                    <a:pt x="64" y="54"/>
                    <a:pt x="85" y="55"/>
                  </a:cubicBezTo>
                  <a:cubicBezTo>
                    <a:pt x="105" y="55"/>
                    <a:pt x="125" y="55"/>
                    <a:pt x="139" y="42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159" y="62"/>
                    <a:pt x="159" y="62"/>
                    <a:pt x="159" y="62"/>
                  </a:cubicBezTo>
                  <a:cubicBezTo>
                    <a:pt x="137" y="85"/>
                    <a:pt x="108" y="84"/>
                    <a:pt x="84" y="84"/>
                  </a:cubicBezTo>
                  <a:cubicBezTo>
                    <a:pt x="68" y="84"/>
                    <a:pt x="55" y="84"/>
                    <a:pt x="48" y="90"/>
                  </a:cubicBezTo>
                  <a:cubicBezTo>
                    <a:pt x="20" y="118"/>
                    <a:pt x="20" y="118"/>
                    <a:pt x="20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53">
              <a:extLst>
                <a:ext uri="{FF2B5EF4-FFF2-40B4-BE49-F238E27FC236}">
                  <a16:creationId xmlns:a16="http://schemas.microsoft.com/office/drawing/2014/main" id="{E5609A6A-1243-E24C-A7B8-46DF5989C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8" y="3622675"/>
              <a:ext cx="238125" cy="209550"/>
            </a:xfrm>
            <a:custGeom>
              <a:avLst/>
              <a:gdLst>
                <a:gd name="T0" fmla="*/ 215 w 416"/>
                <a:gd name="T1" fmla="*/ 365 h 365"/>
                <a:gd name="T2" fmla="*/ 194 w 416"/>
                <a:gd name="T3" fmla="*/ 344 h 365"/>
                <a:gd name="T4" fmla="*/ 237 w 416"/>
                <a:gd name="T5" fmla="*/ 246 h 365"/>
                <a:gd name="T6" fmla="*/ 208 w 416"/>
                <a:gd name="T7" fmla="*/ 157 h 365"/>
                <a:gd name="T8" fmla="*/ 229 w 416"/>
                <a:gd name="T9" fmla="*/ 136 h 365"/>
                <a:gd name="T10" fmla="*/ 284 w 416"/>
                <a:gd name="T11" fmla="*/ 192 h 365"/>
                <a:gd name="T12" fmla="*/ 345 w 416"/>
                <a:gd name="T13" fmla="*/ 211 h 365"/>
                <a:gd name="T14" fmla="*/ 380 w 416"/>
                <a:gd name="T15" fmla="*/ 191 h 365"/>
                <a:gd name="T16" fmla="*/ 236 w 416"/>
                <a:gd name="T17" fmla="*/ 46 h 365"/>
                <a:gd name="T18" fmla="*/ 183 w 416"/>
                <a:gd name="T19" fmla="*/ 33 h 365"/>
                <a:gd name="T20" fmla="*/ 167 w 416"/>
                <a:gd name="T21" fmla="*/ 35 h 365"/>
                <a:gd name="T22" fmla="*/ 97 w 416"/>
                <a:gd name="T23" fmla="*/ 52 h 365"/>
                <a:gd name="T24" fmla="*/ 72 w 416"/>
                <a:gd name="T25" fmla="*/ 158 h 365"/>
                <a:gd name="T26" fmla="*/ 48 w 416"/>
                <a:gd name="T27" fmla="*/ 282 h 365"/>
                <a:gd name="T28" fmla="*/ 20 w 416"/>
                <a:gd name="T29" fmla="*/ 310 h 365"/>
                <a:gd name="T30" fmla="*/ 0 w 416"/>
                <a:gd name="T31" fmla="*/ 289 h 365"/>
                <a:gd name="T32" fmla="*/ 27 w 416"/>
                <a:gd name="T33" fmla="*/ 261 h 365"/>
                <a:gd name="T34" fmla="*/ 43 w 416"/>
                <a:gd name="T35" fmla="*/ 158 h 365"/>
                <a:gd name="T36" fmla="*/ 79 w 416"/>
                <a:gd name="T37" fmla="*/ 28 h 365"/>
                <a:gd name="T38" fmla="*/ 163 w 416"/>
                <a:gd name="T39" fmla="*/ 6 h 365"/>
                <a:gd name="T40" fmla="*/ 178 w 416"/>
                <a:gd name="T41" fmla="*/ 4 h 365"/>
                <a:gd name="T42" fmla="*/ 256 w 416"/>
                <a:gd name="T43" fmla="*/ 25 h 365"/>
                <a:gd name="T44" fmla="*/ 409 w 416"/>
                <a:gd name="T45" fmla="*/ 178 h 365"/>
                <a:gd name="T46" fmla="*/ 416 w 416"/>
                <a:gd name="T47" fmla="*/ 185 h 365"/>
                <a:gd name="T48" fmla="*/ 412 w 416"/>
                <a:gd name="T49" fmla="*/ 194 h 365"/>
                <a:gd name="T50" fmla="*/ 351 w 416"/>
                <a:gd name="T51" fmla="*/ 240 h 365"/>
                <a:gd name="T52" fmla="*/ 265 w 416"/>
                <a:gd name="T53" fmla="*/ 214 h 365"/>
                <a:gd name="T54" fmla="*/ 267 w 416"/>
                <a:gd name="T55" fmla="*/ 247 h 365"/>
                <a:gd name="T56" fmla="*/ 215 w 416"/>
                <a:gd name="T57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6" h="365">
                  <a:moveTo>
                    <a:pt x="215" y="365"/>
                  </a:moveTo>
                  <a:cubicBezTo>
                    <a:pt x="194" y="344"/>
                    <a:pt x="194" y="344"/>
                    <a:pt x="194" y="344"/>
                  </a:cubicBezTo>
                  <a:cubicBezTo>
                    <a:pt x="220" y="319"/>
                    <a:pt x="235" y="283"/>
                    <a:pt x="237" y="246"/>
                  </a:cubicBezTo>
                  <a:cubicBezTo>
                    <a:pt x="239" y="210"/>
                    <a:pt x="228" y="178"/>
                    <a:pt x="208" y="157"/>
                  </a:cubicBezTo>
                  <a:cubicBezTo>
                    <a:pt x="229" y="136"/>
                    <a:pt x="229" y="136"/>
                    <a:pt x="229" y="136"/>
                  </a:cubicBezTo>
                  <a:cubicBezTo>
                    <a:pt x="284" y="192"/>
                    <a:pt x="284" y="192"/>
                    <a:pt x="284" y="192"/>
                  </a:cubicBezTo>
                  <a:cubicBezTo>
                    <a:pt x="306" y="214"/>
                    <a:pt x="329" y="214"/>
                    <a:pt x="345" y="211"/>
                  </a:cubicBezTo>
                  <a:cubicBezTo>
                    <a:pt x="361" y="208"/>
                    <a:pt x="374" y="199"/>
                    <a:pt x="380" y="191"/>
                  </a:cubicBezTo>
                  <a:cubicBezTo>
                    <a:pt x="347" y="157"/>
                    <a:pt x="236" y="46"/>
                    <a:pt x="236" y="46"/>
                  </a:cubicBezTo>
                  <a:cubicBezTo>
                    <a:pt x="222" y="32"/>
                    <a:pt x="209" y="29"/>
                    <a:pt x="183" y="33"/>
                  </a:cubicBezTo>
                  <a:cubicBezTo>
                    <a:pt x="167" y="35"/>
                    <a:pt x="167" y="35"/>
                    <a:pt x="167" y="35"/>
                  </a:cubicBezTo>
                  <a:cubicBezTo>
                    <a:pt x="143" y="39"/>
                    <a:pt x="107" y="44"/>
                    <a:pt x="97" y="52"/>
                  </a:cubicBezTo>
                  <a:cubicBezTo>
                    <a:pt x="87" y="59"/>
                    <a:pt x="72" y="110"/>
                    <a:pt x="72" y="158"/>
                  </a:cubicBezTo>
                  <a:cubicBezTo>
                    <a:pt x="72" y="181"/>
                    <a:pt x="70" y="260"/>
                    <a:pt x="48" y="282"/>
                  </a:cubicBezTo>
                  <a:cubicBezTo>
                    <a:pt x="20" y="310"/>
                    <a:pt x="20" y="310"/>
                    <a:pt x="20" y="310"/>
                  </a:cubicBezTo>
                  <a:cubicBezTo>
                    <a:pt x="0" y="289"/>
                    <a:pt x="0" y="289"/>
                    <a:pt x="0" y="289"/>
                  </a:cubicBezTo>
                  <a:cubicBezTo>
                    <a:pt x="27" y="261"/>
                    <a:pt x="27" y="261"/>
                    <a:pt x="27" y="261"/>
                  </a:cubicBezTo>
                  <a:cubicBezTo>
                    <a:pt x="32" y="256"/>
                    <a:pt x="43" y="224"/>
                    <a:pt x="43" y="158"/>
                  </a:cubicBezTo>
                  <a:cubicBezTo>
                    <a:pt x="43" y="115"/>
                    <a:pt x="55" y="46"/>
                    <a:pt x="79" y="28"/>
                  </a:cubicBezTo>
                  <a:cubicBezTo>
                    <a:pt x="95" y="17"/>
                    <a:pt x="125" y="12"/>
                    <a:pt x="163" y="6"/>
                  </a:cubicBezTo>
                  <a:cubicBezTo>
                    <a:pt x="178" y="4"/>
                    <a:pt x="178" y="4"/>
                    <a:pt x="178" y="4"/>
                  </a:cubicBezTo>
                  <a:cubicBezTo>
                    <a:pt x="209" y="0"/>
                    <a:pt x="233" y="1"/>
                    <a:pt x="256" y="25"/>
                  </a:cubicBezTo>
                  <a:cubicBezTo>
                    <a:pt x="256" y="25"/>
                    <a:pt x="394" y="163"/>
                    <a:pt x="409" y="178"/>
                  </a:cubicBezTo>
                  <a:cubicBezTo>
                    <a:pt x="416" y="185"/>
                    <a:pt x="416" y="185"/>
                    <a:pt x="416" y="185"/>
                  </a:cubicBezTo>
                  <a:cubicBezTo>
                    <a:pt x="412" y="194"/>
                    <a:pt x="412" y="194"/>
                    <a:pt x="412" y="194"/>
                  </a:cubicBezTo>
                  <a:cubicBezTo>
                    <a:pt x="404" y="215"/>
                    <a:pt x="380" y="233"/>
                    <a:pt x="351" y="240"/>
                  </a:cubicBezTo>
                  <a:cubicBezTo>
                    <a:pt x="320" y="246"/>
                    <a:pt x="289" y="237"/>
                    <a:pt x="265" y="214"/>
                  </a:cubicBezTo>
                  <a:cubicBezTo>
                    <a:pt x="267" y="225"/>
                    <a:pt x="267" y="236"/>
                    <a:pt x="267" y="247"/>
                  </a:cubicBezTo>
                  <a:cubicBezTo>
                    <a:pt x="264" y="292"/>
                    <a:pt x="245" y="335"/>
                    <a:pt x="215" y="3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54">
              <a:extLst>
                <a:ext uri="{FF2B5EF4-FFF2-40B4-BE49-F238E27FC236}">
                  <a16:creationId xmlns:a16="http://schemas.microsoft.com/office/drawing/2014/main" id="{79A70555-E29F-8D46-973F-C118DC635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" y="3724275"/>
              <a:ext cx="120650" cy="122237"/>
            </a:xfrm>
            <a:custGeom>
              <a:avLst/>
              <a:gdLst>
                <a:gd name="T0" fmla="*/ 79 w 211"/>
                <a:gd name="T1" fmla="*/ 211 h 211"/>
                <a:gd name="T2" fmla="*/ 55 w 211"/>
                <a:gd name="T3" fmla="*/ 201 h 211"/>
                <a:gd name="T4" fmla="*/ 13 w 211"/>
                <a:gd name="T5" fmla="*/ 159 h 211"/>
                <a:gd name="T6" fmla="*/ 13 w 211"/>
                <a:gd name="T7" fmla="*/ 111 h 211"/>
                <a:gd name="T8" fmla="*/ 27 w 211"/>
                <a:gd name="T9" fmla="*/ 97 h 211"/>
                <a:gd name="T10" fmla="*/ 48 w 211"/>
                <a:gd name="T11" fmla="*/ 118 h 211"/>
                <a:gd name="T12" fmla="*/ 34 w 211"/>
                <a:gd name="T13" fmla="*/ 132 h 211"/>
                <a:gd name="T14" fmla="*/ 34 w 211"/>
                <a:gd name="T15" fmla="*/ 139 h 211"/>
                <a:gd name="T16" fmla="*/ 76 w 211"/>
                <a:gd name="T17" fmla="*/ 180 h 211"/>
                <a:gd name="T18" fmla="*/ 83 w 211"/>
                <a:gd name="T19" fmla="*/ 180 h 211"/>
                <a:gd name="T20" fmla="*/ 180 w 211"/>
                <a:gd name="T21" fmla="*/ 83 h 211"/>
                <a:gd name="T22" fmla="*/ 180 w 211"/>
                <a:gd name="T23" fmla="*/ 76 h 211"/>
                <a:gd name="T24" fmla="*/ 124 w 211"/>
                <a:gd name="T25" fmla="*/ 21 h 211"/>
                <a:gd name="T26" fmla="*/ 145 w 211"/>
                <a:gd name="T27" fmla="*/ 0 h 211"/>
                <a:gd name="T28" fmla="*/ 201 w 211"/>
                <a:gd name="T29" fmla="*/ 55 h 211"/>
                <a:gd name="T30" fmla="*/ 211 w 211"/>
                <a:gd name="T31" fmla="*/ 80 h 211"/>
                <a:gd name="T32" fmla="*/ 201 w 211"/>
                <a:gd name="T33" fmla="*/ 104 h 211"/>
                <a:gd name="T34" fmla="*/ 103 w 211"/>
                <a:gd name="T35" fmla="*/ 201 h 211"/>
                <a:gd name="T36" fmla="*/ 79 w 211"/>
                <a:gd name="T3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211">
                  <a:moveTo>
                    <a:pt x="79" y="211"/>
                  </a:moveTo>
                  <a:cubicBezTo>
                    <a:pt x="70" y="211"/>
                    <a:pt x="62" y="208"/>
                    <a:pt x="55" y="201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0" y="146"/>
                    <a:pt x="0" y="124"/>
                    <a:pt x="13" y="111"/>
                  </a:cubicBezTo>
                  <a:cubicBezTo>
                    <a:pt x="27" y="97"/>
                    <a:pt x="27" y="97"/>
                    <a:pt x="27" y="97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2" y="133"/>
                    <a:pt x="32" y="137"/>
                    <a:pt x="34" y="139"/>
                  </a:cubicBezTo>
                  <a:cubicBezTo>
                    <a:pt x="76" y="180"/>
                    <a:pt x="76" y="180"/>
                    <a:pt x="76" y="180"/>
                  </a:cubicBezTo>
                  <a:cubicBezTo>
                    <a:pt x="78" y="182"/>
                    <a:pt x="81" y="182"/>
                    <a:pt x="83" y="180"/>
                  </a:cubicBezTo>
                  <a:cubicBezTo>
                    <a:pt x="180" y="83"/>
                    <a:pt x="180" y="83"/>
                    <a:pt x="180" y="83"/>
                  </a:cubicBezTo>
                  <a:cubicBezTo>
                    <a:pt x="182" y="82"/>
                    <a:pt x="182" y="78"/>
                    <a:pt x="180" y="76"/>
                  </a:cubicBezTo>
                  <a:cubicBezTo>
                    <a:pt x="124" y="21"/>
                    <a:pt x="124" y="21"/>
                    <a:pt x="124" y="21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201" y="55"/>
                    <a:pt x="201" y="55"/>
                    <a:pt x="201" y="55"/>
                  </a:cubicBezTo>
                  <a:cubicBezTo>
                    <a:pt x="207" y="62"/>
                    <a:pt x="211" y="71"/>
                    <a:pt x="211" y="80"/>
                  </a:cubicBezTo>
                  <a:cubicBezTo>
                    <a:pt x="211" y="89"/>
                    <a:pt x="207" y="97"/>
                    <a:pt x="201" y="104"/>
                  </a:cubicBezTo>
                  <a:cubicBezTo>
                    <a:pt x="103" y="201"/>
                    <a:pt x="103" y="201"/>
                    <a:pt x="103" y="201"/>
                  </a:cubicBezTo>
                  <a:cubicBezTo>
                    <a:pt x="97" y="208"/>
                    <a:pt x="88" y="211"/>
                    <a:pt x="79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55">
              <a:extLst>
                <a:ext uri="{FF2B5EF4-FFF2-40B4-BE49-F238E27FC236}">
                  <a16:creationId xmlns:a16="http://schemas.microsoft.com/office/drawing/2014/main" id="{4F298C08-E1F0-8B45-9FD1-6AF3DCD1F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413" y="3767138"/>
              <a:ext cx="246062" cy="246062"/>
            </a:xfrm>
            <a:custGeom>
              <a:avLst/>
              <a:gdLst>
                <a:gd name="T0" fmla="*/ 108 w 155"/>
                <a:gd name="T1" fmla="*/ 155 h 155"/>
                <a:gd name="T2" fmla="*/ 0 w 155"/>
                <a:gd name="T3" fmla="*/ 47 h 155"/>
                <a:gd name="T4" fmla="*/ 48 w 155"/>
                <a:gd name="T5" fmla="*/ 0 h 155"/>
                <a:gd name="T6" fmla="*/ 155 w 155"/>
                <a:gd name="T7" fmla="*/ 107 h 155"/>
                <a:gd name="T8" fmla="*/ 108 w 155"/>
                <a:gd name="T9" fmla="*/ 155 h 155"/>
                <a:gd name="T10" fmla="*/ 108 w 155"/>
                <a:gd name="T11" fmla="*/ 155 h 155"/>
                <a:gd name="T12" fmla="*/ 15 w 155"/>
                <a:gd name="T13" fmla="*/ 47 h 155"/>
                <a:gd name="T14" fmla="*/ 108 w 155"/>
                <a:gd name="T15" fmla="*/ 140 h 155"/>
                <a:gd name="T16" fmla="*/ 140 w 155"/>
                <a:gd name="T17" fmla="*/ 107 h 155"/>
                <a:gd name="T18" fmla="*/ 48 w 155"/>
                <a:gd name="T19" fmla="*/ 15 h 155"/>
                <a:gd name="T20" fmla="*/ 15 w 155"/>
                <a:gd name="T21" fmla="*/ 47 h 155"/>
                <a:gd name="T22" fmla="*/ 15 w 155"/>
                <a:gd name="T23" fmla="*/ 4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155">
                  <a:moveTo>
                    <a:pt x="108" y="155"/>
                  </a:moveTo>
                  <a:lnTo>
                    <a:pt x="0" y="47"/>
                  </a:lnTo>
                  <a:lnTo>
                    <a:pt x="48" y="0"/>
                  </a:lnTo>
                  <a:lnTo>
                    <a:pt x="155" y="107"/>
                  </a:lnTo>
                  <a:lnTo>
                    <a:pt x="108" y="155"/>
                  </a:lnTo>
                  <a:lnTo>
                    <a:pt x="108" y="155"/>
                  </a:lnTo>
                  <a:close/>
                  <a:moveTo>
                    <a:pt x="15" y="47"/>
                  </a:moveTo>
                  <a:lnTo>
                    <a:pt x="108" y="140"/>
                  </a:lnTo>
                  <a:lnTo>
                    <a:pt x="140" y="107"/>
                  </a:lnTo>
                  <a:lnTo>
                    <a:pt x="48" y="15"/>
                  </a:lnTo>
                  <a:lnTo>
                    <a:pt x="15" y="47"/>
                  </a:lnTo>
                  <a:lnTo>
                    <a:pt x="15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56">
              <a:extLst>
                <a:ext uri="{FF2B5EF4-FFF2-40B4-BE49-F238E27FC236}">
                  <a16:creationId xmlns:a16="http://schemas.microsoft.com/office/drawing/2014/main" id="{2E587A53-4D3F-3140-A21E-FC864D706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25" y="3876675"/>
              <a:ext cx="36512" cy="34925"/>
            </a:xfrm>
            <a:custGeom>
              <a:avLst/>
              <a:gdLst>
                <a:gd name="T0" fmla="*/ 15 w 23"/>
                <a:gd name="T1" fmla="*/ 22 h 22"/>
                <a:gd name="T2" fmla="*/ 0 w 23"/>
                <a:gd name="T3" fmla="*/ 7 h 22"/>
                <a:gd name="T4" fmla="*/ 8 w 23"/>
                <a:gd name="T5" fmla="*/ 0 h 22"/>
                <a:gd name="T6" fmla="*/ 23 w 23"/>
                <a:gd name="T7" fmla="*/ 14 h 22"/>
                <a:gd name="T8" fmla="*/ 15 w 23"/>
                <a:gd name="T9" fmla="*/ 22 h 22"/>
                <a:gd name="T10" fmla="*/ 15 w 23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15" y="22"/>
                  </a:moveTo>
                  <a:lnTo>
                    <a:pt x="0" y="7"/>
                  </a:lnTo>
                  <a:lnTo>
                    <a:pt x="8" y="0"/>
                  </a:lnTo>
                  <a:lnTo>
                    <a:pt x="23" y="14"/>
                  </a:lnTo>
                  <a:lnTo>
                    <a:pt x="15" y="22"/>
                  </a:lnTo>
                  <a:lnTo>
                    <a:pt x="15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57">
              <a:extLst>
                <a:ext uri="{FF2B5EF4-FFF2-40B4-BE49-F238E27FC236}">
                  <a16:creationId xmlns:a16="http://schemas.microsoft.com/office/drawing/2014/main" id="{BD4C0B8D-92FB-5B42-874C-D65150D46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" y="3827463"/>
              <a:ext cx="26987" cy="28575"/>
            </a:xfrm>
            <a:custGeom>
              <a:avLst/>
              <a:gdLst>
                <a:gd name="T0" fmla="*/ 10 w 17"/>
                <a:gd name="T1" fmla="*/ 18 h 18"/>
                <a:gd name="T2" fmla="*/ 0 w 17"/>
                <a:gd name="T3" fmla="*/ 8 h 18"/>
                <a:gd name="T4" fmla="*/ 8 w 17"/>
                <a:gd name="T5" fmla="*/ 0 h 18"/>
                <a:gd name="T6" fmla="*/ 17 w 17"/>
                <a:gd name="T7" fmla="*/ 10 h 18"/>
                <a:gd name="T8" fmla="*/ 10 w 17"/>
                <a:gd name="T9" fmla="*/ 18 h 18"/>
                <a:gd name="T10" fmla="*/ 10 w 17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0" y="18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17" y="10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58">
              <a:extLst>
                <a:ext uri="{FF2B5EF4-FFF2-40B4-BE49-F238E27FC236}">
                  <a16:creationId xmlns:a16="http://schemas.microsoft.com/office/drawing/2014/main" id="{C69BB5A1-8F29-0541-B68D-A8C20A493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" y="3471863"/>
              <a:ext cx="225425" cy="217487"/>
            </a:xfrm>
            <a:custGeom>
              <a:avLst/>
              <a:gdLst>
                <a:gd name="T0" fmla="*/ 234 w 394"/>
                <a:gd name="T1" fmla="*/ 380 h 380"/>
                <a:gd name="T2" fmla="*/ 190 w 394"/>
                <a:gd name="T3" fmla="*/ 337 h 380"/>
                <a:gd name="T4" fmla="*/ 61 w 394"/>
                <a:gd name="T5" fmla="*/ 290 h 380"/>
                <a:gd name="T6" fmla="*/ 29 w 394"/>
                <a:gd name="T7" fmla="*/ 106 h 380"/>
                <a:gd name="T8" fmla="*/ 38 w 394"/>
                <a:gd name="T9" fmla="*/ 87 h 380"/>
                <a:gd name="T10" fmla="*/ 147 w 394"/>
                <a:gd name="T11" fmla="*/ 197 h 380"/>
                <a:gd name="T12" fmla="*/ 196 w 394"/>
                <a:gd name="T13" fmla="*/ 148 h 380"/>
                <a:gd name="T14" fmla="*/ 87 w 394"/>
                <a:gd name="T15" fmla="*/ 39 h 380"/>
                <a:gd name="T16" fmla="*/ 105 w 394"/>
                <a:gd name="T17" fmla="*/ 30 h 380"/>
                <a:gd name="T18" fmla="*/ 290 w 394"/>
                <a:gd name="T19" fmla="*/ 61 h 380"/>
                <a:gd name="T20" fmla="*/ 332 w 394"/>
                <a:gd name="T21" fmla="*/ 215 h 380"/>
                <a:gd name="T22" fmla="*/ 394 w 394"/>
                <a:gd name="T23" fmla="*/ 276 h 380"/>
                <a:gd name="T24" fmla="*/ 373 w 394"/>
                <a:gd name="T25" fmla="*/ 297 h 380"/>
                <a:gd name="T26" fmla="*/ 299 w 394"/>
                <a:gd name="T27" fmla="*/ 223 h 380"/>
                <a:gd name="T28" fmla="*/ 302 w 394"/>
                <a:gd name="T29" fmla="*/ 215 h 380"/>
                <a:gd name="T30" fmla="*/ 269 w 394"/>
                <a:gd name="T31" fmla="*/ 82 h 380"/>
                <a:gd name="T32" fmla="*/ 138 w 394"/>
                <a:gd name="T33" fmla="*/ 48 h 380"/>
                <a:gd name="T34" fmla="*/ 237 w 394"/>
                <a:gd name="T35" fmla="*/ 148 h 380"/>
                <a:gd name="T36" fmla="*/ 147 w 394"/>
                <a:gd name="T37" fmla="*/ 238 h 380"/>
                <a:gd name="T38" fmla="*/ 48 w 394"/>
                <a:gd name="T39" fmla="*/ 139 h 380"/>
                <a:gd name="T40" fmla="*/ 81 w 394"/>
                <a:gd name="T41" fmla="*/ 269 h 380"/>
                <a:gd name="T42" fmla="*/ 194 w 394"/>
                <a:gd name="T43" fmla="*/ 307 h 380"/>
                <a:gd name="T44" fmla="*/ 201 w 394"/>
                <a:gd name="T45" fmla="*/ 306 h 380"/>
                <a:gd name="T46" fmla="*/ 255 w 394"/>
                <a:gd name="T47" fmla="*/ 360 h 380"/>
                <a:gd name="T48" fmla="*/ 234 w 394"/>
                <a:gd name="T49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4" h="380">
                  <a:moveTo>
                    <a:pt x="234" y="380"/>
                  </a:moveTo>
                  <a:cubicBezTo>
                    <a:pt x="190" y="337"/>
                    <a:pt x="190" y="337"/>
                    <a:pt x="190" y="337"/>
                  </a:cubicBezTo>
                  <a:cubicBezTo>
                    <a:pt x="142" y="341"/>
                    <a:pt x="95" y="325"/>
                    <a:pt x="61" y="290"/>
                  </a:cubicBezTo>
                  <a:cubicBezTo>
                    <a:pt x="12" y="242"/>
                    <a:pt x="0" y="168"/>
                    <a:pt x="29" y="106"/>
                  </a:cubicBezTo>
                  <a:cubicBezTo>
                    <a:pt x="38" y="87"/>
                    <a:pt x="38" y="87"/>
                    <a:pt x="38" y="87"/>
                  </a:cubicBezTo>
                  <a:cubicBezTo>
                    <a:pt x="147" y="197"/>
                    <a:pt x="147" y="197"/>
                    <a:pt x="147" y="197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67" y="0"/>
                    <a:pt x="241" y="13"/>
                    <a:pt x="290" y="61"/>
                  </a:cubicBezTo>
                  <a:cubicBezTo>
                    <a:pt x="330" y="102"/>
                    <a:pt x="346" y="160"/>
                    <a:pt x="332" y="215"/>
                  </a:cubicBezTo>
                  <a:cubicBezTo>
                    <a:pt x="394" y="276"/>
                    <a:pt x="394" y="276"/>
                    <a:pt x="394" y="276"/>
                  </a:cubicBezTo>
                  <a:cubicBezTo>
                    <a:pt x="373" y="297"/>
                    <a:pt x="373" y="297"/>
                    <a:pt x="373" y="297"/>
                  </a:cubicBezTo>
                  <a:cubicBezTo>
                    <a:pt x="299" y="223"/>
                    <a:pt x="299" y="223"/>
                    <a:pt x="299" y="223"/>
                  </a:cubicBezTo>
                  <a:cubicBezTo>
                    <a:pt x="302" y="215"/>
                    <a:pt x="302" y="215"/>
                    <a:pt x="302" y="215"/>
                  </a:cubicBezTo>
                  <a:cubicBezTo>
                    <a:pt x="316" y="168"/>
                    <a:pt x="304" y="117"/>
                    <a:pt x="269" y="82"/>
                  </a:cubicBezTo>
                  <a:cubicBezTo>
                    <a:pt x="234" y="47"/>
                    <a:pt x="184" y="35"/>
                    <a:pt x="138" y="48"/>
                  </a:cubicBezTo>
                  <a:cubicBezTo>
                    <a:pt x="237" y="148"/>
                    <a:pt x="237" y="148"/>
                    <a:pt x="237" y="148"/>
                  </a:cubicBezTo>
                  <a:cubicBezTo>
                    <a:pt x="147" y="238"/>
                    <a:pt x="147" y="238"/>
                    <a:pt x="147" y="238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34" y="184"/>
                    <a:pt x="47" y="235"/>
                    <a:pt x="81" y="269"/>
                  </a:cubicBezTo>
                  <a:cubicBezTo>
                    <a:pt x="111" y="299"/>
                    <a:pt x="152" y="313"/>
                    <a:pt x="194" y="307"/>
                  </a:cubicBezTo>
                  <a:cubicBezTo>
                    <a:pt x="201" y="306"/>
                    <a:pt x="201" y="306"/>
                    <a:pt x="201" y="306"/>
                  </a:cubicBezTo>
                  <a:cubicBezTo>
                    <a:pt x="255" y="360"/>
                    <a:pt x="255" y="360"/>
                    <a:pt x="255" y="360"/>
                  </a:cubicBezTo>
                  <a:cubicBezTo>
                    <a:pt x="234" y="380"/>
                    <a:pt x="234" y="380"/>
                    <a:pt x="234" y="3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5" name="Group 77">
            <a:extLst>
              <a:ext uri="{FF2B5EF4-FFF2-40B4-BE49-F238E27FC236}">
                <a16:creationId xmlns:a16="http://schemas.microsoft.com/office/drawing/2014/main" id="{3C43363B-DCEF-6549-87CB-FC804819A8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45229" y="4716298"/>
            <a:ext cx="352244" cy="334630"/>
            <a:chOff x="8447088" y="5483225"/>
            <a:chExt cx="476249" cy="452437"/>
          </a:xfrm>
          <a:solidFill>
            <a:schemeClr val="bg2"/>
          </a:solidFill>
        </p:grpSpPr>
        <p:sp>
          <p:nvSpPr>
            <p:cNvPr id="56" name="Freeform 319">
              <a:extLst>
                <a:ext uri="{FF2B5EF4-FFF2-40B4-BE49-F238E27FC236}">
                  <a16:creationId xmlns:a16="http://schemas.microsoft.com/office/drawing/2014/main" id="{95339DCA-05CC-324E-B983-3A14B52D85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2500" y="5610225"/>
              <a:ext cx="350837" cy="325437"/>
            </a:xfrm>
            <a:custGeom>
              <a:avLst/>
              <a:gdLst>
                <a:gd name="T0" fmla="*/ 403 w 614"/>
                <a:gd name="T1" fmla="*/ 567 h 567"/>
                <a:gd name="T2" fmla="*/ 324 w 614"/>
                <a:gd name="T3" fmla="*/ 548 h 567"/>
                <a:gd name="T4" fmla="*/ 47 w 614"/>
                <a:gd name="T5" fmla="*/ 418 h 567"/>
                <a:gd name="T6" fmla="*/ 12 w 614"/>
                <a:gd name="T7" fmla="*/ 380 h 567"/>
                <a:gd name="T8" fmla="*/ 15 w 614"/>
                <a:gd name="T9" fmla="*/ 329 h 567"/>
                <a:gd name="T10" fmla="*/ 17 w 614"/>
                <a:gd name="T11" fmla="*/ 325 h 567"/>
                <a:gd name="T12" fmla="*/ 20 w 614"/>
                <a:gd name="T13" fmla="*/ 322 h 567"/>
                <a:gd name="T14" fmla="*/ 95 w 614"/>
                <a:gd name="T15" fmla="*/ 305 h 567"/>
                <a:gd name="T16" fmla="*/ 137 w 614"/>
                <a:gd name="T17" fmla="*/ 312 h 567"/>
                <a:gd name="T18" fmla="*/ 145 w 614"/>
                <a:gd name="T19" fmla="*/ 316 h 567"/>
                <a:gd name="T20" fmla="*/ 12 w 614"/>
                <a:gd name="T21" fmla="*/ 102 h 567"/>
                <a:gd name="T22" fmla="*/ 4 w 614"/>
                <a:gd name="T23" fmla="*/ 52 h 567"/>
                <a:gd name="T24" fmla="*/ 34 w 614"/>
                <a:gd name="T25" fmla="*/ 10 h 567"/>
                <a:gd name="T26" fmla="*/ 69 w 614"/>
                <a:gd name="T27" fmla="*/ 0 h 567"/>
                <a:gd name="T28" fmla="*/ 126 w 614"/>
                <a:gd name="T29" fmla="*/ 32 h 567"/>
                <a:gd name="T30" fmla="*/ 185 w 614"/>
                <a:gd name="T31" fmla="*/ 127 h 567"/>
                <a:gd name="T32" fmla="*/ 202 w 614"/>
                <a:gd name="T33" fmla="*/ 112 h 567"/>
                <a:gd name="T34" fmla="*/ 269 w 614"/>
                <a:gd name="T35" fmla="*/ 110 h 567"/>
                <a:gd name="T36" fmla="*/ 294 w 614"/>
                <a:gd name="T37" fmla="*/ 82 h 567"/>
                <a:gd name="T38" fmla="*/ 361 w 614"/>
                <a:gd name="T39" fmla="*/ 80 h 567"/>
                <a:gd name="T40" fmla="*/ 386 w 614"/>
                <a:gd name="T41" fmla="*/ 52 h 567"/>
                <a:gd name="T42" fmla="*/ 422 w 614"/>
                <a:gd name="T43" fmla="*/ 42 h 567"/>
                <a:gd name="T44" fmla="*/ 479 w 614"/>
                <a:gd name="T45" fmla="*/ 75 h 567"/>
                <a:gd name="T46" fmla="*/ 580 w 614"/>
                <a:gd name="T47" fmla="*/ 260 h 567"/>
                <a:gd name="T48" fmla="*/ 574 w 614"/>
                <a:gd name="T49" fmla="*/ 463 h 567"/>
                <a:gd name="T50" fmla="*/ 403 w 614"/>
                <a:gd name="T51" fmla="*/ 567 h 567"/>
                <a:gd name="T52" fmla="*/ 40 w 614"/>
                <a:gd name="T53" fmla="*/ 345 h 567"/>
                <a:gd name="T54" fmla="*/ 40 w 614"/>
                <a:gd name="T55" fmla="*/ 370 h 567"/>
                <a:gd name="T56" fmla="*/ 59 w 614"/>
                <a:gd name="T57" fmla="*/ 391 h 567"/>
                <a:gd name="T58" fmla="*/ 337 w 614"/>
                <a:gd name="T59" fmla="*/ 522 h 567"/>
                <a:gd name="T60" fmla="*/ 403 w 614"/>
                <a:gd name="T61" fmla="*/ 537 h 567"/>
                <a:gd name="T62" fmla="*/ 548 w 614"/>
                <a:gd name="T63" fmla="*/ 448 h 567"/>
                <a:gd name="T64" fmla="*/ 554 w 614"/>
                <a:gd name="T65" fmla="*/ 274 h 567"/>
                <a:gd name="T66" fmla="*/ 453 w 614"/>
                <a:gd name="T67" fmla="*/ 89 h 567"/>
                <a:gd name="T68" fmla="*/ 402 w 614"/>
                <a:gd name="T69" fmla="*/ 77 h 567"/>
                <a:gd name="T70" fmla="*/ 384 w 614"/>
                <a:gd name="T71" fmla="*/ 106 h 567"/>
                <a:gd name="T72" fmla="*/ 381 w 614"/>
                <a:gd name="T73" fmla="*/ 142 h 567"/>
                <a:gd name="T74" fmla="*/ 358 w 614"/>
                <a:gd name="T75" fmla="*/ 115 h 567"/>
                <a:gd name="T76" fmla="*/ 310 w 614"/>
                <a:gd name="T77" fmla="*/ 107 h 567"/>
                <a:gd name="T78" fmla="*/ 292 w 614"/>
                <a:gd name="T79" fmla="*/ 136 h 567"/>
                <a:gd name="T80" fmla="*/ 289 w 614"/>
                <a:gd name="T81" fmla="*/ 172 h 567"/>
                <a:gd name="T82" fmla="*/ 266 w 614"/>
                <a:gd name="T83" fmla="*/ 145 h 567"/>
                <a:gd name="T84" fmla="*/ 218 w 614"/>
                <a:gd name="T85" fmla="*/ 137 h 567"/>
                <a:gd name="T86" fmla="*/ 201 w 614"/>
                <a:gd name="T87" fmla="*/ 161 h 567"/>
                <a:gd name="T88" fmla="*/ 193 w 614"/>
                <a:gd name="T89" fmla="*/ 197 h 567"/>
                <a:gd name="T90" fmla="*/ 101 w 614"/>
                <a:gd name="T91" fmla="*/ 47 h 567"/>
                <a:gd name="T92" fmla="*/ 49 w 614"/>
                <a:gd name="T93" fmla="*/ 35 h 567"/>
                <a:gd name="T94" fmla="*/ 33 w 614"/>
                <a:gd name="T95" fmla="*/ 58 h 567"/>
                <a:gd name="T96" fmla="*/ 37 w 614"/>
                <a:gd name="T97" fmla="*/ 87 h 567"/>
                <a:gd name="T98" fmla="*/ 222 w 614"/>
                <a:gd name="T99" fmla="*/ 385 h 567"/>
                <a:gd name="T100" fmla="*/ 124 w 614"/>
                <a:gd name="T101" fmla="*/ 339 h 567"/>
                <a:gd name="T102" fmla="*/ 40 w 614"/>
                <a:gd name="T103" fmla="*/ 345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14" h="567">
                  <a:moveTo>
                    <a:pt x="403" y="567"/>
                  </a:moveTo>
                  <a:cubicBezTo>
                    <a:pt x="377" y="567"/>
                    <a:pt x="350" y="561"/>
                    <a:pt x="324" y="548"/>
                  </a:cubicBezTo>
                  <a:cubicBezTo>
                    <a:pt x="47" y="418"/>
                    <a:pt x="47" y="418"/>
                    <a:pt x="47" y="418"/>
                  </a:cubicBezTo>
                  <a:cubicBezTo>
                    <a:pt x="31" y="410"/>
                    <a:pt x="19" y="397"/>
                    <a:pt x="12" y="380"/>
                  </a:cubicBezTo>
                  <a:cubicBezTo>
                    <a:pt x="6" y="363"/>
                    <a:pt x="7" y="345"/>
                    <a:pt x="15" y="329"/>
                  </a:cubicBezTo>
                  <a:cubicBezTo>
                    <a:pt x="17" y="325"/>
                    <a:pt x="17" y="325"/>
                    <a:pt x="17" y="325"/>
                  </a:cubicBezTo>
                  <a:cubicBezTo>
                    <a:pt x="20" y="322"/>
                    <a:pt x="20" y="322"/>
                    <a:pt x="20" y="322"/>
                  </a:cubicBezTo>
                  <a:cubicBezTo>
                    <a:pt x="38" y="312"/>
                    <a:pt x="67" y="305"/>
                    <a:pt x="95" y="305"/>
                  </a:cubicBezTo>
                  <a:cubicBezTo>
                    <a:pt x="106" y="305"/>
                    <a:pt x="123" y="306"/>
                    <a:pt x="137" y="312"/>
                  </a:cubicBezTo>
                  <a:cubicBezTo>
                    <a:pt x="145" y="316"/>
                    <a:pt x="145" y="316"/>
                    <a:pt x="145" y="31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3" y="87"/>
                    <a:pt x="0" y="69"/>
                    <a:pt x="4" y="52"/>
                  </a:cubicBezTo>
                  <a:cubicBezTo>
                    <a:pt x="8" y="34"/>
                    <a:pt x="19" y="19"/>
                    <a:pt x="34" y="10"/>
                  </a:cubicBezTo>
                  <a:cubicBezTo>
                    <a:pt x="44" y="4"/>
                    <a:pt x="57" y="0"/>
                    <a:pt x="69" y="0"/>
                  </a:cubicBezTo>
                  <a:cubicBezTo>
                    <a:pt x="92" y="0"/>
                    <a:pt x="114" y="12"/>
                    <a:pt x="126" y="32"/>
                  </a:cubicBezTo>
                  <a:cubicBezTo>
                    <a:pt x="185" y="127"/>
                    <a:pt x="185" y="127"/>
                    <a:pt x="185" y="127"/>
                  </a:cubicBezTo>
                  <a:cubicBezTo>
                    <a:pt x="190" y="121"/>
                    <a:pt x="196" y="116"/>
                    <a:pt x="202" y="112"/>
                  </a:cubicBezTo>
                  <a:cubicBezTo>
                    <a:pt x="223" y="99"/>
                    <a:pt x="249" y="99"/>
                    <a:pt x="269" y="110"/>
                  </a:cubicBezTo>
                  <a:cubicBezTo>
                    <a:pt x="275" y="99"/>
                    <a:pt x="283" y="89"/>
                    <a:pt x="294" y="82"/>
                  </a:cubicBezTo>
                  <a:cubicBezTo>
                    <a:pt x="314" y="70"/>
                    <a:pt x="341" y="69"/>
                    <a:pt x="361" y="80"/>
                  </a:cubicBezTo>
                  <a:cubicBezTo>
                    <a:pt x="367" y="69"/>
                    <a:pt x="375" y="59"/>
                    <a:pt x="386" y="52"/>
                  </a:cubicBezTo>
                  <a:cubicBezTo>
                    <a:pt x="397" y="46"/>
                    <a:pt x="409" y="42"/>
                    <a:pt x="422" y="42"/>
                  </a:cubicBezTo>
                  <a:cubicBezTo>
                    <a:pt x="446" y="42"/>
                    <a:pt x="468" y="54"/>
                    <a:pt x="479" y="75"/>
                  </a:cubicBezTo>
                  <a:cubicBezTo>
                    <a:pt x="580" y="260"/>
                    <a:pt x="580" y="260"/>
                    <a:pt x="580" y="260"/>
                  </a:cubicBezTo>
                  <a:cubicBezTo>
                    <a:pt x="614" y="322"/>
                    <a:pt x="612" y="399"/>
                    <a:pt x="574" y="463"/>
                  </a:cubicBezTo>
                  <a:cubicBezTo>
                    <a:pt x="536" y="527"/>
                    <a:pt x="471" y="567"/>
                    <a:pt x="403" y="567"/>
                  </a:cubicBezTo>
                  <a:close/>
                  <a:moveTo>
                    <a:pt x="40" y="345"/>
                  </a:moveTo>
                  <a:cubicBezTo>
                    <a:pt x="37" y="353"/>
                    <a:pt x="37" y="362"/>
                    <a:pt x="40" y="370"/>
                  </a:cubicBezTo>
                  <a:cubicBezTo>
                    <a:pt x="43" y="379"/>
                    <a:pt x="50" y="387"/>
                    <a:pt x="59" y="391"/>
                  </a:cubicBezTo>
                  <a:cubicBezTo>
                    <a:pt x="337" y="522"/>
                    <a:pt x="337" y="522"/>
                    <a:pt x="337" y="522"/>
                  </a:cubicBezTo>
                  <a:cubicBezTo>
                    <a:pt x="358" y="532"/>
                    <a:pt x="381" y="537"/>
                    <a:pt x="403" y="537"/>
                  </a:cubicBezTo>
                  <a:cubicBezTo>
                    <a:pt x="460" y="537"/>
                    <a:pt x="516" y="503"/>
                    <a:pt x="548" y="448"/>
                  </a:cubicBezTo>
                  <a:cubicBezTo>
                    <a:pt x="581" y="393"/>
                    <a:pt x="584" y="327"/>
                    <a:pt x="554" y="274"/>
                  </a:cubicBezTo>
                  <a:cubicBezTo>
                    <a:pt x="453" y="89"/>
                    <a:pt x="453" y="89"/>
                    <a:pt x="453" y="89"/>
                  </a:cubicBezTo>
                  <a:cubicBezTo>
                    <a:pt x="444" y="72"/>
                    <a:pt x="419" y="67"/>
                    <a:pt x="402" y="77"/>
                  </a:cubicBezTo>
                  <a:cubicBezTo>
                    <a:pt x="392" y="83"/>
                    <a:pt x="385" y="94"/>
                    <a:pt x="384" y="106"/>
                  </a:cubicBezTo>
                  <a:cubicBezTo>
                    <a:pt x="381" y="142"/>
                    <a:pt x="381" y="142"/>
                    <a:pt x="381" y="142"/>
                  </a:cubicBezTo>
                  <a:cubicBezTo>
                    <a:pt x="358" y="115"/>
                    <a:pt x="358" y="115"/>
                    <a:pt x="358" y="115"/>
                  </a:cubicBezTo>
                  <a:cubicBezTo>
                    <a:pt x="347" y="101"/>
                    <a:pt x="325" y="97"/>
                    <a:pt x="310" y="107"/>
                  </a:cubicBezTo>
                  <a:cubicBezTo>
                    <a:pt x="300" y="113"/>
                    <a:pt x="293" y="124"/>
                    <a:pt x="292" y="136"/>
                  </a:cubicBezTo>
                  <a:cubicBezTo>
                    <a:pt x="289" y="172"/>
                    <a:pt x="289" y="172"/>
                    <a:pt x="289" y="172"/>
                  </a:cubicBezTo>
                  <a:cubicBezTo>
                    <a:pt x="266" y="145"/>
                    <a:pt x="266" y="145"/>
                    <a:pt x="266" y="145"/>
                  </a:cubicBezTo>
                  <a:cubicBezTo>
                    <a:pt x="255" y="131"/>
                    <a:pt x="233" y="127"/>
                    <a:pt x="218" y="137"/>
                  </a:cubicBezTo>
                  <a:cubicBezTo>
                    <a:pt x="209" y="142"/>
                    <a:pt x="203" y="151"/>
                    <a:pt x="201" y="161"/>
                  </a:cubicBezTo>
                  <a:cubicBezTo>
                    <a:pt x="193" y="197"/>
                    <a:pt x="193" y="197"/>
                    <a:pt x="193" y="197"/>
                  </a:cubicBezTo>
                  <a:cubicBezTo>
                    <a:pt x="101" y="47"/>
                    <a:pt x="101" y="47"/>
                    <a:pt x="101" y="47"/>
                  </a:cubicBezTo>
                  <a:cubicBezTo>
                    <a:pt x="91" y="30"/>
                    <a:pt x="66" y="24"/>
                    <a:pt x="49" y="35"/>
                  </a:cubicBezTo>
                  <a:cubicBezTo>
                    <a:pt x="41" y="40"/>
                    <a:pt x="35" y="49"/>
                    <a:pt x="33" y="58"/>
                  </a:cubicBezTo>
                  <a:cubicBezTo>
                    <a:pt x="30" y="68"/>
                    <a:pt x="32" y="78"/>
                    <a:pt x="37" y="87"/>
                  </a:cubicBezTo>
                  <a:cubicBezTo>
                    <a:pt x="222" y="385"/>
                    <a:pt x="222" y="385"/>
                    <a:pt x="222" y="385"/>
                  </a:cubicBezTo>
                  <a:cubicBezTo>
                    <a:pt x="124" y="339"/>
                    <a:pt x="124" y="339"/>
                    <a:pt x="124" y="339"/>
                  </a:cubicBezTo>
                  <a:cubicBezTo>
                    <a:pt x="106" y="330"/>
                    <a:pt x="62" y="334"/>
                    <a:pt x="40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20">
              <a:extLst>
                <a:ext uri="{FF2B5EF4-FFF2-40B4-BE49-F238E27FC236}">
                  <a16:creationId xmlns:a16="http://schemas.microsoft.com/office/drawing/2014/main" id="{F23CAB56-3851-1344-91E4-177D201E0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5" y="5548313"/>
              <a:ext cx="188912" cy="185737"/>
            </a:xfrm>
            <a:custGeom>
              <a:avLst/>
              <a:gdLst>
                <a:gd name="T0" fmla="*/ 111 w 330"/>
                <a:gd name="T1" fmla="*/ 323 h 323"/>
                <a:gd name="T2" fmla="*/ 0 w 330"/>
                <a:gd name="T3" fmla="*/ 166 h 323"/>
                <a:gd name="T4" fmla="*/ 166 w 330"/>
                <a:gd name="T5" fmla="*/ 0 h 323"/>
                <a:gd name="T6" fmla="*/ 330 w 330"/>
                <a:gd name="T7" fmla="*/ 141 h 323"/>
                <a:gd name="T8" fmla="*/ 301 w 330"/>
                <a:gd name="T9" fmla="*/ 145 h 323"/>
                <a:gd name="T10" fmla="*/ 166 w 330"/>
                <a:gd name="T11" fmla="*/ 29 h 323"/>
                <a:gd name="T12" fmla="*/ 29 w 330"/>
                <a:gd name="T13" fmla="*/ 166 h 323"/>
                <a:gd name="T14" fmla="*/ 120 w 330"/>
                <a:gd name="T15" fmla="*/ 295 h 323"/>
                <a:gd name="T16" fmla="*/ 111 w 330"/>
                <a:gd name="T17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0" h="323">
                  <a:moveTo>
                    <a:pt x="111" y="323"/>
                  </a:moveTo>
                  <a:cubicBezTo>
                    <a:pt x="44" y="299"/>
                    <a:pt x="0" y="236"/>
                    <a:pt x="0" y="166"/>
                  </a:cubicBezTo>
                  <a:cubicBezTo>
                    <a:pt x="0" y="74"/>
                    <a:pt x="74" y="0"/>
                    <a:pt x="166" y="0"/>
                  </a:cubicBezTo>
                  <a:cubicBezTo>
                    <a:pt x="247" y="0"/>
                    <a:pt x="318" y="60"/>
                    <a:pt x="330" y="141"/>
                  </a:cubicBezTo>
                  <a:cubicBezTo>
                    <a:pt x="301" y="145"/>
                    <a:pt x="301" y="145"/>
                    <a:pt x="301" y="145"/>
                  </a:cubicBezTo>
                  <a:cubicBezTo>
                    <a:pt x="291" y="79"/>
                    <a:pt x="233" y="29"/>
                    <a:pt x="166" y="29"/>
                  </a:cubicBezTo>
                  <a:cubicBezTo>
                    <a:pt x="91" y="29"/>
                    <a:pt x="29" y="90"/>
                    <a:pt x="29" y="166"/>
                  </a:cubicBezTo>
                  <a:cubicBezTo>
                    <a:pt x="29" y="224"/>
                    <a:pt x="66" y="276"/>
                    <a:pt x="120" y="295"/>
                  </a:cubicBezTo>
                  <a:cubicBezTo>
                    <a:pt x="111" y="323"/>
                    <a:pt x="111" y="323"/>
                    <a:pt x="111" y="3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321">
              <a:extLst>
                <a:ext uri="{FF2B5EF4-FFF2-40B4-BE49-F238E27FC236}">
                  <a16:creationId xmlns:a16="http://schemas.microsoft.com/office/drawing/2014/main" id="{6CDBA771-6714-324D-8054-3BC7BD9EE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7088" y="5483225"/>
              <a:ext cx="314325" cy="304800"/>
            </a:xfrm>
            <a:custGeom>
              <a:avLst/>
              <a:gdLst>
                <a:gd name="T0" fmla="*/ 162 w 550"/>
                <a:gd name="T1" fmla="*/ 534 h 534"/>
                <a:gd name="T2" fmla="*/ 0 w 550"/>
                <a:gd name="T3" fmla="*/ 280 h 534"/>
                <a:gd name="T4" fmla="*/ 280 w 550"/>
                <a:gd name="T5" fmla="*/ 0 h 534"/>
                <a:gd name="T6" fmla="*/ 550 w 550"/>
                <a:gd name="T7" fmla="*/ 209 h 534"/>
                <a:gd name="T8" fmla="*/ 522 w 550"/>
                <a:gd name="T9" fmla="*/ 216 h 534"/>
                <a:gd name="T10" fmla="*/ 280 w 550"/>
                <a:gd name="T11" fmla="*/ 30 h 534"/>
                <a:gd name="T12" fmla="*/ 29 w 550"/>
                <a:gd name="T13" fmla="*/ 280 h 534"/>
                <a:gd name="T14" fmla="*/ 175 w 550"/>
                <a:gd name="T15" fmla="*/ 507 h 534"/>
                <a:gd name="T16" fmla="*/ 162 w 550"/>
                <a:gd name="T17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534">
                  <a:moveTo>
                    <a:pt x="162" y="534"/>
                  </a:moveTo>
                  <a:cubicBezTo>
                    <a:pt x="64" y="488"/>
                    <a:pt x="0" y="389"/>
                    <a:pt x="0" y="280"/>
                  </a:cubicBezTo>
                  <a:cubicBezTo>
                    <a:pt x="0" y="126"/>
                    <a:pt x="125" y="0"/>
                    <a:pt x="280" y="0"/>
                  </a:cubicBezTo>
                  <a:cubicBezTo>
                    <a:pt x="406" y="0"/>
                    <a:pt x="518" y="86"/>
                    <a:pt x="550" y="209"/>
                  </a:cubicBezTo>
                  <a:cubicBezTo>
                    <a:pt x="522" y="216"/>
                    <a:pt x="522" y="216"/>
                    <a:pt x="522" y="216"/>
                  </a:cubicBezTo>
                  <a:cubicBezTo>
                    <a:pt x="493" y="106"/>
                    <a:pt x="393" y="30"/>
                    <a:pt x="280" y="30"/>
                  </a:cubicBezTo>
                  <a:cubicBezTo>
                    <a:pt x="142" y="30"/>
                    <a:pt x="29" y="142"/>
                    <a:pt x="29" y="280"/>
                  </a:cubicBezTo>
                  <a:cubicBezTo>
                    <a:pt x="29" y="377"/>
                    <a:pt x="86" y="466"/>
                    <a:pt x="175" y="507"/>
                  </a:cubicBezTo>
                  <a:cubicBezTo>
                    <a:pt x="162" y="534"/>
                    <a:pt x="162" y="534"/>
                    <a:pt x="162" y="5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9" name="Freeform 322">
            <a:extLst>
              <a:ext uri="{FF2B5EF4-FFF2-40B4-BE49-F238E27FC236}">
                <a16:creationId xmlns:a16="http://schemas.microsoft.com/office/drawing/2014/main" id="{0513316B-14F6-0F4C-9633-DAEDF4B92B1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947313" y="3519535"/>
            <a:ext cx="347548" cy="318194"/>
          </a:xfrm>
          <a:custGeom>
            <a:avLst/>
            <a:gdLst>
              <a:gd name="T0" fmla="*/ 426 w 822"/>
              <a:gd name="T1" fmla="*/ 752 h 752"/>
              <a:gd name="T2" fmla="*/ 397 w 822"/>
              <a:gd name="T3" fmla="*/ 752 h 752"/>
              <a:gd name="T4" fmla="*/ 397 w 822"/>
              <a:gd name="T5" fmla="*/ 274 h 752"/>
              <a:gd name="T6" fmla="*/ 266 w 822"/>
              <a:gd name="T7" fmla="*/ 406 h 752"/>
              <a:gd name="T8" fmla="*/ 245 w 822"/>
              <a:gd name="T9" fmla="*/ 385 h 752"/>
              <a:gd name="T10" fmla="*/ 411 w 822"/>
              <a:gd name="T11" fmla="*/ 217 h 752"/>
              <a:gd name="T12" fmla="*/ 578 w 822"/>
              <a:gd name="T13" fmla="*/ 385 h 752"/>
              <a:gd name="T14" fmla="*/ 557 w 822"/>
              <a:gd name="T15" fmla="*/ 406 h 752"/>
              <a:gd name="T16" fmla="*/ 426 w 822"/>
              <a:gd name="T17" fmla="*/ 274 h 752"/>
              <a:gd name="T18" fmla="*/ 426 w 822"/>
              <a:gd name="T19" fmla="*/ 752 h 752"/>
              <a:gd name="T20" fmla="*/ 630 w 822"/>
              <a:gd name="T21" fmla="*/ 524 h 752"/>
              <a:gd name="T22" fmla="*/ 540 w 822"/>
              <a:gd name="T23" fmla="*/ 524 h 752"/>
              <a:gd name="T24" fmla="*/ 540 w 822"/>
              <a:gd name="T25" fmla="*/ 495 h 752"/>
              <a:gd name="T26" fmla="*/ 630 w 822"/>
              <a:gd name="T27" fmla="*/ 495 h 752"/>
              <a:gd name="T28" fmla="*/ 793 w 822"/>
              <a:gd name="T29" fmla="*/ 332 h 752"/>
              <a:gd name="T30" fmla="*/ 630 w 822"/>
              <a:gd name="T31" fmla="*/ 170 h 752"/>
              <a:gd name="T32" fmla="*/ 598 w 822"/>
              <a:gd name="T33" fmla="*/ 173 h 752"/>
              <a:gd name="T34" fmla="*/ 585 w 822"/>
              <a:gd name="T35" fmla="*/ 175 h 752"/>
              <a:gd name="T36" fmla="*/ 581 w 822"/>
              <a:gd name="T37" fmla="*/ 164 h 752"/>
              <a:gd name="T38" fmla="*/ 383 w 822"/>
              <a:gd name="T39" fmla="*/ 29 h 752"/>
              <a:gd name="T40" fmla="*/ 171 w 822"/>
              <a:gd name="T41" fmla="*/ 241 h 752"/>
              <a:gd name="T42" fmla="*/ 171 w 822"/>
              <a:gd name="T43" fmla="*/ 260 h 752"/>
              <a:gd name="T44" fmla="*/ 156 w 822"/>
              <a:gd name="T45" fmla="*/ 259 h 752"/>
              <a:gd name="T46" fmla="*/ 148 w 822"/>
              <a:gd name="T47" fmla="*/ 259 h 752"/>
              <a:gd name="T48" fmla="*/ 30 w 822"/>
              <a:gd name="T49" fmla="*/ 377 h 752"/>
              <a:gd name="T50" fmla="*/ 148 w 822"/>
              <a:gd name="T51" fmla="*/ 495 h 752"/>
              <a:gd name="T52" fmla="*/ 269 w 822"/>
              <a:gd name="T53" fmla="*/ 495 h 752"/>
              <a:gd name="T54" fmla="*/ 269 w 822"/>
              <a:gd name="T55" fmla="*/ 524 h 752"/>
              <a:gd name="T56" fmla="*/ 148 w 822"/>
              <a:gd name="T57" fmla="*/ 524 h 752"/>
              <a:gd name="T58" fmla="*/ 0 w 822"/>
              <a:gd name="T59" fmla="*/ 377 h 752"/>
              <a:gd name="T60" fmla="*/ 142 w 822"/>
              <a:gd name="T61" fmla="*/ 229 h 752"/>
              <a:gd name="T62" fmla="*/ 383 w 822"/>
              <a:gd name="T63" fmla="*/ 0 h 752"/>
              <a:gd name="T64" fmla="*/ 604 w 822"/>
              <a:gd name="T65" fmla="*/ 142 h 752"/>
              <a:gd name="T66" fmla="*/ 630 w 822"/>
              <a:gd name="T67" fmla="*/ 140 h 752"/>
              <a:gd name="T68" fmla="*/ 822 w 822"/>
              <a:gd name="T69" fmla="*/ 332 h 752"/>
              <a:gd name="T70" fmla="*/ 630 w 822"/>
              <a:gd name="T71" fmla="*/ 524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22" h="752">
                <a:moveTo>
                  <a:pt x="426" y="752"/>
                </a:moveTo>
                <a:cubicBezTo>
                  <a:pt x="397" y="752"/>
                  <a:pt x="397" y="752"/>
                  <a:pt x="397" y="752"/>
                </a:cubicBezTo>
                <a:cubicBezTo>
                  <a:pt x="397" y="274"/>
                  <a:pt x="397" y="274"/>
                  <a:pt x="397" y="274"/>
                </a:cubicBezTo>
                <a:cubicBezTo>
                  <a:pt x="266" y="406"/>
                  <a:pt x="266" y="406"/>
                  <a:pt x="266" y="406"/>
                </a:cubicBezTo>
                <a:cubicBezTo>
                  <a:pt x="245" y="385"/>
                  <a:pt x="245" y="385"/>
                  <a:pt x="245" y="385"/>
                </a:cubicBezTo>
                <a:cubicBezTo>
                  <a:pt x="411" y="217"/>
                  <a:pt x="411" y="217"/>
                  <a:pt x="411" y="217"/>
                </a:cubicBezTo>
                <a:cubicBezTo>
                  <a:pt x="578" y="385"/>
                  <a:pt x="578" y="385"/>
                  <a:pt x="578" y="385"/>
                </a:cubicBezTo>
                <a:cubicBezTo>
                  <a:pt x="557" y="406"/>
                  <a:pt x="557" y="406"/>
                  <a:pt x="557" y="406"/>
                </a:cubicBezTo>
                <a:cubicBezTo>
                  <a:pt x="426" y="274"/>
                  <a:pt x="426" y="274"/>
                  <a:pt x="426" y="274"/>
                </a:cubicBezTo>
                <a:cubicBezTo>
                  <a:pt x="426" y="752"/>
                  <a:pt x="426" y="752"/>
                  <a:pt x="426" y="752"/>
                </a:cubicBezTo>
                <a:close/>
                <a:moveTo>
                  <a:pt x="630" y="524"/>
                </a:moveTo>
                <a:cubicBezTo>
                  <a:pt x="540" y="524"/>
                  <a:pt x="540" y="524"/>
                  <a:pt x="540" y="524"/>
                </a:cubicBezTo>
                <a:cubicBezTo>
                  <a:pt x="540" y="495"/>
                  <a:pt x="540" y="495"/>
                  <a:pt x="540" y="495"/>
                </a:cubicBezTo>
                <a:cubicBezTo>
                  <a:pt x="630" y="495"/>
                  <a:pt x="630" y="495"/>
                  <a:pt x="630" y="495"/>
                </a:cubicBezTo>
                <a:cubicBezTo>
                  <a:pt x="720" y="495"/>
                  <a:pt x="793" y="422"/>
                  <a:pt x="793" y="332"/>
                </a:cubicBezTo>
                <a:cubicBezTo>
                  <a:pt x="793" y="243"/>
                  <a:pt x="720" y="170"/>
                  <a:pt x="630" y="170"/>
                </a:cubicBezTo>
                <a:cubicBezTo>
                  <a:pt x="619" y="170"/>
                  <a:pt x="608" y="171"/>
                  <a:pt x="598" y="173"/>
                </a:cubicBezTo>
                <a:cubicBezTo>
                  <a:pt x="585" y="175"/>
                  <a:pt x="585" y="175"/>
                  <a:pt x="585" y="175"/>
                </a:cubicBezTo>
                <a:cubicBezTo>
                  <a:pt x="581" y="164"/>
                  <a:pt x="581" y="164"/>
                  <a:pt x="581" y="164"/>
                </a:cubicBezTo>
                <a:cubicBezTo>
                  <a:pt x="549" y="82"/>
                  <a:pt x="471" y="29"/>
                  <a:pt x="383" y="29"/>
                </a:cubicBezTo>
                <a:cubicBezTo>
                  <a:pt x="266" y="29"/>
                  <a:pt x="171" y="124"/>
                  <a:pt x="171" y="241"/>
                </a:cubicBezTo>
                <a:cubicBezTo>
                  <a:pt x="171" y="260"/>
                  <a:pt x="171" y="260"/>
                  <a:pt x="171" y="260"/>
                </a:cubicBezTo>
                <a:cubicBezTo>
                  <a:pt x="156" y="259"/>
                  <a:pt x="156" y="259"/>
                  <a:pt x="156" y="259"/>
                </a:cubicBezTo>
                <a:cubicBezTo>
                  <a:pt x="153" y="259"/>
                  <a:pt x="150" y="259"/>
                  <a:pt x="148" y="259"/>
                </a:cubicBezTo>
                <a:cubicBezTo>
                  <a:pt x="83" y="259"/>
                  <a:pt x="30" y="312"/>
                  <a:pt x="30" y="377"/>
                </a:cubicBezTo>
                <a:cubicBezTo>
                  <a:pt x="30" y="442"/>
                  <a:pt x="83" y="495"/>
                  <a:pt x="148" y="495"/>
                </a:cubicBezTo>
                <a:cubicBezTo>
                  <a:pt x="269" y="495"/>
                  <a:pt x="269" y="495"/>
                  <a:pt x="269" y="495"/>
                </a:cubicBezTo>
                <a:cubicBezTo>
                  <a:pt x="269" y="524"/>
                  <a:pt x="269" y="524"/>
                  <a:pt x="269" y="524"/>
                </a:cubicBezTo>
                <a:cubicBezTo>
                  <a:pt x="148" y="524"/>
                  <a:pt x="148" y="524"/>
                  <a:pt x="148" y="524"/>
                </a:cubicBezTo>
                <a:cubicBezTo>
                  <a:pt x="66" y="524"/>
                  <a:pt x="0" y="458"/>
                  <a:pt x="0" y="377"/>
                </a:cubicBezTo>
                <a:cubicBezTo>
                  <a:pt x="0" y="297"/>
                  <a:pt x="63" y="232"/>
                  <a:pt x="142" y="229"/>
                </a:cubicBezTo>
                <a:cubicBezTo>
                  <a:pt x="148" y="102"/>
                  <a:pt x="254" y="0"/>
                  <a:pt x="383" y="0"/>
                </a:cubicBezTo>
                <a:cubicBezTo>
                  <a:pt x="479" y="0"/>
                  <a:pt x="565" y="55"/>
                  <a:pt x="604" y="142"/>
                </a:cubicBezTo>
                <a:cubicBezTo>
                  <a:pt x="612" y="141"/>
                  <a:pt x="621" y="140"/>
                  <a:pt x="630" y="140"/>
                </a:cubicBezTo>
                <a:cubicBezTo>
                  <a:pt x="736" y="140"/>
                  <a:pt x="822" y="226"/>
                  <a:pt x="822" y="332"/>
                </a:cubicBezTo>
                <a:cubicBezTo>
                  <a:pt x="822" y="438"/>
                  <a:pt x="736" y="524"/>
                  <a:pt x="630" y="52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FDCFC6F6-49EA-714A-B2AC-46CACEF908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39991" y="2146057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C424F320-F4F2-2F4F-A9E7-D7772029AFC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39992" y="2408664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62" name="Textplatzhalter 5">
            <a:extLst>
              <a:ext uri="{FF2B5EF4-FFF2-40B4-BE49-F238E27FC236}">
                <a16:creationId xmlns:a16="http://schemas.microsoft.com/office/drawing/2014/main" id="{6DB2E448-86B5-F648-945C-25C62F3AF9C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39991" y="3375757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F942B08F-4BED-AB47-8747-0BE7BCD7D25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39992" y="3638364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64" name="Textplatzhalter 5">
            <a:extLst>
              <a:ext uri="{FF2B5EF4-FFF2-40B4-BE49-F238E27FC236}">
                <a16:creationId xmlns:a16="http://schemas.microsoft.com/office/drawing/2014/main" id="{B7D5870C-25F1-7E46-90B9-F58ED2D691B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39990" y="4589450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14D862B3-307C-7744-92B7-6AA4799EDCF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39991" y="4852057"/>
            <a:ext cx="2009076" cy="34798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66" name="Textplatzhalter 5">
            <a:extLst>
              <a:ext uri="{FF2B5EF4-FFF2-40B4-BE49-F238E27FC236}">
                <a16:creationId xmlns:a16="http://schemas.microsoft.com/office/drawing/2014/main" id="{A6B0582D-9DE7-A748-8659-E9BE881D053F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71385" y="2154276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E5BCBC86-7452-3448-827C-5AB24CC96C20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71386" y="2416883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72" name="Textplatzhalter 5">
            <a:extLst>
              <a:ext uri="{FF2B5EF4-FFF2-40B4-BE49-F238E27FC236}">
                <a16:creationId xmlns:a16="http://schemas.microsoft.com/office/drawing/2014/main" id="{2F3500C0-8DBA-D742-8DDC-FE1745A742F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71384" y="3375937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A8B1C5FE-C26B-6D4F-9E11-A763E341BF4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71385" y="3638544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74" name="Textplatzhalter 5">
            <a:extLst>
              <a:ext uri="{FF2B5EF4-FFF2-40B4-BE49-F238E27FC236}">
                <a16:creationId xmlns:a16="http://schemas.microsoft.com/office/drawing/2014/main" id="{CE576394-A5AD-DE4A-8A43-17C17BB6D68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66854" y="4584448"/>
            <a:ext cx="2009076" cy="18940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spcBef>
                <a:spcPts val="1000"/>
              </a:spcBef>
              <a:buNone/>
              <a:defRPr sz="14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1BD921F8-5499-0647-B55F-BB6D5FDE224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66855" y="4847055"/>
            <a:ext cx="2009076" cy="39929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57600">
              <a:lnSpc>
                <a:spcPct val="100000"/>
              </a:lnSpc>
              <a:spcBef>
                <a:spcPts val="1000"/>
              </a:spcBef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4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6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1828800" indent="0">
              <a:buNone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eu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CBCE3AD9-18AE-7142-8D93-CC27E5BB77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80F59C38-F6AF-8645-8170-C77BA8D4D90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39657520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36A3EBB-460E-CA4F-8EE7-E428856A57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FC8309A2-88F1-3141-9040-391F4DE7C1D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6890" y="796714"/>
            <a:ext cx="5838981" cy="344699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 2</a:t>
            </a:r>
          </a:p>
        </p:txBody>
      </p:sp>
    </p:spTree>
    <p:extLst>
      <p:ext uri="{BB962C8B-B14F-4D97-AF65-F5344CB8AC3E}">
        <p14:creationId xmlns:p14="http://schemas.microsoft.com/office/powerpoint/2010/main" val="7014800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29319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14D6B-E213-BF43-A0D1-710AFA8A49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6FCA59-BBD8-304C-884C-7FB98D6F6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89A13-5894-154E-8C15-3FD2DCC244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50C74591-0B2D-F343-849C-2368647BD238}"/>
              </a:ext>
            </a:extLst>
          </p:cNvPr>
          <p:cNvSpPr>
            <a:spLocks/>
          </p:cNvSpPr>
          <p:nvPr userDrawn="1"/>
        </p:nvSpPr>
        <p:spPr bwMode="auto">
          <a:xfrm>
            <a:off x="2179153" y="2326676"/>
            <a:ext cx="1885679" cy="1071322"/>
          </a:xfrm>
          <a:custGeom>
            <a:avLst/>
            <a:gdLst>
              <a:gd name="T0" fmla="*/ 1703 w 1776"/>
              <a:gd name="T1" fmla="*/ 843 h 1009"/>
              <a:gd name="T2" fmla="*/ 852 w 1776"/>
              <a:gd name="T3" fmla="*/ 0 h 1009"/>
              <a:gd name="T4" fmla="*/ 0 w 1776"/>
              <a:gd name="T5" fmla="*/ 852 h 1009"/>
              <a:gd name="T6" fmla="*/ 304 w 1776"/>
              <a:gd name="T7" fmla="*/ 852 h 1009"/>
              <a:gd name="T8" fmla="*/ 852 w 1776"/>
              <a:gd name="T9" fmla="*/ 304 h 1009"/>
              <a:gd name="T10" fmla="*/ 1399 w 1776"/>
              <a:gd name="T11" fmla="*/ 843 h 1009"/>
              <a:gd name="T12" fmla="*/ 1326 w 1776"/>
              <a:gd name="T13" fmla="*/ 843 h 1009"/>
              <a:gd name="T14" fmla="*/ 1551 w 1776"/>
              <a:gd name="T15" fmla="*/ 1009 h 1009"/>
              <a:gd name="T16" fmla="*/ 1776 w 1776"/>
              <a:gd name="T17" fmla="*/ 843 h 1009"/>
              <a:gd name="T18" fmla="*/ 1703 w 1776"/>
              <a:gd name="T19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76" h="1009">
                <a:moveTo>
                  <a:pt x="1703" y="843"/>
                </a:moveTo>
                <a:cubicBezTo>
                  <a:pt x="1698" y="377"/>
                  <a:pt x="1319" y="0"/>
                  <a:pt x="852" y="0"/>
                </a:cubicBezTo>
                <a:cubicBezTo>
                  <a:pt x="381" y="0"/>
                  <a:pt x="0" y="381"/>
                  <a:pt x="0" y="852"/>
                </a:cubicBezTo>
                <a:cubicBezTo>
                  <a:pt x="304" y="852"/>
                  <a:pt x="304" y="852"/>
                  <a:pt x="304" y="852"/>
                </a:cubicBezTo>
                <a:cubicBezTo>
                  <a:pt x="304" y="549"/>
                  <a:pt x="549" y="304"/>
                  <a:pt x="852" y="304"/>
                </a:cubicBezTo>
                <a:cubicBezTo>
                  <a:pt x="1151" y="304"/>
                  <a:pt x="1394" y="544"/>
                  <a:pt x="1399" y="843"/>
                </a:cubicBezTo>
                <a:cubicBezTo>
                  <a:pt x="1326" y="843"/>
                  <a:pt x="1326" y="843"/>
                  <a:pt x="1326" y="843"/>
                </a:cubicBezTo>
                <a:cubicBezTo>
                  <a:pt x="1551" y="1009"/>
                  <a:pt x="1551" y="1009"/>
                  <a:pt x="1551" y="1009"/>
                </a:cubicBezTo>
                <a:cubicBezTo>
                  <a:pt x="1776" y="843"/>
                  <a:pt x="1776" y="843"/>
                  <a:pt x="1776" y="843"/>
                </a:cubicBezTo>
                <a:lnTo>
                  <a:pt x="1703" y="843"/>
                </a:ln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EF212523-A74C-ED42-9E9F-0F4CFE8B463A}"/>
              </a:ext>
            </a:extLst>
          </p:cNvPr>
          <p:cNvSpPr>
            <a:spLocks/>
          </p:cNvSpPr>
          <p:nvPr userDrawn="1"/>
        </p:nvSpPr>
        <p:spPr bwMode="auto">
          <a:xfrm>
            <a:off x="3664267" y="3063564"/>
            <a:ext cx="1883791" cy="1071322"/>
          </a:xfrm>
          <a:custGeom>
            <a:avLst/>
            <a:gdLst>
              <a:gd name="T0" fmla="*/ 1550 w 1775"/>
              <a:gd name="T1" fmla="*/ 0 h 1009"/>
              <a:gd name="T2" fmla="*/ 1324 w 1775"/>
              <a:gd name="T3" fmla="*/ 167 h 1009"/>
              <a:gd name="T4" fmla="*/ 1398 w 1775"/>
              <a:gd name="T5" fmla="*/ 167 h 1009"/>
              <a:gd name="T6" fmla="*/ 850 w 1775"/>
              <a:gd name="T7" fmla="*/ 705 h 1009"/>
              <a:gd name="T8" fmla="*/ 305 w 1775"/>
              <a:gd name="T9" fmla="*/ 202 h 1009"/>
              <a:gd name="T10" fmla="*/ 151 w 1775"/>
              <a:gd name="T11" fmla="*/ 315 h 1009"/>
              <a:gd name="T12" fmla="*/ 0 w 1775"/>
              <a:gd name="T13" fmla="*/ 204 h 1009"/>
              <a:gd name="T14" fmla="*/ 850 w 1775"/>
              <a:gd name="T15" fmla="*/ 1009 h 1009"/>
              <a:gd name="T16" fmla="*/ 1702 w 1775"/>
              <a:gd name="T17" fmla="*/ 167 h 1009"/>
              <a:gd name="T18" fmla="*/ 1775 w 1775"/>
              <a:gd name="T19" fmla="*/ 167 h 1009"/>
              <a:gd name="T20" fmla="*/ 1550 w 1775"/>
              <a:gd name="T21" fmla="*/ 0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550" y="0"/>
                </a:moveTo>
                <a:cubicBezTo>
                  <a:pt x="1324" y="167"/>
                  <a:pt x="1324" y="167"/>
                  <a:pt x="1324" y="167"/>
                </a:cubicBezTo>
                <a:cubicBezTo>
                  <a:pt x="1398" y="167"/>
                  <a:pt x="1398" y="167"/>
                  <a:pt x="1398" y="167"/>
                </a:cubicBezTo>
                <a:cubicBezTo>
                  <a:pt x="1393" y="465"/>
                  <a:pt x="1150" y="705"/>
                  <a:pt x="850" y="705"/>
                </a:cubicBezTo>
                <a:cubicBezTo>
                  <a:pt x="563" y="705"/>
                  <a:pt x="327" y="483"/>
                  <a:pt x="305" y="202"/>
                </a:cubicBezTo>
                <a:cubicBezTo>
                  <a:pt x="151" y="315"/>
                  <a:pt x="151" y="315"/>
                  <a:pt x="151" y="315"/>
                </a:cubicBezTo>
                <a:cubicBezTo>
                  <a:pt x="0" y="204"/>
                  <a:pt x="0" y="204"/>
                  <a:pt x="0" y="204"/>
                </a:cubicBezTo>
                <a:cubicBezTo>
                  <a:pt x="24" y="653"/>
                  <a:pt x="396" y="1009"/>
                  <a:pt x="850" y="1009"/>
                </a:cubicBezTo>
                <a:cubicBezTo>
                  <a:pt x="1318" y="1009"/>
                  <a:pt x="1697" y="633"/>
                  <a:pt x="1702" y="167"/>
                </a:cubicBezTo>
                <a:cubicBezTo>
                  <a:pt x="1775" y="167"/>
                  <a:pt x="1775" y="167"/>
                  <a:pt x="1775" y="167"/>
                </a:cubicBezTo>
                <a:lnTo>
                  <a:pt x="1550" y="0"/>
                </a:ln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7">
            <a:extLst>
              <a:ext uri="{FF2B5EF4-FFF2-40B4-BE49-F238E27FC236}">
                <a16:creationId xmlns:a16="http://schemas.microsoft.com/office/drawing/2014/main" id="{9388CB6C-5B41-0F4C-8B1A-25DB9231345F}"/>
              </a:ext>
            </a:extLst>
          </p:cNvPr>
          <p:cNvSpPr>
            <a:spLocks/>
          </p:cNvSpPr>
          <p:nvPr userDrawn="1"/>
        </p:nvSpPr>
        <p:spPr bwMode="auto">
          <a:xfrm>
            <a:off x="6634496" y="3063564"/>
            <a:ext cx="1883791" cy="1071322"/>
          </a:xfrm>
          <a:custGeom>
            <a:avLst/>
            <a:gdLst>
              <a:gd name="T0" fmla="*/ 1550 w 1775"/>
              <a:gd name="T1" fmla="*/ 0 h 1009"/>
              <a:gd name="T2" fmla="*/ 1324 w 1775"/>
              <a:gd name="T3" fmla="*/ 167 h 1009"/>
              <a:gd name="T4" fmla="*/ 1397 w 1775"/>
              <a:gd name="T5" fmla="*/ 167 h 1009"/>
              <a:gd name="T6" fmla="*/ 850 w 1775"/>
              <a:gd name="T7" fmla="*/ 705 h 1009"/>
              <a:gd name="T8" fmla="*/ 305 w 1775"/>
              <a:gd name="T9" fmla="*/ 202 h 1009"/>
              <a:gd name="T10" fmla="*/ 151 w 1775"/>
              <a:gd name="T11" fmla="*/ 315 h 1009"/>
              <a:gd name="T12" fmla="*/ 0 w 1775"/>
              <a:gd name="T13" fmla="*/ 204 h 1009"/>
              <a:gd name="T14" fmla="*/ 850 w 1775"/>
              <a:gd name="T15" fmla="*/ 1009 h 1009"/>
              <a:gd name="T16" fmla="*/ 1701 w 1775"/>
              <a:gd name="T17" fmla="*/ 167 h 1009"/>
              <a:gd name="T18" fmla="*/ 1775 w 1775"/>
              <a:gd name="T19" fmla="*/ 167 h 1009"/>
              <a:gd name="T20" fmla="*/ 1550 w 1775"/>
              <a:gd name="T21" fmla="*/ 0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550" y="0"/>
                </a:moveTo>
                <a:cubicBezTo>
                  <a:pt x="1324" y="167"/>
                  <a:pt x="1324" y="167"/>
                  <a:pt x="1324" y="167"/>
                </a:cubicBezTo>
                <a:cubicBezTo>
                  <a:pt x="1397" y="167"/>
                  <a:pt x="1397" y="167"/>
                  <a:pt x="1397" y="167"/>
                </a:cubicBezTo>
                <a:cubicBezTo>
                  <a:pt x="1393" y="465"/>
                  <a:pt x="1149" y="705"/>
                  <a:pt x="850" y="705"/>
                </a:cubicBezTo>
                <a:cubicBezTo>
                  <a:pt x="563" y="705"/>
                  <a:pt x="327" y="483"/>
                  <a:pt x="305" y="202"/>
                </a:cubicBezTo>
                <a:cubicBezTo>
                  <a:pt x="151" y="315"/>
                  <a:pt x="151" y="315"/>
                  <a:pt x="151" y="315"/>
                </a:cubicBezTo>
                <a:cubicBezTo>
                  <a:pt x="0" y="204"/>
                  <a:pt x="0" y="204"/>
                  <a:pt x="0" y="204"/>
                </a:cubicBezTo>
                <a:cubicBezTo>
                  <a:pt x="24" y="653"/>
                  <a:pt x="395" y="1009"/>
                  <a:pt x="850" y="1009"/>
                </a:cubicBezTo>
                <a:cubicBezTo>
                  <a:pt x="1317" y="1009"/>
                  <a:pt x="1697" y="633"/>
                  <a:pt x="1701" y="167"/>
                </a:cubicBezTo>
                <a:cubicBezTo>
                  <a:pt x="1775" y="167"/>
                  <a:pt x="1775" y="167"/>
                  <a:pt x="1775" y="167"/>
                </a:cubicBezTo>
                <a:lnTo>
                  <a:pt x="1550" y="0"/>
                </a:ln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8">
            <a:extLst>
              <a:ext uri="{FF2B5EF4-FFF2-40B4-BE49-F238E27FC236}">
                <a16:creationId xmlns:a16="http://schemas.microsoft.com/office/drawing/2014/main" id="{ED79C93B-BC4B-DA4F-BD09-ABFC9EB183CE}"/>
              </a:ext>
            </a:extLst>
          </p:cNvPr>
          <p:cNvSpPr>
            <a:spLocks/>
          </p:cNvSpPr>
          <p:nvPr userDrawn="1"/>
        </p:nvSpPr>
        <p:spPr bwMode="auto">
          <a:xfrm>
            <a:off x="5149381" y="2326676"/>
            <a:ext cx="1883791" cy="1071322"/>
          </a:xfrm>
          <a:custGeom>
            <a:avLst/>
            <a:gdLst>
              <a:gd name="T0" fmla="*/ 1702 w 1775"/>
              <a:gd name="T1" fmla="*/ 843 h 1009"/>
              <a:gd name="T2" fmla="*/ 850 w 1775"/>
              <a:gd name="T3" fmla="*/ 0 h 1009"/>
              <a:gd name="T4" fmla="*/ 0 w 1775"/>
              <a:gd name="T5" fmla="*/ 805 h 1009"/>
              <a:gd name="T6" fmla="*/ 151 w 1775"/>
              <a:gd name="T7" fmla="*/ 694 h 1009"/>
              <a:gd name="T8" fmla="*/ 305 w 1775"/>
              <a:gd name="T9" fmla="*/ 808 h 1009"/>
              <a:gd name="T10" fmla="*/ 850 w 1775"/>
              <a:gd name="T11" fmla="*/ 304 h 1009"/>
              <a:gd name="T12" fmla="*/ 1397 w 1775"/>
              <a:gd name="T13" fmla="*/ 843 h 1009"/>
              <a:gd name="T14" fmla="*/ 1324 w 1775"/>
              <a:gd name="T15" fmla="*/ 843 h 1009"/>
              <a:gd name="T16" fmla="*/ 1550 w 1775"/>
              <a:gd name="T17" fmla="*/ 1009 h 1009"/>
              <a:gd name="T18" fmla="*/ 1775 w 1775"/>
              <a:gd name="T19" fmla="*/ 843 h 1009"/>
              <a:gd name="T20" fmla="*/ 1702 w 1775"/>
              <a:gd name="T21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702" y="843"/>
                </a:moveTo>
                <a:cubicBezTo>
                  <a:pt x="1697" y="377"/>
                  <a:pt x="1317" y="0"/>
                  <a:pt x="850" y="0"/>
                </a:cubicBezTo>
                <a:cubicBezTo>
                  <a:pt x="396" y="0"/>
                  <a:pt x="24" y="357"/>
                  <a:pt x="0" y="805"/>
                </a:cubicBezTo>
                <a:cubicBezTo>
                  <a:pt x="151" y="694"/>
                  <a:pt x="151" y="694"/>
                  <a:pt x="151" y="694"/>
                </a:cubicBezTo>
                <a:cubicBezTo>
                  <a:pt x="305" y="808"/>
                  <a:pt x="305" y="808"/>
                  <a:pt x="305" y="808"/>
                </a:cubicBezTo>
                <a:cubicBezTo>
                  <a:pt x="327" y="526"/>
                  <a:pt x="563" y="304"/>
                  <a:pt x="850" y="304"/>
                </a:cubicBezTo>
                <a:cubicBezTo>
                  <a:pt x="1150" y="304"/>
                  <a:pt x="1393" y="544"/>
                  <a:pt x="1397" y="843"/>
                </a:cubicBezTo>
                <a:cubicBezTo>
                  <a:pt x="1324" y="843"/>
                  <a:pt x="1324" y="843"/>
                  <a:pt x="1324" y="843"/>
                </a:cubicBezTo>
                <a:cubicBezTo>
                  <a:pt x="1550" y="1009"/>
                  <a:pt x="1550" y="1009"/>
                  <a:pt x="1550" y="1009"/>
                </a:cubicBezTo>
                <a:cubicBezTo>
                  <a:pt x="1775" y="843"/>
                  <a:pt x="1775" y="843"/>
                  <a:pt x="1775" y="843"/>
                </a:cubicBezTo>
                <a:lnTo>
                  <a:pt x="1702" y="843"/>
                </a:ln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9">
            <a:extLst>
              <a:ext uri="{FF2B5EF4-FFF2-40B4-BE49-F238E27FC236}">
                <a16:creationId xmlns:a16="http://schemas.microsoft.com/office/drawing/2014/main" id="{BEEAA647-3AB2-2944-B735-12914C2DF186}"/>
              </a:ext>
            </a:extLst>
          </p:cNvPr>
          <p:cNvSpPr>
            <a:spLocks/>
          </p:cNvSpPr>
          <p:nvPr userDrawn="1"/>
        </p:nvSpPr>
        <p:spPr bwMode="auto">
          <a:xfrm>
            <a:off x="8129055" y="2326676"/>
            <a:ext cx="1883791" cy="1071322"/>
          </a:xfrm>
          <a:custGeom>
            <a:avLst/>
            <a:gdLst>
              <a:gd name="T0" fmla="*/ 1701 w 1775"/>
              <a:gd name="T1" fmla="*/ 843 h 1009"/>
              <a:gd name="T2" fmla="*/ 850 w 1775"/>
              <a:gd name="T3" fmla="*/ 0 h 1009"/>
              <a:gd name="T4" fmla="*/ 0 w 1775"/>
              <a:gd name="T5" fmla="*/ 798 h 1009"/>
              <a:gd name="T6" fmla="*/ 142 w 1775"/>
              <a:gd name="T7" fmla="*/ 694 h 1009"/>
              <a:gd name="T8" fmla="*/ 304 w 1775"/>
              <a:gd name="T9" fmla="*/ 814 h 1009"/>
              <a:gd name="T10" fmla="*/ 850 w 1775"/>
              <a:gd name="T11" fmla="*/ 304 h 1009"/>
              <a:gd name="T12" fmla="*/ 1397 w 1775"/>
              <a:gd name="T13" fmla="*/ 843 h 1009"/>
              <a:gd name="T14" fmla="*/ 1324 w 1775"/>
              <a:gd name="T15" fmla="*/ 843 h 1009"/>
              <a:gd name="T16" fmla="*/ 1549 w 1775"/>
              <a:gd name="T17" fmla="*/ 1009 h 1009"/>
              <a:gd name="T18" fmla="*/ 1775 w 1775"/>
              <a:gd name="T19" fmla="*/ 843 h 1009"/>
              <a:gd name="T20" fmla="*/ 1701 w 1775"/>
              <a:gd name="T21" fmla="*/ 843 h 1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75" h="1009">
                <a:moveTo>
                  <a:pt x="1701" y="843"/>
                </a:moveTo>
                <a:cubicBezTo>
                  <a:pt x="1697" y="377"/>
                  <a:pt x="1317" y="0"/>
                  <a:pt x="850" y="0"/>
                </a:cubicBezTo>
                <a:cubicBezTo>
                  <a:pt x="398" y="0"/>
                  <a:pt x="28" y="353"/>
                  <a:pt x="0" y="798"/>
                </a:cubicBezTo>
                <a:cubicBezTo>
                  <a:pt x="142" y="694"/>
                  <a:pt x="142" y="694"/>
                  <a:pt x="142" y="694"/>
                </a:cubicBezTo>
                <a:cubicBezTo>
                  <a:pt x="304" y="814"/>
                  <a:pt x="304" y="814"/>
                  <a:pt x="304" y="814"/>
                </a:cubicBezTo>
                <a:cubicBezTo>
                  <a:pt x="323" y="529"/>
                  <a:pt x="560" y="304"/>
                  <a:pt x="850" y="304"/>
                </a:cubicBezTo>
                <a:cubicBezTo>
                  <a:pt x="1149" y="304"/>
                  <a:pt x="1392" y="544"/>
                  <a:pt x="1397" y="843"/>
                </a:cubicBezTo>
                <a:cubicBezTo>
                  <a:pt x="1324" y="843"/>
                  <a:pt x="1324" y="843"/>
                  <a:pt x="1324" y="843"/>
                </a:cubicBezTo>
                <a:cubicBezTo>
                  <a:pt x="1549" y="1009"/>
                  <a:pt x="1549" y="1009"/>
                  <a:pt x="1549" y="1009"/>
                </a:cubicBezTo>
                <a:cubicBezTo>
                  <a:pt x="1775" y="843"/>
                  <a:pt x="1775" y="843"/>
                  <a:pt x="1775" y="843"/>
                </a:cubicBezTo>
                <a:lnTo>
                  <a:pt x="1701" y="843"/>
                </a:lnTo>
                <a:close/>
              </a:path>
            </a:pathLst>
          </a:custGeom>
          <a:solidFill>
            <a:schemeClr val="tx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TextBox 114">
            <a:extLst>
              <a:ext uri="{FF2B5EF4-FFF2-40B4-BE49-F238E27FC236}">
                <a16:creationId xmlns:a16="http://schemas.microsoft.com/office/drawing/2014/main" id="{C5ABAE0C-D82F-5440-AC11-03A22A2FE61F}"/>
              </a:ext>
            </a:extLst>
          </p:cNvPr>
          <p:cNvSpPr txBox="1"/>
          <p:nvPr userDrawn="1"/>
        </p:nvSpPr>
        <p:spPr>
          <a:xfrm>
            <a:off x="5322243" y="4730330"/>
            <a:ext cx="998532" cy="1014408"/>
          </a:xfrm>
          <a:prstGeom prst="rect">
            <a:avLst/>
          </a:prstGeom>
          <a:noFill/>
        </p:spPr>
        <p:txBody>
          <a:bodyPr wrap="square" lIns="0" tIns="0" rIns="0" bIns="0" rtlCol="0">
            <a:prstTxWarp prst="textArchUp">
              <a:avLst/>
            </a:prstTxWarp>
            <a:spAutoFit/>
          </a:bodyPr>
          <a:lstStyle/>
          <a:p>
            <a:pPr algn="ctr">
              <a:lnSpc>
                <a:spcPts val="1500"/>
              </a:lnSpc>
              <a:spcAft>
                <a:spcPts val="600"/>
              </a:spcAft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</a:rPr>
              <a:t>delivery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2B6EB9E6-0900-F94D-9817-A27C06B5975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857996" y="2958779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F3D80A6D-8C7F-F44E-9018-B8809A304E1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49721" y="3293213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96BA9124-1321-3443-9865-2B794D54FFB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28225" y="2958779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92" name="Textplatzhalter 3">
            <a:extLst>
              <a:ext uri="{FF2B5EF4-FFF2-40B4-BE49-F238E27FC236}">
                <a16:creationId xmlns:a16="http://schemas.microsoft.com/office/drawing/2014/main" id="{02C7A74A-5DF1-4844-BBED-B7024489EE3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22783" y="3293213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93" name="Textplatzhalter 3">
            <a:extLst>
              <a:ext uri="{FF2B5EF4-FFF2-40B4-BE49-F238E27FC236}">
                <a16:creationId xmlns:a16="http://schemas.microsoft.com/office/drawing/2014/main" id="{C2D4AC78-CC57-A144-AFC7-4496DE57956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817344" y="2958779"/>
            <a:ext cx="516660" cy="20957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lnSpc>
                <a:spcPct val="100000"/>
              </a:lnSpc>
              <a:buNone/>
              <a:defRPr sz="1400" b="1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95" name="Textplatzhalter 3">
            <a:extLst>
              <a:ext uri="{FF2B5EF4-FFF2-40B4-BE49-F238E27FC236}">
                <a16:creationId xmlns:a16="http://schemas.microsoft.com/office/drawing/2014/main" id="{865BABCE-3FB5-A049-AFD8-9C6BDC9CFFA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617059" y="3293213"/>
            <a:ext cx="99853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15647789-A125-7441-A91D-BF29BA4BF33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102173" y="2479837"/>
            <a:ext cx="99853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F3DFC7D3-0475-834A-8A5E-FCD15FD86C7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587288" y="3293213"/>
            <a:ext cx="99853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62E42D41-74ED-984D-85C1-2F42B02315D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077124" y="2479837"/>
            <a:ext cx="99853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68473CCF-33A7-A647-9D26-DFF9C64FCB5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566962" y="3293213"/>
            <a:ext cx="998533" cy="5837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consecteteu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046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E53DAE8-B3F0-874E-83DC-33AD5413E8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6890" y="405190"/>
            <a:ext cx="5838981" cy="331036"/>
          </a:xfrm>
          <a:prstGeom prst="rect">
            <a:avLst/>
          </a:prstGeom>
        </p:spPr>
        <p:txBody>
          <a:bodyPr lIns="0" tIns="0" rIns="0" bIns="0"/>
          <a:lstStyle>
            <a:lvl1pPr marL="0" indent="0" defTabSz="57600">
              <a:spcBef>
                <a:spcPts val="0"/>
              </a:spcBef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Musterüberschrif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60F8526-B46B-2A4A-B741-D77166CBA6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1CBB-0185-274F-9DCC-B066CE5FD3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1A3D25-857F-FD4D-9F3F-52D3E67F3A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399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7863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>
            <a:extLst>
              <a:ext uri="{FF2B5EF4-FFF2-40B4-BE49-F238E27FC236}">
                <a16:creationId xmlns:a16="http://schemas.microsoft.com/office/drawing/2014/main" id="{D9A59E51-DA55-3C4C-8802-E01C574FBC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31853"/>
            <a:ext cx="12192000" cy="8257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600" b="0" i="0">
                <a:solidFill>
                  <a:schemeClr val="bg2"/>
                </a:solidFill>
                <a:latin typeface="Reso" panose="02000000000000000000" pitchFamily="2" charset="0"/>
              </a:defRPr>
            </a:lvl1pPr>
            <a:lvl2pPr marL="4572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2pPr>
            <a:lvl3pPr marL="9144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3pPr>
            <a:lvl4pPr marL="13716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4pPr>
            <a:lvl5pPr marL="1828800" indent="0">
              <a:buNone/>
              <a:defRPr b="0" i="0">
                <a:solidFill>
                  <a:schemeClr val="bg2"/>
                </a:solidFill>
                <a:latin typeface="Reso" panose="02000000000000000000" pitchFamily="2" charset="0"/>
              </a:defRPr>
            </a:lvl5pPr>
          </a:lstStyle>
          <a:p>
            <a:pPr lvl="0"/>
            <a:r>
              <a:rPr lang="de-DE" dirty="0"/>
              <a:t>Titel Folie 1</a:t>
            </a:r>
          </a:p>
        </p:txBody>
      </p:sp>
    </p:spTree>
    <p:extLst>
      <p:ext uri="{BB962C8B-B14F-4D97-AF65-F5344CB8AC3E}">
        <p14:creationId xmlns:p14="http://schemas.microsoft.com/office/powerpoint/2010/main" val="582948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56.xml"/><Relationship Id="rId55" Type="http://schemas.openxmlformats.org/officeDocument/2006/relationships/slideLayout" Target="../slideLayouts/slideLayout61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54" Type="http://schemas.openxmlformats.org/officeDocument/2006/relationships/slideLayout" Target="../slideLayouts/slideLayout60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59.xml"/><Relationship Id="rId58" Type="http://schemas.openxmlformats.org/officeDocument/2006/relationships/slideLayout" Target="../slideLayouts/slideLayout64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Relationship Id="rId57" Type="http://schemas.openxmlformats.org/officeDocument/2006/relationships/slideLayout" Target="../slideLayouts/slideLayout63.xml"/><Relationship Id="rId61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slideLayout" Target="../slideLayouts/slideLayout58.xml"/><Relationship Id="rId6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56" Type="http://schemas.openxmlformats.org/officeDocument/2006/relationships/slideLayout" Target="../slideLayouts/slideLayout62.xml"/><Relationship Id="rId8" Type="http://schemas.openxmlformats.org/officeDocument/2006/relationships/slideLayout" Target="../slideLayouts/slideLayout14.xml"/><Relationship Id="rId51" Type="http://schemas.openxmlformats.org/officeDocument/2006/relationships/slideLayout" Target="../slideLayouts/slideLayout57.xml"/><Relationship Id="rId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5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5252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0906125" y="390525"/>
            <a:ext cx="942975" cy="304800"/>
          </a:xfrm>
          <a:custGeom>
            <a:avLst/>
            <a:gdLst/>
            <a:ahLst/>
            <a:cxnLst/>
            <a:rect l="l" t="t" r="r" b="b"/>
            <a:pathLst>
              <a:path w="942975" h="304800">
                <a:moveTo>
                  <a:pt x="72008" y="82803"/>
                </a:moveTo>
                <a:lnTo>
                  <a:pt x="50363" y="88239"/>
                </a:lnTo>
                <a:lnTo>
                  <a:pt x="26765" y="102187"/>
                </a:lnTo>
                <a:lnTo>
                  <a:pt x="7786" y="121112"/>
                </a:lnTo>
                <a:lnTo>
                  <a:pt x="0" y="141477"/>
                </a:lnTo>
                <a:lnTo>
                  <a:pt x="0" y="297052"/>
                </a:lnTo>
                <a:lnTo>
                  <a:pt x="3809" y="300863"/>
                </a:lnTo>
                <a:lnTo>
                  <a:pt x="37465" y="300863"/>
                </a:lnTo>
                <a:lnTo>
                  <a:pt x="41275" y="297052"/>
                </a:lnTo>
                <a:lnTo>
                  <a:pt x="41275" y="148336"/>
                </a:lnTo>
                <a:lnTo>
                  <a:pt x="44749" y="138799"/>
                </a:lnTo>
                <a:lnTo>
                  <a:pt x="53165" y="129952"/>
                </a:lnTo>
                <a:lnTo>
                  <a:pt x="63538" y="123432"/>
                </a:lnTo>
                <a:lnTo>
                  <a:pt x="72771" y="120903"/>
                </a:lnTo>
                <a:lnTo>
                  <a:pt x="241559" y="120903"/>
                </a:lnTo>
                <a:lnTo>
                  <a:pt x="232898" y="112267"/>
                </a:lnTo>
                <a:lnTo>
                  <a:pt x="124968" y="112267"/>
                </a:lnTo>
                <a:lnTo>
                  <a:pt x="113799" y="101717"/>
                </a:lnTo>
                <a:lnTo>
                  <a:pt x="100202" y="92249"/>
                </a:lnTo>
                <a:lnTo>
                  <a:pt x="85748" y="85425"/>
                </a:lnTo>
                <a:lnTo>
                  <a:pt x="72008" y="82803"/>
                </a:lnTo>
                <a:close/>
              </a:path>
              <a:path w="942975" h="304800">
                <a:moveTo>
                  <a:pt x="176656" y="120903"/>
                </a:moveTo>
                <a:lnTo>
                  <a:pt x="72771" y="120903"/>
                </a:lnTo>
                <a:lnTo>
                  <a:pt x="81710" y="123493"/>
                </a:lnTo>
                <a:lnTo>
                  <a:pt x="92090" y="130095"/>
                </a:lnTo>
                <a:lnTo>
                  <a:pt x="100685" y="138959"/>
                </a:lnTo>
                <a:lnTo>
                  <a:pt x="104267" y="148336"/>
                </a:lnTo>
                <a:lnTo>
                  <a:pt x="104267" y="297052"/>
                </a:lnTo>
                <a:lnTo>
                  <a:pt x="107696" y="300863"/>
                </a:lnTo>
                <a:lnTo>
                  <a:pt x="141350" y="300863"/>
                </a:lnTo>
                <a:lnTo>
                  <a:pt x="145669" y="297052"/>
                </a:lnTo>
                <a:lnTo>
                  <a:pt x="145669" y="147827"/>
                </a:lnTo>
                <a:lnTo>
                  <a:pt x="149171" y="138584"/>
                </a:lnTo>
                <a:lnTo>
                  <a:pt x="157591" y="129889"/>
                </a:lnTo>
                <a:lnTo>
                  <a:pt x="167796" y="123432"/>
                </a:lnTo>
                <a:lnTo>
                  <a:pt x="176656" y="120903"/>
                </a:lnTo>
                <a:close/>
              </a:path>
              <a:path w="942975" h="304800">
                <a:moveTo>
                  <a:pt x="241559" y="120903"/>
                </a:moveTo>
                <a:lnTo>
                  <a:pt x="176656" y="120903"/>
                </a:lnTo>
                <a:lnTo>
                  <a:pt x="185971" y="123432"/>
                </a:lnTo>
                <a:lnTo>
                  <a:pt x="196310" y="129889"/>
                </a:lnTo>
                <a:lnTo>
                  <a:pt x="204696" y="138584"/>
                </a:lnTo>
                <a:lnTo>
                  <a:pt x="208152" y="147827"/>
                </a:lnTo>
                <a:lnTo>
                  <a:pt x="208152" y="297052"/>
                </a:lnTo>
                <a:lnTo>
                  <a:pt x="211963" y="300863"/>
                </a:lnTo>
                <a:lnTo>
                  <a:pt x="245618" y="300863"/>
                </a:lnTo>
                <a:lnTo>
                  <a:pt x="249554" y="297052"/>
                </a:lnTo>
                <a:lnTo>
                  <a:pt x="249554" y="141477"/>
                </a:lnTo>
                <a:lnTo>
                  <a:pt x="241768" y="121112"/>
                </a:lnTo>
                <a:lnTo>
                  <a:pt x="241559" y="120903"/>
                </a:lnTo>
                <a:close/>
              </a:path>
              <a:path w="942975" h="304800">
                <a:moveTo>
                  <a:pt x="177546" y="82803"/>
                </a:moveTo>
                <a:lnTo>
                  <a:pt x="164347" y="85353"/>
                </a:lnTo>
                <a:lnTo>
                  <a:pt x="149971" y="92059"/>
                </a:lnTo>
                <a:lnTo>
                  <a:pt x="136237" y="101502"/>
                </a:lnTo>
                <a:lnTo>
                  <a:pt x="124968" y="112267"/>
                </a:lnTo>
                <a:lnTo>
                  <a:pt x="232898" y="112267"/>
                </a:lnTo>
                <a:lnTo>
                  <a:pt x="222789" y="102187"/>
                </a:lnTo>
                <a:lnTo>
                  <a:pt x="199191" y="88239"/>
                </a:lnTo>
                <a:lnTo>
                  <a:pt x="177546" y="82803"/>
                </a:lnTo>
                <a:close/>
              </a:path>
              <a:path w="942975" h="304800">
                <a:moveTo>
                  <a:pt x="378332" y="82803"/>
                </a:moveTo>
                <a:lnTo>
                  <a:pt x="356044" y="88386"/>
                </a:lnTo>
                <a:lnTo>
                  <a:pt x="331279" y="102790"/>
                </a:lnTo>
                <a:lnTo>
                  <a:pt x="311181" y="122505"/>
                </a:lnTo>
                <a:lnTo>
                  <a:pt x="302895" y="144017"/>
                </a:lnTo>
                <a:lnTo>
                  <a:pt x="302895" y="243459"/>
                </a:lnTo>
                <a:lnTo>
                  <a:pt x="311181" y="264777"/>
                </a:lnTo>
                <a:lnTo>
                  <a:pt x="331279" y="284559"/>
                </a:lnTo>
                <a:lnTo>
                  <a:pt x="356044" y="299126"/>
                </a:lnTo>
                <a:lnTo>
                  <a:pt x="378332" y="304800"/>
                </a:lnTo>
                <a:lnTo>
                  <a:pt x="400694" y="299126"/>
                </a:lnTo>
                <a:lnTo>
                  <a:pt x="425497" y="284559"/>
                </a:lnTo>
                <a:lnTo>
                  <a:pt x="443654" y="266700"/>
                </a:lnTo>
                <a:lnTo>
                  <a:pt x="378332" y="266700"/>
                </a:lnTo>
                <a:lnTo>
                  <a:pt x="367924" y="264011"/>
                </a:lnTo>
                <a:lnTo>
                  <a:pt x="356790" y="257095"/>
                </a:lnTo>
                <a:lnTo>
                  <a:pt x="347918" y="247679"/>
                </a:lnTo>
                <a:lnTo>
                  <a:pt x="344297" y="237489"/>
                </a:lnTo>
                <a:lnTo>
                  <a:pt x="344297" y="149987"/>
                </a:lnTo>
                <a:lnTo>
                  <a:pt x="347989" y="139870"/>
                </a:lnTo>
                <a:lnTo>
                  <a:pt x="356981" y="130492"/>
                </a:lnTo>
                <a:lnTo>
                  <a:pt x="368139" y="123590"/>
                </a:lnTo>
                <a:lnTo>
                  <a:pt x="378332" y="120903"/>
                </a:lnTo>
                <a:lnTo>
                  <a:pt x="444138" y="120903"/>
                </a:lnTo>
                <a:lnTo>
                  <a:pt x="425497" y="102647"/>
                </a:lnTo>
                <a:lnTo>
                  <a:pt x="400694" y="88332"/>
                </a:lnTo>
                <a:lnTo>
                  <a:pt x="378332" y="82803"/>
                </a:lnTo>
                <a:close/>
              </a:path>
              <a:path w="942975" h="304800">
                <a:moveTo>
                  <a:pt x="444138" y="120903"/>
                </a:moveTo>
                <a:lnTo>
                  <a:pt x="378332" y="120903"/>
                </a:lnTo>
                <a:lnTo>
                  <a:pt x="388366" y="123590"/>
                </a:lnTo>
                <a:lnTo>
                  <a:pt x="399542" y="130492"/>
                </a:lnTo>
                <a:lnTo>
                  <a:pt x="408622" y="139870"/>
                </a:lnTo>
                <a:lnTo>
                  <a:pt x="412369" y="149987"/>
                </a:lnTo>
                <a:lnTo>
                  <a:pt x="412369" y="237489"/>
                </a:lnTo>
                <a:lnTo>
                  <a:pt x="408693" y="247679"/>
                </a:lnTo>
                <a:lnTo>
                  <a:pt x="399732" y="257095"/>
                </a:lnTo>
                <a:lnTo>
                  <a:pt x="388580" y="264011"/>
                </a:lnTo>
                <a:lnTo>
                  <a:pt x="378332" y="266700"/>
                </a:lnTo>
                <a:lnTo>
                  <a:pt x="443654" y="266700"/>
                </a:lnTo>
                <a:lnTo>
                  <a:pt x="445609" y="264777"/>
                </a:lnTo>
                <a:lnTo>
                  <a:pt x="453898" y="243459"/>
                </a:lnTo>
                <a:lnTo>
                  <a:pt x="453898" y="144017"/>
                </a:lnTo>
                <a:lnTo>
                  <a:pt x="445609" y="122344"/>
                </a:lnTo>
                <a:lnTo>
                  <a:pt x="444138" y="120903"/>
                </a:lnTo>
                <a:close/>
              </a:path>
              <a:path w="942975" h="304800">
                <a:moveTo>
                  <a:pt x="575309" y="82803"/>
                </a:moveTo>
                <a:lnTo>
                  <a:pt x="554906" y="88272"/>
                </a:lnTo>
                <a:lnTo>
                  <a:pt x="531812" y="102457"/>
                </a:lnTo>
                <a:lnTo>
                  <a:pt x="512909" y="122023"/>
                </a:lnTo>
                <a:lnTo>
                  <a:pt x="505078" y="143637"/>
                </a:lnTo>
                <a:lnTo>
                  <a:pt x="505078" y="243459"/>
                </a:lnTo>
                <a:lnTo>
                  <a:pt x="513294" y="264777"/>
                </a:lnTo>
                <a:lnTo>
                  <a:pt x="533273" y="284559"/>
                </a:lnTo>
                <a:lnTo>
                  <a:pt x="558037" y="299132"/>
                </a:lnTo>
                <a:lnTo>
                  <a:pt x="580517" y="304800"/>
                </a:lnTo>
                <a:lnTo>
                  <a:pt x="603184" y="299126"/>
                </a:lnTo>
                <a:lnTo>
                  <a:pt x="627761" y="284606"/>
                </a:lnTo>
                <a:lnTo>
                  <a:pt x="645722" y="266700"/>
                </a:lnTo>
                <a:lnTo>
                  <a:pt x="580517" y="266700"/>
                </a:lnTo>
                <a:lnTo>
                  <a:pt x="570108" y="263953"/>
                </a:lnTo>
                <a:lnTo>
                  <a:pt x="558974" y="257016"/>
                </a:lnTo>
                <a:lnTo>
                  <a:pt x="550102" y="247840"/>
                </a:lnTo>
                <a:lnTo>
                  <a:pt x="546480" y="238378"/>
                </a:lnTo>
                <a:lnTo>
                  <a:pt x="546480" y="149225"/>
                </a:lnTo>
                <a:lnTo>
                  <a:pt x="550167" y="139549"/>
                </a:lnTo>
                <a:lnTo>
                  <a:pt x="559117" y="130397"/>
                </a:lnTo>
                <a:lnTo>
                  <a:pt x="570162" y="123578"/>
                </a:lnTo>
                <a:lnTo>
                  <a:pt x="580135" y="120903"/>
                </a:lnTo>
                <a:lnTo>
                  <a:pt x="655574" y="120903"/>
                </a:lnTo>
                <a:lnTo>
                  <a:pt x="655574" y="101600"/>
                </a:lnTo>
                <a:lnTo>
                  <a:pt x="614172" y="101600"/>
                </a:lnTo>
                <a:lnTo>
                  <a:pt x="606010" y="94698"/>
                </a:lnTo>
                <a:lnTo>
                  <a:pt x="596026" y="88677"/>
                </a:lnTo>
                <a:lnTo>
                  <a:pt x="585400" y="84419"/>
                </a:lnTo>
                <a:lnTo>
                  <a:pt x="575309" y="82803"/>
                </a:lnTo>
                <a:close/>
              </a:path>
              <a:path w="942975" h="304800">
                <a:moveTo>
                  <a:pt x="655574" y="120903"/>
                </a:moveTo>
                <a:lnTo>
                  <a:pt x="580135" y="120903"/>
                </a:lnTo>
                <a:lnTo>
                  <a:pt x="590169" y="123578"/>
                </a:lnTo>
                <a:lnTo>
                  <a:pt x="601345" y="130397"/>
                </a:lnTo>
                <a:lnTo>
                  <a:pt x="610425" y="139549"/>
                </a:lnTo>
                <a:lnTo>
                  <a:pt x="614172" y="149225"/>
                </a:lnTo>
                <a:lnTo>
                  <a:pt x="614172" y="238378"/>
                </a:lnTo>
                <a:lnTo>
                  <a:pt x="610681" y="247679"/>
                </a:lnTo>
                <a:lnTo>
                  <a:pt x="602059" y="256873"/>
                </a:lnTo>
                <a:lnTo>
                  <a:pt x="591079" y="263900"/>
                </a:lnTo>
                <a:lnTo>
                  <a:pt x="580517" y="266700"/>
                </a:lnTo>
                <a:lnTo>
                  <a:pt x="645722" y="266700"/>
                </a:lnTo>
                <a:lnTo>
                  <a:pt x="647489" y="264937"/>
                </a:lnTo>
                <a:lnTo>
                  <a:pt x="655574" y="243839"/>
                </a:lnTo>
                <a:lnTo>
                  <a:pt x="655574" y="120903"/>
                </a:lnTo>
                <a:close/>
              </a:path>
              <a:path w="942975" h="304800">
                <a:moveTo>
                  <a:pt x="651636" y="0"/>
                </a:moveTo>
                <a:lnTo>
                  <a:pt x="618490" y="0"/>
                </a:lnTo>
                <a:lnTo>
                  <a:pt x="614172" y="3937"/>
                </a:lnTo>
                <a:lnTo>
                  <a:pt x="614172" y="101600"/>
                </a:lnTo>
                <a:lnTo>
                  <a:pt x="655574" y="101600"/>
                </a:lnTo>
                <a:lnTo>
                  <a:pt x="655574" y="3937"/>
                </a:lnTo>
                <a:lnTo>
                  <a:pt x="651636" y="0"/>
                </a:lnTo>
                <a:close/>
              </a:path>
              <a:path w="942975" h="304800">
                <a:moveTo>
                  <a:pt x="751204" y="86613"/>
                </a:moveTo>
                <a:lnTo>
                  <a:pt x="717550" y="86613"/>
                </a:lnTo>
                <a:lnTo>
                  <a:pt x="713740" y="90424"/>
                </a:lnTo>
                <a:lnTo>
                  <a:pt x="713740" y="297052"/>
                </a:lnTo>
                <a:lnTo>
                  <a:pt x="717550" y="300863"/>
                </a:lnTo>
                <a:lnTo>
                  <a:pt x="751204" y="300863"/>
                </a:lnTo>
                <a:lnTo>
                  <a:pt x="755015" y="297052"/>
                </a:lnTo>
                <a:lnTo>
                  <a:pt x="755015" y="90424"/>
                </a:lnTo>
                <a:lnTo>
                  <a:pt x="751204" y="86613"/>
                </a:lnTo>
                <a:close/>
              </a:path>
              <a:path w="942975" h="304800">
                <a:moveTo>
                  <a:pt x="822325" y="247776"/>
                </a:moveTo>
                <a:lnTo>
                  <a:pt x="815467" y="249427"/>
                </a:lnTo>
                <a:lnTo>
                  <a:pt x="812800" y="255904"/>
                </a:lnTo>
                <a:lnTo>
                  <a:pt x="806830" y="269621"/>
                </a:lnTo>
                <a:lnTo>
                  <a:pt x="804164" y="276098"/>
                </a:lnTo>
                <a:lnTo>
                  <a:pt x="806830" y="282066"/>
                </a:lnTo>
                <a:lnTo>
                  <a:pt x="813307" y="285496"/>
                </a:lnTo>
                <a:lnTo>
                  <a:pt x="826742" y="291780"/>
                </a:lnTo>
                <a:lnTo>
                  <a:pt x="842105" y="298053"/>
                </a:lnTo>
                <a:lnTo>
                  <a:pt x="857706" y="302873"/>
                </a:lnTo>
                <a:lnTo>
                  <a:pt x="871854" y="304800"/>
                </a:lnTo>
                <a:lnTo>
                  <a:pt x="894433" y="299291"/>
                </a:lnTo>
                <a:lnTo>
                  <a:pt x="917606" y="285496"/>
                </a:lnTo>
                <a:lnTo>
                  <a:pt x="935684" y="267509"/>
                </a:lnTo>
                <a:lnTo>
                  <a:pt x="936010" y="266700"/>
                </a:lnTo>
                <a:lnTo>
                  <a:pt x="871854" y="266700"/>
                </a:lnTo>
                <a:lnTo>
                  <a:pt x="862699" y="265058"/>
                </a:lnTo>
                <a:lnTo>
                  <a:pt x="851281" y="261000"/>
                </a:lnTo>
                <a:lnTo>
                  <a:pt x="839386" y="255823"/>
                </a:lnTo>
                <a:lnTo>
                  <a:pt x="822325" y="247776"/>
                </a:lnTo>
                <a:close/>
              </a:path>
              <a:path w="942975" h="304800">
                <a:moveTo>
                  <a:pt x="875792" y="82803"/>
                </a:moveTo>
                <a:lnTo>
                  <a:pt x="855410" y="88205"/>
                </a:lnTo>
                <a:lnTo>
                  <a:pt x="831992" y="101917"/>
                </a:lnTo>
                <a:lnTo>
                  <a:pt x="812694" y="120201"/>
                </a:lnTo>
                <a:lnTo>
                  <a:pt x="804672" y="139319"/>
                </a:lnTo>
                <a:lnTo>
                  <a:pt x="804672" y="158623"/>
                </a:lnTo>
                <a:lnTo>
                  <a:pt x="825567" y="191216"/>
                </a:lnTo>
                <a:lnTo>
                  <a:pt x="883157" y="215264"/>
                </a:lnTo>
                <a:lnTo>
                  <a:pt x="890432" y="218356"/>
                </a:lnTo>
                <a:lnTo>
                  <a:pt x="896778" y="222186"/>
                </a:lnTo>
                <a:lnTo>
                  <a:pt x="901267" y="227159"/>
                </a:lnTo>
                <a:lnTo>
                  <a:pt x="902970" y="233679"/>
                </a:lnTo>
                <a:lnTo>
                  <a:pt x="902970" y="243459"/>
                </a:lnTo>
                <a:lnTo>
                  <a:pt x="899501" y="251055"/>
                </a:lnTo>
                <a:lnTo>
                  <a:pt x="891127" y="258603"/>
                </a:lnTo>
                <a:lnTo>
                  <a:pt x="880895" y="264390"/>
                </a:lnTo>
                <a:lnTo>
                  <a:pt x="871854" y="266700"/>
                </a:lnTo>
                <a:lnTo>
                  <a:pt x="936010" y="266700"/>
                </a:lnTo>
                <a:lnTo>
                  <a:pt x="942975" y="249427"/>
                </a:lnTo>
                <a:lnTo>
                  <a:pt x="942874" y="227159"/>
                </a:lnTo>
                <a:lnTo>
                  <a:pt x="940464" y="213945"/>
                </a:lnTo>
                <a:lnTo>
                  <a:pt x="933561" y="202453"/>
                </a:lnTo>
                <a:lnTo>
                  <a:pt x="923204" y="193367"/>
                </a:lnTo>
                <a:lnTo>
                  <a:pt x="910335" y="186816"/>
                </a:lnTo>
                <a:lnTo>
                  <a:pt x="853313" y="165480"/>
                </a:lnTo>
                <a:lnTo>
                  <a:pt x="845184" y="161162"/>
                </a:lnTo>
                <a:lnTo>
                  <a:pt x="845184" y="145287"/>
                </a:lnTo>
                <a:lnTo>
                  <a:pt x="848752" y="137138"/>
                </a:lnTo>
                <a:lnTo>
                  <a:pt x="857250" y="129238"/>
                </a:lnTo>
                <a:lnTo>
                  <a:pt x="867366" y="123267"/>
                </a:lnTo>
                <a:lnTo>
                  <a:pt x="875792" y="120903"/>
                </a:lnTo>
                <a:lnTo>
                  <a:pt x="936211" y="120903"/>
                </a:lnTo>
                <a:lnTo>
                  <a:pt x="938276" y="115315"/>
                </a:lnTo>
                <a:lnTo>
                  <a:pt x="940434" y="109727"/>
                </a:lnTo>
                <a:lnTo>
                  <a:pt x="938276" y="103759"/>
                </a:lnTo>
                <a:lnTo>
                  <a:pt x="933576" y="101091"/>
                </a:lnTo>
                <a:lnTo>
                  <a:pt x="919511" y="94644"/>
                </a:lnTo>
                <a:lnTo>
                  <a:pt x="904208" y="88757"/>
                </a:lnTo>
                <a:lnTo>
                  <a:pt x="889142" y="84464"/>
                </a:lnTo>
                <a:lnTo>
                  <a:pt x="875792" y="82803"/>
                </a:lnTo>
                <a:close/>
              </a:path>
              <a:path w="942975" h="304800">
                <a:moveTo>
                  <a:pt x="936211" y="120903"/>
                </a:moveTo>
                <a:lnTo>
                  <a:pt x="875792" y="120903"/>
                </a:lnTo>
                <a:lnTo>
                  <a:pt x="884797" y="122314"/>
                </a:lnTo>
                <a:lnTo>
                  <a:pt x="895826" y="125809"/>
                </a:lnTo>
                <a:lnTo>
                  <a:pt x="907188" y="130280"/>
                </a:lnTo>
                <a:lnTo>
                  <a:pt x="917194" y="134620"/>
                </a:lnTo>
                <a:lnTo>
                  <a:pt x="923163" y="136778"/>
                </a:lnTo>
                <a:lnTo>
                  <a:pt x="930909" y="135000"/>
                </a:lnTo>
                <a:lnTo>
                  <a:pt x="933133" y="129238"/>
                </a:lnTo>
                <a:lnTo>
                  <a:pt x="936211" y="12090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11610975" y="390525"/>
            <a:ext cx="57150" cy="57150"/>
          </a:xfrm>
          <a:custGeom>
            <a:avLst/>
            <a:gdLst/>
            <a:ahLst/>
            <a:cxnLst/>
            <a:rect l="l" t="t" r="r" b="b"/>
            <a:pathLst>
              <a:path w="57150" h="57150">
                <a:moveTo>
                  <a:pt x="28575" y="0"/>
                </a:moveTo>
                <a:lnTo>
                  <a:pt x="17466" y="2250"/>
                </a:lnTo>
                <a:lnTo>
                  <a:pt x="8381" y="8382"/>
                </a:lnTo>
                <a:lnTo>
                  <a:pt x="2250" y="17466"/>
                </a:lnTo>
                <a:lnTo>
                  <a:pt x="0" y="28575"/>
                </a:lnTo>
                <a:lnTo>
                  <a:pt x="2250" y="39683"/>
                </a:lnTo>
                <a:lnTo>
                  <a:pt x="8381" y="48767"/>
                </a:lnTo>
                <a:lnTo>
                  <a:pt x="17466" y="54899"/>
                </a:lnTo>
                <a:lnTo>
                  <a:pt x="28575" y="57150"/>
                </a:lnTo>
                <a:lnTo>
                  <a:pt x="39683" y="54899"/>
                </a:lnTo>
                <a:lnTo>
                  <a:pt x="48768" y="48767"/>
                </a:lnTo>
                <a:lnTo>
                  <a:pt x="54899" y="39683"/>
                </a:lnTo>
                <a:lnTo>
                  <a:pt x="57150" y="28575"/>
                </a:lnTo>
                <a:lnTo>
                  <a:pt x="54899" y="17466"/>
                </a:lnTo>
                <a:lnTo>
                  <a:pt x="48768" y="8382"/>
                </a:lnTo>
                <a:lnTo>
                  <a:pt x="39683" y="2250"/>
                </a:lnTo>
                <a:lnTo>
                  <a:pt x="28575" y="0"/>
                </a:lnTo>
                <a:close/>
              </a:path>
            </a:pathLst>
          </a:custGeom>
          <a:solidFill>
            <a:srgbClr val="FFB81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93712" y="318769"/>
            <a:ext cx="4434205" cy="4495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75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45159" y="1360423"/>
            <a:ext cx="10033635" cy="3181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 u="sng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EA48D1F-7D58-4D5B-A0EF-0CD6CF0A9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4356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EA48D1F-7D58-4D5B-A0EF-0CD6CF0A9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587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-Pos">
            <a:extLst>
              <a:ext uri="{FF2B5EF4-FFF2-40B4-BE49-F238E27FC236}">
                <a16:creationId xmlns:a16="http://schemas.microsoft.com/office/drawing/2014/main" id="{205BF6D9-F22F-1943-BC7F-B33393C5909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09377" y="391028"/>
            <a:ext cx="940664" cy="308120"/>
            <a:chOff x="9674225" y="357188"/>
            <a:chExt cx="1831975" cy="600076"/>
          </a:xfrm>
          <a:solidFill>
            <a:sysClr val="window" lastClr="FFFFFF"/>
          </a:solidFill>
        </p:grpSpPr>
        <p:sp>
          <p:nvSpPr>
            <p:cNvPr id="3" name="Freeform 29">
              <a:extLst>
                <a:ext uri="{FF2B5EF4-FFF2-40B4-BE49-F238E27FC236}">
                  <a16:creationId xmlns:a16="http://schemas.microsoft.com/office/drawing/2014/main" id="{51500103-5CFA-D146-BDED-E76EA0CF4C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4225" y="361950"/>
              <a:ext cx="1831975" cy="595314"/>
            </a:xfrm>
            <a:custGeom>
              <a:avLst/>
              <a:gdLst>
                <a:gd name="T0" fmla="*/ 921 w 21021"/>
                <a:gd name="T1" fmla="*/ 3324 h 6831"/>
                <a:gd name="T2" fmla="*/ 711 w 21021"/>
                <a:gd name="T3" fmla="*/ 6744 h 6831"/>
                <a:gd name="T4" fmla="*/ 0 w 21021"/>
                <a:gd name="T5" fmla="*/ 6533 h 6831"/>
                <a:gd name="T6" fmla="*/ 1604 w 21021"/>
                <a:gd name="T7" fmla="*/ 1855 h 6831"/>
                <a:gd name="T8" fmla="*/ 3957 w 21021"/>
                <a:gd name="T9" fmla="*/ 1855 h 6831"/>
                <a:gd name="T10" fmla="*/ 5562 w 21021"/>
                <a:gd name="T11" fmla="*/ 6533 h 6831"/>
                <a:gd name="T12" fmla="*/ 4851 w 21021"/>
                <a:gd name="T13" fmla="*/ 6744 h 6831"/>
                <a:gd name="T14" fmla="*/ 4639 w 21021"/>
                <a:gd name="T15" fmla="*/ 3314 h 6831"/>
                <a:gd name="T16" fmla="*/ 3247 w 21021"/>
                <a:gd name="T17" fmla="*/ 3314 h 6831"/>
                <a:gd name="T18" fmla="*/ 3035 w 21021"/>
                <a:gd name="T19" fmla="*/ 6744 h 6831"/>
                <a:gd name="T20" fmla="*/ 2323 w 21021"/>
                <a:gd name="T21" fmla="*/ 6533 h 6831"/>
                <a:gd name="T22" fmla="*/ 1623 w 21021"/>
                <a:gd name="T23" fmla="*/ 2709 h 6831"/>
                <a:gd name="T24" fmla="*/ 10117 w 21021"/>
                <a:gd name="T25" fmla="*/ 5457 h 6831"/>
                <a:gd name="T26" fmla="*/ 6753 w 21021"/>
                <a:gd name="T27" fmla="*/ 5457 h 6831"/>
                <a:gd name="T28" fmla="*/ 8435 w 21021"/>
                <a:gd name="T29" fmla="*/ 1855 h 6831"/>
                <a:gd name="T30" fmla="*/ 9194 w 21021"/>
                <a:gd name="T31" fmla="*/ 3362 h 6831"/>
                <a:gd name="T32" fmla="*/ 7676 w 21021"/>
                <a:gd name="T33" fmla="*/ 3362 h 6831"/>
                <a:gd name="T34" fmla="*/ 8435 w 21021"/>
                <a:gd name="T35" fmla="*/ 5976 h 6831"/>
                <a:gd name="T36" fmla="*/ 9194 w 21021"/>
                <a:gd name="T37" fmla="*/ 3362 h 6831"/>
                <a:gd name="T38" fmla="*/ 13902 w 21021"/>
                <a:gd name="T39" fmla="*/ 0 h 6831"/>
                <a:gd name="T40" fmla="*/ 14613 w 21021"/>
                <a:gd name="T41" fmla="*/ 211 h 6831"/>
                <a:gd name="T42" fmla="*/ 12941 w 21021"/>
                <a:gd name="T43" fmla="*/ 6831 h 6831"/>
                <a:gd name="T44" fmla="*/ 11259 w 21021"/>
                <a:gd name="T45" fmla="*/ 3218 h 6831"/>
                <a:gd name="T46" fmla="*/ 13691 w 21021"/>
                <a:gd name="T47" fmla="*/ 2276 h 6831"/>
                <a:gd name="T48" fmla="*/ 12183 w 21021"/>
                <a:gd name="T49" fmla="*/ 5341 h 6831"/>
                <a:gd name="T50" fmla="*/ 13691 w 21021"/>
                <a:gd name="T51" fmla="*/ 5341 h 6831"/>
                <a:gd name="T52" fmla="*/ 12932 w 21021"/>
                <a:gd name="T53" fmla="*/ 2709 h 6831"/>
                <a:gd name="T54" fmla="*/ 12183 w 21021"/>
                <a:gd name="T55" fmla="*/ 5341 h 6831"/>
                <a:gd name="T56" fmla="*/ 16622 w 21021"/>
                <a:gd name="T57" fmla="*/ 1940 h 6831"/>
                <a:gd name="T58" fmla="*/ 15910 w 21021"/>
                <a:gd name="T59" fmla="*/ 2152 h 6831"/>
                <a:gd name="T60" fmla="*/ 16122 w 21021"/>
                <a:gd name="T61" fmla="*/ 6744 h 6831"/>
                <a:gd name="T62" fmla="*/ 16832 w 21021"/>
                <a:gd name="T63" fmla="*/ 6533 h 6831"/>
                <a:gd name="T64" fmla="*/ 18841 w 21021"/>
                <a:gd name="T65" fmla="*/ 3257 h 6831"/>
                <a:gd name="T66" fmla="*/ 19226 w 21021"/>
                <a:gd name="T67" fmla="*/ 3785 h 6831"/>
                <a:gd name="T68" fmla="*/ 21021 w 21021"/>
                <a:gd name="T69" fmla="*/ 5102 h 6831"/>
                <a:gd name="T70" fmla="*/ 19436 w 21021"/>
                <a:gd name="T71" fmla="*/ 6831 h 6831"/>
                <a:gd name="T72" fmla="*/ 17985 w 21021"/>
                <a:gd name="T73" fmla="*/ 6043 h 6831"/>
                <a:gd name="T74" fmla="*/ 18475 w 21021"/>
                <a:gd name="T75" fmla="*/ 5620 h 6831"/>
                <a:gd name="T76" fmla="*/ 20128 w 21021"/>
                <a:gd name="T77" fmla="*/ 5457 h 6831"/>
                <a:gd name="T78" fmla="*/ 19687 w 21021"/>
                <a:gd name="T79" fmla="*/ 4823 h 6831"/>
                <a:gd name="T80" fmla="*/ 17938 w 21021"/>
                <a:gd name="T81" fmla="*/ 3554 h 6831"/>
                <a:gd name="T82" fmla="*/ 19523 w 21021"/>
                <a:gd name="T83" fmla="*/ 1855 h 6831"/>
                <a:gd name="T84" fmla="*/ 20916 w 21021"/>
                <a:gd name="T85" fmla="*/ 2584 h 6831"/>
                <a:gd name="T86" fmla="*/ 20445 w 21021"/>
                <a:gd name="T87" fmla="*/ 3016 h 6831"/>
                <a:gd name="T88" fmla="*/ 18841 w 21021"/>
                <a:gd name="T89" fmla="*/ 3257 h 6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21" h="6831">
                  <a:moveTo>
                    <a:pt x="1623" y="2709"/>
                  </a:moveTo>
                  <a:cubicBezTo>
                    <a:pt x="1393" y="2709"/>
                    <a:pt x="921" y="3046"/>
                    <a:pt x="921" y="3324"/>
                  </a:cubicBezTo>
                  <a:cubicBezTo>
                    <a:pt x="921" y="6533"/>
                    <a:pt x="921" y="6533"/>
                    <a:pt x="921" y="6533"/>
                  </a:cubicBezTo>
                  <a:cubicBezTo>
                    <a:pt x="921" y="6658"/>
                    <a:pt x="835" y="6744"/>
                    <a:pt x="711" y="6744"/>
                  </a:cubicBezTo>
                  <a:cubicBezTo>
                    <a:pt x="210" y="6744"/>
                    <a:pt x="210" y="6744"/>
                    <a:pt x="210" y="6744"/>
                  </a:cubicBezTo>
                  <a:cubicBezTo>
                    <a:pt x="85" y="6744"/>
                    <a:pt x="0" y="6658"/>
                    <a:pt x="0" y="6533"/>
                  </a:cubicBezTo>
                  <a:cubicBezTo>
                    <a:pt x="0" y="3170"/>
                    <a:pt x="0" y="3170"/>
                    <a:pt x="0" y="3170"/>
                  </a:cubicBezTo>
                  <a:cubicBezTo>
                    <a:pt x="0" y="2575"/>
                    <a:pt x="1055" y="1855"/>
                    <a:pt x="1604" y="1855"/>
                  </a:cubicBezTo>
                  <a:cubicBezTo>
                    <a:pt x="1988" y="1855"/>
                    <a:pt x="2506" y="2200"/>
                    <a:pt x="2785" y="2517"/>
                  </a:cubicBezTo>
                  <a:cubicBezTo>
                    <a:pt x="3065" y="2190"/>
                    <a:pt x="3602" y="1855"/>
                    <a:pt x="3957" y="1855"/>
                  </a:cubicBezTo>
                  <a:cubicBezTo>
                    <a:pt x="4506" y="1855"/>
                    <a:pt x="5562" y="2575"/>
                    <a:pt x="5562" y="3170"/>
                  </a:cubicBezTo>
                  <a:cubicBezTo>
                    <a:pt x="5562" y="6533"/>
                    <a:pt x="5562" y="6533"/>
                    <a:pt x="5562" y="6533"/>
                  </a:cubicBezTo>
                  <a:cubicBezTo>
                    <a:pt x="5562" y="6658"/>
                    <a:pt x="5476" y="6744"/>
                    <a:pt x="5350" y="6744"/>
                  </a:cubicBezTo>
                  <a:cubicBezTo>
                    <a:pt x="4851" y="6744"/>
                    <a:pt x="4851" y="6744"/>
                    <a:pt x="4851" y="6744"/>
                  </a:cubicBezTo>
                  <a:cubicBezTo>
                    <a:pt x="4726" y="6744"/>
                    <a:pt x="4639" y="6658"/>
                    <a:pt x="4639" y="6533"/>
                  </a:cubicBezTo>
                  <a:cubicBezTo>
                    <a:pt x="4639" y="3314"/>
                    <a:pt x="4639" y="3314"/>
                    <a:pt x="4639" y="3314"/>
                  </a:cubicBezTo>
                  <a:cubicBezTo>
                    <a:pt x="4639" y="3046"/>
                    <a:pt x="4169" y="2709"/>
                    <a:pt x="3938" y="2709"/>
                  </a:cubicBezTo>
                  <a:cubicBezTo>
                    <a:pt x="3727" y="2709"/>
                    <a:pt x="3247" y="3046"/>
                    <a:pt x="3247" y="3314"/>
                  </a:cubicBezTo>
                  <a:cubicBezTo>
                    <a:pt x="3247" y="6533"/>
                    <a:pt x="3247" y="6533"/>
                    <a:pt x="3247" y="6533"/>
                  </a:cubicBezTo>
                  <a:cubicBezTo>
                    <a:pt x="3247" y="6658"/>
                    <a:pt x="3150" y="6744"/>
                    <a:pt x="3035" y="6744"/>
                  </a:cubicBezTo>
                  <a:cubicBezTo>
                    <a:pt x="2536" y="6744"/>
                    <a:pt x="2536" y="6744"/>
                    <a:pt x="2536" y="6744"/>
                  </a:cubicBezTo>
                  <a:cubicBezTo>
                    <a:pt x="2401" y="6744"/>
                    <a:pt x="2323" y="6658"/>
                    <a:pt x="2323" y="6533"/>
                  </a:cubicBezTo>
                  <a:cubicBezTo>
                    <a:pt x="2323" y="3324"/>
                    <a:pt x="2323" y="3324"/>
                    <a:pt x="2323" y="3324"/>
                  </a:cubicBezTo>
                  <a:cubicBezTo>
                    <a:pt x="2323" y="3055"/>
                    <a:pt x="1834" y="2709"/>
                    <a:pt x="1623" y="2709"/>
                  </a:cubicBezTo>
                  <a:moveTo>
                    <a:pt x="10117" y="3228"/>
                  </a:moveTo>
                  <a:cubicBezTo>
                    <a:pt x="10117" y="5457"/>
                    <a:pt x="10117" y="5457"/>
                    <a:pt x="10117" y="5457"/>
                  </a:cubicBezTo>
                  <a:cubicBezTo>
                    <a:pt x="10117" y="6081"/>
                    <a:pt x="8992" y="6831"/>
                    <a:pt x="8435" y="6831"/>
                  </a:cubicBezTo>
                  <a:cubicBezTo>
                    <a:pt x="7878" y="6831"/>
                    <a:pt x="6753" y="6081"/>
                    <a:pt x="6753" y="5457"/>
                  </a:cubicBezTo>
                  <a:cubicBezTo>
                    <a:pt x="6753" y="3228"/>
                    <a:pt x="6753" y="3228"/>
                    <a:pt x="6753" y="3228"/>
                  </a:cubicBezTo>
                  <a:cubicBezTo>
                    <a:pt x="6753" y="2594"/>
                    <a:pt x="7878" y="1855"/>
                    <a:pt x="8435" y="1855"/>
                  </a:cubicBezTo>
                  <a:cubicBezTo>
                    <a:pt x="8992" y="1855"/>
                    <a:pt x="10117" y="2584"/>
                    <a:pt x="10117" y="3228"/>
                  </a:cubicBezTo>
                  <a:moveTo>
                    <a:pt x="9194" y="3362"/>
                  </a:moveTo>
                  <a:cubicBezTo>
                    <a:pt x="9194" y="3064"/>
                    <a:pt x="8684" y="2709"/>
                    <a:pt x="8435" y="2709"/>
                  </a:cubicBezTo>
                  <a:cubicBezTo>
                    <a:pt x="8175" y="2709"/>
                    <a:pt x="7676" y="3064"/>
                    <a:pt x="7676" y="3362"/>
                  </a:cubicBezTo>
                  <a:cubicBezTo>
                    <a:pt x="7676" y="5322"/>
                    <a:pt x="7676" y="5322"/>
                    <a:pt x="7676" y="5322"/>
                  </a:cubicBezTo>
                  <a:cubicBezTo>
                    <a:pt x="7676" y="5620"/>
                    <a:pt x="8166" y="5976"/>
                    <a:pt x="8435" y="5976"/>
                  </a:cubicBezTo>
                  <a:cubicBezTo>
                    <a:pt x="8694" y="5976"/>
                    <a:pt x="9194" y="5620"/>
                    <a:pt x="9194" y="5322"/>
                  </a:cubicBezTo>
                  <a:lnTo>
                    <a:pt x="9194" y="3362"/>
                  </a:lnTo>
                  <a:close/>
                  <a:moveTo>
                    <a:pt x="13691" y="211"/>
                  </a:moveTo>
                  <a:cubicBezTo>
                    <a:pt x="13691" y="87"/>
                    <a:pt x="13787" y="0"/>
                    <a:pt x="13902" y="0"/>
                  </a:cubicBezTo>
                  <a:cubicBezTo>
                    <a:pt x="14402" y="0"/>
                    <a:pt x="14402" y="0"/>
                    <a:pt x="14402" y="0"/>
                  </a:cubicBezTo>
                  <a:cubicBezTo>
                    <a:pt x="14526" y="0"/>
                    <a:pt x="14613" y="87"/>
                    <a:pt x="14613" y="211"/>
                  </a:cubicBezTo>
                  <a:cubicBezTo>
                    <a:pt x="14613" y="5466"/>
                    <a:pt x="14613" y="5466"/>
                    <a:pt x="14613" y="5466"/>
                  </a:cubicBezTo>
                  <a:cubicBezTo>
                    <a:pt x="14613" y="6081"/>
                    <a:pt x="13518" y="6831"/>
                    <a:pt x="12941" y="6831"/>
                  </a:cubicBezTo>
                  <a:cubicBezTo>
                    <a:pt x="12374" y="6831"/>
                    <a:pt x="11259" y="6081"/>
                    <a:pt x="11259" y="5457"/>
                  </a:cubicBezTo>
                  <a:cubicBezTo>
                    <a:pt x="11259" y="3218"/>
                    <a:pt x="11259" y="3218"/>
                    <a:pt x="11259" y="3218"/>
                  </a:cubicBezTo>
                  <a:cubicBezTo>
                    <a:pt x="11259" y="2575"/>
                    <a:pt x="12327" y="1855"/>
                    <a:pt x="12826" y="1855"/>
                  </a:cubicBezTo>
                  <a:cubicBezTo>
                    <a:pt x="13105" y="1855"/>
                    <a:pt x="13488" y="2065"/>
                    <a:pt x="13691" y="2276"/>
                  </a:cubicBezTo>
                  <a:lnTo>
                    <a:pt x="13691" y="211"/>
                  </a:lnTo>
                  <a:close/>
                  <a:moveTo>
                    <a:pt x="12183" y="5341"/>
                  </a:moveTo>
                  <a:cubicBezTo>
                    <a:pt x="12183" y="5610"/>
                    <a:pt x="12673" y="5976"/>
                    <a:pt x="12941" y="5976"/>
                  </a:cubicBezTo>
                  <a:cubicBezTo>
                    <a:pt x="13220" y="5976"/>
                    <a:pt x="13691" y="5601"/>
                    <a:pt x="13691" y="5341"/>
                  </a:cubicBezTo>
                  <a:cubicBezTo>
                    <a:pt x="13691" y="3343"/>
                    <a:pt x="13691" y="3343"/>
                    <a:pt x="13691" y="3343"/>
                  </a:cubicBezTo>
                  <a:cubicBezTo>
                    <a:pt x="13691" y="3064"/>
                    <a:pt x="13181" y="2709"/>
                    <a:pt x="12932" y="2709"/>
                  </a:cubicBezTo>
                  <a:cubicBezTo>
                    <a:pt x="12682" y="2709"/>
                    <a:pt x="12183" y="3064"/>
                    <a:pt x="12183" y="3343"/>
                  </a:cubicBezTo>
                  <a:lnTo>
                    <a:pt x="12183" y="5341"/>
                  </a:lnTo>
                  <a:close/>
                  <a:moveTo>
                    <a:pt x="16832" y="2152"/>
                  </a:moveTo>
                  <a:cubicBezTo>
                    <a:pt x="16832" y="2027"/>
                    <a:pt x="16746" y="1940"/>
                    <a:pt x="16622" y="1940"/>
                  </a:cubicBezTo>
                  <a:cubicBezTo>
                    <a:pt x="16122" y="1940"/>
                    <a:pt x="16122" y="1940"/>
                    <a:pt x="16122" y="1940"/>
                  </a:cubicBezTo>
                  <a:cubicBezTo>
                    <a:pt x="15997" y="1940"/>
                    <a:pt x="15910" y="2027"/>
                    <a:pt x="15910" y="2152"/>
                  </a:cubicBezTo>
                  <a:cubicBezTo>
                    <a:pt x="15910" y="6533"/>
                    <a:pt x="15910" y="6533"/>
                    <a:pt x="15910" y="6533"/>
                  </a:cubicBezTo>
                  <a:cubicBezTo>
                    <a:pt x="15910" y="6658"/>
                    <a:pt x="15997" y="6744"/>
                    <a:pt x="16122" y="6744"/>
                  </a:cubicBezTo>
                  <a:cubicBezTo>
                    <a:pt x="16622" y="6744"/>
                    <a:pt x="16622" y="6744"/>
                    <a:pt x="16622" y="6744"/>
                  </a:cubicBezTo>
                  <a:cubicBezTo>
                    <a:pt x="16746" y="6744"/>
                    <a:pt x="16832" y="6658"/>
                    <a:pt x="16832" y="6533"/>
                  </a:cubicBezTo>
                  <a:lnTo>
                    <a:pt x="16832" y="2152"/>
                  </a:lnTo>
                  <a:close/>
                  <a:moveTo>
                    <a:pt x="18841" y="3257"/>
                  </a:moveTo>
                  <a:cubicBezTo>
                    <a:pt x="18841" y="3430"/>
                    <a:pt x="18841" y="3430"/>
                    <a:pt x="18841" y="3430"/>
                  </a:cubicBezTo>
                  <a:cubicBezTo>
                    <a:pt x="18841" y="3612"/>
                    <a:pt x="19023" y="3708"/>
                    <a:pt x="19226" y="3785"/>
                  </a:cubicBezTo>
                  <a:cubicBezTo>
                    <a:pt x="20292" y="4188"/>
                    <a:pt x="20292" y="4188"/>
                    <a:pt x="20292" y="4188"/>
                  </a:cubicBezTo>
                  <a:cubicBezTo>
                    <a:pt x="20705" y="4343"/>
                    <a:pt x="21021" y="4660"/>
                    <a:pt x="21021" y="5102"/>
                  </a:cubicBezTo>
                  <a:cubicBezTo>
                    <a:pt x="21021" y="5591"/>
                    <a:pt x="21021" y="5591"/>
                    <a:pt x="21021" y="5591"/>
                  </a:cubicBezTo>
                  <a:cubicBezTo>
                    <a:pt x="21021" y="6091"/>
                    <a:pt x="20042" y="6831"/>
                    <a:pt x="19436" y="6831"/>
                  </a:cubicBezTo>
                  <a:cubicBezTo>
                    <a:pt x="19052" y="6831"/>
                    <a:pt x="18485" y="6572"/>
                    <a:pt x="18130" y="6398"/>
                  </a:cubicBezTo>
                  <a:cubicBezTo>
                    <a:pt x="17985" y="6321"/>
                    <a:pt x="17928" y="6187"/>
                    <a:pt x="17985" y="6043"/>
                  </a:cubicBezTo>
                  <a:cubicBezTo>
                    <a:pt x="18119" y="5735"/>
                    <a:pt x="18119" y="5735"/>
                    <a:pt x="18119" y="5735"/>
                  </a:cubicBezTo>
                  <a:cubicBezTo>
                    <a:pt x="18178" y="5591"/>
                    <a:pt x="18332" y="5553"/>
                    <a:pt x="18475" y="5620"/>
                  </a:cubicBezTo>
                  <a:cubicBezTo>
                    <a:pt x="18754" y="5755"/>
                    <a:pt x="19215" y="5976"/>
                    <a:pt x="19436" y="5976"/>
                  </a:cubicBezTo>
                  <a:cubicBezTo>
                    <a:pt x="19657" y="5976"/>
                    <a:pt x="20128" y="5668"/>
                    <a:pt x="20128" y="5457"/>
                  </a:cubicBezTo>
                  <a:cubicBezTo>
                    <a:pt x="20128" y="5236"/>
                    <a:pt x="20128" y="5236"/>
                    <a:pt x="20128" y="5236"/>
                  </a:cubicBezTo>
                  <a:cubicBezTo>
                    <a:pt x="20128" y="5015"/>
                    <a:pt x="19908" y="4909"/>
                    <a:pt x="19687" y="4823"/>
                  </a:cubicBezTo>
                  <a:cubicBezTo>
                    <a:pt x="18677" y="4429"/>
                    <a:pt x="18677" y="4429"/>
                    <a:pt x="18677" y="4429"/>
                  </a:cubicBezTo>
                  <a:cubicBezTo>
                    <a:pt x="18303" y="4275"/>
                    <a:pt x="17938" y="3968"/>
                    <a:pt x="17938" y="3554"/>
                  </a:cubicBezTo>
                  <a:cubicBezTo>
                    <a:pt x="17938" y="3122"/>
                    <a:pt x="17938" y="3122"/>
                    <a:pt x="17938" y="3122"/>
                  </a:cubicBezTo>
                  <a:cubicBezTo>
                    <a:pt x="17938" y="2575"/>
                    <a:pt x="19033" y="1855"/>
                    <a:pt x="19523" y="1855"/>
                  </a:cubicBezTo>
                  <a:cubicBezTo>
                    <a:pt x="19879" y="1855"/>
                    <a:pt x="20426" y="2075"/>
                    <a:pt x="20811" y="2267"/>
                  </a:cubicBezTo>
                  <a:cubicBezTo>
                    <a:pt x="20916" y="2325"/>
                    <a:pt x="20964" y="2459"/>
                    <a:pt x="20916" y="2584"/>
                  </a:cubicBezTo>
                  <a:cubicBezTo>
                    <a:pt x="20801" y="2901"/>
                    <a:pt x="20801" y="2901"/>
                    <a:pt x="20801" y="2901"/>
                  </a:cubicBezTo>
                  <a:cubicBezTo>
                    <a:pt x="20752" y="3026"/>
                    <a:pt x="20579" y="3064"/>
                    <a:pt x="20445" y="3016"/>
                  </a:cubicBezTo>
                  <a:cubicBezTo>
                    <a:pt x="20186" y="2901"/>
                    <a:pt x="19744" y="2709"/>
                    <a:pt x="19523" y="2709"/>
                  </a:cubicBezTo>
                  <a:cubicBezTo>
                    <a:pt x="19330" y="2709"/>
                    <a:pt x="18841" y="3026"/>
                    <a:pt x="18841" y="325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0C7BE8A-9BAD-6840-BDBC-A84D31AC32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49000" y="357188"/>
              <a:ext cx="103188" cy="103188"/>
            </a:xfrm>
            <a:prstGeom prst="ellipse">
              <a:avLst/>
            </a:prstGeom>
            <a:solidFill>
              <a:srgbClr val="FFB8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2CACD0-9EBA-5B4E-818C-A337A1B09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51840"/>
            <a:ext cx="4114800" cy="214719"/>
          </a:xfrm>
          <a:prstGeom prst="rect">
            <a:avLst/>
          </a:prstGeom>
        </p:spPr>
        <p:txBody>
          <a:bodyPr vert="horz" lIns="91440" tIns="0" rIns="91440" bIns="46800" rtlCol="0" anchor="ctr"/>
          <a:lstStyle>
            <a:lvl1pPr algn="ctr">
              <a:defRPr sz="1000" b="0" i="0">
                <a:solidFill>
                  <a:schemeClr val="bg1">
                    <a:lumMod val="40000"/>
                    <a:lumOff val="6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F3B7CB-0BC8-F74F-8FDE-48EBB3302B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51840"/>
            <a:ext cx="3239440" cy="214719"/>
          </a:xfrm>
          <a:prstGeom prst="rect">
            <a:avLst/>
          </a:prstGeom>
        </p:spPr>
        <p:txBody>
          <a:bodyPr vert="horz" lIns="91440" tIns="0" rIns="0" bIns="46800" rtlCol="0" anchor="ctr"/>
          <a:lstStyle>
            <a:lvl1pPr algn="r">
              <a:defRPr sz="1000" b="0" i="0">
                <a:solidFill>
                  <a:schemeClr val="bg1">
                    <a:lumMod val="40000"/>
                    <a:lumOff val="6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4D232518-342C-D649-A5FF-140E8AE34E5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FD04D34-B3F8-7C44-8A20-9F94BAE398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6890" y="6551840"/>
            <a:ext cx="3084510" cy="214719"/>
          </a:xfrm>
          <a:prstGeom prst="rect">
            <a:avLst/>
          </a:prstGeom>
        </p:spPr>
        <p:txBody>
          <a:bodyPr vert="horz" lIns="0" tIns="0" rIns="90000" bIns="46800" rtlCol="0" anchor="ctr"/>
          <a:lstStyle>
            <a:lvl1pPr algn="l">
              <a:defRPr sz="1000" b="0" i="0">
                <a:solidFill>
                  <a:schemeClr val="bg1">
                    <a:lumMod val="40000"/>
                    <a:lumOff val="6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E401F4E2-D853-C244-B5B2-654D12995D57}" type="datetime1">
              <a:rPr lang="de-DE" smtClean="0"/>
              <a:t>25.06.20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35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  <p:sldLayoutId id="2147483762" r:id="rId51"/>
    <p:sldLayoutId id="2147483763" r:id="rId52"/>
    <p:sldLayoutId id="2147483764" r:id="rId53"/>
    <p:sldLayoutId id="2147483765" r:id="rId54"/>
    <p:sldLayoutId id="2147483766" r:id="rId55"/>
    <p:sldLayoutId id="2147483767" r:id="rId56"/>
    <p:sldLayoutId id="2147483768" r:id="rId57"/>
    <p:sldLayoutId id="2147483769" r:id="rId58"/>
    <p:sldLayoutId id="2147483770" r:id="rId59"/>
    <p:sldLayoutId id="2147483771" r:id="rId6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" Type="http://schemas.openxmlformats.org/officeDocument/2006/relationships/image" Target="../media/image37.png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B3C4AD28-959F-451A-AA5B-3500A43FD2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3276600" y="1847850"/>
            <a:ext cx="5638800" cy="3505200"/>
          </a:xfrm>
          <a:custGeom>
            <a:avLst/>
            <a:gdLst/>
            <a:ahLst/>
            <a:cxnLst/>
            <a:rect l="l" t="t" r="r" b="b"/>
            <a:pathLst>
              <a:path w="5638800" h="3505200">
                <a:moveTo>
                  <a:pt x="5638800" y="0"/>
                </a:moveTo>
                <a:lnTo>
                  <a:pt x="0" y="0"/>
                </a:lnTo>
                <a:lnTo>
                  <a:pt x="0" y="3505200"/>
                </a:lnTo>
                <a:lnTo>
                  <a:pt x="5638800" y="3505200"/>
                </a:lnTo>
                <a:lnTo>
                  <a:pt x="5638800" y="0"/>
                </a:lnTo>
                <a:close/>
              </a:path>
            </a:pathLst>
          </a:custGeom>
          <a:solidFill>
            <a:srgbClr val="252525">
              <a:alpha val="85881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200400" y="1847850"/>
            <a:ext cx="5791200" cy="32624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3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3200" dirty="0">
              <a:latin typeface="Times New Roman"/>
              <a:cs typeface="Times New Roman"/>
            </a:endParaRPr>
          </a:p>
          <a:p>
            <a:pPr marL="661670" marR="650240" algn="ctr">
              <a:lnSpc>
                <a:spcPct val="100000"/>
              </a:lnSpc>
              <a:spcBef>
                <a:spcPts val="2425"/>
              </a:spcBef>
            </a:pPr>
            <a:r>
              <a:rPr lang="bg-BG" sz="3200" spc="-15" dirty="0">
                <a:solidFill>
                  <a:srgbClr val="FFFFFF"/>
                </a:solidFill>
                <a:cs typeface="Calibri"/>
              </a:rPr>
              <a:t>Бизнес немски с </a:t>
            </a:r>
            <a:r>
              <a:rPr lang="en-US" sz="3200" spc="-15" dirty="0">
                <a:solidFill>
                  <a:srgbClr val="FFFFFF"/>
                </a:solidFill>
                <a:cs typeface="Calibri"/>
              </a:rPr>
              <a:t>Modis </a:t>
            </a:r>
            <a:r>
              <a:rPr lang="ru-RU" sz="3200" dirty="0">
                <a:solidFill>
                  <a:srgbClr val="FFB81C"/>
                </a:solidFill>
                <a:cs typeface="Calibri"/>
              </a:rPr>
              <a:t>„Основи на комуникацията в бизнес среда“ </a:t>
            </a:r>
            <a:endParaRPr sz="3200" dirty="0">
              <a:latin typeface="Calibri"/>
              <a:cs typeface="Calibri"/>
            </a:endParaRPr>
          </a:p>
        </p:txBody>
      </p:sp>
      <p:pic>
        <p:nvPicPr>
          <p:cNvPr id="12" name="Picture 11" descr="A picture containing text, tableware, clipart, plate&#10;&#10;Description automatically generated">
            <a:extLst>
              <a:ext uri="{FF2B5EF4-FFF2-40B4-BE49-F238E27FC236}">
                <a16:creationId xmlns:a16="http://schemas.microsoft.com/office/drawing/2014/main" id="{C278C6E2-1FBD-4F58-8C7E-369BCCD590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5240" y="2265258"/>
            <a:ext cx="1461520" cy="63034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B2BB87-A4C0-4BF9-A6E8-070152737E4B}"/>
              </a:ext>
            </a:extLst>
          </p:cNvPr>
          <p:cNvCxnSpPr/>
          <p:nvPr/>
        </p:nvCxnSpPr>
        <p:spPr>
          <a:xfrm>
            <a:off x="5334000" y="2874858"/>
            <a:ext cx="152400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3048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5252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10908792" y="391668"/>
            <a:ext cx="942340" cy="307975"/>
            <a:chOff x="10908792" y="391668"/>
            <a:chExt cx="942340" cy="307975"/>
          </a:xfrm>
        </p:grpSpPr>
        <p:sp>
          <p:nvSpPr>
            <p:cNvPr id="4" name="object 4"/>
            <p:cNvSpPr/>
            <p:nvPr/>
          </p:nvSpPr>
          <p:spPr>
            <a:xfrm>
              <a:off x="10908792" y="393192"/>
              <a:ext cx="942340" cy="306705"/>
            </a:xfrm>
            <a:custGeom>
              <a:avLst/>
              <a:gdLst/>
              <a:ahLst/>
              <a:cxnLst/>
              <a:rect l="l" t="t" r="r" b="b"/>
              <a:pathLst>
                <a:path w="942340" h="306705">
                  <a:moveTo>
                    <a:pt x="71881" y="83185"/>
                  </a:moveTo>
                  <a:lnTo>
                    <a:pt x="50256" y="88642"/>
                  </a:lnTo>
                  <a:lnTo>
                    <a:pt x="26701" y="102647"/>
                  </a:lnTo>
                  <a:lnTo>
                    <a:pt x="7766" y="121654"/>
                  </a:lnTo>
                  <a:lnTo>
                    <a:pt x="0" y="142112"/>
                  </a:lnTo>
                  <a:lnTo>
                    <a:pt x="0" y="298577"/>
                  </a:lnTo>
                  <a:lnTo>
                    <a:pt x="3809" y="302387"/>
                  </a:lnTo>
                  <a:lnTo>
                    <a:pt x="37464" y="302387"/>
                  </a:lnTo>
                  <a:lnTo>
                    <a:pt x="41275" y="298577"/>
                  </a:lnTo>
                  <a:lnTo>
                    <a:pt x="41275" y="149098"/>
                  </a:lnTo>
                  <a:lnTo>
                    <a:pt x="44731" y="139541"/>
                  </a:lnTo>
                  <a:lnTo>
                    <a:pt x="53117" y="130651"/>
                  </a:lnTo>
                  <a:lnTo>
                    <a:pt x="63485" y="124086"/>
                  </a:lnTo>
                  <a:lnTo>
                    <a:pt x="72771" y="121538"/>
                  </a:lnTo>
                  <a:lnTo>
                    <a:pt x="241292" y="121538"/>
                  </a:lnTo>
                  <a:lnTo>
                    <a:pt x="232688" y="112903"/>
                  </a:lnTo>
                  <a:lnTo>
                    <a:pt x="124840" y="112903"/>
                  </a:lnTo>
                  <a:lnTo>
                    <a:pt x="113672" y="102258"/>
                  </a:lnTo>
                  <a:lnTo>
                    <a:pt x="100075" y="92710"/>
                  </a:lnTo>
                  <a:lnTo>
                    <a:pt x="85621" y="85828"/>
                  </a:lnTo>
                  <a:lnTo>
                    <a:pt x="71881" y="83185"/>
                  </a:lnTo>
                  <a:close/>
                </a:path>
                <a:path w="942340" h="306705">
                  <a:moveTo>
                    <a:pt x="176402" y="121538"/>
                  </a:moveTo>
                  <a:lnTo>
                    <a:pt x="72771" y="121538"/>
                  </a:lnTo>
                  <a:lnTo>
                    <a:pt x="81637" y="124148"/>
                  </a:lnTo>
                  <a:lnTo>
                    <a:pt x="91979" y="130794"/>
                  </a:lnTo>
                  <a:lnTo>
                    <a:pt x="100560" y="139701"/>
                  </a:lnTo>
                  <a:lnTo>
                    <a:pt x="104139" y="149098"/>
                  </a:lnTo>
                  <a:lnTo>
                    <a:pt x="104139" y="298577"/>
                  </a:lnTo>
                  <a:lnTo>
                    <a:pt x="107568" y="302387"/>
                  </a:lnTo>
                  <a:lnTo>
                    <a:pt x="141097" y="302387"/>
                  </a:lnTo>
                  <a:lnTo>
                    <a:pt x="145541" y="298577"/>
                  </a:lnTo>
                  <a:lnTo>
                    <a:pt x="145541" y="148590"/>
                  </a:lnTo>
                  <a:lnTo>
                    <a:pt x="149042" y="139326"/>
                  </a:lnTo>
                  <a:lnTo>
                    <a:pt x="157448" y="130587"/>
                  </a:lnTo>
                  <a:lnTo>
                    <a:pt x="167616" y="124086"/>
                  </a:lnTo>
                  <a:lnTo>
                    <a:pt x="176402" y="121538"/>
                  </a:lnTo>
                  <a:close/>
                </a:path>
                <a:path w="942340" h="306705">
                  <a:moveTo>
                    <a:pt x="241292" y="121538"/>
                  </a:moveTo>
                  <a:lnTo>
                    <a:pt x="176402" y="121538"/>
                  </a:lnTo>
                  <a:lnTo>
                    <a:pt x="185717" y="124086"/>
                  </a:lnTo>
                  <a:lnTo>
                    <a:pt x="196056" y="130587"/>
                  </a:lnTo>
                  <a:lnTo>
                    <a:pt x="204442" y="139326"/>
                  </a:lnTo>
                  <a:lnTo>
                    <a:pt x="207899" y="148590"/>
                  </a:lnTo>
                  <a:lnTo>
                    <a:pt x="207899" y="298577"/>
                  </a:lnTo>
                  <a:lnTo>
                    <a:pt x="211708" y="302387"/>
                  </a:lnTo>
                  <a:lnTo>
                    <a:pt x="245363" y="302387"/>
                  </a:lnTo>
                  <a:lnTo>
                    <a:pt x="249174" y="298577"/>
                  </a:lnTo>
                  <a:lnTo>
                    <a:pt x="249174" y="142112"/>
                  </a:lnTo>
                  <a:lnTo>
                    <a:pt x="241407" y="121654"/>
                  </a:lnTo>
                  <a:close/>
                </a:path>
                <a:path w="942340" h="306705">
                  <a:moveTo>
                    <a:pt x="177291" y="83185"/>
                  </a:moveTo>
                  <a:lnTo>
                    <a:pt x="164149" y="85756"/>
                  </a:lnTo>
                  <a:lnTo>
                    <a:pt x="149780" y="92519"/>
                  </a:lnTo>
                  <a:lnTo>
                    <a:pt x="136054" y="102044"/>
                  </a:lnTo>
                  <a:lnTo>
                    <a:pt x="124840" y="112903"/>
                  </a:lnTo>
                  <a:lnTo>
                    <a:pt x="232688" y="112903"/>
                  </a:lnTo>
                  <a:lnTo>
                    <a:pt x="222472" y="102647"/>
                  </a:lnTo>
                  <a:lnTo>
                    <a:pt x="198917" y="88642"/>
                  </a:lnTo>
                  <a:lnTo>
                    <a:pt x="177291" y="83185"/>
                  </a:lnTo>
                  <a:close/>
                </a:path>
                <a:path w="942340" h="306705">
                  <a:moveTo>
                    <a:pt x="377951" y="83185"/>
                  </a:moveTo>
                  <a:lnTo>
                    <a:pt x="355609" y="88808"/>
                  </a:lnTo>
                  <a:lnTo>
                    <a:pt x="330850" y="103314"/>
                  </a:lnTo>
                  <a:lnTo>
                    <a:pt x="310782" y="123154"/>
                  </a:lnTo>
                  <a:lnTo>
                    <a:pt x="302513" y="144780"/>
                  </a:lnTo>
                  <a:lnTo>
                    <a:pt x="302513" y="244729"/>
                  </a:lnTo>
                  <a:lnTo>
                    <a:pt x="310782" y="266140"/>
                  </a:lnTo>
                  <a:lnTo>
                    <a:pt x="330850" y="286003"/>
                  </a:lnTo>
                  <a:lnTo>
                    <a:pt x="355609" y="300628"/>
                  </a:lnTo>
                  <a:lnTo>
                    <a:pt x="377951" y="306324"/>
                  </a:lnTo>
                  <a:lnTo>
                    <a:pt x="400220" y="300628"/>
                  </a:lnTo>
                  <a:lnTo>
                    <a:pt x="424941" y="286003"/>
                  </a:lnTo>
                  <a:lnTo>
                    <a:pt x="443148" y="267970"/>
                  </a:lnTo>
                  <a:lnTo>
                    <a:pt x="377951" y="267970"/>
                  </a:lnTo>
                  <a:lnTo>
                    <a:pt x="367543" y="265261"/>
                  </a:lnTo>
                  <a:lnTo>
                    <a:pt x="356409" y="258302"/>
                  </a:lnTo>
                  <a:lnTo>
                    <a:pt x="347537" y="248842"/>
                  </a:lnTo>
                  <a:lnTo>
                    <a:pt x="343915" y="238633"/>
                  </a:lnTo>
                  <a:lnTo>
                    <a:pt x="343915" y="150749"/>
                  </a:lnTo>
                  <a:lnTo>
                    <a:pt x="347591" y="140559"/>
                  </a:lnTo>
                  <a:lnTo>
                    <a:pt x="356552" y="131143"/>
                  </a:lnTo>
                  <a:lnTo>
                    <a:pt x="367704" y="124227"/>
                  </a:lnTo>
                  <a:lnTo>
                    <a:pt x="377951" y="121538"/>
                  </a:lnTo>
                  <a:lnTo>
                    <a:pt x="443578" y="121538"/>
                  </a:lnTo>
                  <a:lnTo>
                    <a:pt x="424941" y="103124"/>
                  </a:lnTo>
                  <a:lnTo>
                    <a:pt x="400220" y="88737"/>
                  </a:lnTo>
                  <a:lnTo>
                    <a:pt x="377951" y="83185"/>
                  </a:lnTo>
                  <a:close/>
                </a:path>
                <a:path w="942340" h="306705">
                  <a:moveTo>
                    <a:pt x="443578" y="121538"/>
                  </a:moveTo>
                  <a:lnTo>
                    <a:pt x="377951" y="121538"/>
                  </a:lnTo>
                  <a:lnTo>
                    <a:pt x="387984" y="124227"/>
                  </a:lnTo>
                  <a:lnTo>
                    <a:pt x="399160" y="131143"/>
                  </a:lnTo>
                  <a:lnTo>
                    <a:pt x="408241" y="140559"/>
                  </a:lnTo>
                  <a:lnTo>
                    <a:pt x="411987" y="150749"/>
                  </a:lnTo>
                  <a:lnTo>
                    <a:pt x="411987" y="238633"/>
                  </a:lnTo>
                  <a:lnTo>
                    <a:pt x="408295" y="248842"/>
                  </a:lnTo>
                  <a:lnTo>
                    <a:pt x="399303" y="258302"/>
                  </a:lnTo>
                  <a:lnTo>
                    <a:pt x="388145" y="265261"/>
                  </a:lnTo>
                  <a:lnTo>
                    <a:pt x="377951" y="267970"/>
                  </a:lnTo>
                  <a:lnTo>
                    <a:pt x="443148" y="267970"/>
                  </a:lnTo>
                  <a:lnTo>
                    <a:pt x="444996" y="266140"/>
                  </a:lnTo>
                  <a:lnTo>
                    <a:pt x="453262" y="244729"/>
                  </a:lnTo>
                  <a:lnTo>
                    <a:pt x="453262" y="144780"/>
                  </a:lnTo>
                  <a:lnTo>
                    <a:pt x="444996" y="122939"/>
                  </a:lnTo>
                  <a:lnTo>
                    <a:pt x="443578" y="121538"/>
                  </a:lnTo>
                  <a:close/>
                </a:path>
                <a:path w="942340" h="306705">
                  <a:moveTo>
                    <a:pt x="574675" y="83185"/>
                  </a:moveTo>
                  <a:lnTo>
                    <a:pt x="554271" y="88675"/>
                  </a:lnTo>
                  <a:lnTo>
                    <a:pt x="531177" y="102917"/>
                  </a:lnTo>
                  <a:lnTo>
                    <a:pt x="512274" y="122564"/>
                  </a:lnTo>
                  <a:lnTo>
                    <a:pt x="504443" y="144272"/>
                  </a:lnTo>
                  <a:lnTo>
                    <a:pt x="504443" y="244729"/>
                  </a:lnTo>
                  <a:lnTo>
                    <a:pt x="512639" y="266140"/>
                  </a:lnTo>
                  <a:lnTo>
                    <a:pt x="532574" y="286003"/>
                  </a:lnTo>
                  <a:lnTo>
                    <a:pt x="557295" y="300634"/>
                  </a:lnTo>
                  <a:lnTo>
                    <a:pt x="579754" y="306324"/>
                  </a:lnTo>
                  <a:lnTo>
                    <a:pt x="602402" y="300628"/>
                  </a:lnTo>
                  <a:lnTo>
                    <a:pt x="626935" y="286051"/>
                  </a:lnTo>
                  <a:lnTo>
                    <a:pt x="644957" y="267970"/>
                  </a:lnTo>
                  <a:lnTo>
                    <a:pt x="579754" y="267970"/>
                  </a:lnTo>
                  <a:lnTo>
                    <a:pt x="569420" y="265221"/>
                  </a:lnTo>
                  <a:lnTo>
                    <a:pt x="558323" y="258270"/>
                  </a:lnTo>
                  <a:lnTo>
                    <a:pt x="549465" y="249056"/>
                  </a:lnTo>
                  <a:lnTo>
                    <a:pt x="545846" y="239522"/>
                  </a:lnTo>
                  <a:lnTo>
                    <a:pt x="545846" y="149860"/>
                  </a:lnTo>
                  <a:lnTo>
                    <a:pt x="549513" y="140184"/>
                  </a:lnTo>
                  <a:lnTo>
                    <a:pt x="558419" y="131032"/>
                  </a:lnTo>
                  <a:lnTo>
                    <a:pt x="569420" y="124213"/>
                  </a:lnTo>
                  <a:lnTo>
                    <a:pt x="579374" y="121538"/>
                  </a:lnTo>
                  <a:lnTo>
                    <a:pt x="654684" y="121538"/>
                  </a:lnTo>
                  <a:lnTo>
                    <a:pt x="654684" y="102108"/>
                  </a:lnTo>
                  <a:lnTo>
                    <a:pt x="613409" y="102108"/>
                  </a:lnTo>
                  <a:lnTo>
                    <a:pt x="605250" y="95132"/>
                  </a:lnTo>
                  <a:lnTo>
                    <a:pt x="595280" y="89074"/>
                  </a:lnTo>
                  <a:lnTo>
                    <a:pt x="584692" y="84802"/>
                  </a:lnTo>
                  <a:lnTo>
                    <a:pt x="574675" y="83185"/>
                  </a:lnTo>
                  <a:close/>
                </a:path>
                <a:path w="942340" h="306705">
                  <a:moveTo>
                    <a:pt x="654684" y="121538"/>
                  </a:moveTo>
                  <a:lnTo>
                    <a:pt x="579374" y="121538"/>
                  </a:lnTo>
                  <a:lnTo>
                    <a:pt x="589406" y="124213"/>
                  </a:lnTo>
                  <a:lnTo>
                    <a:pt x="600582" y="131032"/>
                  </a:lnTo>
                  <a:lnTo>
                    <a:pt x="609663" y="140184"/>
                  </a:lnTo>
                  <a:lnTo>
                    <a:pt x="613409" y="149860"/>
                  </a:lnTo>
                  <a:lnTo>
                    <a:pt x="613409" y="239522"/>
                  </a:lnTo>
                  <a:lnTo>
                    <a:pt x="609919" y="248896"/>
                  </a:lnTo>
                  <a:lnTo>
                    <a:pt x="601297" y="258127"/>
                  </a:lnTo>
                  <a:lnTo>
                    <a:pt x="590317" y="265168"/>
                  </a:lnTo>
                  <a:lnTo>
                    <a:pt x="579754" y="267970"/>
                  </a:lnTo>
                  <a:lnTo>
                    <a:pt x="644957" y="267970"/>
                  </a:lnTo>
                  <a:lnTo>
                    <a:pt x="646620" y="266301"/>
                  </a:lnTo>
                  <a:lnTo>
                    <a:pt x="654684" y="245110"/>
                  </a:lnTo>
                  <a:lnTo>
                    <a:pt x="654684" y="121538"/>
                  </a:lnTo>
                  <a:close/>
                </a:path>
                <a:path w="942340" h="306705">
                  <a:moveTo>
                    <a:pt x="650875" y="0"/>
                  </a:moveTo>
                  <a:lnTo>
                    <a:pt x="617727" y="0"/>
                  </a:lnTo>
                  <a:lnTo>
                    <a:pt x="613409" y="3937"/>
                  </a:lnTo>
                  <a:lnTo>
                    <a:pt x="613409" y="102108"/>
                  </a:lnTo>
                  <a:lnTo>
                    <a:pt x="654684" y="102108"/>
                  </a:lnTo>
                  <a:lnTo>
                    <a:pt x="654684" y="3937"/>
                  </a:lnTo>
                  <a:lnTo>
                    <a:pt x="650875" y="0"/>
                  </a:lnTo>
                  <a:close/>
                </a:path>
                <a:path w="942340" h="306705">
                  <a:moveTo>
                    <a:pt x="750315" y="86995"/>
                  </a:moveTo>
                  <a:lnTo>
                    <a:pt x="716787" y="86995"/>
                  </a:lnTo>
                  <a:lnTo>
                    <a:pt x="712851" y="90932"/>
                  </a:lnTo>
                  <a:lnTo>
                    <a:pt x="712851" y="298577"/>
                  </a:lnTo>
                  <a:lnTo>
                    <a:pt x="716787" y="302387"/>
                  </a:lnTo>
                  <a:lnTo>
                    <a:pt x="750315" y="302387"/>
                  </a:lnTo>
                  <a:lnTo>
                    <a:pt x="754126" y="298577"/>
                  </a:lnTo>
                  <a:lnTo>
                    <a:pt x="754126" y="90932"/>
                  </a:lnTo>
                  <a:lnTo>
                    <a:pt x="750315" y="86995"/>
                  </a:lnTo>
                  <a:close/>
                </a:path>
                <a:path w="942340" h="306705">
                  <a:moveTo>
                    <a:pt x="821308" y="249047"/>
                  </a:moveTo>
                  <a:lnTo>
                    <a:pt x="814451" y="250698"/>
                  </a:lnTo>
                  <a:lnTo>
                    <a:pt x="811783" y="257175"/>
                  </a:lnTo>
                  <a:lnTo>
                    <a:pt x="805814" y="271018"/>
                  </a:lnTo>
                  <a:lnTo>
                    <a:pt x="803275" y="277495"/>
                  </a:lnTo>
                  <a:lnTo>
                    <a:pt x="805814" y="283463"/>
                  </a:lnTo>
                  <a:lnTo>
                    <a:pt x="812392" y="286940"/>
                  </a:lnTo>
                  <a:lnTo>
                    <a:pt x="825708" y="293250"/>
                  </a:lnTo>
                  <a:lnTo>
                    <a:pt x="841041" y="299561"/>
                  </a:lnTo>
                  <a:lnTo>
                    <a:pt x="856636" y="304395"/>
                  </a:lnTo>
                  <a:lnTo>
                    <a:pt x="870838" y="306324"/>
                  </a:lnTo>
                  <a:lnTo>
                    <a:pt x="893397" y="300793"/>
                  </a:lnTo>
                  <a:lnTo>
                    <a:pt x="916527" y="286940"/>
                  </a:lnTo>
                  <a:lnTo>
                    <a:pt x="934561" y="268872"/>
                  </a:lnTo>
                  <a:lnTo>
                    <a:pt x="934922" y="267970"/>
                  </a:lnTo>
                  <a:lnTo>
                    <a:pt x="870838" y="267970"/>
                  </a:lnTo>
                  <a:lnTo>
                    <a:pt x="861683" y="266326"/>
                  </a:lnTo>
                  <a:lnTo>
                    <a:pt x="850265" y="262254"/>
                  </a:lnTo>
                  <a:lnTo>
                    <a:pt x="838370" y="257040"/>
                  </a:lnTo>
                  <a:lnTo>
                    <a:pt x="827785" y="251968"/>
                  </a:lnTo>
                  <a:lnTo>
                    <a:pt x="821308" y="249047"/>
                  </a:lnTo>
                  <a:close/>
                </a:path>
                <a:path w="942340" h="306705">
                  <a:moveTo>
                    <a:pt x="874776" y="83185"/>
                  </a:moveTo>
                  <a:lnTo>
                    <a:pt x="854394" y="88608"/>
                  </a:lnTo>
                  <a:lnTo>
                    <a:pt x="830976" y="102377"/>
                  </a:lnTo>
                  <a:lnTo>
                    <a:pt x="811678" y="120743"/>
                  </a:lnTo>
                  <a:lnTo>
                    <a:pt x="803655" y="139954"/>
                  </a:lnTo>
                  <a:lnTo>
                    <a:pt x="803655" y="159385"/>
                  </a:lnTo>
                  <a:lnTo>
                    <a:pt x="824551" y="192156"/>
                  </a:lnTo>
                  <a:lnTo>
                    <a:pt x="882014" y="216281"/>
                  </a:lnTo>
                  <a:lnTo>
                    <a:pt x="889289" y="219392"/>
                  </a:lnTo>
                  <a:lnTo>
                    <a:pt x="895635" y="223266"/>
                  </a:lnTo>
                  <a:lnTo>
                    <a:pt x="900124" y="228282"/>
                  </a:lnTo>
                  <a:lnTo>
                    <a:pt x="901826" y="234823"/>
                  </a:lnTo>
                  <a:lnTo>
                    <a:pt x="901826" y="244729"/>
                  </a:lnTo>
                  <a:lnTo>
                    <a:pt x="898378" y="252325"/>
                  </a:lnTo>
                  <a:lnTo>
                    <a:pt x="890047" y="259873"/>
                  </a:lnTo>
                  <a:lnTo>
                    <a:pt x="879859" y="265660"/>
                  </a:lnTo>
                  <a:lnTo>
                    <a:pt x="870838" y="267970"/>
                  </a:lnTo>
                  <a:lnTo>
                    <a:pt x="934922" y="267970"/>
                  </a:lnTo>
                  <a:lnTo>
                    <a:pt x="941831" y="250698"/>
                  </a:lnTo>
                  <a:lnTo>
                    <a:pt x="941751" y="228282"/>
                  </a:lnTo>
                  <a:lnTo>
                    <a:pt x="939339" y="214943"/>
                  </a:lnTo>
                  <a:lnTo>
                    <a:pt x="932465" y="203422"/>
                  </a:lnTo>
                  <a:lnTo>
                    <a:pt x="922115" y="194329"/>
                  </a:lnTo>
                  <a:lnTo>
                    <a:pt x="909192" y="187833"/>
                  </a:lnTo>
                  <a:lnTo>
                    <a:pt x="852297" y="166243"/>
                  </a:lnTo>
                  <a:lnTo>
                    <a:pt x="844168" y="161925"/>
                  </a:lnTo>
                  <a:lnTo>
                    <a:pt x="844168" y="146050"/>
                  </a:lnTo>
                  <a:lnTo>
                    <a:pt x="847719" y="137826"/>
                  </a:lnTo>
                  <a:lnTo>
                    <a:pt x="856186" y="129889"/>
                  </a:lnTo>
                  <a:lnTo>
                    <a:pt x="866296" y="123904"/>
                  </a:lnTo>
                  <a:lnTo>
                    <a:pt x="874776" y="121538"/>
                  </a:lnTo>
                  <a:lnTo>
                    <a:pt x="935040" y="121538"/>
                  </a:lnTo>
                  <a:lnTo>
                    <a:pt x="937132" y="115824"/>
                  </a:lnTo>
                  <a:lnTo>
                    <a:pt x="939291" y="110236"/>
                  </a:lnTo>
                  <a:lnTo>
                    <a:pt x="937132" y="104267"/>
                  </a:lnTo>
                  <a:lnTo>
                    <a:pt x="932433" y="101600"/>
                  </a:lnTo>
                  <a:lnTo>
                    <a:pt x="918370" y="95132"/>
                  </a:lnTo>
                  <a:lnTo>
                    <a:pt x="903081" y="89201"/>
                  </a:lnTo>
                  <a:lnTo>
                    <a:pt x="888053" y="84865"/>
                  </a:lnTo>
                  <a:lnTo>
                    <a:pt x="874776" y="83185"/>
                  </a:lnTo>
                  <a:close/>
                </a:path>
                <a:path w="942340" h="306705">
                  <a:moveTo>
                    <a:pt x="935040" y="121538"/>
                  </a:moveTo>
                  <a:lnTo>
                    <a:pt x="874776" y="121538"/>
                  </a:lnTo>
                  <a:lnTo>
                    <a:pt x="883707" y="122949"/>
                  </a:lnTo>
                  <a:lnTo>
                    <a:pt x="894699" y="126444"/>
                  </a:lnTo>
                  <a:lnTo>
                    <a:pt x="906047" y="130915"/>
                  </a:lnTo>
                  <a:lnTo>
                    <a:pt x="916051" y="135255"/>
                  </a:lnTo>
                  <a:lnTo>
                    <a:pt x="922019" y="137413"/>
                  </a:lnTo>
                  <a:lnTo>
                    <a:pt x="929766" y="135636"/>
                  </a:lnTo>
                  <a:lnTo>
                    <a:pt x="931984" y="129889"/>
                  </a:lnTo>
                  <a:lnTo>
                    <a:pt x="935040" y="12153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1615928" y="391668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70">
                  <a:moveTo>
                    <a:pt x="25907" y="0"/>
                  </a:moveTo>
                  <a:lnTo>
                    <a:pt x="15805" y="2030"/>
                  </a:lnTo>
                  <a:lnTo>
                    <a:pt x="7572" y="7572"/>
                  </a:lnTo>
                  <a:lnTo>
                    <a:pt x="2030" y="15805"/>
                  </a:lnTo>
                  <a:lnTo>
                    <a:pt x="0" y="25908"/>
                  </a:lnTo>
                  <a:lnTo>
                    <a:pt x="2030" y="36010"/>
                  </a:lnTo>
                  <a:lnTo>
                    <a:pt x="7572" y="44243"/>
                  </a:lnTo>
                  <a:lnTo>
                    <a:pt x="15805" y="49785"/>
                  </a:lnTo>
                  <a:lnTo>
                    <a:pt x="25907" y="51816"/>
                  </a:lnTo>
                  <a:lnTo>
                    <a:pt x="36010" y="49785"/>
                  </a:lnTo>
                  <a:lnTo>
                    <a:pt x="44243" y="44243"/>
                  </a:lnTo>
                  <a:lnTo>
                    <a:pt x="49785" y="36010"/>
                  </a:lnTo>
                  <a:lnTo>
                    <a:pt x="51816" y="25908"/>
                  </a:lnTo>
                  <a:lnTo>
                    <a:pt x="49785" y="15805"/>
                  </a:lnTo>
                  <a:lnTo>
                    <a:pt x="44243" y="7572"/>
                  </a:lnTo>
                  <a:lnTo>
                    <a:pt x="36010" y="2030"/>
                  </a:lnTo>
                  <a:lnTo>
                    <a:pt x="25907" y="0"/>
                  </a:lnTo>
                  <a:close/>
                </a:path>
              </a:pathLst>
            </a:custGeom>
            <a:solidFill>
              <a:srgbClr val="FFB8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FFABF32-7D53-4827-8C12-508296CFAC10}"/>
              </a:ext>
            </a:extLst>
          </p:cNvPr>
          <p:cNvSpPr txBox="1"/>
          <p:nvPr/>
        </p:nvSpPr>
        <p:spPr>
          <a:xfrm>
            <a:off x="340868" y="443737"/>
            <a:ext cx="10668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емски</a:t>
            </a:r>
            <a:r>
              <a:rPr lang="en-US" sz="2400" b="1" dirty="0">
                <a:solidFill>
                  <a:schemeClr val="bg1"/>
                </a:solidFill>
              </a:rPr>
              <a:t> с Modis - „</a:t>
            </a:r>
            <a:r>
              <a:rPr lang="en-US" sz="2400" b="1" dirty="0" err="1">
                <a:solidFill>
                  <a:schemeClr val="bg1"/>
                </a:solidFill>
              </a:rPr>
              <a:t>Основи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а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комуникацията</a:t>
            </a:r>
            <a:r>
              <a:rPr lang="en-US" sz="2400" b="1" dirty="0">
                <a:solidFill>
                  <a:schemeClr val="bg1"/>
                </a:solidFill>
              </a:rPr>
              <a:t> в </a:t>
            </a:r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среда</a:t>
            </a:r>
            <a:r>
              <a:rPr lang="en-US" sz="2400" b="1" dirty="0">
                <a:solidFill>
                  <a:schemeClr val="bg1"/>
                </a:solidFill>
              </a:rPr>
              <a:t>“ </a:t>
            </a:r>
            <a:endParaRPr lang="bg-BG" sz="2400" dirty="0">
              <a:solidFill>
                <a:schemeClr val="bg1"/>
              </a:solidFill>
            </a:endParaRPr>
          </a:p>
          <a:p>
            <a:endParaRPr lang="bg-BG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B46B151-FEC5-43AF-832A-392EA4D61140}"/>
              </a:ext>
            </a:extLst>
          </p:cNvPr>
          <p:cNvSpPr txBox="1"/>
          <p:nvPr/>
        </p:nvSpPr>
        <p:spPr>
          <a:xfrm>
            <a:off x="685800" y="1371600"/>
            <a:ext cx="51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bg-BG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EB2A6AC-FCFB-4FD3-B746-93D3ADACA9D1}"/>
              </a:ext>
            </a:extLst>
          </p:cNvPr>
          <p:cNvSpPr txBox="1"/>
          <p:nvPr/>
        </p:nvSpPr>
        <p:spPr>
          <a:xfrm>
            <a:off x="448056" y="1330524"/>
            <a:ext cx="73914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2000" b="1" dirty="0">
                <a:solidFill>
                  <a:srgbClr val="FFB81C"/>
                </a:solidFill>
              </a:rPr>
              <a:t>Какво представляват курсовете и за кого са предназначени?</a:t>
            </a:r>
            <a:endParaRPr lang="en-US" sz="2000" b="1" dirty="0">
              <a:solidFill>
                <a:srgbClr val="FFB81C"/>
              </a:solidFill>
            </a:endParaRP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bg-BG" sz="2000" dirty="0">
              <a:solidFill>
                <a:srgbClr val="FFB81C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bg-BG" dirty="0">
              <a:solidFill>
                <a:srgbClr val="FFB81C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E1474D-27B5-47EA-9333-9596FEB7EE8D}"/>
              </a:ext>
            </a:extLst>
          </p:cNvPr>
          <p:cNvSpPr txBox="1"/>
          <p:nvPr/>
        </p:nvSpPr>
        <p:spPr>
          <a:xfrm>
            <a:off x="685800" y="1905000"/>
            <a:ext cx="1022299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Като част от езиковата академия на Модис България курсовете „Бизнес немски с Modis“ представляват безплатна обучителна програма, проведена от сертифицирани преподаватели, част от екипа на компанията. Във фокусa на програмата е заложено повишаване на практическите езикови умения на участниците и приложението им в бизнес среда, характерна за Модис България и аутсорсинг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bg-BG" dirty="0">
                <a:solidFill>
                  <a:schemeClr val="bg1"/>
                </a:solidFill>
              </a:rPr>
              <a:t>индустрията</a:t>
            </a:r>
            <a:r>
              <a:rPr lang="ru-RU" dirty="0">
                <a:solidFill>
                  <a:schemeClr val="bg1"/>
                </a:solidFill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Езиковите курсове „Бизнес немски с Modis“ са насочени към студенти от университети в София и Пловдив, владеещи немски на ниво B2-C1, които желаят да наградят езиковите си знания в бизнес среда, така че да се почувстват уверени да стартират своето кариерно развитие в международна компания и да бъдат конкурентноспособни на динамичния пазар на труда. </a:t>
            </a:r>
          </a:p>
          <a:p>
            <a:endParaRPr lang="bg-BG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30481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25252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10908792" y="391668"/>
            <a:ext cx="942340" cy="307975"/>
            <a:chOff x="10908792" y="391668"/>
            <a:chExt cx="942340" cy="307975"/>
          </a:xfrm>
        </p:grpSpPr>
        <p:sp>
          <p:nvSpPr>
            <p:cNvPr id="4" name="object 4"/>
            <p:cNvSpPr/>
            <p:nvPr/>
          </p:nvSpPr>
          <p:spPr>
            <a:xfrm>
              <a:off x="10908792" y="393192"/>
              <a:ext cx="942340" cy="306705"/>
            </a:xfrm>
            <a:custGeom>
              <a:avLst/>
              <a:gdLst/>
              <a:ahLst/>
              <a:cxnLst/>
              <a:rect l="l" t="t" r="r" b="b"/>
              <a:pathLst>
                <a:path w="942340" h="306705">
                  <a:moveTo>
                    <a:pt x="71881" y="83185"/>
                  </a:moveTo>
                  <a:lnTo>
                    <a:pt x="50256" y="88642"/>
                  </a:lnTo>
                  <a:lnTo>
                    <a:pt x="26701" y="102647"/>
                  </a:lnTo>
                  <a:lnTo>
                    <a:pt x="7766" y="121654"/>
                  </a:lnTo>
                  <a:lnTo>
                    <a:pt x="0" y="142112"/>
                  </a:lnTo>
                  <a:lnTo>
                    <a:pt x="0" y="298577"/>
                  </a:lnTo>
                  <a:lnTo>
                    <a:pt x="3809" y="302387"/>
                  </a:lnTo>
                  <a:lnTo>
                    <a:pt x="37464" y="302387"/>
                  </a:lnTo>
                  <a:lnTo>
                    <a:pt x="41275" y="298577"/>
                  </a:lnTo>
                  <a:lnTo>
                    <a:pt x="41275" y="149098"/>
                  </a:lnTo>
                  <a:lnTo>
                    <a:pt x="44731" y="139541"/>
                  </a:lnTo>
                  <a:lnTo>
                    <a:pt x="53117" y="130651"/>
                  </a:lnTo>
                  <a:lnTo>
                    <a:pt x="63485" y="124086"/>
                  </a:lnTo>
                  <a:lnTo>
                    <a:pt x="72771" y="121538"/>
                  </a:lnTo>
                  <a:lnTo>
                    <a:pt x="241292" y="121538"/>
                  </a:lnTo>
                  <a:lnTo>
                    <a:pt x="232688" y="112903"/>
                  </a:lnTo>
                  <a:lnTo>
                    <a:pt x="124840" y="112903"/>
                  </a:lnTo>
                  <a:lnTo>
                    <a:pt x="113672" y="102258"/>
                  </a:lnTo>
                  <a:lnTo>
                    <a:pt x="100075" y="92710"/>
                  </a:lnTo>
                  <a:lnTo>
                    <a:pt x="85621" y="85828"/>
                  </a:lnTo>
                  <a:lnTo>
                    <a:pt x="71881" y="83185"/>
                  </a:lnTo>
                  <a:close/>
                </a:path>
                <a:path w="942340" h="306705">
                  <a:moveTo>
                    <a:pt x="176402" y="121538"/>
                  </a:moveTo>
                  <a:lnTo>
                    <a:pt x="72771" y="121538"/>
                  </a:lnTo>
                  <a:lnTo>
                    <a:pt x="81637" y="124148"/>
                  </a:lnTo>
                  <a:lnTo>
                    <a:pt x="91979" y="130794"/>
                  </a:lnTo>
                  <a:lnTo>
                    <a:pt x="100560" y="139701"/>
                  </a:lnTo>
                  <a:lnTo>
                    <a:pt x="104139" y="149098"/>
                  </a:lnTo>
                  <a:lnTo>
                    <a:pt x="104139" y="298577"/>
                  </a:lnTo>
                  <a:lnTo>
                    <a:pt x="107568" y="302387"/>
                  </a:lnTo>
                  <a:lnTo>
                    <a:pt x="141097" y="302387"/>
                  </a:lnTo>
                  <a:lnTo>
                    <a:pt x="145541" y="298577"/>
                  </a:lnTo>
                  <a:lnTo>
                    <a:pt x="145541" y="148590"/>
                  </a:lnTo>
                  <a:lnTo>
                    <a:pt x="149042" y="139326"/>
                  </a:lnTo>
                  <a:lnTo>
                    <a:pt x="157448" y="130587"/>
                  </a:lnTo>
                  <a:lnTo>
                    <a:pt x="167616" y="124086"/>
                  </a:lnTo>
                  <a:lnTo>
                    <a:pt x="176402" y="121538"/>
                  </a:lnTo>
                  <a:close/>
                </a:path>
                <a:path w="942340" h="306705">
                  <a:moveTo>
                    <a:pt x="241292" y="121538"/>
                  </a:moveTo>
                  <a:lnTo>
                    <a:pt x="176402" y="121538"/>
                  </a:lnTo>
                  <a:lnTo>
                    <a:pt x="185717" y="124086"/>
                  </a:lnTo>
                  <a:lnTo>
                    <a:pt x="196056" y="130587"/>
                  </a:lnTo>
                  <a:lnTo>
                    <a:pt x="204442" y="139326"/>
                  </a:lnTo>
                  <a:lnTo>
                    <a:pt x="207899" y="148590"/>
                  </a:lnTo>
                  <a:lnTo>
                    <a:pt x="207899" y="298577"/>
                  </a:lnTo>
                  <a:lnTo>
                    <a:pt x="211708" y="302387"/>
                  </a:lnTo>
                  <a:lnTo>
                    <a:pt x="245363" y="302387"/>
                  </a:lnTo>
                  <a:lnTo>
                    <a:pt x="249174" y="298577"/>
                  </a:lnTo>
                  <a:lnTo>
                    <a:pt x="249174" y="142112"/>
                  </a:lnTo>
                  <a:lnTo>
                    <a:pt x="241407" y="121654"/>
                  </a:lnTo>
                  <a:close/>
                </a:path>
                <a:path w="942340" h="306705">
                  <a:moveTo>
                    <a:pt x="177291" y="83185"/>
                  </a:moveTo>
                  <a:lnTo>
                    <a:pt x="164149" y="85756"/>
                  </a:lnTo>
                  <a:lnTo>
                    <a:pt x="149780" y="92519"/>
                  </a:lnTo>
                  <a:lnTo>
                    <a:pt x="136054" y="102044"/>
                  </a:lnTo>
                  <a:lnTo>
                    <a:pt x="124840" y="112903"/>
                  </a:lnTo>
                  <a:lnTo>
                    <a:pt x="232688" y="112903"/>
                  </a:lnTo>
                  <a:lnTo>
                    <a:pt x="222472" y="102647"/>
                  </a:lnTo>
                  <a:lnTo>
                    <a:pt x="198917" y="88642"/>
                  </a:lnTo>
                  <a:lnTo>
                    <a:pt x="177291" y="83185"/>
                  </a:lnTo>
                  <a:close/>
                </a:path>
                <a:path w="942340" h="306705">
                  <a:moveTo>
                    <a:pt x="377951" y="83185"/>
                  </a:moveTo>
                  <a:lnTo>
                    <a:pt x="355609" y="88808"/>
                  </a:lnTo>
                  <a:lnTo>
                    <a:pt x="330850" y="103314"/>
                  </a:lnTo>
                  <a:lnTo>
                    <a:pt x="310782" y="123154"/>
                  </a:lnTo>
                  <a:lnTo>
                    <a:pt x="302513" y="144780"/>
                  </a:lnTo>
                  <a:lnTo>
                    <a:pt x="302513" y="244729"/>
                  </a:lnTo>
                  <a:lnTo>
                    <a:pt x="310782" y="266140"/>
                  </a:lnTo>
                  <a:lnTo>
                    <a:pt x="330850" y="286003"/>
                  </a:lnTo>
                  <a:lnTo>
                    <a:pt x="355609" y="300628"/>
                  </a:lnTo>
                  <a:lnTo>
                    <a:pt x="377951" y="306324"/>
                  </a:lnTo>
                  <a:lnTo>
                    <a:pt x="400220" y="300628"/>
                  </a:lnTo>
                  <a:lnTo>
                    <a:pt x="424941" y="286003"/>
                  </a:lnTo>
                  <a:lnTo>
                    <a:pt x="443148" y="267970"/>
                  </a:lnTo>
                  <a:lnTo>
                    <a:pt x="377951" y="267970"/>
                  </a:lnTo>
                  <a:lnTo>
                    <a:pt x="367543" y="265261"/>
                  </a:lnTo>
                  <a:lnTo>
                    <a:pt x="356409" y="258302"/>
                  </a:lnTo>
                  <a:lnTo>
                    <a:pt x="347537" y="248842"/>
                  </a:lnTo>
                  <a:lnTo>
                    <a:pt x="343915" y="238633"/>
                  </a:lnTo>
                  <a:lnTo>
                    <a:pt x="343915" y="150749"/>
                  </a:lnTo>
                  <a:lnTo>
                    <a:pt x="347591" y="140559"/>
                  </a:lnTo>
                  <a:lnTo>
                    <a:pt x="356552" y="131143"/>
                  </a:lnTo>
                  <a:lnTo>
                    <a:pt x="367704" y="124227"/>
                  </a:lnTo>
                  <a:lnTo>
                    <a:pt x="377951" y="121538"/>
                  </a:lnTo>
                  <a:lnTo>
                    <a:pt x="443578" y="121538"/>
                  </a:lnTo>
                  <a:lnTo>
                    <a:pt x="424941" y="103124"/>
                  </a:lnTo>
                  <a:lnTo>
                    <a:pt x="400220" y="88737"/>
                  </a:lnTo>
                  <a:lnTo>
                    <a:pt x="377951" y="83185"/>
                  </a:lnTo>
                  <a:close/>
                </a:path>
                <a:path w="942340" h="306705">
                  <a:moveTo>
                    <a:pt x="443578" y="121538"/>
                  </a:moveTo>
                  <a:lnTo>
                    <a:pt x="377951" y="121538"/>
                  </a:lnTo>
                  <a:lnTo>
                    <a:pt x="387984" y="124227"/>
                  </a:lnTo>
                  <a:lnTo>
                    <a:pt x="399160" y="131143"/>
                  </a:lnTo>
                  <a:lnTo>
                    <a:pt x="408241" y="140559"/>
                  </a:lnTo>
                  <a:lnTo>
                    <a:pt x="411987" y="150749"/>
                  </a:lnTo>
                  <a:lnTo>
                    <a:pt x="411987" y="238633"/>
                  </a:lnTo>
                  <a:lnTo>
                    <a:pt x="408295" y="248842"/>
                  </a:lnTo>
                  <a:lnTo>
                    <a:pt x="399303" y="258302"/>
                  </a:lnTo>
                  <a:lnTo>
                    <a:pt x="388145" y="265261"/>
                  </a:lnTo>
                  <a:lnTo>
                    <a:pt x="377951" y="267970"/>
                  </a:lnTo>
                  <a:lnTo>
                    <a:pt x="443148" y="267970"/>
                  </a:lnTo>
                  <a:lnTo>
                    <a:pt x="444996" y="266140"/>
                  </a:lnTo>
                  <a:lnTo>
                    <a:pt x="453262" y="244729"/>
                  </a:lnTo>
                  <a:lnTo>
                    <a:pt x="453262" y="144780"/>
                  </a:lnTo>
                  <a:lnTo>
                    <a:pt x="444996" y="122939"/>
                  </a:lnTo>
                  <a:lnTo>
                    <a:pt x="443578" y="121538"/>
                  </a:lnTo>
                  <a:close/>
                </a:path>
                <a:path w="942340" h="306705">
                  <a:moveTo>
                    <a:pt x="574675" y="83185"/>
                  </a:moveTo>
                  <a:lnTo>
                    <a:pt x="554271" y="88675"/>
                  </a:lnTo>
                  <a:lnTo>
                    <a:pt x="531177" y="102917"/>
                  </a:lnTo>
                  <a:lnTo>
                    <a:pt x="512274" y="122564"/>
                  </a:lnTo>
                  <a:lnTo>
                    <a:pt x="504443" y="144272"/>
                  </a:lnTo>
                  <a:lnTo>
                    <a:pt x="504443" y="244729"/>
                  </a:lnTo>
                  <a:lnTo>
                    <a:pt x="512639" y="266140"/>
                  </a:lnTo>
                  <a:lnTo>
                    <a:pt x="532574" y="286003"/>
                  </a:lnTo>
                  <a:lnTo>
                    <a:pt x="557295" y="300634"/>
                  </a:lnTo>
                  <a:lnTo>
                    <a:pt x="579754" y="306324"/>
                  </a:lnTo>
                  <a:lnTo>
                    <a:pt x="602402" y="300628"/>
                  </a:lnTo>
                  <a:lnTo>
                    <a:pt x="626935" y="286051"/>
                  </a:lnTo>
                  <a:lnTo>
                    <a:pt x="644957" y="267970"/>
                  </a:lnTo>
                  <a:lnTo>
                    <a:pt x="579754" y="267970"/>
                  </a:lnTo>
                  <a:lnTo>
                    <a:pt x="569420" y="265221"/>
                  </a:lnTo>
                  <a:lnTo>
                    <a:pt x="558323" y="258270"/>
                  </a:lnTo>
                  <a:lnTo>
                    <a:pt x="549465" y="249056"/>
                  </a:lnTo>
                  <a:lnTo>
                    <a:pt x="545846" y="239522"/>
                  </a:lnTo>
                  <a:lnTo>
                    <a:pt x="545846" y="149860"/>
                  </a:lnTo>
                  <a:lnTo>
                    <a:pt x="549513" y="140184"/>
                  </a:lnTo>
                  <a:lnTo>
                    <a:pt x="558419" y="131032"/>
                  </a:lnTo>
                  <a:lnTo>
                    <a:pt x="569420" y="124213"/>
                  </a:lnTo>
                  <a:lnTo>
                    <a:pt x="579374" y="121538"/>
                  </a:lnTo>
                  <a:lnTo>
                    <a:pt x="654684" y="121538"/>
                  </a:lnTo>
                  <a:lnTo>
                    <a:pt x="654684" y="102108"/>
                  </a:lnTo>
                  <a:lnTo>
                    <a:pt x="613409" y="102108"/>
                  </a:lnTo>
                  <a:lnTo>
                    <a:pt x="605250" y="95132"/>
                  </a:lnTo>
                  <a:lnTo>
                    <a:pt x="595280" y="89074"/>
                  </a:lnTo>
                  <a:lnTo>
                    <a:pt x="584692" y="84802"/>
                  </a:lnTo>
                  <a:lnTo>
                    <a:pt x="574675" y="83185"/>
                  </a:lnTo>
                  <a:close/>
                </a:path>
                <a:path w="942340" h="306705">
                  <a:moveTo>
                    <a:pt x="654684" y="121538"/>
                  </a:moveTo>
                  <a:lnTo>
                    <a:pt x="579374" y="121538"/>
                  </a:lnTo>
                  <a:lnTo>
                    <a:pt x="589406" y="124213"/>
                  </a:lnTo>
                  <a:lnTo>
                    <a:pt x="600582" y="131032"/>
                  </a:lnTo>
                  <a:lnTo>
                    <a:pt x="609663" y="140184"/>
                  </a:lnTo>
                  <a:lnTo>
                    <a:pt x="613409" y="149860"/>
                  </a:lnTo>
                  <a:lnTo>
                    <a:pt x="613409" y="239522"/>
                  </a:lnTo>
                  <a:lnTo>
                    <a:pt x="609919" y="248896"/>
                  </a:lnTo>
                  <a:lnTo>
                    <a:pt x="601297" y="258127"/>
                  </a:lnTo>
                  <a:lnTo>
                    <a:pt x="590317" y="265168"/>
                  </a:lnTo>
                  <a:lnTo>
                    <a:pt x="579754" y="267970"/>
                  </a:lnTo>
                  <a:lnTo>
                    <a:pt x="644957" y="267970"/>
                  </a:lnTo>
                  <a:lnTo>
                    <a:pt x="646620" y="266301"/>
                  </a:lnTo>
                  <a:lnTo>
                    <a:pt x="654684" y="245110"/>
                  </a:lnTo>
                  <a:lnTo>
                    <a:pt x="654684" y="121538"/>
                  </a:lnTo>
                  <a:close/>
                </a:path>
                <a:path w="942340" h="306705">
                  <a:moveTo>
                    <a:pt x="650875" y="0"/>
                  </a:moveTo>
                  <a:lnTo>
                    <a:pt x="617727" y="0"/>
                  </a:lnTo>
                  <a:lnTo>
                    <a:pt x="613409" y="3937"/>
                  </a:lnTo>
                  <a:lnTo>
                    <a:pt x="613409" y="102108"/>
                  </a:lnTo>
                  <a:lnTo>
                    <a:pt x="654684" y="102108"/>
                  </a:lnTo>
                  <a:lnTo>
                    <a:pt x="654684" y="3937"/>
                  </a:lnTo>
                  <a:lnTo>
                    <a:pt x="650875" y="0"/>
                  </a:lnTo>
                  <a:close/>
                </a:path>
                <a:path w="942340" h="306705">
                  <a:moveTo>
                    <a:pt x="750315" y="86995"/>
                  </a:moveTo>
                  <a:lnTo>
                    <a:pt x="716787" y="86995"/>
                  </a:lnTo>
                  <a:lnTo>
                    <a:pt x="712851" y="90932"/>
                  </a:lnTo>
                  <a:lnTo>
                    <a:pt x="712851" y="298577"/>
                  </a:lnTo>
                  <a:lnTo>
                    <a:pt x="716787" y="302387"/>
                  </a:lnTo>
                  <a:lnTo>
                    <a:pt x="750315" y="302387"/>
                  </a:lnTo>
                  <a:lnTo>
                    <a:pt x="754126" y="298577"/>
                  </a:lnTo>
                  <a:lnTo>
                    <a:pt x="754126" y="90932"/>
                  </a:lnTo>
                  <a:lnTo>
                    <a:pt x="750315" y="86995"/>
                  </a:lnTo>
                  <a:close/>
                </a:path>
                <a:path w="942340" h="306705">
                  <a:moveTo>
                    <a:pt x="821308" y="249047"/>
                  </a:moveTo>
                  <a:lnTo>
                    <a:pt x="814451" y="250698"/>
                  </a:lnTo>
                  <a:lnTo>
                    <a:pt x="811783" y="257175"/>
                  </a:lnTo>
                  <a:lnTo>
                    <a:pt x="805814" y="271018"/>
                  </a:lnTo>
                  <a:lnTo>
                    <a:pt x="803275" y="277495"/>
                  </a:lnTo>
                  <a:lnTo>
                    <a:pt x="805814" y="283463"/>
                  </a:lnTo>
                  <a:lnTo>
                    <a:pt x="812392" y="286940"/>
                  </a:lnTo>
                  <a:lnTo>
                    <a:pt x="825708" y="293250"/>
                  </a:lnTo>
                  <a:lnTo>
                    <a:pt x="841041" y="299561"/>
                  </a:lnTo>
                  <a:lnTo>
                    <a:pt x="856636" y="304395"/>
                  </a:lnTo>
                  <a:lnTo>
                    <a:pt x="870838" y="306324"/>
                  </a:lnTo>
                  <a:lnTo>
                    <a:pt x="893397" y="300793"/>
                  </a:lnTo>
                  <a:lnTo>
                    <a:pt x="916527" y="286940"/>
                  </a:lnTo>
                  <a:lnTo>
                    <a:pt x="934561" y="268872"/>
                  </a:lnTo>
                  <a:lnTo>
                    <a:pt x="934922" y="267970"/>
                  </a:lnTo>
                  <a:lnTo>
                    <a:pt x="870838" y="267970"/>
                  </a:lnTo>
                  <a:lnTo>
                    <a:pt x="861683" y="266326"/>
                  </a:lnTo>
                  <a:lnTo>
                    <a:pt x="850265" y="262254"/>
                  </a:lnTo>
                  <a:lnTo>
                    <a:pt x="838370" y="257040"/>
                  </a:lnTo>
                  <a:lnTo>
                    <a:pt x="827785" y="251968"/>
                  </a:lnTo>
                  <a:lnTo>
                    <a:pt x="821308" y="249047"/>
                  </a:lnTo>
                  <a:close/>
                </a:path>
                <a:path w="942340" h="306705">
                  <a:moveTo>
                    <a:pt x="874776" y="83185"/>
                  </a:moveTo>
                  <a:lnTo>
                    <a:pt x="854394" y="88608"/>
                  </a:lnTo>
                  <a:lnTo>
                    <a:pt x="830976" y="102377"/>
                  </a:lnTo>
                  <a:lnTo>
                    <a:pt x="811678" y="120743"/>
                  </a:lnTo>
                  <a:lnTo>
                    <a:pt x="803655" y="139954"/>
                  </a:lnTo>
                  <a:lnTo>
                    <a:pt x="803655" y="159385"/>
                  </a:lnTo>
                  <a:lnTo>
                    <a:pt x="824551" y="192156"/>
                  </a:lnTo>
                  <a:lnTo>
                    <a:pt x="882014" y="216281"/>
                  </a:lnTo>
                  <a:lnTo>
                    <a:pt x="889289" y="219392"/>
                  </a:lnTo>
                  <a:lnTo>
                    <a:pt x="895635" y="223266"/>
                  </a:lnTo>
                  <a:lnTo>
                    <a:pt x="900124" y="228282"/>
                  </a:lnTo>
                  <a:lnTo>
                    <a:pt x="901826" y="234823"/>
                  </a:lnTo>
                  <a:lnTo>
                    <a:pt x="901826" y="244729"/>
                  </a:lnTo>
                  <a:lnTo>
                    <a:pt x="898378" y="252325"/>
                  </a:lnTo>
                  <a:lnTo>
                    <a:pt x="890047" y="259873"/>
                  </a:lnTo>
                  <a:lnTo>
                    <a:pt x="879859" y="265660"/>
                  </a:lnTo>
                  <a:lnTo>
                    <a:pt x="870838" y="267970"/>
                  </a:lnTo>
                  <a:lnTo>
                    <a:pt x="934922" y="267970"/>
                  </a:lnTo>
                  <a:lnTo>
                    <a:pt x="941831" y="250698"/>
                  </a:lnTo>
                  <a:lnTo>
                    <a:pt x="941751" y="228282"/>
                  </a:lnTo>
                  <a:lnTo>
                    <a:pt x="939339" y="214943"/>
                  </a:lnTo>
                  <a:lnTo>
                    <a:pt x="932465" y="203422"/>
                  </a:lnTo>
                  <a:lnTo>
                    <a:pt x="922115" y="194329"/>
                  </a:lnTo>
                  <a:lnTo>
                    <a:pt x="909192" y="187833"/>
                  </a:lnTo>
                  <a:lnTo>
                    <a:pt x="852297" y="166243"/>
                  </a:lnTo>
                  <a:lnTo>
                    <a:pt x="844168" y="161925"/>
                  </a:lnTo>
                  <a:lnTo>
                    <a:pt x="844168" y="146050"/>
                  </a:lnTo>
                  <a:lnTo>
                    <a:pt x="847719" y="137826"/>
                  </a:lnTo>
                  <a:lnTo>
                    <a:pt x="856186" y="129889"/>
                  </a:lnTo>
                  <a:lnTo>
                    <a:pt x="866296" y="123904"/>
                  </a:lnTo>
                  <a:lnTo>
                    <a:pt x="874776" y="121538"/>
                  </a:lnTo>
                  <a:lnTo>
                    <a:pt x="935040" y="121538"/>
                  </a:lnTo>
                  <a:lnTo>
                    <a:pt x="937132" y="115824"/>
                  </a:lnTo>
                  <a:lnTo>
                    <a:pt x="939291" y="110236"/>
                  </a:lnTo>
                  <a:lnTo>
                    <a:pt x="937132" y="104267"/>
                  </a:lnTo>
                  <a:lnTo>
                    <a:pt x="932433" y="101600"/>
                  </a:lnTo>
                  <a:lnTo>
                    <a:pt x="918370" y="95132"/>
                  </a:lnTo>
                  <a:lnTo>
                    <a:pt x="903081" y="89201"/>
                  </a:lnTo>
                  <a:lnTo>
                    <a:pt x="888053" y="84865"/>
                  </a:lnTo>
                  <a:lnTo>
                    <a:pt x="874776" y="83185"/>
                  </a:lnTo>
                  <a:close/>
                </a:path>
                <a:path w="942340" h="306705">
                  <a:moveTo>
                    <a:pt x="935040" y="121538"/>
                  </a:moveTo>
                  <a:lnTo>
                    <a:pt x="874776" y="121538"/>
                  </a:lnTo>
                  <a:lnTo>
                    <a:pt x="883707" y="122949"/>
                  </a:lnTo>
                  <a:lnTo>
                    <a:pt x="894699" y="126444"/>
                  </a:lnTo>
                  <a:lnTo>
                    <a:pt x="906047" y="130915"/>
                  </a:lnTo>
                  <a:lnTo>
                    <a:pt x="916051" y="135255"/>
                  </a:lnTo>
                  <a:lnTo>
                    <a:pt x="922019" y="137413"/>
                  </a:lnTo>
                  <a:lnTo>
                    <a:pt x="929766" y="135636"/>
                  </a:lnTo>
                  <a:lnTo>
                    <a:pt x="931984" y="129889"/>
                  </a:lnTo>
                  <a:lnTo>
                    <a:pt x="935040" y="12153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1615928" y="391668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70">
                  <a:moveTo>
                    <a:pt x="25907" y="0"/>
                  </a:moveTo>
                  <a:lnTo>
                    <a:pt x="15805" y="2030"/>
                  </a:lnTo>
                  <a:lnTo>
                    <a:pt x="7572" y="7572"/>
                  </a:lnTo>
                  <a:lnTo>
                    <a:pt x="2030" y="15805"/>
                  </a:lnTo>
                  <a:lnTo>
                    <a:pt x="0" y="25908"/>
                  </a:lnTo>
                  <a:lnTo>
                    <a:pt x="2030" y="36010"/>
                  </a:lnTo>
                  <a:lnTo>
                    <a:pt x="7572" y="44243"/>
                  </a:lnTo>
                  <a:lnTo>
                    <a:pt x="15805" y="49785"/>
                  </a:lnTo>
                  <a:lnTo>
                    <a:pt x="25907" y="51816"/>
                  </a:lnTo>
                  <a:lnTo>
                    <a:pt x="36010" y="49785"/>
                  </a:lnTo>
                  <a:lnTo>
                    <a:pt x="44243" y="44243"/>
                  </a:lnTo>
                  <a:lnTo>
                    <a:pt x="49785" y="36010"/>
                  </a:lnTo>
                  <a:lnTo>
                    <a:pt x="51816" y="25908"/>
                  </a:lnTo>
                  <a:lnTo>
                    <a:pt x="49785" y="15805"/>
                  </a:lnTo>
                  <a:lnTo>
                    <a:pt x="44243" y="7572"/>
                  </a:lnTo>
                  <a:lnTo>
                    <a:pt x="36010" y="2030"/>
                  </a:lnTo>
                  <a:lnTo>
                    <a:pt x="25907" y="0"/>
                  </a:lnTo>
                  <a:close/>
                </a:path>
              </a:pathLst>
            </a:custGeom>
            <a:solidFill>
              <a:srgbClr val="FFB8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FFABF32-7D53-4827-8C12-508296CFAC10}"/>
              </a:ext>
            </a:extLst>
          </p:cNvPr>
          <p:cNvSpPr txBox="1"/>
          <p:nvPr/>
        </p:nvSpPr>
        <p:spPr>
          <a:xfrm>
            <a:off x="340868" y="443737"/>
            <a:ext cx="10668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емски</a:t>
            </a:r>
            <a:r>
              <a:rPr lang="en-US" sz="2400" b="1" dirty="0">
                <a:solidFill>
                  <a:schemeClr val="bg1"/>
                </a:solidFill>
              </a:rPr>
              <a:t> с Modis - „</a:t>
            </a:r>
            <a:r>
              <a:rPr lang="en-US" sz="2400" b="1" dirty="0" err="1">
                <a:solidFill>
                  <a:schemeClr val="bg1"/>
                </a:solidFill>
              </a:rPr>
              <a:t>Основи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а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комуникацията</a:t>
            </a:r>
            <a:r>
              <a:rPr lang="en-US" sz="2400" b="1" dirty="0">
                <a:solidFill>
                  <a:schemeClr val="bg1"/>
                </a:solidFill>
              </a:rPr>
              <a:t> в </a:t>
            </a:r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среда</a:t>
            </a:r>
            <a:r>
              <a:rPr lang="en-US" sz="2400" b="1" dirty="0">
                <a:solidFill>
                  <a:schemeClr val="bg1"/>
                </a:solidFill>
              </a:rPr>
              <a:t>“ </a:t>
            </a:r>
            <a:endParaRPr lang="bg-BG" sz="2400" dirty="0">
              <a:solidFill>
                <a:schemeClr val="bg1"/>
              </a:solidFill>
            </a:endParaRPr>
          </a:p>
          <a:p>
            <a:endParaRPr lang="bg-BG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B46B151-FEC5-43AF-832A-392EA4D61140}"/>
              </a:ext>
            </a:extLst>
          </p:cNvPr>
          <p:cNvSpPr txBox="1"/>
          <p:nvPr/>
        </p:nvSpPr>
        <p:spPr>
          <a:xfrm>
            <a:off x="685800" y="1371600"/>
            <a:ext cx="518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bg-BG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EB2A6AC-FCFB-4FD3-B746-93D3ADACA9D1}"/>
              </a:ext>
            </a:extLst>
          </p:cNvPr>
          <p:cNvSpPr txBox="1"/>
          <p:nvPr/>
        </p:nvSpPr>
        <p:spPr>
          <a:xfrm>
            <a:off x="472912" y="1371600"/>
            <a:ext cx="73914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FFB81C"/>
                </a:solidFill>
              </a:rPr>
              <a:t>Каква е продължителността и къде се провежда?</a:t>
            </a:r>
            <a:endParaRPr lang="bg-BG" sz="2000" dirty="0">
              <a:solidFill>
                <a:srgbClr val="FFB81C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bg-BG" dirty="0">
              <a:solidFill>
                <a:srgbClr val="FFB81C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AE1474D-27B5-47EA-9333-9596FEB7EE8D}"/>
              </a:ext>
            </a:extLst>
          </p:cNvPr>
          <p:cNvSpPr txBox="1"/>
          <p:nvPr/>
        </p:nvSpPr>
        <p:spPr>
          <a:xfrm>
            <a:off x="704654" y="1812674"/>
            <a:ext cx="10222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Програмата се провежда виртуално 1 път седмично в рамките на 2 учебни часа в  платформата </a:t>
            </a:r>
            <a:r>
              <a:rPr lang="en-US" dirty="0">
                <a:solidFill>
                  <a:schemeClr val="bg1"/>
                </a:solidFill>
              </a:rPr>
              <a:t>Zoom</a:t>
            </a:r>
            <a:r>
              <a:rPr lang="ru-RU" dirty="0">
                <a:solidFill>
                  <a:schemeClr val="bg1"/>
                </a:solidFill>
              </a:rPr>
              <a:t>, а общата и продължителност е 12 седмици.</a:t>
            </a:r>
            <a:endParaRPr lang="bg-BG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D19EAB-E30F-4FD9-ADFB-809763678B7D}"/>
              </a:ext>
            </a:extLst>
          </p:cNvPr>
          <p:cNvSpPr txBox="1"/>
          <p:nvPr/>
        </p:nvSpPr>
        <p:spPr>
          <a:xfrm>
            <a:off x="466910" y="2445526"/>
            <a:ext cx="7391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FFB81C"/>
                </a:solidFill>
              </a:rPr>
              <a:t>Безплатно ли е участието?</a:t>
            </a:r>
            <a:endParaRPr lang="bg-BG" dirty="0">
              <a:solidFill>
                <a:srgbClr val="FFB81C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58D516-BEC2-40C5-B720-FE6C3E6B5400}"/>
              </a:ext>
            </a:extLst>
          </p:cNvPr>
          <p:cNvSpPr txBox="1"/>
          <p:nvPr/>
        </p:nvSpPr>
        <p:spPr>
          <a:xfrm>
            <a:off x="704654" y="2876341"/>
            <a:ext cx="10222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Обучението е напълно безплатно за всички участници.</a:t>
            </a:r>
            <a:endParaRPr lang="bg-BG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DDA22A-13A8-4FEB-B0A4-0AFE747A2019}"/>
              </a:ext>
            </a:extLst>
          </p:cNvPr>
          <p:cNvSpPr txBox="1"/>
          <p:nvPr/>
        </p:nvSpPr>
        <p:spPr>
          <a:xfrm>
            <a:off x="466910" y="3242454"/>
            <a:ext cx="7391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FFB81C"/>
                </a:solidFill>
              </a:rPr>
              <a:t>Може ли да се съвместява с други ангажименти?</a:t>
            </a:r>
            <a:endParaRPr lang="bg-BG" dirty="0">
              <a:solidFill>
                <a:srgbClr val="FFB81C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14AA6A-2634-40DE-85ED-EC12AF90D828}"/>
              </a:ext>
            </a:extLst>
          </p:cNvPr>
          <p:cNvSpPr txBox="1"/>
          <p:nvPr/>
        </p:nvSpPr>
        <p:spPr>
          <a:xfrm>
            <a:off x="702297" y="3653033"/>
            <a:ext cx="10222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Да, програмата предразполага съчетаване с учене или работа.</a:t>
            </a:r>
            <a:endParaRPr lang="bg-BG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FB6890-295C-462B-A753-2D4113D45072}"/>
              </a:ext>
            </a:extLst>
          </p:cNvPr>
          <p:cNvSpPr txBox="1"/>
          <p:nvPr/>
        </p:nvSpPr>
        <p:spPr>
          <a:xfrm>
            <a:off x="466910" y="4075058"/>
            <a:ext cx="7391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FFB81C"/>
                </a:solidFill>
              </a:rPr>
              <a:t>Какъв е процесът по подбор на желаещите?</a:t>
            </a:r>
            <a:endParaRPr lang="bg-BG" dirty="0">
              <a:solidFill>
                <a:srgbClr val="FFB81C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0AE8B2-CC63-4CCE-AD09-79F4D973D891}"/>
              </a:ext>
            </a:extLst>
          </p:cNvPr>
          <p:cNvSpPr txBox="1"/>
          <p:nvPr/>
        </p:nvSpPr>
        <p:spPr>
          <a:xfrm>
            <a:off x="702297" y="4527861"/>
            <a:ext cx="10222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Попълване на регистрационен въпросник, както и изпълнение на кратка писмена задача, служеща за валидиране на нивото на езика. </a:t>
            </a:r>
            <a:endParaRPr lang="bg-B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erson writing on a white board&#10;&#10;Description automatically generated">
            <a:extLst>
              <a:ext uri="{FF2B5EF4-FFF2-40B4-BE49-F238E27FC236}">
                <a16:creationId xmlns:a16="http://schemas.microsoft.com/office/drawing/2014/main" id="{D6DBDE31-E520-4676-843D-16ACDC723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grpSp>
        <p:nvGrpSpPr>
          <p:cNvPr id="2" name="object 2"/>
          <p:cNvGrpSpPr/>
          <p:nvPr/>
        </p:nvGrpSpPr>
        <p:grpSpPr>
          <a:xfrm>
            <a:off x="11004803" y="352806"/>
            <a:ext cx="864235" cy="281940"/>
            <a:chOff x="10981943" y="316991"/>
            <a:chExt cx="864235" cy="281940"/>
          </a:xfrm>
        </p:grpSpPr>
        <p:sp>
          <p:nvSpPr>
            <p:cNvPr id="3" name="object 3"/>
            <p:cNvSpPr/>
            <p:nvPr/>
          </p:nvSpPr>
          <p:spPr>
            <a:xfrm>
              <a:off x="10981943" y="318515"/>
              <a:ext cx="864235" cy="280670"/>
            </a:xfrm>
            <a:custGeom>
              <a:avLst/>
              <a:gdLst/>
              <a:ahLst/>
              <a:cxnLst/>
              <a:rect l="l" t="t" r="r" b="b"/>
              <a:pathLst>
                <a:path w="864234" h="280670">
                  <a:moveTo>
                    <a:pt x="65912" y="76199"/>
                  </a:moveTo>
                  <a:lnTo>
                    <a:pt x="46077" y="81186"/>
                  </a:lnTo>
                  <a:lnTo>
                    <a:pt x="24479" y="93995"/>
                  </a:lnTo>
                  <a:lnTo>
                    <a:pt x="7119" y="111400"/>
                  </a:lnTo>
                  <a:lnTo>
                    <a:pt x="0" y="130174"/>
                  </a:lnTo>
                  <a:lnTo>
                    <a:pt x="0" y="273303"/>
                  </a:lnTo>
                  <a:lnTo>
                    <a:pt x="3555" y="276859"/>
                  </a:lnTo>
                  <a:lnTo>
                    <a:pt x="34289" y="276859"/>
                  </a:lnTo>
                  <a:lnTo>
                    <a:pt x="37846" y="273303"/>
                  </a:lnTo>
                  <a:lnTo>
                    <a:pt x="37846" y="136397"/>
                  </a:lnTo>
                  <a:lnTo>
                    <a:pt x="41028" y="127700"/>
                  </a:lnTo>
                  <a:lnTo>
                    <a:pt x="48736" y="119586"/>
                  </a:lnTo>
                  <a:lnTo>
                    <a:pt x="58227" y="113585"/>
                  </a:lnTo>
                  <a:lnTo>
                    <a:pt x="66675" y="111251"/>
                  </a:lnTo>
                  <a:lnTo>
                    <a:pt x="221313" y="111251"/>
                  </a:lnTo>
                  <a:lnTo>
                    <a:pt x="213446" y="103377"/>
                  </a:lnTo>
                  <a:lnTo>
                    <a:pt x="114426" y="103377"/>
                  </a:lnTo>
                  <a:lnTo>
                    <a:pt x="104239" y="93612"/>
                  </a:lnTo>
                  <a:lnTo>
                    <a:pt x="91789" y="84883"/>
                  </a:lnTo>
                  <a:lnTo>
                    <a:pt x="78529" y="78607"/>
                  </a:lnTo>
                  <a:lnTo>
                    <a:pt x="65912" y="76199"/>
                  </a:lnTo>
                  <a:close/>
                </a:path>
                <a:path w="864234" h="280670">
                  <a:moveTo>
                    <a:pt x="161925" y="111251"/>
                  </a:moveTo>
                  <a:lnTo>
                    <a:pt x="66675" y="111251"/>
                  </a:lnTo>
                  <a:lnTo>
                    <a:pt x="74876" y="113627"/>
                  </a:lnTo>
                  <a:lnTo>
                    <a:pt x="84375" y="119681"/>
                  </a:lnTo>
                  <a:lnTo>
                    <a:pt x="92231" y="127807"/>
                  </a:lnTo>
                  <a:lnTo>
                    <a:pt x="95503" y="136397"/>
                  </a:lnTo>
                  <a:lnTo>
                    <a:pt x="95503" y="273303"/>
                  </a:lnTo>
                  <a:lnTo>
                    <a:pt x="98678" y="276859"/>
                  </a:lnTo>
                  <a:lnTo>
                    <a:pt x="129539" y="276859"/>
                  </a:lnTo>
                  <a:lnTo>
                    <a:pt x="133476" y="273303"/>
                  </a:lnTo>
                  <a:lnTo>
                    <a:pt x="133476" y="136016"/>
                  </a:lnTo>
                  <a:lnTo>
                    <a:pt x="136689" y="127539"/>
                  </a:lnTo>
                  <a:lnTo>
                    <a:pt x="144414" y="119538"/>
                  </a:lnTo>
                  <a:lnTo>
                    <a:pt x="153783" y="113585"/>
                  </a:lnTo>
                  <a:lnTo>
                    <a:pt x="161925" y="111251"/>
                  </a:lnTo>
                  <a:close/>
                </a:path>
                <a:path w="864234" h="280670">
                  <a:moveTo>
                    <a:pt x="221313" y="111251"/>
                  </a:moveTo>
                  <a:lnTo>
                    <a:pt x="161925" y="111251"/>
                  </a:lnTo>
                  <a:lnTo>
                    <a:pt x="170394" y="113585"/>
                  </a:lnTo>
                  <a:lnTo>
                    <a:pt x="179863" y="119538"/>
                  </a:lnTo>
                  <a:lnTo>
                    <a:pt x="187571" y="127539"/>
                  </a:lnTo>
                  <a:lnTo>
                    <a:pt x="190753" y="136016"/>
                  </a:lnTo>
                  <a:lnTo>
                    <a:pt x="190753" y="273303"/>
                  </a:lnTo>
                  <a:lnTo>
                    <a:pt x="194309" y="276859"/>
                  </a:lnTo>
                  <a:lnTo>
                    <a:pt x="225044" y="276859"/>
                  </a:lnTo>
                  <a:lnTo>
                    <a:pt x="228600" y="273303"/>
                  </a:lnTo>
                  <a:lnTo>
                    <a:pt x="228600" y="130174"/>
                  </a:lnTo>
                  <a:lnTo>
                    <a:pt x="221462" y="111400"/>
                  </a:lnTo>
                  <a:lnTo>
                    <a:pt x="221313" y="111251"/>
                  </a:lnTo>
                  <a:close/>
                </a:path>
                <a:path w="864234" h="280670">
                  <a:moveTo>
                    <a:pt x="162686" y="76199"/>
                  </a:moveTo>
                  <a:lnTo>
                    <a:pt x="150610" y="78553"/>
                  </a:lnTo>
                  <a:lnTo>
                    <a:pt x="137414" y="84740"/>
                  </a:lnTo>
                  <a:lnTo>
                    <a:pt x="124789" y="93452"/>
                  </a:lnTo>
                  <a:lnTo>
                    <a:pt x="114426" y="103377"/>
                  </a:lnTo>
                  <a:lnTo>
                    <a:pt x="213446" y="103377"/>
                  </a:lnTo>
                  <a:lnTo>
                    <a:pt x="204073" y="93995"/>
                  </a:lnTo>
                  <a:lnTo>
                    <a:pt x="182469" y="81186"/>
                  </a:lnTo>
                  <a:lnTo>
                    <a:pt x="162686" y="76199"/>
                  </a:lnTo>
                  <a:close/>
                </a:path>
                <a:path w="864234" h="280670">
                  <a:moveTo>
                    <a:pt x="346709" y="76199"/>
                  </a:moveTo>
                  <a:lnTo>
                    <a:pt x="326270" y="81329"/>
                  </a:lnTo>
                  <a:lnTo>
                    <a:pt x="303593" y="94567"/>
                  </a:lnTo>
                  <a:lnTo>
                    <a:pt x="285202" y="112686"/>
                  </a:lnTo>
                  <a:lnTo>
                    <a:pt x="277622" y="132460"/>
                  </a:lnTo>
                  <a:lnTo>
                    <a:pt x="277622" y="224027"/>
                  </a:lnTo>
                  <a:lnTo>
                    <a:pt x="285202" y="243661"/>
                  </a:lnTo>
                  <a:lnTo>
                    <a:pt x="303593" y="261842"/>
                  </a:lnTo>
                  <a:lnTo>
                    <a:pt x="326270" y="275212"/>
                  </a:lnTo>
                  <a:lnTo>
                    <a:pt x="346709" y="280415"/>
                  </a:lnTo>
                  <a:lnTo>
                    <a:pt x="367168" y="275212"/>
                  </a:lnTo>
                  <a:lnTo>
                    <a:pt x="389889" y="261842"/>
                  </a:lnTo>
                  <a:lnTo>
                    <a:pt x="406598" y="245363"/>
                  </a:lnTo>
                  <a:lnTo>
                    <a:pt x="346709" y="245363"/>
                  </a:lnTo>
                  <a:lnTo>
                    <a:pt x="337186" y="242889"/>
                  </a:lnTo>
                  <a:lnTo>
                    <a:pt x="327009" y="236521"/>
                  </a:lnTo>
                  <a:lnTo>
                    <a:pt x="318902" y="227843"/>
                  </a:lnTo>
                  <a:lnTo>
                    <a:pt x="315595" y="218439"/>
                  </a:lnTo>
                  <a:lnTo>
                    <a:pt x="315595" y="138048"/>
                  </a:lnTo>
                  <a:lnTo>
                    <a:pt x="318956" y="128664"/>
                  </a:lnTo>
                  <a:lnTo>
                    <a:pt x="327151" y="120030"/>
                  </a:lnTo>
                  <a:lnTo>
                    <a:pt x="337347" y="113706"/>
                  </a:lnTo>
                  <a:lnTo>
                    <a:pt x="346709" y="111251"/>
                  </a:lnTo>
                  <a:lnTo>
                    <a:pt x="407027" y="111251"/>
                  </a:lnTo>
                  <a:lnTo>
                    <a:pt x="389890" y="94424"/>
                  </a:lnTo>
                  <a:lnTo>
                    <a:pt x="367168" y="81276"/>
                  </a:lnTo>
                  <a:lnTo>
                    <a:pt x="346709" y="76199"/>
                  </a:lnTo>
                  <a:close/>
                </a:path>
                <a:path w="864234" h="280670">
                  <a:moveTo>
                    <a:pt x="407027" y="111251"/>
                  </a:moveTo>
                  <a:lnTo>
                    <a:pt x="346709" y="111251"/>
                  </a:lnTo>
                  <a:lnTo>
                    <a:pt x="355931" y="113706"/>
                  </a:lnTo>
                  <a:lnTo>
                    <a:pt x="366188" y="120030"/>
                  </a:lnTo>
                  <a:lnTo>
                    <a:pt x="374517" y="128664"/>
                  </a:lnTo>
                  <a:lnTo>
                    <a:pt x="377951" y="138048"/>
                  </a:lnTo>
                  <a:lnTo>
                    <a:pt x="377951" y="218439"/>
                  </a:lnTo>
                  <a:lnTo>
                    <a:pt x="374570" y="227843"/>
                  </a:lnTo>
                  <a:lnTo>
                    <a:pt x="366331" y="236521"/>
                  </a:lnTo>
                  <a:lnTo>
                    <a:pt x="356092" y="242889"/>
                  </a:lnTo>
                  <a:lnTo>
                    <a:pt x="346709" y="245363"/>
                  </a:lnTo>
                  <a:lnTo>
                    <a:pt x="406598" y="245363"/>
                  </a:lnTo>
                  <a:lnTo>
                    <a:pt x="408324" y="243661"/>
                  </a:lnTo>
                  <a:lnTo>
                    <a:pt x="415925" y="224027"/>
                  </a:lnTo>
                  <a:lnTo>
                    <a:pt x="415925" y="132460"/>
                  </a:lnTo>
                  <a:lnTo>
                    <a:pt x="408324" y="112525"/>
                  </a:lnTo>
                  <a:lnTo>
                    <a:pt x="407027" y="111251"/>
                  </a:lnTo>
                  <a:close/>
                </a:path>
                <a:path w="864234" h="280670">
                  <a:moveTo>
                    <a:pt x="527176" y="76199"/>
                  </a:moveTo>
                  <a:lnTo>
                    <a:pt x="508490" y="81216"/>
                  </a:lnTo>
                  <a:lnTo>
                    <a:pt x="487314" y="94233"/>
                  </a:lnTo>
                  <a:lnTo>
                    <a:pt x="469973" y="112204"/>
                  </a:lnTo>
                  <a:lnTo>
                    <a:pt x="462787" y="132079"/>
                  </a:lnTo>
                  <a:lnTo>
                    <a:pt x="462787" y="224027"/>
                  </a:lnTo>
                  <a:lnTo>
                    <a:pt x="470316" y="243661"/>
                  </a:lnTo>
                  <a:lnTo>
                    <a:pt x="488632" y="261842"/>
                  </a:lnTo>
                  <a:lnTo>
                    <a:pt x="511353" y="275218"/>
                  </a:lnTo>
                  <a:lnTo>
                    <a:pt x="532002" y="280415"/>
                  </a:lnTo>
                  <a:lnTo>
                    <a:pt x="552714" y="275212"/>
                  </a:lnTo>
                  <a:lnTo>
                    <a:pt x="575214" y="261889"/>
                  </a:lnTo>
                  <a:lnTo>
                    <a:pt x="591753" y="245363"/>
                  </a:lnTo>
                  <a:lnTo>
                    <a:pt x="532002" y="245363"/>
                  </a:lnTo>
                  <a:lnTo>
                    <a:pt x="522460" y="242829"/>
                  </a:lnTo>
                  <a:lnTo>
                    <a:pt x="512238" y="236426"/>
                  </a:lnTo>
                  <a:lnTo>
                    <a:pt x="504088" y="227951"/>
                  </a:lnTo>
                  <a:lnTo>
                    <a:pt x="500760" y="219201"/>
                  </a:lnTo>
                  <a:lnTo>
                    <a:pt x="500760" y="137286"/>
                  </a:lnTo>
                  <a:lnTo>
                    <a:pt x="504136" y="128343"/>
                  </a:lnTo>
                  <a:lnTo>
                    <a:pt x="512333" y="119935"/>
                  </a:lnTo>
                  <a:lnTo>
                    <a:pt x="522460" y="113694"/>
                  </a:lnTo>
                  <a:lnTo>
                    <a:pt x="531622" y="111251"/>
                  </a:lnTo>
                  <a:lnTo>
                    <a:pt x="600709" y="111251"/>
                  </a:lnTo>
                  <a:lnTo>
                    <a:pt x="600709" y="93471"/>
                  </a:lnTo>
                  <a:lnTo>
                    <a:pt x="562736" y="93471"/>
                  </a:lnTo>
                  <a:lnTo>
                    <a:pt x="555323" y="87076"/>
                  </a:lnTo>
                  <a:lnTo>
                    <a:pt x="546195" y="81549"/>
                  </a:lnTo>
                  <a:lnTo>
                    <a:pt x="536448" y="77666"/>
                  </a:lnTo>
                  <a:lnTo>
                    <a:pt x="527176" y="76199"/>
                  </a:lnTo>
                  <a:close/>
                </a:path>
                <a:path w="864234" h="280670">
                  <a:moveTo>
                    <a:pt x="600709" y="111251"/>
                  </a:moveTo>
                  <a:lnTo>
                    <a:pt x="531622" y="111251"/>
                  </a:lnTo>
                  <a:lnTo>
                    <a:pt x="540769" y="113694"/>
                  </a:lnTo>
                  <a:lnTo>
                    <a:pt x="550989" y="119935"/>
                  </a:lnTo>
                  <a:lnTo>
                    <a:pt x="559304" y="128343"/>
                  </a:lnTo>
                  <a:lnTo>
                    <a:pt x="562736" y="137286"/>
                  </a:lnTo>
                  <a:lnTo>
                    <a:pt x="562736" y="219201"/>
                  </a:lnTo>
                  <a:lnTo>
                    <a:pt x="559542" y="227790"/>
                  </a:lnTo>
                  <a:lnTo>
                    <a:pt x="551656" y="236283"/>
                  </a:lnTo>
                  <a:lnTo>
                    <a:pt x="541627" y="242776"/>
                  </a:lnTo>
                  <a:lnTo>
                    <a:pt x="532002" y="245363"/>
                  </a:lnTo>
                  <a:lnTo>
                    <a:pt x="591753" y="245363"/>
                  </a:lnTo>
                  <a:lnTo>
                    <a:pt x="593296" y="243822"/>
                  </a:lnTo>
                  <a:lnTo>
                    <a:pt x="600709" y="224408"/>
                  </a:lnTo>
                  <a:lnTo>
                    <a:pt x="600709" y="111251"/>
                  </a:lnTo>
                  <a:close/>
                </a:path>
                <a:path w="864234" h="280670">
                  <a:moveTo>
                    <a:pt x="597153" y="0"/>
                  </a:moveTo>
                  <a:lnTo>
                    <a:pt x="566801" y="0"/>
                  </a:lnTo>
                  <a:lnTo>
                    <a:pt x="562736" y="3555"/>
                  </a:lnTo>
                  <a:lnTo>
                    <a:pt x="562736" y="93471"/>
                  </a:lnTo>
                  <a:lnTo>
                    <a:pt x="600709" y="93471"/>
                  </a:lnTo>
                  <a:lnTo>
                    <a:pt x="600709" y="3555"/>
                  </a:lnTo>
                  <a:lnTo>
                    <a:pt x="597153" y="0"/>
                  </a:lnTo>
                  <a:close/>
                </a:path>
                <a:path w="864234" h="280670">
                  <a:moveTo>
                    <a:pt x="688339" y="79628"/>
                  </a:moveTo>
                  <a:lnTo>
                    <a:pt x="657605" y="79628"/>
                  </a:lnTo>
                  <a:lnTo>
                    <a:pt x="654050" y="83184"/>
                  </a:lnTo>
                  <a:lnTo>
                    <a:pt x="654050" y="273303"/>
                  </a:lnTo>
                  <a:lnTo>
                    <a:pt x="657605" y="276859"/>
                  </a:lnTo>
                  <a:lnTo>
                    <a:pt x="688339" y="276859"/>
                  </a:lnTo>
                  <a:lnTo>
                    <a:pt x="691896" y="273303"/>
                  </a:lnTo>
                  <a:lnTo>
                    <a:pt x="691896" y="83184"/>
                  </a:lnTo>
                  <a:lnTo>
                    <a:pt x="688339" y="79628"/>
                  </a:lnTo>
                  <a:close/>
                </a:path>
                <a:path w="864234" h="280670">
                  <a:moveTo>
                    <a:pt x="753617" y="227964"/>
                  </a:moveTo>
                  <a:lnTo>
                    <a:pt x="747267" y="229488"/>
                  </a:lnTo>
                  <a:lnTo>
                    <a:pt x="744854" y="235457"/>
                  </a:lnTo>
                  <a:lnTo>
                    <a:pt x="739266" y="248030"/>
                  </a:lnTo>
                  <a:lnTo>
                    <a:pt x="736980" y="253999"/>
                  </a:lnTo>
                  <a:lnTo>
                    <a:pt x="739266" y="259460"/>
                  </a:lnTo>
                  <a:lnTo>
                    <a:pt x="745303" y="262667"/>
                  </a:lnTo>
                  <a:lnTo>
                    <a:pt x="757576" y="268414"/>
                  </a:lnTo>
                  <a:lnTo>
                    <a:pt x="771667" y="274192"/>
                  </a:lnTo>
                  <a:lnTo>
                    <a:pt x="785973" y="278638"/>
                  </a:lnTo>
                  <a:lnTo>
                    <a:pt x="798956" y="280415"/>
                  </a:lnTo>
                  <a:lnTo>
                    <a:pt x="819638" y="275351"/>
                  </a:lnTo>
                  <a:lnTo>
                    <a:pt x="840898" y="262635"/>
                  </a:lnTo>
                  <a:lnTo>
                    <a:pt x="857428" y="246125"/>
                  </a:lnTo>
                  <a:lnTo>
                    <a:pt x="857734" y="245363"/>
                  </a:lnTo>
                  <a:lnTo>
                    <a:pt x="798956" y="245363"/>
                  </a:lnTo>
                  <a:lnTo>
                    <a:pt x="790535" y="243849"/>
                  </a:lnTo>
                  <a:lnTo>
                    <a:pt x="780065" y="240109"/>
                  </a:lnTo>
                  <a:lnTo>
                    <a:pt x="769167" y="235344"/>
                  </a:lnTo>
                  <a:lnTo>
                    <a:pt x="753617" y="227964"/>
                  </a:lnTo>
                  <a:close/>
                </a:path>
                <a:path w="864234" h="280670">
                  <a:moveTo>
                    <a:pt x="802512" y="76199"/>
                  </a:moveTo>
                  <a:lnTo>
                    <a:pt x="783867" y="81154"/>
                  </a:lnTo>
                  <a:lnTo>
                    <a:pt x="762412" y="93741"/>
                  </a:lnTo>
                  <a:lnTo>
                    <a:pt x="744720" y="110543"/>
                  </a:lnTo>
                  <a:lnTo>
                    <a:pt x="737361" y="128142"/>
                  </a:lnTo>
                  <a:lnTo>
                    <a:pt x="737361" y="145922"/>
                  </a:lnTo>
                  <a:lnTo>
                    <a:pt x="767714" y="181863"/>
                  </a:lnTo>
                  <a:lnTo>
                    <a:pt x="818387" y="201548"/>
                  </a:lnTo>
                  <a:lnTo>
                    <a:pt x="827404" y="205866"/>
                  </a:lnTo>
                  <a:lnTo>
                    <a:pt x="827404" y="224027"/>
                  </a:lnTo>
                  <a:lnTo>
                    <a:pt x="824245" y="231005"/>
                  </a:lnTo>
                  <a:lnTo>
                    <a:pt x="816610" y="237934"/>
                  </a:lnTo>
                  <a:lnTo>
                    <a:pt x="807259" y="243244"/>
                  </a:lnTo>
                  <a:lnTo>
                    <a:pt x="798956" y="245363"/>
                  </a:lnTo>
                  <a:lnTo>
                    <a:pt x="857734" y="245363"/>
                  </a:lnTo>
                  <a:lnTo>
                    <a:pt x="864107" y="229488"/>
                  </a:lnTo>
                  <a:lnTo>
                    <a:pt x="864107" y="209422"/>
                  </a:lnTo>
                  <a:lnTo>
                    <a:pt x="834135" y="171957"/>
                  </a:lnTo>
                  <a:lnTo>
                    <a:pt x="790321" y="155320"/>
                  </a:lnTo>
                  <a:lnTo>
                    <a:pt x="781938" y="152272"/>
                  </a:lnTo>
                  <a:lnTo>
                    <a:pt x="774446" y="148335"/>
                  </a:lnTo>
                  <a:lnTo>
                    <a:pt x="774446" y="133730"/>
                  </a:lnTo>
                  <a:lnTo>
                    <a:pt x="777724" y="126200"/>
                  </a:lnTo>
                  <a:lnTo>
                    <a:pt x="785526" y="118919"/>
                  </a:lnTo>
                  <a:lnTo>
                    <a:pt x="794805" y="113424"/>
                  </a:lnTo>
                  <a:lnTo>
                    <a:pt x="802512" y="111251"/>
                  </a:lnTo>
                  <a:lnTo>
                    <a:pt x="857919" y="111251"/>
                  </a:lnTo>
                  <a:lnTo>
                    <a:pt x="859789" y="106044"/>
                  </a:lnTo>
                  <a:lnTo>
                    <a:pt x="861822" y="100964"/>
                  </a:lnTo>
                  <a:lnTo>
                    <a:pt x="859789" y="95503"/>
                  </a:lnTo>
                  <a:lnTo>
                    <a:pt x="855472" y="93090"/>
                  </a:lnTo>
                  <a:lnTo>
                    <a:pt x="842553" y="87129"/>
                  </a:lnTo>
                  <a:lnTo>
                    <a:pt x="828516" y="81692"/>
                  </a:lnTo>
                  <a:lnTo>
                    <a:pt x="814716" y="77731"/>
                  </a:lnTo>
                  <a:lnTo>
                    <a:pt x="802512" y="76199"/>
                  </a:lnTo>
                  <a:close/>
                </a:path>
                <a:path w="864234" h="280670">
                  <a:moveTo>
                    <a:pt x="857919" y="111251"/>
                  </a:moveTo>
                  <a:lnTo>
                    <a:pt x="802512" y="111251"/>
                  </a:lnTo>
                  <a:lnTo>
                    <a:pt x="810803" y="112555"/>
                  </a:lnTo>
                  <a:lnTo>
                    <a:pt x="820927" y="115776"/>
                  </a:lnTo>
                  <a:lnTo>
                    <a:pt x="831338" y="119878"/>
                  </a:lnTo>
                  <a:lnTo>
                    <a:pt x="840485" y="123824"/>
                  </a:lnTo>
                  <a:lnTo>
                    <a:pt x="845947" y="125729"/>
                  </a:lnTo>
                  <a:lnTo>
                    <a:pt x="853058" y="124205"/>
                  </a:lnTo>
                  <a:lnTo>
                    <a:pt x="855165" y="118919"/>
                  </a:lnTo>
                  <a:lnTo>
                    <a:pt x="857919" y="111251"/>
                  </a:lnTo>
                  <a:close/>
                </a:path>
              </a:pathLst>
            </a:custGeom>
            <a:solidFill>
              <a:srgbClr val="3739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11631167" y="316991"/>
              <a:ext cx="48895" cy="48895"/>
            </a:xfrm>
            <a:custGeom>
              <a:avLst/>
              <a:gdLst/>
              <a:ahLst/>
              <a:cxnLst/>
              <a:rect l="l" t="t" r="r" b="b"/>
              <a:pathLst>
                <a:path w="48895" h="48895">
                  <a:moveTo>
                    <a:pt x="24383" y="0"/>
                  </a:moveTo>
                  <a:lnTo>
                    <a:pt x="14894" y="1916"/>
                  </a:lnTo>
                  <a:lnTo>
                    <a:pt x="7143" y="7143"/>
                  </a:lnTo>
                  <a:lnTo>
                    <a:pt x="1916" y="14894"/>
                  </a:lnTo>
                  <a:lnTo>
                    <a:pt x="0" y="24383"/>
                  </a:lnTo>
                  <a:lnTo>
                    <a:pt x="1916" y="33873"/>
                  </a:lnTo>
                  <a:lnTo>
                    <a:pt x="7143" y="41624"/>
                  </a:lnTo>
                  <a:lnTo>
                    <a:pt x="14894" y="46851"/>
                  </a:lnTo>
                  <a:lnTo>
                    <a:pt x="24383" y="48767"/>
                  </a:lnTo>
                  <a:lnTo>
                    <a:pt x="33873" y="46851"/>
                  </a:lnTo>
                  <a:lnTo>
                    <a:pt x="41624" y="41624"/>
                  </a:lnTo>
                  <a:lnTo>
                    <a:pt x="46851" y="33873"/>
                  </a:lnTo>
                  <a:lnTo>
                    <a:pt x="48767" y="24383"/>
                  </a:lnTo>
                  <a:lnTo>
                    <a:pt x="46851" y="14894"/>
                  </a:lnTo>
                  <a:lnTo>
                    <a:pt x="41624" y="7143"/>
                  </a:lnTo>
                  <a:lnTo>
                    <a:pt x="33873" y="1916"/>
                  </a:lnTo>
                  <a:lnTo>
                    <a:pt x="24383" y="0"/>
                  </a:lnTo>
                  <a:close/>
                </a:path>
              </a:pathLst>
            </a:custGeom>
            <a:solidFill>
              <a:srgbClr val="FFB8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0" y="2462783"/>
            <a:ext cx="11851132" cy="3901440"/>
            <a:chOff x="0" y="2462783"/>
            <a:chExt cx="11851132" cy="3901440"/>
          </a:xfrm>
        </p:grpSpPr>
        <p:sp>
          <p:nvSpPr>
            <p:cNvPr id="8" name="object 8"/>
            <p:cNvSpPr/>
            <p:nvPr/>
          </p:nvSpPr>
          <p:spPr>
            <a:xfrm>
              <a:off x="339852" y="6364223"/>
              <a:ext cx="11511280" cy="0"/>
            </a:xfrm>
            <a:custGeom>
              <a:avLst/>
              <a:gdLst/>
              <a:ahLst/>
              <a:cxnLst/>
              <a:rect l="l" t="t" r="r" b="b"/>
              <a:pathLst>
                <a:path w="11511280">
                  <a:moveTo>
                    <a:pt x="0" y="0"/>
                  </a:moveTo>
                  <a:lnTo>
                    <a:pt x="11511280" y="0"/>
                  </a:lnTo>
                </a:path>
              </a:pathLst>
            </a:custGeom>
            <a:ln w="6350">
              <a:solidFill>
                <a:srgbClr val="37393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0" y="2462783"/>
              <a:ext cx="4770120" cy="1932939"/>
            </a:xfrm>
            <a:custGeom>
              <a:avLst/>
              <a:gdLst/>
              <a:ahLst/>
              <a:cxnLst/>
              <a:rect l="l" t="t" r="r" b="b"/>
              <a:pathLst>
                <a:path w="4770120" h="1932939">
                  <a:moveTo>
                    <a:pt x="4770120" y="0"/>
                  </a:moveTo>
                  <a:lnTo>
                    <a:pt x="0" y="0"/>
                  </a:lnTo>
                  <a:lnTo>
                    <a:pt x="0" y="1932432"/>
                  </a:lnTo>
                  <a:lnTo>
                    <a:pt x="4770120" y="1932432"/>
                  </a:lnTo>
                  <a:lnTo>
                    <a:pt x="4770120" y="0"/>
                  </a:lnTo>
                  <a:close/>
                </a:path>
              </a:pathLst>
            </a:custGeom>
            <a:solidFill>
              <a:srgbClr val="252525">
                <a:alpha val="85881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68451" y="3040379"/>
              <a:ext cx="1188085" cy="0"/>
            </a:xfrm>
            <a:custGeom>
              <a:avLst/>
              <a:gdLst/>
              <a:ahLst/>
              <a:cxnLst/>
              <a:rect l="l" t="t" r="r" b="b"/>
              <a:pathLst>
                <a:path w="1188085">
                  <a:moveTo>
                    <a:pt x="0" y="0"/>
                  </a:moveTo>
                  <a:lnTo>
                    <a:pt x="1187831" y="0"/>
                  </a:lnTo>
                </a:path>
              </a:pathLst>
            </a:custGeom>
            <a:ln w="12700">
              <a:solidFill>
                <a:srgbClr val="FFB81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79371C82-F8E2-447B-B653-8842C4190CFB}"/>
              </a:ext>
            </a:extLst>
          </p:cNvPr>
          <p:cNvSpPr txBox="1"/>
          <p:nvPr/>
        </p:nvSpPr>
        <p:spPr>
          <a:xfrm>
            <a:off x="568450" y="3117022"/>
            <a:ext cx="30891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3200" dirty="0">
                <a:solidFill>
                  <a:schemeClr val="bg1"/>
                </a:solidFill>
              </a:rPr>
              <a:t>УЧЕБЕН ПЛАН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8" name="object 18"/>
          <p:cNvGrpSpPr/>
          <p:nvPr/>
        </p:nvGrpSpPr>
        <p:grpSpPr>
          <a:xfrm>
            <a:off x="628192" y="3080257"/>
            <a:ext cx="1908810" cy="353695"/>
            <a:chOff x="628192" y="3080257"/>
            <a:chExt cx="1908810" cy="353695"/>
          </a:xfrm>
        </p:grpSpPr>
        <p:pic>
          <p:nvPicPr>
            <p:cNvPr id="19" name="object 1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28192" y="3080257"/>
              <a:ext cx="1908302" cy="170687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8192" y="3263137"/>
              <a:ext cx="1402969" cy="170687"/>
            </a:xfrm>
            <a:prstGeom prst="rect">
              <a:avLst/>
            </a:prstGeom>
          </p:spPr>
        </p:pic>
      </p:grpSp>
      <p:pic>
        <p:nvPicPr>
          <p:cNvPr id="21" name="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3084829"/>
            <a:ext cx="195071" cy="256032"/>
          </a:xfrm>
          <a:prstGeom prst="rect">
            <a:avLst/>
          </a:prstGeom>
        </p:spPr>
      </p:pic>
      <p:pic>
        <p:nvPicPr>
          <p:cNvPr id="22" name="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3084829"/>
            <a:ext cx="195072" cy="256032"/>
          </a:xfrm>
          <a:prstGeom prst="rect">
            <a:avLst/>
          </a:prstGeom>
        </p:spPr>
      </p:pic>
      <p:pic>
        <p:nvPicPr>
          <p:cNvPr id="23" name="object 2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3084829"/>
            <a:ext cx="195072" cy="256032"/>
          </a:xfrm>
          <a:prstGeom prst="rect">
            <a:avLst/>
          </a:prstGeom>
        </p:spPr>
      </p:pic>
      <p:grpSp>
        <p:nvGrpSpPr>
          <p:cNvPr id="24" name="object 24"/>
          <p:cNvGrpSpPr/>
          <p:nvPr/>
        </p:nvGrpSpPr>
        <p:grpSpPr>
          <a:xfrm>
            <a:off x="628192" y="3537458"/>
            <a:ext cx="1390650" cy="170815"/>
            <a:chOff x="628192" y="3537458"/>
            <a:chExt cx="1390650" cy="170815"/>
          </a:xfrm>
        </p:grpSpPr>
        <p:pic>
          <p:nvPicPr>
            <p:cNvPr id="25" name="object 2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28192" y="3537458"/>
              <a:ext cx="1044028" cy="170688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614170" y="3537458"/>
              <a:ext cx="404622" cy="170688"/>
            </a:xfrm>
            <a:prstGeom prst="rect">
              <a:avLst/>
            </a:prstGeom>
          </p:spPr>
        </p:pic>
      </p:grpSp>
      <p:pic>
        <p:nvPicPr>
          <p:cNvPr id="27" name="object 2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3542029"/>
            <a:ext cx="195071" cy="256032"/>
          </a:xfrm>
          <a:prstGeom prst="rect">
            <a:avLst/>
          </a:prstGeom>
        </p:spPr>
      </p:pic>
      <p:pic>
        <p:nvPicPr>
          <p:cNvPr id="28" name="object 2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740150" y="3542029"/>
            <a:ext cx="195072" cy="256032"/>
          </a:xfrm>
          <a:prstGeom prst="rect">
            <a:avLst/>
          </a:prstGeom>
        </p:spPr>
      </p:pic>
      <p:pic>
        <p:nvPicPr>
          <p:cNvPr id="29" name="object 2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414392" y="3542029"/>
            <a:ext cx="195072" cy="256032"/>
          </a:xfrm>
          <a:prstGeom prst="rect">
            <a:avLst/>
          </a:prstGeom>
        </p:spPr>
      </p:pic>
      <p:pic>
        <p:nvPicPr>
          <p:cNvPr id="30" name="object 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21909" y="3542029"/>
            <a:ext cx="195072" cy="256032"/>
          </a:xfrm>
          <a:prstGeom prst="rect">
            <a:avLst/>
          </a:prstGeom>
        </p:spPr>
      </p:pic>
      <p:pic>
        <p:nvPicPr>
          <p:cNvPr id="31" name="object 3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29046" y="3542029"/>
            <a:ext cx="195072" cy="256032"/>
          </a:xfrm>
          <a:prstGeom prst="rect">
            <a:avLst/>
          </a:prstGeom>
        </p:spPr>
      </p:pic>
      <p:pic>
        <p:nvPicPr>
          <p:cNvPr id="32" name="object 3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536435" y="3542029"/>
            <a:ext cx="195072" cy="256032"/>
          </a:xfrm>
          <a:prstGeom prst="rect">
            <a:avLst/>
          </a:prstGeom>
        </p:spPr>
      </p:pic>
      <p:pic>
        <p:nvPicPr>
          <p:cNvPr id="33" name="object 3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3542029"/>
            <a:ext cx="195072" cy="256032"/>
          </a:xfrm>
          <a:prstGeom prst="rect">
            <a:avLst/>
          </a:prstGeom>
        </p:spPr>
      </p:pic>
      <p:pic>
        <p:nvPicPr>
          <p:cNvPr id="34" name="object 3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3542029"/>
            <a:ext cx="195072" cy="256032"/>
          </a:xfrm>
          <a:prstGeom prst="rect">
            <a:avLst/>
          </a:prstGeom>
        </p:spPr>
      </p:pic>
      <p:pic>
        <p:nvPicPr>
          <p:cNvPr id="35" name="object 3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365615" y="3542029"/>
            <a:ext cx="195072" cy="256032"/>
          </a:xfrm>
          <a:prstGeom prst="rect">
            <a:avLst/>
          </a:prstGeom>
        </p:spPr>
      </p:pic>
      <p:pic>
        <p:nvPicPr>
          <p:cNvPr id="36" name="object 3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073005" y="3542029"/>
            <a:ext cx="195072" cy="256032"/>
          </a:xfrm>
          <a:prstGeom prst="rect">
            <a:avLst/>
          </a:prstGeom>
        </p:spPr>
      </p:pic>
      <p:pic>
        <p:nvPicPr>
          <p:cNvPr id="37" name="object 3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3542029"/>
            <a:ext cx="195072" cy="256032"/>
          </a:xfrm>
          <a:prstGeom prst="rect">
            <a:avLst/>
          </a:prstGeom>
        </p:spPr>
      </p:pic>
      <p:grpSp>
        <p:nvGrpSpPr>
          <p:cNvPr id="38" name="object 38"/>
          <p:cNvGrpSpPr/>
          <p:nvPr/>
        </p:nvGrpSpPr>
        <p:grpSpPr>
          <a:xfrm>
            <a:off x="628192" y="3908425"/>
            <a:ext cx="1497965" cy="332740"/>
            <a:chOff x="628192" y="3908425"/>
            <a:chExt cx="1497965" cy="332740"/>
          </a:xfrm>
        </p:grpSpPr>
        <p:pic>
          <p:nvPicPr>
            <p:cNvPr id="39" name="object 3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28192" y="3908425"/>
              <a:ext cx="1044028" cy="170687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614170" y="3908425"/>
              <a:ext cx="511657" cy="170687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28192" y="4089780"/>
              <a:ext cx="1005420" cy="150875"/>
            </a:xfrm>
            <a:prstGeom prst="rect">
              <a:avLst/>
            </a:prstGeom>
          </p:spPr>
        </p:pic>
      </p:grpSp>
      <p:pic>
        <p:nvPicPr>
          <p:cNvPr id="42" name="object 4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21909" y="3912996"/>
            <a:ext cx="195072" cy="256031"/>
          </a:xfrm>
          <a:prstGeom prst="rect">
            <a:avLst/>
          </a:prstGeom>
        </p:spPr>
      </p:pic>
      <p:pic>
        <p:nvPicPr>
          <p:cNvPr id="43" name="object 4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536435" y="3912996"/>
            <a:ext cx="195072" cy="256031"/>
          </a:xfrm>
          <a:prstGeom prst="rect">
            <a:avLst/>
          </a:prstGeom>
        </p:spPr>
      </p:pic>
      <p:pic>
        <p:nvPicPr>
          <p:cNvPr id="44" name="object 4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3912996"/>
            <a:ext cx="195072" cy="256031"/>
          </a:xfrm>
          <a:prstGeom prst="rect">
            <a:avLst/>
          </a:prstGeom>
        </p:spPr>
      </p:pic>
      <p:pic>
        <p:nvPicPr>
          <p:cNvPr id="45" name="object 4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3912996"/>
            <a:ext cx="195072" cy="256031"/>
          </a:xfrm>
          <a:prstGeom prst="rect">
            <a:avLst/>
          </a:prstGeom>
        </p:spPr>
      </p:pic>
      <p:pic>
        <p:nvPicPr>
          <p:cNvPr id="46" name="object 4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28192" y="4342765"/>
            <a:ext cx="1145374" cy="170687"/>
          </a:xfrm>
          <a:prstGeom prst="rect">
            <a:avLst/>
          </a:prstGeom>
        </p:spPr>
      </p:pic>
      <p:pic>
        <p:nvPicPr>
          <p:cNvPr id="47" name="object 4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21909" y="4347336"/>
            <a:ext cx="195072" cy="256031"/>
          </a:xfrm>
          <a:prstGeom prst="rect">
            <a:avLst/>
          </a:prstGeom>
        </p:spPr>
      </p:pic>
      <p:pic>
        <p:nvPicPr>
          <p:cNvPr id="48" name="object 4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4347336"/>
            <a:ext cx="195072" cy="256031"/>
          </a:xfrm>
          <a:prstGeom prst="rect">
            <a:avLst/>
          </a:prstGeom>
        </p:spPr>
      </p:pic>
      <p:pic>
        <p:nvPicPr>
          <p:cNvPr id="49" name="object 4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365615" y="4347336"/>
            <a:ext cx="195072" cy="256031"/>
          </a:xfrm>
          <a:prstGeom prst="rect">
            <a:avLst/>
          </a:prstGeom>
        </p:spPr>
      </p:pic>
      <p:grpSp>
        <p:nvGrpSpPr>
          <p:cNvPr id="50" name="object 50"/>
          <p:cNvGrpSpPr/>
          <p:nvPr/>
        </p:nvGrpSpPr>
        <p:grpSpPr>
          <a:xfrm>
            <a:off x="628192" y="4713732"/>
            <a:ext cx="1511300" cy="353695"/>
            <a:chOff x="628192" y="4713732"/>
            <a:chExt cx="1511300" cy="353695"/>
          </a:xfrm>
        </p:grpSpPr>
        <p:pic>
          <p:nvPicPr>
            <p:cNvPr id="51" name="object 5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28192" y="4713732"/>
              <a:ext cx="1424305" cy="170687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28192" y="4896612"/>
              <a:ext cx="1510791" cy="170687"/>
            </a:xfrm>
            <a:prstGeom prst="rect">
              <a:avLst/>
            </a:prstGeom>
          </p:spPr>
        </p:pic>
      </p:grpSp>
      <p:pic>
        <p:nvPicPr>
          <p:cNvPr id="53" name="object 5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4718303"/>
            <a:ext cx="195071" cy="256031"/>
          </a:xfrm>
          <a:prstGeom prst="rect">
            <a:avLst/>
          </a:prstGeom>
        </p:spPr>
      </p:pic>
      <p:pic>
        <p:nvPicPr>
          <p:cNvPr id="54" name="object 5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414392" y="4718303"/>
            <a:ext cx="195072" cy="256031"/>
          </a:xfrm>
          <a:prstGeom prst="rect">
            <a:avLst/>
          </a:prstGeom>
        </p:spPr>
      </p:pic>
      <p:pic>
        <p:nvPicPr>
          <p:cNvPr id="55" name="object 5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29046" y="4718303"/>
            <a:ext cx="195072" cy="256031"/>
          </a:xfrm>
          <a:prstGeom prst="rect">
            <a:avLst/>
          </a:prstGeom>
        </p:spPr>
      </p:pic>
      <p:pic>
        <p:nvPicPr>
          <p:cNvPr id="56" name="object 5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4718303"/>
            <a:ext cx="195072" cy="256031"/>
          </a:xfrm>
          <a:prstGeom prst="rect">
            <a:avLst/>
          </a:prstGeom>
        </p:spPr>
      </p:pic>
      <p:pic>
        <p:nvPicPr>
          <p:cNvPr id="57" name="object 5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4718303"/>
            <a:ext cx="195072" cy="256031"/>
          </a:xfrm>
          <a:prstGeom prst="rect">
            <a:avLst/>
          </a:prstGeom>
        </p:spPr>
      </p:pic>
      <p:pic>
        <p:nvPicPr>
          <p:cNvPr id="58" name="object 5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073005" y="4718303"/>
            <a:ext cx="195072" cy="256031"/>
          </a:xfrm>
          <a:prstGeom prst="rect">
            <a:avLst/>
          </a:prstGeom>
        </p:spPr>
      </p:pic>
      <p:pic>
        <p:nvPicPr>
          <p:cNvPr id="59" name="object 59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628192" y="5170932"/>
            <a:ext cx="1285621" cy="170687"/>
          </a:xfrm>
          <a:prstGeom prst="rect">
            <a:avLst/>
          </a:prstGeom>
        </p:spPr>
      </p:pic>
      <p:pic>
        <p:nvPicPr>
          <p:cNvPr id="60" name="object 6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5175199"/>
            <a:ext cx="195071" cy="256336"/>
          </a:xfrm>
          <a:prstGeom prst="rect">
            <a:avLst/>
          </a:prstGeom>
        </p:spPr>
      </p:pic>
      <p:pic>
        <p:nvPicPr>
          <p:cNvPr id="61" name="object 6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740150" y="5175199"/>
            <a:ext cx="195072" cy="256336"/>
          </a:xfrm>
          <a:prstGeom prst="rect">
            <a:avLst/>
          </a:prstGeom>
        </p:spPr>
      </p:pic>
      <p:pic>
        <p:nvPicPr>
          <p:cNvPr id="62" name="object 6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414392" y="5175199"/>
            <a:ext cx="195072" cy="256336"/>
          </a:xfrm>
          <a:prstGeom prst="rect">
            <a:avLst/>
          </a:prstGeom>
        </p:spPr>
      </p:pic>
      <p:pic>
        <p:nvPicPr>
          <p:cNvPr id="63" name="object 6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21909" y="5175199"/>
            <a:ext cx="195072" cy="256336"/>
          </a:xfrm>
          <a:prstGeom prst="rect">
            <a:avLst/>
          </a:prstGeom>
        </p:spPr>
      </p:pic>
      <p:pic>
        <p:nvPicPr>
          <p:cNvPr id="64" name="object 6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29046" y="5175199"/>
            <a:ext cx="195072" cy="256336"/>
          </a:xfrm>
          <a:prstGeom prst="rect">
            <a:avLst/>
          </a:prstGeom>
        </p:spPr>
      </p:pic>
      <p:pic>
        <p:nvPicPr>
          <p:cNvPr id="65" name="object 6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536435" y="5175199"/>
            <a:ext cx="195072" cy="256336"/>
          </a:xfrm>
          <a:prstGeom prst="rect">
            <a:avLst/>
          </a:prstGeom>
        </p:spPr>
      </p:pic>
      <p:pic>
        <p:nvPicPr>
          <p:cNvPr id="66" name="object 6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5175199"/>
            <a:ext cx="195072" cy="256336"/>
          </a:xfrm>
          <a:prstGeom prst="rect">
            <a:avLst/>
          </a:prstGeom>
        </p:spPr>
      </p:pic>
      <p:pic>
        <p:nvPicPr>
          <p:cNvPr id="67" name="object 6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950961" y="5175199"/>
            <a:ext cx="195072" cy="256336"/>
          </a:xfrm>
          <a:prstGeom prst="rect">
            <a:avLst/>
          </a:prstGeom>
        </p:spPr>
      </p:pic>
      <p:pic>
        <p:nvPicPr>
          <p:cNvPr id="68" name="object 6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5175199"/>
            <a:ext cx="195072" cy="256336"/>
          </a:xfrm>
          <a:prstGeom prst="rect">
            <a:avLst/>
          </a:prstGeom>
        </p:spPr>
      </p:pic>
      <p:pic>
        <p:nvPicPr>
          <p:cNvPr id="69" name="object 6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365615" y="5175199"/>
            <a:ext cx="195072" cy="256336"/>
          </a:xfrm>
          <a:prstGeom prst="rect">
            <a:avLst/>
          </a:prstGeom>
        </p:spPr>
      </p:pic>
      <p:pic>
        <p:nvPicPr>
          <p:cNvPr id="70" name="object 7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073005" y="5175199"/>
            <a:ext cx="195072" cy="256336"/>
          </a:xfrm>
          <a:prstGeom prst="rect">
            <a:avLst/>
          </a:prstGeom>
        </p:spPr>
      </p:pic>
      <p:pic>
        <p:nvPicPr>
          <p:cNvPr id="71" name="object 7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5175199"/>
            <a:ext cx="195072" cy="256336"/>
          </a:xfrm>
          <a:prstGeom prst="rect">
            <a:avLst/>
          </a:prstGeom>
        </p:spPr>
      </p:pic>
      <p:grpSp>
        <p:nvGrpSpPr>
          <p:cNvPr id="72" name="object 72"/>
          <p:cNvGrpSpPr/>
          <p:nvPr/>
        </p:nvGrpSpPr>
        <p:grpSpPr>
          <a:xfrm>
            <a:off x="628192" y="5541873"/>
            <a:ext cx="1810385" cy="170815"/>
            <a:chOff x="628192" y="5541873"/>
            <a:chExt cx="1810385" cy="170815"/>
          </a:xfrm>
        </p:grpSpPr>
        <p:pic>
          <p:nvPicPr>
            <p:cNvPr id="73" name="object 73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28192" y="5541873"/>
              <a:ext cx="526351" cy="170687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96060" y="5541873"/>
              <a:ext cx="1342263" cy="170687"/>
            </a:xfrm>
            <a:prstGeom prst="rect">
              <a:avLst/>
            </a:prstGeom>
          </p:spPr>
        </p:pic>
      </p:grpSp>
      <p:pic>
        <p:nvPicPr>
          <p:cNvPr id="75" name="object 7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5546445"/>
            <a:ext cx="195071" cy="256031"/>
          </a:xfrm>
          <a:prstGeom prst="rect">
            <a:avLst/>
          </a:prstGeom>
        </p:spPr>
      </p:pic>
      <p:pic>
        <p:nvPicPr>
          <p:cNvPr id="76" name="object 7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740150" y="5546445"/>
            <a:ext cx="195072" cy="256031"/>
          </a:xfrm>
          <a:prstGeom prst="rect">
            <a:avLst/>
          </a:prstGeom>
        </p:spPr>
      </p:pic>
      <p:pic>
        <p:nvPicPr>
          <p:cNvPr id="77" name="object 7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414392" y="5546445"/>
            <a:ext cx="195072" cy="256031"/>
          </a:xfrm>
          <a:prstGeom prst="rect">
            <a:avLst/>
          </a:prstGeom>
        </p:spPr>
      </p:pic>
      <p:pic>
        <p:nvPicPr>
          <p:cNvPr id="78" name="object 7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21909" y="5546445"/>
            <a:ext cx="195072" cy="256031"/>
          </a:xfrm>
          <a:prstGeom prst="rect">
            <a:avLst/>
          </a:prstGeom>
        </p:spPr>
      </p:pic>
      <p:pic>
        <p:nvPicPr>
          <p:cNvPr id="79" name="object 7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29046" y="5546445"/>
            <a:ext cx="195072" cy="256031"/>
          </a:xfrm>
          <a:prstGeom prst="rect">
            <a:avLst/>
          </a:prstGeom>
        </p:spPr>
      </p:pic>
      <p:pic>
        <p:nvPicPr>
          <p:cNvPr id="80" name="object 8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536435" y="5546445"/>
            <a:ext cx="195072" cy="256031"/>
          </a:xfrm>
          <a:prstGeom prst="rect">
            <a:avLst/>
          </a:prstGeom>
        </p:spPr>
      </p:pic>
      <p:pic>
        <p:nvPicPr>
          <p:cNvPr id="81" name="object 8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43571" y="5546445"/>
            <a:ext cx="195072" cy="256031"/>
          </a:xfrm>
          <a:prstGeom prst="rect">
            <a:avLst/>
          </a:prstGeom>
        </p:spPr>
      </p:pic>
      <p:pic>
        <p:nvPicPr>
          <p:cNvPr id="82" name="object 8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950961" y="5546445"/>
            <a:ext cx="195072" cy="256031"/>
          </a:xfrm>
          <a:prstGeom prst="rect">
            <a:avLst/>
          </a:prstGeom>
        </p:spPr>
      </p:pic>
      <p:pic>
        <p:nvPicPr>
          <p:cNvPr id="83" name="object 8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5546445"/>
            <a:ext cx="195072" cy="256031"/>
          </a:xfrm>
          <a:prstGeom prst="rect">
            <a:avLst/>
          </a:prstGeom>
        </p:spPr>
      </p:pic>
      <p:pic>
        <p:nvPicPr>
          <p:cNvPr id="84" name="object 8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365615" y="5546445"/>
            <a:ext cx="195072" cy="256031"/>
          </a:xfrm>
          <a:prstGeom prst="rect">
            <a:avLst/>
          </a:prstGeom>
        </p:spPr>
      </p:pic>
      <p:pic>
        <p:nvPicPr>
          <p:cNvPr id="85" name="object 8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073005" y="5546445"/>
            <a:ext cx="195072" cy="256031"/>
          </a:xfrm>
          <a:prstGeom prst="rect">
            <a:avLst/>
          </a:prstGeom>
        </p:spPr>
      </p:pic>
      <p:pic>
        <p:nvPicPr>
          <p:cNvPr id="86" name="object 8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5546445"/>
            <a:ext cx="195072" cy="256031"/>
          </a:xfrm>
          <a:prstGeom prst="rect">
            <a:avLst/>
          </a:prstGeom>
        </p:spPr>
      </p:pic>
      <p:grpSp>
        <p:nvGrpSpPr>
          <p:cNvPr id="87" name="object 87"/>
          <p:cNvGrpSpPr/>
          <p:nvPr/>
        </p:nvGrpSpPr>
        <p:grpSpPr>
          <a:xfrm>
            <a:off x="628192" y="5912815"/>
            <a:ext cx="2039620" cy="170815"/>
            <a:chOff x="628192" y="5912815"/>
            <a:chExt cx="2039620" cy="170815"/>
          </a:xfrm>
        </p:grpSpPr>
        <p:pic>
          <p:nvPicPr>
            <p:cNvPr id="88" name="object 88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28192" y="5912815"/>
              <a:ext cx="314325" cy="170688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79652" y="5912815"/>
              <a:ext cx="821296" cy="170688"/>
            </a:xfrm>
            <a:prstGeom prst="rect">
              <a:avLst/>
            </a:prstGeom>
          </p:spPr>
        </p:pic>
        <p:pic>
          <p:nvPicPr>
            <p:cNvPr id="90" name="object 90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661414" y="5912815"/>
              <a:ext cx="1006157" cy="170688"/>
            </a:xfrm>
            <a:prstGeom prst="rect">
              <a:avLst/>
            </a:prstGeom>
          </p:spPr>
        </p:pic>
      </p:grpSp>
      <p:pic>
        <p:nvPicPr>
          <p:cNvPr id="91" name="object 9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95879" y="5917387"/>
            <a:ext cx="195071" cy="256032"/>
          </a:xfrm>
          <a:prstGeom prst="rect">
            <a:avLst/>
          </a:prstGeom>
        </p:spPr>
      </p:pic>
      <p:pic>
        <p:nvPicPr>
          <p:cNvPr id="92" name="object 9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414392" y="5917387"/>
            <a:ext cx="195072" cy="256032"/>
          </a:xfrm>
          <a:prstGeom prst="rect">
            <a:avLst/>
          </a:prstGeom>
        </p:spPr>
      </p:pic>
      <p:pic>
        <p:nvPicPr>
          <p:cNvPr id="93" name="object 9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536435" y="5917387"/>
            <a:ext cx="195072" cy="256032"/>
          </a:xfrm>
          <a:prstGeom prst="rect">
            <a:avLst/>
          </a:prstGeom>
        </p:spPr>
      </p:pic>
      <p:pic>
        <p:nvPicPr>
          <p:cNvPr id="94" name="object 9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658097" y="5917387"/>
            <a:ext cx="195072" cy="256032"/>
          </a:xfrm>
          <a:prstGeom prst="rect">
            <a:avLst/>
          </a:prstGeom>
        </p:spPr>
      </p:pic>
      <p:pic>
        <p:nvPicPr>
          <p:cNvPr id="95" name="object 9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80141" y="5917387"/>
            <a:ext cx="195072" cy="256032"/>
          </a:xfrm>
          <a:prstGeom prst="rect">
            <a:avLst/>
          </a:prstGeom>
        </p:spPr>
      </p:pic>
      <p:grpSp>
        <p:nvGrpSpPr>
          <p:cNvPr id="124" name="object 124"/>
          <p:cNvGrpSpPr/>
          <p:nvPr/>
        </p:nvGrpSpPr>
        <p:grpSpPr>
          <a:xfrm>
            <a:off x="11016995" y="298704"/>
            <a:ext cx="829310" cy="271780"/>
            <a:chOff x="11016995" y="298704"/>
            <a:chExt cx="829310" cy="271780"/>
          </a:xfrm>
        </p:grpSpPr>
        <p:sp>
          <p:nvSpPr>
            <p:cNvPr id="125" name="object 125"/>
            <p:cNvSpPr/>
            <p:nvPr/>
          </p:nvSpPr>
          <p:spPr>
            <a:xfrm>
              <a:off x="11016995" y="300228"/>
              <a:ext cx="829310" cy="269875"/>
            </a:xfrm>
            <a:custGeom>
              <a:avLst/>
              <a:gdLst/>
              <a:ahLst/>
              <a:cxnLst/>
              <a:rect l="l" t="t" r="r" b="b"/>
              <a:pathLst>
                <a:path w="829309" h="269875">
                  <a:moveTo>
                    <a:pt x="63246" y="73279"/>
                  </a:moveTo>
                  <a:lnTo>
                    <a:pt x="44255" y="78091"/>
                  </a:lnTo>
                  <a:lnTo>
                    <a:pt x="23526" y="90439"/>
                  </a:lnTo>
                  <a:lnTo>
                    <a:pt x="6846" y="107193"/>
                  </a:lnTo>
                  <a:lnTo>
                    <a:pt x="0" y="125222"/>
                  </a:lnTo>
                  <a:lnTo>
                    <a:pt x="0" y="262889"/>
                  </a:lnTo>
                  <a:lnTo>
                    <a:pt x="3301" y="266319"/>
                  </a:lnTo>
                  <a:lnTo>
                    <a:pt x="32893" y="266319"/>
                  </a:lnTo>
                  <a:lnTo>
                    <a:pt x="36322" y="262889"/>
                  </a:lnTo>
                  <a:lnTo>
                    <a:pt x="36322" y="131318"/>
                  </a:lnTo>
                  <a:lnTo>
                    <a:pt x="39379" y="122846"/>
                  </a:lnTo>
                  <a:lnTo>
                    <a:pt x="46783" y="114982"/>
                  </a:lnTo>
                  <a:lnTo>
                    <a:pt x="55906" y="109182"/>
                  </a:lnTo>
                  <a:lnTo>
                    <a:pt x="64007" y="106934"/>
                  </a:lnTo>
                  <a:lnTo>
                    <a:pt x="212224" y="106934"/>
                  </a:lnTo>
                  <a:lnTo>
                    <a:pt x="204763" y="99441"/>
                  </a:lnTo>
                  <a:lnTo>
                    <a:pt x="109854" y="99441"/>
                  </a:lnTo>
                  <a:lnTo>
                    <a:pt x="100036" y="90048"/>
                  </a:lnTo>
                  <a:lnTo>
                    <a:pt x="88074" y="81645"/>
                  </a:lnTo>
                  <a:lnTo>
                    <a:pt x="75350" y="75598"/>
                  </a:lnTo>
                  <a:lnTo>
                    <a:pt x="63246" y="73279"/>
                  </a:lnTo>
                  <a:close/>
                </a:path>
                <a:path w="829309" h="269875">
                  <a:moveTo>
                    <a:pt x="155321" y="106934"/>
                  </a:moveTo>
                  <a:lnTo>
                    <a:pt x="64007" y="106934"/>
                  </a:lnTo>
                  <a:lnTo>
                    <a:pt x="71850" y="109243"/>
                  </a:lnTo>
                  <a:lnTo>
                    <a:pt x="80930" y="115125"/>
                  </a:lnTo>
                  <a:lnTo>
                    <a:pt x="88439" y="123007"/>
                  </a:lnTo>
                  <a:lnTo>
                    <a:pt x="91567" y="131318"/>
                  </a:lnTo>
                  <a:lnTo>
                    <a:pt x="91567" y="262889"/>
                  </a:lnTo>
                  <a:lnTo>
                    <a:pt x="94742" y="266319"/>
                  </a:lnTo>
                  <a:lnTo>
                    <a:pt x="124205" y="266319"/>
                  </a:lnTo>
                  <a:lnTo>
                    <a:pt x="128015" y="262889"/>
                  </a:lnTo>
                  <a:lnTo>
                    <a:pt x="128015" y="130810"/>
                  </a:lnTo>
                  <a:lnTo>
                    <a:pt x="131103" y="122632"/>
                  </a:lnTo>
                  <a:lnTo>
                    <a:pt x="138525" y="114919"/>
                  </a:lnTo>
                  <a:lnTo>
                    <a:pt x="147518" y="109182"/>
                  </a:lnTo>
                  <a:lnTo>
                    <a:pt x="155321" y="106934"/>
                  </a:lnTo>
                  <a:close/>
                </a:path>
                <a:path w="829309" h="269875">
                  <a:moveTo>
                    <a:pt x="212224" y="106934"/>
                  </a:moveTo>
                  <a:lnTo>
                    <a:pt x="155321" y="106934"/>
                  </a:lnTo>
                  <a:lnTo>
                    <a:pt x="163504" y="109182"/>
                  </a:lnTo>
                  <a:lnTo>
                    <a:pt x="172592" y="114919"/>
                  </a:lnTo>
                  <a:lnTo>
                    <a:pt x="179966" y="122632"/>
                  </a:lnTo>
                  <a:lnTo>
                    <a:pt x="183006" y="130810"/>
                  </a:lnTo>
                  <a:lnTo>
                    <a:pt x="183006" y="262889"/>
                  </a:lnTo>
                  <a:lnTo>
                    <a:pt x="186435" y="266319"/>
                  </a:lnTo>
                  <a:lnTo>
                    <a:pt x="216026" y="266319"/>
                  </a:lnTo>
                  <a:lnTo>
                    <a:pt x="219328" y="262889"/>
                  </a:lnTo>
                  <a:lnTo>
                    <a:pt x="219328" y="125222"/>
                  </a:lnTo>
                  <a:lnTo>
                    <a:pt x="212482" y="107193"/>
                  </a:lnTo>
                  <a:lnTo>
                    <a:pt x="212224" y="106934"/>
                  </a:lnTo>
                  <a:close/>
                </a:path>
                <a:path w="829309" h="269875">
                  <a:moveTo>
                    <a:pt x="156082" y="73279"/>
                  </a:moveTo>
                  <a:lnTo>
                    <a:pt x="144520" y="75545"/>
                  </a:lnTo>
                  <a:lnTo>
                    <a:pt x="131873" y="81502"/>
                  </a:lnTo>
                  <a:lnTo>
                    <a:pt x="119774" y="89888"/>
                  </a:lnTo>
                  <a:lnTo>
                    <a:pt x="109854" y="99441"/>
                  </a:lnTo>
                  <a:lnTo>
                    <a:pt x="204763" y="99441"/>
                  </a:lnTo>
                  <a:lnTo>
                    <a:pt x="195802" y="90439"/>
                  </a:lnTo>
                  <a:lnTo>
                    <a:pt x="175073" y="78091"/>
                  </a:lnTo>
                  <a:lnTo>
                    <a:pt x="156082" y="73279"/>
                  </a:lnTo>
                  <a:close/>
                </a:path>
                <a:path w="829309" h="269875">
                  <a:moveTo>
                    <a:pt x="332612" y="73279"/>
                  </a:moveTo>
                  <a:lnTo>
                    <a:pt x="312985" y="78233"/>
                  </a:lnTo>
                  <a:lnTo>
                    <a:pt x="291226" y="91011"/>
                  </a:lnTo>
                  <a:lnTo>
                    <a:pt x="273587" y="108479"/>
                  </a:lnTo>
                  <a:lnTo>
                    <a:pt x="266319" y="127508"/>
                  </a:lnTo>
                  <a:lnTo>
                    <a:pt x="266319" y="215519"/>
                  </a:lnTo>
                  <a:lnTo>
                    <a:pt x="273587" y="234386"/>
                  </a:lnTo>
                  <a:lnTo>
                    <a:pt x="291226" y="251872"/>
                  </a:lnTo>
                  <a:lnTo>
                    <a:pt x="312985" y="264739"/>
                  </a:lnTo>
                  <a:lnTo>
                    <a:pt x="332612" y="269748"/>
                  </a:lnTo>
                  <a:lnTo>
                    <a:pt x="352260" y="264739"/>
                  </a:lnTo>
                  <a:lnTo>
                    <a:pt x="374062" y="251872"/>
                  </a:lnTo>
                  <a:lnTo>
                    <a:pt x="390148" y="235966"/>
                  </a:lnTo>
                  <a:lnTo>
                    <a:pt x="332612" y="235966"/>
                  </a:lnTo>
                  <a:lnTo>
                    <a:pt x="323502" y="233580"/>
                  </a:lnTo>
                  <a:lnTo>
                    <a:pt x="313737" y="227457"/>
                  </a:lnTo>
                  <a:lnTo>
                    <a:pt x="305948" y="219142"/>
                  </a:lnTo>
                  <a:lnTo>
                    <a:pt x="302768" y="210185"/>
                  </a:lnTo>
                  <a:lnTo>
                    <a:pt x="302768" y="132714"/>
                  </a:lnTo>
                  <a:lnTo>
                    <a:pt x="306002" y="123757"/>
                  </a:lnTo>
                  <a:lnTo>
                    <a:pt x="313880" y="115443"/>
                  </a:lnTo>
                  <a:lnTo>
                    <a:pt x="323663" y="109319"/>
                  </a:lnTo>
                  <a:lnTo>
                    <a:pt x="332612" y="106934"/>
                  </a:lnTo>
                  <a:lnTo>
                    <a:pt x="390395" y="106934"/>
                  </a:lnTo>
                  <a:lnTo>
                    <a:pt x="374062" y="90820"/>
                  </a:lnTo>
                  <a:lnTo>
                    <a:pt x="352260" y="78162"/>
                  </a:lnTo>
                  <a:lnTo>
                    <a:pt x="332612" y="73279"/>
                  </a:lnTo>
                  <a:close/>
                </a:path>
                <a:path w="829309" h="269875">
                  <a:moveTo>
                    <a:pt x="390395" y="106934"/>
                  </a:moveTo>
                  <a:lnTo>
                    <a:pt x="332612" y="106934"/>
                  </a:lnTo>
                  <a:lnTo>
                    <a:pt x="341475" y="109319"/>
                  </a:lnTo>
                  <a:lnTo>
                    <a:pt x="351313" y="115443"/>
                  </a:lnTo>
                  <a:lnTo>
                    <a:pt x="359294" y="123757"/>
                  </a:lnTo>
                  <a:lnTo>
                    <a:pt x="362584" y="132714"/>
                  </a:lnTo>
                  <a:lnTo>
                    <a:pt x="362584" y="210185"/>
                  </a:lnTo>
                  <a:lnTo>
                    <a:pt x="359348" y="219142"/>
                  </a:lnTo>
                  <a:lnTo>
                    <a:pt x="351456" y="227457"/>
                  </a:lnTo>
                  <a:lnTo>
                    <a:pt x="341635" y="233580"/>
                  </a:lnTo>
                  <a:lnTo>
                    <a:pt x="332612" y="235966"/>
                  </a:lnTo>
                  <a:lnTo>
                    <a:pt x="390148" y="235966"/>
                  </a:lnTo>
                  <a:lnTo>
                    <a:pt x="391745" y="234386"/>
                  </a:lnTo>
                  <a:lnTo>
                    <a:pt x="399033" y="215519"/>
                  </a:lnTo>
                  <a:lnTo>
                    <a:pt x="399033" y="127508"/>
                  </a:lnTo>
                  <a:lnTo>
                    <a:pt x="391745" y="108265"/>
                  </a:lnTo>
                  <a:lnTo>
                    <a:pt x="390395" y="106934"/>
                  </a:lnTo>
                  <a:close/>
                </a:path>
                <a:path w="829309" h="269875">
                  <a:moveTo>
                    <a:pt x="505840" y="73279"/>
                  </a:moveTo>
                  <a:lnTo>
                    <a:pt x="487872" y="78120"/>
                  </a:lnTo>
                  <a:lnTo>
                    <a:pt x="467534" y="90678"/>
                  </a:lnTo>
                  <a:lnTo>
                    <a:pt x="450887" y="107997"/>
                  </a:lnTo>
                  <a:lnTo>
                    <a:pt x="443992" y="127126"/>
                  </a:lnTo>
                  <a:lnTo>
                    <a:pt x="443992" y="215519"/>
                  </a:lnTo>
                  <a:lnTo>
                    <a:pt x="451227" y="234386"/>
                  </a:lnTo>
                  <a:lnTo>
                    <a:pt x="468820" y="251872"/>
                  </a:lnTo>
                  <a:lnTo>
                    <a:pt x="490628" y="264745"/>
                  </a:lnTo>
                  <a:lnTo>
                    <a:pt x="510412" y="269748"/>
                  </a:lnTo>
                  <a:lnTo>
                    <a:pt x="530312" y="264739"/>
                  </a:lnTo>
                  <a:lnTo>
                    <a:pt x="551894" y="251920"/>
                  </a:lnTo>
                  <a:lnTo>
                    <a:pt x="567808" y="235966"/>
                  </a:lnTo>
                  <a:lnTo>
                    <a:pt x="510412" y="235966"/>
                  </a:lnTo>
                  <a:lnTo>
                    <a:pt x="501282" y="233539"/>
                  </a:lnTo>
                  <a:lnTo>
                    <a:pt x="491474" y="227409"/>
                  </a:lnTo>
                  <a:lnTo>
                    <a:pt x="483641" y="219303"/>
                  </a:lnTo>
                  <a:lnTo>
                    <a:pt x="480440" y="210947"/>
                  </a:lnTo>
                  <a:lnTo>
                    <a:pt x="480440" y="131952"/>
                  </a:lnTo>
                  <a:lnTo>
                    <a:pt x="483671" y="123436"/>
                  </a:lnTo>
                  <a:lnTo>
                    <a:pt x="491521" y="115347"/>
                  </a:lnTo>
                  <a:lnTo>
                    <a:pt x="501229" y="109307"/>
                  </a:lnTo>
                  <a:lnTo>
                    <a:pt x="510031" y="106934"/>
                  </a:lnTo>
                  <a:lnTo>
                    <a:pt x="576326" y="106934"/>
                  </a:lnTo>
                  <a:lnTo>
                    <a:pt x="576326" y="89916"/>
                  </a:lnTo>
                  <a:lnTo>
                    <a:pt x="540003" y="89916"/>
                  </a:lnTo>
                  <a:lnTo>
                    <a:pt x="532844" y="83780"/>
                  </a:lnTo>
                  <a:lnTo>
                    <a:pt x="524065" y="78454"/>
                  </a:lnTo>
                  <a:lnTo>
                    <a:pt x="514715" y="74699"/>
                  </a:lnTo>
                  <a:lnTo>
                    <a:pt x="505840" y="73279"/>
                  </a:lnTo>
                  <a:close/>
                </a:path>
                <a:path w="829309" h="269875">
                  <a:moveTo>
                    <a:pt x="576326" y="106934"/>
                  </a:moveTo>
                  <a:lnTo>
                    <a:pt x="510031" y="106934"/>
                  </a:lnTo>
                  <a:lnTo>
                    <a:pt x="518840" y="109307"/>
                  </a:lnTo>
                  <a:lnTo>
                    <a:pt x="528685" y="115347"/>
                  </a:lnTo>
                  <a:lnTo>
                    <a:pt x="536696" y="123436"/>
                  </a:lnTo>
                  <a:lnTo>
                    <a:pt x="540003" y="131952"/>
                  </a:lnTo>
                  <a:lnTo>
                    <a:pt x="540003" y="210947"/>
                  </a:lnTo>
                  <a:lnTo>
                    <a:pt x="536916" y="219196"/>
                  </a:lnTo>
                  <a:lnTo>
                    <a:pt x="529304" y="227314"/>
                  </a:lnTo>
                  <a:lnTo>
                    <a:pt x="519644" y="233503"/>
                  </a:lnTo>
                  <a:lnTo>
                    <a:pt x="510412" y="235966"/>
                  </a:lnTo>
                  <a:lnTo>
                    <a:pt x="567808" y="235966"/>
                  </a:lnTo>
                  <a:lnTo>
                    <a:pt x="569223" y="234547"/>
                  </a:lnTo>
                  <a:lnTo>
                    <a:pt x="576326" y="215900"/>
                  </a:lnTo>
                  <a:lnTo>
                    <a:pt x="576326" y="106934"/>
                  </a:lnTo>
                  <a:close/>
                </a:path>
                <a:path w="829309" h="269875">
                  <a:moveTo>
                    <a:pt x="572897" y="0"/>
                  </a:moveTo>
                  <a:lnTo>
                    <a:pt x="543813" y="0"/>
                  </a:lnTo>
                  <a:lnTo>
                    <a:pt x="540003" y="3428"/>
                  </a:lnTo>
                  <a:lnTo>
                    <a:pt x="540003" y="89916"/>
                  </a:lnTo>
                  <a:lnTo>
                    <a:pt x="576326" y="89916"/>
                  </a:lnTo>
                  <a:lnTo>
                    <a:pt x="576326" y="3428"/>
                  </a:lnTo>
                  <a:lnTo>
                    <a:pt x="572897" y="0"/>
                  </a:lnTo>
                  <a:close/>
                </a:path>
                <a:path w="829309" h="269875">
                  <a:moveTo>
                    <a:pt x="660400" y="76581"/>
                  </a:moveTo>
                  <a:lnTo>
                    <a:pt x="630935" y="76581"/>
                  </a:lnTo>
                  <a:lnTo>
                    <a:pt x="627506" y="80010"/>
                  </a:lnTo>
                  <a:lnTo>
                    <a:pt x="627506" y="262889"/>
                  </a:lnTo>
                  <a:lnTo>
                    <a:pt x="630935" y="266319"/>
                  </a:lnTo>
                  <a:lnTo>
                    <a:pt x="660400" y="266319"/>
                  </a:lnTo>
                  <a:lnTo>
                    <a:pt x="663828" y="262889"/>
                  </a:lnTo>
                  <a:lnTo>
                    <a:pt x="663828" y="80010"/>
                  </a:lnTo>
                  <a:lnTo>
                    <a:pt x="660400" y="76581"/>
                  </a:lnTo>
                  <a:close/>
                </a:path>
                <a:path w="829309" h="269875">
                  <a:moveTo>
                    <a:pt x="723010" y="219329"/>
                  </a:moveTo>
                  <a:lnTo>
                    <a:pt x="716914" y="220725"/>
                  </a:lnTo>
                  <a:lnTo>
                    <a:pt x="714628" y="226441"/>
                  </a:lnTo>
                  <a:lnTo>
                    <a:pt x="709295" y="238633"/>
                  </a:lnTo>
                  <a:lnTo>
                    <a:pt x="707008" y="244348"/>
                  </a:lnTo>
                  <a:lnTo>
                    <a:pt x="709295" y="249555"/>
                  </a:lnTo>
                  <a:lnTo>
                    <a:pt x="715009" y="252602"/>
                  </a:lnTo>
                  <a:lnTo>
                    <a:pt x="726834" y="258175"/>
                  </a:lnTo>
                  <a:lnTo>
                    <a:pt x="740362" y="263747"/>
                  </a:lnTo>
                  <a:lnTo>
                    <a:pt x="754104" y="268033"/>
                  </a:lnTo>
                  <a:lnTo>
                    <a:pt x="766572" y="269748"/>
                  </a:lnTo>
                  <a:lnTo>
                    <a:pt x="786407" y="264874"/>
                  </a:lnTo>
                  <a:lnTo>
                    <a:pt x="806767" y="252666"/>
                  </a:lnTo>
                  <a:lnTo>
                    <a:pt x="822650" y="236743"/>
                  </a:lnTo>
                  <a:lnTo>
                    <a:pt x="822961" y="235966"/>
                  </a:lnTo>
                  <a:lnTo>
                    <a:pt x="766572" y="235966"/>
                  </a:lnTo>
                  <a:lnTo>
                    <a:pt x="758495" y="234513"/>
                  </a:lnTo>
                  <a:lnTo>
                    <a:pt x="748442" y="230917"/>
                  </a:lnTo>
                  <a:lnTo>
                    <a:pt x="737961" y="226321"/>
                  </a:lnTo>
                  <a:lnTo>
                    <a:pt x="728599" y="221869"/>
                  </a:lnTo>
                  <a:lnTo>
                    <a:pt x="723010" y="219329"/>
                  </a:lnTo>
                  <a:close/>
                </a:path>
                <a:path w="829309" h="269875">
                  <a:moveTo>
                    <a:pt x="770001" y="73279"/>
                  </a:moveTo>
                  <a:lnTo>
                    <a:pt x="752094" y="78061"/>
                  </a:lnTo>
                  <a:lnTo>
                    <a:pt x="731520" y="90201"/>
                  </a:lnTo>
                  <a:lnTo>
                    <a:pt x="714565" y="106390"/>
                  </a:lnTo>
                  <a:lnTo>
                    <a:pt x="707517" y="123317"/>
                  </a:lnTo>
                  <a:lnTo>
                    <a:pt x="707517" y="140335"/>
                  </a:lnTo>
                  <a:lnTo>
                    <a:pt x="736600" y="174879"/>
                  </a:lnTo>
                  <a:lnTo>
                    <a:pt x="785113" y="193801"/>
                  </a:lnTo>
                  <a:lnTo>
                    <a:pt x="793876" y="197993"/>
                  </a:lnTo>
                  <a:lnTo>
                    <a:pt x="793876" y="215519"/>
                  </a:lnTo>
                  <a:lnTo>
                    <a:pt x="790825" y="222196"/>
                  </a:lnTo>
                  <a:lnTo>
                    <a:pt x="783463" y="228838"/>
                  </a:lnTo>
                  <a:lnTo>
                    <a:pt x="774481" y="233932"/>
                  </a:lnTo>
                  <a:lnTo>
                    <a:pt x="766572" y="235966"/>
                  </a:lnTo>
                  <a:lnTo>
                    <a:pt x="822961" y="235966"/>
                  </a:lnTo>
                  <a:lnTo>
                    <a:pt x="829055" y="220725"/>
                  </a:lnTo>
                  <a:lnTo>
                    <a:pt x="829055" y="201422"/>
                  </a:lnTo>
                  <a:lnTo>
                    <a:pt x="800353" y="165354"/>
                  </a:lnTo>
                  <a:lnTo>
                    <a:pt x="750315" y="146431"/>
                  </a:lnTo>
                  <a:lnTo>
                    <a:pt x="743076" y="142621"/>
                  </a:lnTo>
                  <a:lnTo>
                    <a:pt x="743076" y="128650"/>
                  </a:lnTo>
                  <a:lnTo>
                    <a:pt x="746212" y="121400"/>
                  </a:lnTo>
                  <a:lnTo>
                    <a:pt x="753681" y="114363"/>
                  </a:lnTo>
                  <a:lnTo>
                    <a:pt x="762579" y="109041"/>
                  </a:lnTo>
                  <a:lnTo>
                    <a:pt x="770001" y="106934"/>
                  </a:lnTo>
                  <a:lnTo>
                    <a:pt x="823113" y="106934"/>
                  </a:lnTo>
                  <a:lnTo>
                    <a:pt x="824864" y="101981"/>
                  </a:lnTo>
                  <a:lnTo>
                    <a:pt x="826770" y="97155"/>
                  </a:lnTo>
                  <a:lnTo>
                    <a:pt x="824864" y="91821"/>
                  </a:lnTo>
                  <a:lnTo>
                    <a:pt x="820801" y="89535"/>
                  </a:lnTo>
                  <a:lnTo>
                    <a:pt x="808398" y="83780"/>
                  </a:lnTo>
                  <a:lnTo>
                    <a:pt x="794924" y="78549"/>
                  </a:lnTo>
                  <a:lnTo>
                    <a:pt x="781688" y="74747"/>
                  </a:lnTo>
                  <a:lnTo>
                    <a:pt x="770001" y="73279"/>
                  </a:lnTo>
                  <a:close/>
                </a:path>
                <a:path w="829309" h="269875">
                  <a:moveTo>
                    <a:pt x="823113" y="106934"/>
                  </a:moveTo>
                  <a:lnTo>
                    <a:pt x="770001" y="106934"/>
                  </a:lnTo>
                  <a:lnTo>
                    <a:pt x="777890" y="108196"/>
                  </a:lnTo>
                  <a:lnTo>
                    <a:pt x="787590" y="111315"/>
                  </a:lnTo>
                  <a:lnTo>
                    <a:pt x="797575" y="115292"/>
                  </a:lnTo>
                  <a:lnTo>
                    <a:pt x="806323" y="119125"/>
                  </a:lnTo>
                  <a:lnTo>
                    <a:pt x="811656" y="121031"/>
                  </a:lnTo>
                  <a:lnTo>
                    <a:pt x="818387" y="119507"/>
                  </a:lnTo>
                  <a:lnTo>
                    <a:pt x="820487" y="114363"/>
                  </a:lnTo>
                  <a:lnTo>
                    <a:pt x="823113" y="10693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11638787" y="298704"/>
              <a:ext cx="47625" cy="45720"/>
            </a:xfrm>
            <a:custGeom>
              <a:avLst/>
              <a:gdLst/>
              <a:ahLst/>
              <a:cxnLst/>
              <a:rect l="l" t="t" r="r" b="b"/>
              <a:pathLst>
                <a:path w="47625" h="45720">
                  <a:moveTo>
                    <a:pt x="23621" y="0"/>
                  </a:moveTo>
                  <a:lnTo>
                    <a:pt x="14412" y="1803"/>
                  </a:lnTo>
                  <a:lnTo>
                    <a:pt x="6905" y="6715"/>
                  </a:lnTo>
                  <a:lnTo>
                    <a:pt x="1851" y="13983"/>
                  </a:lnTo>
                  <a:lnTo>
                    <a:pt x="0" y="22860"/>
                  </a:lnTo>
                  <a:lnTo>
                    <a:pt x="1851" y="31736"/>
                  </a:lnTo>
                  <a:lnTo>
                    <a:pt x="6905" y="39004"/>
                  </a:lnTo>
                  <a:lnTo>
                    <a:pt x="14412" y="43916"/>
                  </a:lnTo>
                  <a:lnTo>
                    <a:pt x="23621" y="45720"/>
                  </a:lnTo>
                  <a:lnTo>
                    <a:pt x="32831" y="43916"/>
                  </a:lnTo>
                  <a:lnTo>
                    <a:pt x="40338" y="39004"/>
                  </a:lnTo>
                  <a:lnTo>
                    <a:pt x="45392" y="31736"/>
                  </a:lnTo>
                  <a:lnTo>
                    <a:pt x="47243" y="22860"/>
                  </a:lnTo>
                  <a:lnTo>
                    <a:pt x="45392" y="13983"/>
                  </a:lnTo>
                  <a:lnTo>
                    <a:pt x="40338" y="6715"/>
                  </a:lnTo>
                  <a:lnTo>
                    <a:pt x="32831" y="1803"/>
                  </a:lnTo>
                  <a:lnTo>
                    <a:pt x="23621" y="0"/>
                  </a:lnTo>
                  <a:close/>
                </a:path>
              </a:pathLst>
            </a:custGeom>
            <a:solidFill>
              <a:srgbClr val="FFB8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28" name="Table 128">
            <a:extLst>
              <a:ext uri="{FF2B5EF4-FFF2-40B4-BE49-F238E27FC236}">
                <a16:creationId xmlns:a16="http://schemas.microsoft.com/office/drawing/2014/main" id="{73C9E4A6-ED94-49CE-8D54-8C9C37BFEE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372184"/>
              </p:ext>
            </p:extLst>
          </p:nvPr>
        </p:nvGraphicFramePr>
        <p:xfrm>
          <a:off x="1090164" y="1516381"/>
          <a:ext cx="9245600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45600">
                  <a:extLst>
                    <a:ext uri="{9D8B030D-6E8A-4147-A177-3AD203B41FA5}">
                      <a16:colId xmlns:a16="http://schemas.microsoft.com/office/drawing/2014/main" val="31947149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bg-BG" sz="2000" dirty="0"/>
                        <a:t>ТЕМИ</a:t>
                      </a: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047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Запознаване и въведение: Моето бъдещо работно място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104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Да работим глобално - различни видове бизнес модели и аутсорсинг центрове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259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bg-BG" dirty="0"/>
                        <a:t>Изкуството на „добрата комуникация”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3530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абота с чужд език и меки умения; Разликата между меки и твърди умения;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9227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труктура на успешния телефонен разговор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6073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Организация и работа в Модис България - гост лектори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4516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Междукултурна комуникация в интернационална бизнес среда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037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bg-BG" dirty="0"/>
                        <a:t>Немски в бизнес среда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261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Основи на успешната е-мейл кореспонденция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1905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абота с рекламации и трудни клиенти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314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Лични истории за успехи и възможности за кариерно развитие от първо лице – гост лектори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146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Финален проект и обратна връзка</a:t>
                      </a:r>
                      <a:endParaRPr lang="bg-BG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076459"/>
                  </a:ext>
                </a:extLst>
              </a:tr>
            </a:tbl>
          </a:graphicData>
        </a:graphic>
      </p:graphicFrame>
      <p:sp>
        <p:nvSpPr>
          <p:cNvPr id="129" name="TextBox 128">
            <a:extLst>
              <a:ext uri="{FF2B5EF4-FFF2-40B4-BE49-F238E27FC236}">
                <a16:creationId xmlns:a16="http://schemas.microsoft.com/office/drawing/2014/main" id="{7094B6C1-C9F9-4EA1-99C5-75288CD3AD88}"/>
              </a:ext>
            </a:extLst>
          </p:cNvPr>
          <p:cNvSpPr txBox="1"/>
          <p:nvPr/>
        </p:nvSpPr>
        <p:spPr>
          <a:xfrm>
            <a:off x="340868" y="443737"/>
            <a:ext cx="10668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емски</a:t>
            </a:r>
            <a:r>
              <a:rPr lang="en-US" sz="2400" b="1" dirty="0">
                <a:solidFill>
                  <a:schemeClr val="bg1"/>
                </a:solidFill>
              </a:rPr>
              <a:t> с Modis - „</a:t>
            </a:r>
            <a:r>
              <a:rPr lang="en-US" sz="2400" b="1" dirty="0" err="1">
                <a:solidFill>
                  <a:schemeClr val="bg1"/>
                </a:solidFill>
              </a:rPr>
              <a:t>Основи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на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комуникацията</a:t>
            </a:r>
            <a:r>
              <a:rPr lang="en-US" sz="2400" b="1" dirty="0">
                <a:solidFill>
                  <a:schemeClr val="bg1"/>
                </a:solidFill>
              </a:rPr>
              <a:t> в </a:t>
            </a:r>
            <a:r>
              <a:rPr lang="en-US" sz="2400" b="1" dirty="0" err="1">
                <a:solidFill>
                  <a:schemeClr val="bg1"/>
                </a:solidFill>
              </a:rPr>
              <a:t>бизнес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en-US" sz="2400" b="1" dirty="0" err="1">
                <a:solidFill>
                  <a:schemeClr val="bg1"/>
                </a:solidFill>
              </a:rPr>
              <a:t>среда</a:t>
            </a:r>
            <a:r>
              <a:rPr lang="en-US" sz="2400" b="1" dirty="0">
                <a:solidFill>
                  <a:schemeClr val="bg1"/>
                </a:solidFill>
              </a:rPr>
              <a:t>“ </a:t>
            </a:r>
            <a:endParaRPr lang="bg-BG" sz="2400" b="1" dirty="0">
              <a:solidFill>
                <a:schemeClr val="bg1"/>
              </a:solidFill>
            </a:endParaRPr>
          </a:p>
          <a:p>
            <a:r>
              <a:rPr lang="bg-BG" sz="2000" b="1" dirty="0">
                <a:solidFill>
                  <a:srgbClr val="FFB81C"/>
                </a:solidFill>
              </a:rPr>
              <a:t>Учебен план</a:t>
            </a:r>
            <a:endParaRPr lang="bg-BG" sz="2000" dirty="0">
              <a:solidFill>
                <a:srgbClr val="FFB81C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95500" y="2583897"/>
            <a:ext cx="8001000" cy="845103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bg-BG" sz="5400" dirty="0">
                <a:solidFill>
                  <a:srgbClr val="FFC000"/>
                </a:solidFill>
              </a:rPr>
              <a:t>Благодаря за вниманието!</a:t>
            </a:r>
            <a:endParaRPr sz="5400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755EBA4D-C3EB-4DC8-A69D-AE6AE6622321}"/>
              </a:ext>
            </a:extLst>
          </p:cNvPr>
          <p:cNvSpPr txBox="1">
            <a:spLocks/>
          </p:cNvSpPr>
          <p:nvPr/>
        </p:nvSpPr>
        <p:spPr>
          <a:xfrm>
            <a:off x="4038600" y="4953000"/>
            <a:ext cx="7810500" cy="3279103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sz="2750" b="0" i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algn="r">
              <a:spcBef>
                <a:spcPts val="110"/>
              </a:spcBef>
            </a:pPr>
            <a:r>
              <a:rPr lang="bg-BG" sz="2500" kern="0" dirty="0"/>
              <a:t>За контакт:</a:t>
            </a:r>
          </a:p>
          <a:p>
            <a:pPr marL="12700" algn="r">
              <a:spcBef>
                <a:spcPts val="110"/>
              </a:spcBef>
            </a:pPr>
            <a:r>
              <a:rPr lang="bg-BG" sz="2500" kern="0" dirty="0"/>
              <a:t>Йоана Атанасова</a:t>
            </a:r>
            <a:endParaRPr lang="en-US" sz="2500" kern="0" dirty="0"/>
          </a:p>
          <a:p>
            <a:pPr marL="12700" algn="r">
              <a:spcBef>
                <a:spcPts val="110"/>
              </a:spcBef>
            </a:pPr>
            <a:r>
              <a:rPr lang="en-US" sz="2500" kern="0" dirty="0"/>
              <a:t>E: joana.atanasova@modis.com</a:t>
            </a:r>
          </a:p>
          <a:p>
            <a:pPr marL="12700" algn="r">
              <a:spcBef>
                <a:spcPts val="110"/>
              </a:spcBef>
            </a:pPr>
            <a:r>
              <a:rPr lang="en-US" sz="2500" kern="0" dirty="0"/>
              <a:t>M: +359 884 190 650</a:t>
            </a:r>
          </a:p>
          <a:p>
            <a:pPr marL="12700" algn="r">
              <a:spcBef>
                <a:spcPts val="110"/>
              </a:spcBef>
            </a:pPr>
            <a:endParaRPr lang="en-US" sz="5400" kern="0" dirty="0">
              <a:solidFill>
                <a:srgbClr val="FFC000"/>
              </a:solidFill>
            </a:endParaRPr>
          </a:p>
          <a:p>
            <a:pPr marL="12700" algn="r">
              <a:spcBef>
                <a:spcPts val="110"/>
              </a:spcBef>
            </a:pPr>
            <a:endParaRPr lang="bg-BG" sz="5400" kern="0" dirty="0">
              <a:solidFill>
                <a:srgbClr val="FFC00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B81C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 Slide Master">
  <a:themeElements>
    <a:clrScheme name="ALLPPT-COLOR-A5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AB117"/>
      </a:accent1>
      <a:accent2>
        <a:srgbClr val="FAB117"/>
      </a:accent2>
      <a:accent3>
        <a:srgbClr val="FAB117"/>
      </a:accent3>
      <a:accent4>
        <a:srgbClr val="FAB117"/>
      </a:accent4>
      <a:accent5>
        <a:srgbClr val="404040"/>
      </a:accent5>
      <a:accent6>
        <a:srgbClr val="7F7F7F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enutzerdefiniertes Design">
  <a:themeElements>
    <a:clrScheme name="MODIS neu">
      <a:dk1>
        <a:srgbClr val="FFB81C"/>
      </a:dk1>
      <a:lt1>
        <a:srgbClr val="595959"/>
      </a:lt1>
      <a:dk2>
        <a:srgbClr val="000000"/>
      </a:dk2>
      <a:lt2>
        <a:srgbClr val="FFFFFF"/>
      </a:lt2>
      <a:accent1>
        <a:srgbClr val="2AD2C9"/>
      </a:accent1>
      <a:accent2>
        <a:srgbClr val="3B85A6"/>
      </a:accent2>
      <a:accent3>
        <a:srgbClr val="2CC84D"/>
      </a:accent3>
      <a:accent4>
        <a:srgbClr val="FFFFFF"/>
      </a:accent4>
      <a:accent5>
        <a:srgbClr val="00594F"/>
      </a:accent5>
      <a:accent6>
        <a:srgbClr val="833077"/>
      </a:accent6>
      <a:hlink>
        <a:srgbClr val="1E22AA"/>
      </a:hlink>
      <a:folHlink>
        <a:srgbClr val="BA0C2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100" b="0" i="0" dirty="0" err="1">
            <a:solidFill>
              <a:schemeClr val="bg2"/>
            </a:solidFill>
            <a:latin typeface="Roboto" panose="02000000000000000000" pitchFamily="2" charset="0"/>
            <a:ea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5</TotalTime>
  <Words>398</Words>
  <Application>Microsoft Office PowerPoint</Application>
  <PresentationFormat>Widescreen</PresentationFormat>
  <Paragraphs>3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3" baseType="lpstr">
      <vt:lpstr>Arial</vt:lpstr>
      <vt:lpstr>Calibri</vt:lpstr>
      <vt:lpstr>Calibri Light</vt:lpstr>
      <vt:lpstr>Gill Sans</vt:lpstr>
      <vt:lpstr>Lato</vt:lpstr>
      <vt:lpstr>Reso</vt:lpstr>
      <vt:lpstr>Reso Light</vt:lpstr>
      <vt:lpstr>Reso SemiBold</vt:lpstr>
      <vt:lpstr>Reso Thin</vt:lpstr>
      <vt:lpstr>Roboto</vt:lpstr>
      <vt:lpstr>Roboto Light</vt:lpstr>
      <vt:lpstr>Source Sans Pro</vt:lpstr>
      <vt:lpstr>Times New Roman</vt:lpstr>
      <vt:lpstr>Office Theme</vt:lpstr>
      <vt:lpstr>Contents Slide Master</vt:lpstr>
      <vt:lpstr>Benutzerdefiniertes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Благодаря за вниманието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Dekova</dc:creator>
  <cp:lastModifiedBy>Joana Atanasova</cp:lastModifiedBy>
  <cp:revision>61</cp:revision>
  <dcterms:created xsi:type="dcterms:W3CDTF">2021-04-06T15:47:18Z</dcterms:created>
  <dcterms:modified xsi:type="dcterms:W3CDTF">2021-06-28T06:3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3-30T00:00:00Z</vt:filetime>
  </property>
  <property fmtid="{D5CDD505-2E9C-101B-9397-08002B2CF9AE}" pid="3" name="LastSaved">
    <vt:filetime>2021-04-06T00:00:00Z</vt:filetime>
  </property>
</Properties>
</file>